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theme/theme6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7.xml" ContentType="application/vnd.openxmlformats-officedocument.theme+xml"/>
  <Override PartName="/ppt/slideLayouts/slideLayout13.xml" ContentType="application/vnd.openxmlformats-officedocument.presentationml.slideLayout+xml"/>
  <Override PartName="/ppt/theme/theme8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9.xml" ContentType="application/vnd.openxmlformats-officedocument.theme+xml"/>
  <Override PartName="/ppt/slideLayouts/slideLayout25.xml" ContentType="application/vnd.openxmlformats-officedocument.presentationml.slideLayout+xml"/>
  <Override PartName="/ppt/theme/theme10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11.xml" ContentType="application/vnd.openxmlformats-officedocument.theme+xml"/>
  <Override PartName="/ppt/slideLayouts/slideLayout37.xml" ContentType="application/vnd.openxmlformats-officedocument.presentationml.slideLayout+xml"/>
  <Override PartName="/ppt/theme/theme12.xml" ContentType="application/vnd.openxmlformats-officedocument.theme+xml"/>
  <Override PartName="/ppt/slideLayouts/slideLayout38.xml" ContentType="application/vnd.openxmlformats-officedocument.presentationml.slideLayout+xml"/>
  <Override PartName="/ppt/theme/theme13.xml" ContentType="application/vnd.openxmlformats-officedocument.theme+xml"/>
  <Override PartName="/ppt/slideLayouts/slideLayout39.xml" ContentType="application/vnd.openxmlformats-officedocument.presentationml.slideLayout+xml"/>
  <Override PartName="/ppt/theme/theme14.xml" ContentType="application/vnd.openxmlformats-officedocument.theme+xml"/>
  <Override PartName="/ppt/slideLayouts/slideLayout40.xml" ContentType="application/vnd.openxmlformats-officedocument.presentationml.slideLayout+xml"/>
  <Override PartName="/ppt/theme/theme15.xml" ContentType="application/vnd.openxmlformats-officedocument.theme+xml"/>
  <Override PartName="/ppt/slideLayouts/slideLayout41.xml" ContentType="application/vnd.openxmlformats-officedocument.presentationml.slideLayout+xml"/>
  <Override PartName="/ppt/theme/theme1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7.xml" ContentType="application/vnd.openxmlformats-officedocument.theme+xml"/>
  <Override PartName="/ppt/slideLayouts/slideLayout47.xml" ContentType="application/vnd.openxmlformats-officedocument.presentationml.slideLayout+xml"/>
  <Override PartName="/ppt/theme/theme18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9.xml" ContentType="application/vnd.openxmlformats-officedocument.theme+xml"/>
  <Override PartName="/ppt/slideLayouts/slideLayout52.xml" ContentType="application/vnd.openxmlformats-officedocument.presentationml.slideLayout+xml"/>
  <Override PartName="/ppt/theme/theme20.xml" ContentType="application/vnd.openxmlformats-officedocument.theme+xml"/>
  <Override PartName="/ppt/slideLayouts/slideLayout53.xml" ContentType="application/vnd.openxmlformats-officedocument.presentationml.slideLayout+xml"/>
  <Override PartName="/ppt/theme/theme21.xml" ContentType="application/vnd.openxmlformats-officedocument.theme+xml"/>
  <Override PartName="/ppt/slideLayouts/slideLayout54.xml" ContentType="application/vnd.openxmlformats-officedocument.presentationml.slideLayout+xml"/>
  <Override PartName="/ppt/theme/theme22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3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6.xml" ContentType="application/vnd.openxmlformats-officedocument.theme+xml"/>
  <Override PartName="/ppt/theme/theme2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9" r:id="rId1"/>
    <p:sldMasterId id="2147483830" r:id="rId2"/>
    <p:sldMasterId id="2147483832" r:id="rId3"/>
    <p:sldMasterId id="2147483834" r:id="rId4"/>
    <p:sldMasterId id="2147483836" r:id="rId5"/>
    <p:sldMasterId id="2147483838" r:id="rId6"/>
    <p:sldMasterId id="2147483843" r:id="rId7"/>
    <p:sldMasterId id="2147483848" r:id="rId8"/>
    <p:sldMasterId id="2147483850" r:id="rId9"/>
    <p:sldMasterId id="2147483862" r:id="rId10"/>
    <p:sldMasterId id="2147483864" r:id="rId11"/>
    <p:sldMasterId id="2147483876" r:id="rId12"/>
    <p:sldMasterId id="2147483878" r:id="rId13"/>
    <p:sldMasterId id="2147483880" r:id="rId14"/>
    <p:sldMasterId id="2147483882" r:id="rId15"/>
    <p:sldMasterId id="2147483884" r:id="rId16"/>
    <p:sldMasterId id="2147483886" r:id="rId17"/>
    <p:sldMasterId id="2147483896" r:id="rId18"/>
    <p:sldMasterId id="2147483898" r:id="rId19"/>
    <p:sldMasterId id="2147483903" r:id="rId20"/>
    <p:sldMasterId id="2147483905" r:id="rId21"/>
    <p:sldMasterId id="2147483907" r:id="rId22"/>
    <p:sldMasterId id="2147483909" r:id="rId23"/>
    <p:sldMasterId id="2147483914" r:id="rId24"/>
    <p:sldMasterId id="2147483917" r:id="rId25"/>
    <p:sldMasterId id="2147483920" r:id="rId26"/>
  </p:sldMasterIdLst>
  <p:notesMasterIdLst>
    <p:notesMasterId r:id="rId109"/>
  </p:notesMasterIdLst>
  <p:sldIdLst>
    <p:sldId id="256" r:id="rId27"/>
    <p:sldId id="2007578902" r:id="rId28"/>
    <p:sldId id="2007578898" r:id="rId29"/>
    <p:sldId id="2007578899" r:id="rId30"/>
    <p:sldId id="2007578900" r:id="rId31"/>
    <p:sldId id="2007578874" r:id="rId32"/>
    <p:sldId id="2007578875" r:id="rId33"/>
    <p:sldId id="2007578885" r:id="rId34"/>
    <p:sldId id="2007578876" r:id="rId35"/>
    <p:sldId id="2007578877" r:id="rId36"/>
    <p:sldId id="2007578873" r:id="rId37"/>
    <p:sldId id="2007578878" r:id="rId38"/>
    <p:sldId id="2007578879" r:id="rId39"/>
    <p:sldId id="2007578880" r:id="rId40"/>
    <p:sldId id="2007578863" r:id="rId41"/>
    <p:sldId id="2007578870" r:id="rId42"/>
    <p:sldId id="2007578882" r:id="rId43"/>
    <p:sldId id="2007578881" r:id="rId44"/>
    <p:sldId id="2007578864" r:id="rId45"/>
    <p:sldId id="2007578865" r:id="rId46"/>
    <p:sldId id="2007578866" r:id="rId47"/>
    <p:sldId id="2007578868" r:id="rId48"/>
    <p:sldId id="2007578891" r:id="rId49"/>
    <p:sldId id="2007578869" r:id="rId50"/>
    <p:sldId id="2007578867" r:id="rId51"/>
    <p:sldId id="2007578871" r:id="rId52"/>
    <p:sldId id="2007578872" r:id="rId53"/>
    <p:sldId id="2007578889" r:id="rId54"/>
    <p:sldId id="2007578883" r:id="rId55"/>
    <p:sldId id="2007578884" r:id="rId56"/>
    <p:sldId id="2007578886" r:id="rId57"/>
    <p:sldId id="2007578888" r:id="rId58"/>
    <p:sldId id="2007578893" r:id="rId59"/>
    <p:sldId id="2007578887" r:id="rId60"/>
    <p:sldId id="2007578890" r:id="rId61"/>
    <p:sldId id="2466" r:id="rId62"/>
    <p:sldId id="2007578894" r:id="rId63"/>
    <p:sldId id="287" r:id="rId64"/>
    <p:sldId id="2007578892" r:id="rId65"/>
    <p:sldId id="2007578895" r:id="rId66"/>
    <p:sldId id="2007578896" r:id="rId67"/>
    <p:sldId id="2007578897" r:id="rId68"/>
    <p:sldId id="859" r:id="rId69"/>
    <p:sldId id="871" r:id="rId70"/>
    <p:sldId id="552" r:id="rId71"/>
    <p:sldId id="2052" r:id="rId72"/>
    <p:sldId id="1826" r:id="rId73"/>
    <p:sldId id="1223" r:id="rId74"/>
    <p:sldId id="294" r:id="rId75"/>
    <p:sldId id="2007578903" r:id="rId76"/>
    <p:sldId id="273" r:id="rId77"/>
    <p:sldId id="268" r:id="rId78"/>
    <p:sldId id="332" r:id="rId79"/>
    <p:sldId id="2007578838" r:id="rId80"/>
    <p:sldId id="272" r:id="rId81"/>
    <p:sldId id="315" r:id="rId82"/>
    <p:sldId id="274" r:id="rId83"/>
    <p:sldId id="276" r:id="rId84"/>
    <p:sldId id="269" r:id="rId85"/>
    <p:sldId id="352" r:id="rId86"/>
    <p:sldId id="2363" r:id="rId87"/>
    <p:sldId id="2471" r:id="rId88"/>
    <p:sldId id="271" r:id="rId89"/>
    <p:sldId id="319" r:id="rId90"/>
    <p:sldId id="2007578904" r:id="rId91"/>
    <p:sldId id="2480" r:id="rId92"/>
    <p:sldId id="260" r:id="rId93"/>
    <p:sldId id="372" r:id="rId94"/>
    <p:sldId id="2007578905" r:id="rId95"/>
    <p:sldId id="2007578906" r:id="rId96"/>
    <p:sldId id="3450" r:id="rId97"/>
    <p:sldId id="259" r:id="rId98"/>
    <p:sldId id="2007578907" r:id="rId99"/>
    <p:sldId id="293" r:id="rId100"/>
    <p:sldId id="2007578908" r:id="rId101"/>
    <p:sldId id="270" r:id="rId102"/>
    <p:sldId id="310" r:id="rId103"/>
    <p:sldId id="2007578909" r:id="rId104"/>
    <p:sldId id="2007578910" r:id="rId105"/>
    <p:sldId id="2007578911" r:id="rId106"/>
    <p:sldId id="261" r:id="rId107"/>
    <p:sldId id="290" r:id="rId10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71D35F0-F667-44FC-98D5-09F272A8B699}">
          <p14:sldIdLst>
            <p14:sldId id="256"/>
            <p14:sldId id="2007578902"/>
          </p14:sldIdLst>
        </p14:section>
        <p14:section name="前期制作" id="{31D7D836-D3E0-4689-B2CF-86C74F1121CA}">
          <p14:sldIdLst>
            <p14:sldId id="2007578898"/>
            <p14:sldId id="2007578899"/>
            <p14:sldId id="2007578900"/>
            <p14:sldId id="2007578874"/>
            <p14:sldId id="2007578875"/>
            <p14:sldId id="2007578885"/>
            <p14:sldId id="2007578876"/>
            <p14:sldId id="2007578877"/>
            <p14:sldId id="2007578873"/>
            <p14:sldId id="2007578878"/>
            <p14:sldId id="2007578879"/>
            <p14:sldId id="2007578880"/>
            <p14:sldId id="2007578863"/>
            <p14:sldId id="2007578870"/>
            <p14:sldId id="2007578882"/>
            <p14:sldId id="2007578881"/>
            <p14:sldId id="2007578864"/>
            <p14:sldId id="2007578865"/>
            <p14:sldId id="2007578866"/>
            <p14:sldId id="2007578868"/>
            <p14:sldId id="2007578891"/>
            <p14:sldId id="2007578869"/>
            <p14:sldId id="2007578867"/>
            <p14:sldId id="2007578871"/>
            <p14:sldId id="2007578872"/>
            <p14:sldId id="2007578889"/>
            <p14:sldId id="2007578883"/>
            <p14:sldId id="2007578884"/>
            <p14:sldId id="2007578886"/>
            <p14:sldId id="2007578888"/>
            <p14:sldId id="2007578893"/>
            <p14:sldId id="2007578887"/>
            <p14:sldId id="2007578890"/>
            <p14:sldId id="2466"/>
            <p14:sldId id="2007578894"/>
            <p14:sldId id="287"/>
            <p14:sldId id="2007578892"/>
            <p14:sldId id="2007578895"/>
            <p14:sldId id="2007578896"/>
            <p14:sldId id="2007578897"/>
          </p14:sldIdLst>
        </p14:section>
        <p14:section name="后续更新（各种风格）" id="{BE0CCDDD-4474-43A0-8DC5-0D765374F7A4}">
          <p14:sldIdLst>
            <p14:sldId id="859"/>
            <p14:sldId id="871"/>
            <p14:sldId id="552"/>
            <p14:sldId id="2052"/>
            <p14:sldId id="1826"/>
            <p14:sldId id="1223"/>
            <p14:sldId id="294"/>
            <p14:sldId id="2007578903"/>
            <p14:sldId id="273"/>
            <p14:sldId id="268"/>
            <p14:sldId id="332"/>
            <p14:sldId id="2007578838"/>
            <p14:sldId id="272"/>
            <p14:sldId id="315"/>
            <p14:sldId id="274"/>
            <p14:sldId id="276"/>
            <p14:sldId id="269"/>
            <p14:sldId id="352"/>
            <p14:sldId id="2363"/>
            <p14:sldId id="2471"/>
            <p14:sldId id="271"/>
            <p14:sldId id="319"/>
            <p14:sldId id="2007578904"/>
            <p14:sldId id="2480"/>
            <p14:sldId id="260"/>
            <p14:sldId id="372"/>
            <p14:sldId id="2007578905"/>
            <p14:sldId id="2007578906"/>
            <p14:sldId id="3450"/>
            <p14:sldId id="259"/>
            <p14:sldId id="2007578907"/>
            <p14:sldId id="293"/>
            <p14:sldId id="2007578908"/>
            <p14:sldId id="270"/>
            <p14:sldId id="310"/>
            <p14:sldId id="2007578909"/>
            <p14:sldId id="2007578910"/>
            <p14:sldId id="2007578911"/>
            <p14:sldId id="261"/>
            <p14:sldId id="290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863" userDrawn="1">
          <p15:clr>
            <a:srgbClr val="A4A3A4"/>
          </p15:clr>
        </p15:guide>
        <p15:guide id="4" orient="horz" pos="3294" userDrawn="1">
          <p15:clr>
            <a:srgbClr val="A4A3A4"/>
          </p15:clr>
        </p15:guide>
        <p15:guide id="5" orient="horz" pos="35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1F5"/>
    <a:srgbClr val="7A98F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39" autoAdjust="0"/>
    <p:restoredTop sz="94660"/>
  </p:normalViewPr>
  <p:slideViewPr>
    <p:cSldViewPr snapToGrid="0" showGuides="1">
      <p:cViewPr varScale="1">
        <p:scale>
          <a:sx n="57" d="100"/>
          <a:sy n="57" d="100"/>
        </p:scale>
        <p:origin x="90" y="1128"/>
      </p:cViewPr>
      <p:guideLst>
        <p:guide pos="3840"/>
        <p:guide orient="horz" pos="2863"/>
        <p:guide orient="horz" pos="3294"/>
        <p:guide orient="horz" pos="35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63" Type="http://schemas.openxmlformats.org/officeDocument/2006/relationships/slide" Target="slides/slide37.xml"/><Relationship Id="rId68" Type="http://schemas.openxmlformats.org/officeDocument/2006/relationships/slide" Target="slides/slide42.xml"/><Relationship Id="rId84" Type="http://schemas.openxmlformats.org/officeDocument/2006/relationships/slide" Target="slides/slide58.xml"/><Relationship Id="rId89" Type="http://schemas.openxmlformats.org/officeDocument/2006/relationships/slide" Target="slides/slide63.xml"/><Relationship Id="rId112" Type="http://schemas.openxmlformats.org/officeDocument/2006/relationships/theme" Target="theme/theme1.xml"/><Relationship Id="rId16" Type="http://schemas.openxmlformats.org/officeDocument/2006/relationships/slideMaster" Target="slideMasters/slideMaster16.xml"/><Relationship Id="rId107" Type="http://schemas.openxmlformats.org/officeDocument/2006/relationships/slide" Target="slides/slide81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53" Type="http://schemas.openxmlformats.org/officeDocument/2006/relationships/slide" Target="slides/slide27.xml"/><Relationship Id="rId58" Type="http://schemas.openxmlformats.org/officeDocument/2006/relationships/slide" Target="slides/slide32.xml"/><Relationship Id="rId74" Type="http://schemas.openxmlformats.org/officeDocument/2006/relationships/slide" Target="slides/slide48.xml"/><Relationship Id="rId79" Type="http://schemas.openxmlformats.org/officeDocument/2006/relationships/slide" Target="slides/slide53.xml"/><Relationship Id="rId102" Type="http://schemas.openxmlformats.org/officeDocument/2006/relationships/slide" Target="slides/slide76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64.xml"/><Relationship Id="rId95" Type="http://schemas.openxmlformats.org/officeDocument/2006/relationships/slide" Target="slides/slide69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1.xml"/><Relationship Id="rId43" Type="http://schemas.openxmlformats.org/officeDocument/2006/relationships/slide" Target="slides/slide17.xml"/><Relationship Id="rId48" Type="http://schemas.openxmlformats.org/officeDocument/2006/relationships/slide" Target="slides/slide22.xml"/><Relationship Id="rId64" Type="http://schemas.openxmlformats.org/officeDocument/2006/relationships/slide" Target="slides/slide38.xml"/><Relationship Id="rId69" Type="http://schemas.openxmlformats.org/officeDocument/2006/relationships/slide" Target="slides/slide43.xml"/><Relationship Id="rId113" Type="http://schemas.openxmlformats.org/officeDocument/2006/relationships/tableStyles" Target="tableStyles.xml"/><Relationship Id="rId80" Type="http://schemas.openxmlformats.org/officeDocument/2006/relationships/slide" Target="slides/slide54.xml"/><Relationship Id="rId85" Type="http://schemas.openxmlformats.org/officeDocument/2006/relationships/slide" Target="slides/slide59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59" Type="http://schemas.openxmlformats.org/officeDocument/2006/relationships/slide" Target="slides/slide33.xml"/><Relationship Id="rId103" Type="http://schemas.openxmlformats.org/officeDocument/2006/relationships/slide" Target="slides/slide77.xml"/><Relationship Id="rId108" Type="http://schemas.openxmlformats.org/officeDocument/2006/relationships/slide" Target="slides/slide82.xml"/><Relationship Id="rId54" Type="http://schemas.openxmlformats.org/officeDocument/2006/relationships/slide" Target="slides/slide28.xml"/><Relationship Id="rId70" Type="http://schemas.openxmlformats.org/officeDocument/2006/relationships/slide" Target="slides/slide44.xml"/><Relationship Id="rId75" Type="http://schemas.openxmlformats.org/officeDocument/2006/relationships/slide" Target="slides/slide49.xml"/><Relationship Id="rId91" Type="http://schemas.openxmlformats.org/officeDocument/2006/relationships/slide" Target="slides/slide65.xml"/><Relationship Id="rId96" Type="http://schemas.openxmlformats.org/officeDocument/2006/relationships/slide" Target="slides/slide7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slide" Target="slides/slide23.xml"/><Relationship Id="rId57" Type="http://schemas.openxmlformats.org/officeDocument/2006/relationships/slide" Target="slides/slide31.xml"/><Relationship Id="rId106" Type="http://schemas.openxmlformats.org/officeDocument/2006/relationships/slide" Target="slides/slide80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slide" Target="slides/slide26.xml"/><Relationship Id="rId60" Type="http://schemas.openxmlformats.org/officeDocument/2006/relationships/slide" Target="slides/slide34.xml"/><Relationship Id="rId65" Type="http://schemas.openxmlformats.org/officeDocument/2006/relationships/slide" Target="slides/slide39.xml"/><Relationship Id="rId73" Type="http://schemas.openxmlformats.org/officeDocument/2006/relationships/slide" Target="slides/slide47.xml"/><Relationship Id="rId78" Type="http://schemas.openxmlformats.org/officeDocument/2006/relationships/slide" Target="slides/slide52.xml"/><Relationship Id="rId81" Type="http://schemas.openxmlformats.org/officeDocument/2006/relationships/slide" Target="slides/slide55.xml"/><Relationship Id="rId86" Type="http://schemas.openxmlformats.org/officeDocument/2006/relationships/slide" Target="slides/slide60.xml"/><Relationship Id="rId94" Type="http://schemas.openxmlformats.org/officeDocument/2006/relationships/slide" Target="slides/slide68.xml"/><Relationship Id="rId99" Type="http://schemas.openxmlformats.org/officeDocument/2006/relationships/slide" Target="slides/slide73.xml"/><Relationship Id="rId101" Type="http://schemas.openxmlformats.org/officeDocument/2006/relationships/slide" Target="slides/slide7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3.xml"/><Relationship Id="rId109" Type="http://schemas.openxmlformats.org/officeDocument/2006/relationships/notesMaster" Target="notesMasters/notesMaster1.xml"/><Relationship Id="rId34" Type="http://schemas.openxmlformats.org/officeDocument/2006/relationships/slide" Target="slides/slide8.xml"/><Relationship Id="rId50" Type="http://schemas.openxmlformats.org/officeDocument/2006/relationships/slide" Target="slides/slide24.xml"/><Relationship Id="rId55" Type="http://schemas.openxmlformats.org/officeDocument/2006/relationships/slide" Target="slides/slide29.xml"/><Relationship Id="rId76" Type="http://schemas.openxmlformats.org/officeDocument/2006/relationships/slide" Target="slides/slide50.xml"/><Relationship Id="rId97" Type="http://schemas.openxmlformats.org/officeDocument/2006/relationships/slide" Target="slides/slide71.xml"/><Relationship Id="rId104" Type="http://schemas.openxmlformats.org/officeDocument/2006/relationships/slide" Target="slides/slide78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5.xml"/><Relationship Id="rId92" Type="http://schemas.openxmlformats.org/officeDocument/2006/relationships/slide" Target="slides/slide66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3.xml"/><Relationship Id="rId24" Type="http://schemas.openxmlformats.org/officeDocument/2006/relationships/slideMaster" Target="slideMasters/slideMaster24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66" Type="http://schemas.openxmlformats.org/officeDocument/2006/relationships/slide" Target="slides/slide40.xml"/><Relationship Id="rId87" Type="http://schemas.openxmlformats.org/officeDocument/2006/relationships/slide" Target="slides/slide61.xml"/><Relationship Id="rId110" Type="http://schemas.openxmlformats.org/officeDocument/2006/relationships/presProps" Target="presProps.xml"/><Relationship Id="rId61" Type="http://schemas.openxmlformats.org/officeDocument/2006/relationships/slide" Target="slides/slide35.xml"/><Relationship Id="rId82" Type="http://schemas.openxmlformats.org/officeDocument/2006/relationships/slide" Target="slides/slide56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56" Type="http://schemas.openxmlformats.org/officeDocument/2006/relationships/slide" Target="slides/slide30.xml"/><Relationship Id="rId77" Type="http://schemas.openxmlformats.org/officeDocument/2006/relationships/slide" Target="slides/slide51.xml"/><Relationship Id="rId100" Type="http://schemas.openxmlformats.org/officeDocument/2006/relationships/slide" Target="slides/slide74.xml"/><Relationship Id="rId105" Type="http://schemas.openxmlformats.org/officeDocument/2006/relationships/slide" Target="slides/slide79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5.xml"/><Relationship Id="rId72" Type="http://schemas.openxmlformats.org/officeDocument/2006/relationships/slide" Target="slides/slide46.xml"/><Relationship Id="rId93" Type="http://schemas.openxmlformats.org/officeDocument/2006/relationships/slide" Target="slides/slide67.xml"/><Relationship Id="rId98" Type="http://schemas.openxmlformats.org/officeDocument/2006/relationships/slide" Target="slides/slide72.xml"/><Relationship Id="rId3" Type="http://schemas.openxmlformats.org/officeDocument/2006/relationships/slideMaster" Target="slideMasters/slideMaster3.xml"/><Relationship Id="rId25" Type="http://schemas.openxmlformats.org/officeDocument/2006/relationships/slideMaster" Target="slideMasters/slideMaster25.xml"/><Relationship Id="rId46" Type="http://schemas.openxmlformats.org/officeDocument/2006/relationships/slide" Target="slides/slide20.xml"/><Relationship Id="rId67" Type="http://schemas.openxmlformats.org/officeDocument/2006/relationships/slide" Target="slides/slide4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5.xml"/><Relationship Id="rId62" Type="http://schemas.openxmlformats.org/officeDocument/2006/relationships/slide" Target="slides/slide36.xml"/><Relationship Id="rId83" Type="http://schemas.openxmlformats.org/officeDocument/2006/relationships/slide" Target="slides/slide57.xml"/><Relationship Id="rId88" Type="http://schemas.openxmlformats.org/officeDocument/2006/relationships/slide" Target="slides/slide62.xml"/><Relationship Id="rId111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9D1919-CA98-4EE9-86F2-7E7359B5AE32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103FA-5619-4E00-A9C9-278A570C2B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4324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CD543B-3034-4E7D-AB64-AC22611BF66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6646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8EFF3F-761A-43B9-97A6-D969B48EA03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5337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11499-7813-4FD0-82C9-66F2B9290EB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726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6329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OPPOSans L" panose="00020600040101010101" pitchFamily="18" charset="-122"/>
              </a:defRPr>
            </a:lvl1pPr>
          </a:lstStyle>
          <a:p>
            <a:fld id="{D997B5FA-0921-464F-AAE1-844C04324D75}" type="datetimeFigureOut">
              <a:rPr lang="zh-CN" altLang="en-US" smtClean="0"/>
              <a:pPr/>
              <a:t>2023/7/1/Sat</a:t>
            </a:fld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OPPOSans L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OPPOSans L" panose="00020600040101010101" pitchFamily="18" charset="-122"/>
              </a:defRPr>
            </a:lvl1pPr>
          </a:lstStyle>
          <a:p>
            <a:fld id="{565CE74E-AB26-4998-AD42-012C4C1AD076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783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44351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Roboto Black" panose="02000000000000000000" pitchFamily="2" charset="0"/>
                <a:ea typeface="OPPOSans B" panose="00020600040101010101" pitchFamily="18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>
            <a:lvl1pPr>
              <a:defRPr>
                <a:ea typeface="OPPOSans L" panose="00020600040101010101" pitchFamily="18" charset="-122"/>
              </a:defRPr>
            </a:lvl1pPr>
            <a:lvl2pPr>
              <a:defRPr>
                <a:ea typeface="OPPOSans L" panose="00020600040101010101" pitchFamily="18" charset="-122"/>
              </a:defRPr>
            </a:lvl2pPr>
            <a:lvl3pPr>
              <a:defRPr>
                <a:ea typeface="OPPOSans L" panose="00020600040101010101" pitchFamily="18" charset="-122"/>
              </a:defRPr>
            </a:lvl3pPr>
            <a:lvl4pPr>
              <a:defRPr>
                <a:ea typeface="OPPOSans L" panose="00020600040101010101" pitchFamily="18" charset="-122"/>
              </a:defRPr>
            </a:lvl4pPr>
            <a:lvl5pPr>
              <a:defRPr>
                <a:ea typeface="OPPOSans L" panose="00020600040101010101" pitchFamily="18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OPPOSans L" panose="00020600040101010101" pitchFamily="18" charset="-122"/>
              </a:defRPr>
            </a:lvl1pPr>
          </a:lstStyle>
          <a:p>
            <a:fld id="{D997B5FA-0921-464F-AAE1-844C04324D75}" type="datetimeFigureOut">
              <a:rPr lang="zh-CN" altLang="en-US" smtClean="0"/>
              <a:pPr/>
              <a:t>2023/7/1/Sat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OPPOSans L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OPPOSans L" panose="00020600040101010101" pitchFamily="18" charset="-122"/>
              </a:defRPr>
            </a:lvl1pPr>
          </a:lstStyle>
          <a:p>
            <a:fld id="{565CE74E-AB26-4998-AD42-012C4C1AD076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105542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2957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pos="279">
          <p15:clr>
            <a:srgbClr val="F26B43"/>
          </p15:clr>
        </p15:guide>
        <p15:guide id="10" pos="740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9F772F0-388F-4CDF-9B40-04CAF1E731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AE72790-AE1E-46E8-83FE-4585DFD65E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4643C88-2A31-4A00-8C8B-590E909CC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CAFF068-89B4-4043-8E07-FAB752F79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D72DAD1-4610-4F43-A707-3753AA128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63046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68F235-856A-47CD-98D4-6562C9170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A1CC50-7ECC-4834-85C3-4F010FA105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99CB71B-954C-4803-96D1-78FEBBBF9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49C6AA9-53DE-4DF2-999F-88E13B32A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A915CFC-AD1E-4C69-AC1B-3E0669CB9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69163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2C6727-CA65-435B-83FD-439D1AABF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37682FF-E6D1-4A01-B6EE-C8C70EB987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EA09BBD-8977-4CA5-9010-FEE25DF0F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FB85A55-E6BD-4E82-9857-B62BE2FFAA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097F3AC-32B3-4EEF-BBF2-B696863D62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67772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E4915D9-95DD-4129-A743-FF0D04683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995F2EC-E84B-4925-8FE6-6DE0F3DAF3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82F286E-34C0-4FF5-93CA-21FE871BB4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9EDFEE2-DEB0-4148-A8D4-0B8DFADD30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C2596BB-5596-48B8-B7A7-EF16D6AA5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626386B-A1D6-49AD-A775-8F25EA82F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91659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E5A138-5381-41A8-AF30-68B07ACB0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7C762D5-3D73-4583-AAFD-90288B7043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9BFF5C58-6451-432A-B9EB-61742C6ADA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904346D-BA61-4AAA-A78D-393ABBB62E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3AFCB8E-4FB0-44AA-8518-3B9C863A62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96AC8D65-E0D0-4083-A461-D2F3FB51CD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02AFBB89-1E40-410C-953F-6B4221EAA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773C35C-621E-43C4-9CBD-52EE7CCD5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52529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8E8D2B3-D15E-4171-9D4C-B579B03E4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AEDEBF34-5316-4D18-B429-D2F8197AA2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09942D3-FA9B-49D8-9720-6842FC0A0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CB9F20B-96AD-44B9-AE31-4F3FD9507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6478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54844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B250573B-276E-475C-AF1C-16DEE90C5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A58C140-CF48-4A75-AE36-D765DCD63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F9DC3FC-FD79-4B3F-8EB5-7BF792BFA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79947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5D85347-710D-465A-AD6F-AF8E9D6E1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B7DF633-BB4C-42B0-A5F3-1DCEA91BA2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DCB7AB9-3D29-44F3-A0C0-636865B048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BB6C28F-89D9-47C1-8F82-5A361B2F5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805109E-29FD-4107-93BB-F44F4EAF9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680544-8999-43EF-970A-83595C810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8710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DFC83-375E-4778-A13F-98DD86C11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C8341D2-2283-40F6-9C40-F7A10EA4DB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C2F6358-4927-43D2-906F-45CE6C811E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D314E7D-BF19-4F67-A8DD-87E3BF3AA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9BA2F41-5A40-4574-B12D-54324EA08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241DFF7-D88E-42C6-8977-48514C048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20346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012561-5C39-4099-96A9-436430B68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DC49EE4-AD38-48C5-9B50-A44E4D3002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163A548-CA26-4247-A7BA-4068A4B474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DCFC206-F188-4D60-8045-25BB1D2E8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8836999-48AD-4867-9F9E-F71CA7A63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75359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F8C53333-3C09-4729-B3CA-FBA50AE2C8D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6451E34-0250-4F4A-A222-C54DAF0EDA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19474D2-DEA5-4C9B-9247-948723A5BE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781FBA2-9F8A-4D45-B31A-B31B68FC6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7356A92-AC82-4997-B92D-DA806CBF5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12785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1C548CBE-AE2A-4BD8-8385-F82FF3449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30AB0-A720-41E0-B459-2FC0FB9EDBC1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D85E63-07EE-40AF-B798-94B9E9124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1F8D709-E77A-4A7B-8B4D-D157DA2FA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576C3-4F8A-4830-B2E2-A16D1442D07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9403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18C115-5F4E-45FF-AEAA-E710B774F6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2746E465-C98E-421B-8FB9-26353B690E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91F5DDD-885E-4789-B558-65B9DE84EA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8FEBDD1-34C7-4C60-9A8C-08DA7895D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5EB74DB-D6F0-46AD-A8FE-A314963CA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45481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70495B-E9C0-4219-9965-F44F5DC3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1DE1694-906C-49D0-9B4B-50827AC88F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A9F304E-3DD4-4FB9-8BBA-3BFB63D353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9FB670-028A-47C1-8886-0FA1EA6D26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1B439B6-78BB-48E5-8E6C-B728EF6F7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36080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999F58B-348C-4DE3-8310-E30BAA79F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C995C42-A823-430A-9D2B-D82897B07F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C6EDBC4-0394-4249-9685-561D0C62CB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65FEBDA-95A7-43AD-BB62-81F1649B8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5BC3183-158B-4028-8C33-9400098B9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61385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31D157-7B57-44D5-87DD-906D022BB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6647773-45EC-48F4-84E2-EEB88D99BA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FB21B1B-D301-46F7-AC67-0A699C947C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8032801-1669-4F2F-9713-206F302849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8D3918F-E9A0-4923-8F67-0F533EF49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FDB82BD-B190-4392-B1CB-A5A242FA7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9908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71391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BEEEE9-448C-491B-9A33-C25935E29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1657C65-B444-45A5-BBC5-511E8AD820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E5A8331-8F10-4AB0-B4A7-3D51F94FB2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A30D044-56A2-45BC-9A3C-BF546D92D8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6E38DE07-05BA-41C6-A69A-D374218C87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BADBCD88-8D7B-48CC-A008-F1BC2F470C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66F11B72-E109-40C9-8F17-0E4B2D302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663BC900-DD11-40F6-9C41-B1B1D8C93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39850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98689B3-FE8B-45A6-974E-0E83B7083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1C092E8-8EF5-48FA-8042-FC8073A86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3DC2291-C612-4448-8779-9B2B0642D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02D8F11-AE4B-4BEC-AE00-2FB7BFE0B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33764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E374008-C94A-40EB-836A-C94584155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557EEAB-0566-495A-8D77-FC7E6DBEC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CCFB195-12EA-4FB4-9B04-FA56A853F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3365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B732B61-8689-4614-8766-364FD0416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E05C7B4-E919-4EF2-A68B-A61B7EBE75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1076100-F075-45E2-AAEA-0FF00A0A9E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62D8BE6-045B-4386-A154-56B66B3E39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AD98027-457D-48C4-94A7-BC1C5191F7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69B609C-5479-47CF-B796-646D41508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88428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E5E8E8-7ADF-485B-9D8E-3EAF75D01D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8D847EB-370E-4C7F-8A9B-655E9E5F77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04E1206E-FE9F-4AFE-9EBB-C3FED5A284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4F340F9-0ADF-4F15-9849-61068417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CC0346E-D9AF-444B-BFD3-8BA1860D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07EC228-135A-4086-8FA3-B35934EF3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22861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BC47FDF-42A7-457A-9B3D-352C9A29D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17CADA1-0B20-43B8-A9A7-4D83969AC6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C6E14B-08CA-434B-9F5F-0384D1BDC2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B203167-635E-469F-BDBD-6EFCD1233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19C2414-CBC0-411C-A3E8-1A05E5B45F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8940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2F9DCAB0-BA3E-4230-8267-F68F05A9E2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0371197-CE4B-4009-A368-EF10A6B318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BE9AC87-59B5-4C48-936E-26025997C0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7D7ED12-346B-4D6C-8127-597DBE6F2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311549C-AC5E-4BC4-8BE6-777A97DFA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24155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557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pos="279">
          <p15:clr>
            <a:srgbClr val="F26B43"/>
          </p15:clr>
        </p15:guide>
        <p15:guide id="10" pos="740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71C04BC-1F67-4558-8941-0257581EED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2F3B9-FEA9-45D2-B218-D5D538349702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D35E55E-4FE4-4B77-8362-4B0BEBF3B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E500088-E250-48C4-A413-BF03928DE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9F7DB1-8F28-4E94-9B5D-C33E724C0E8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04040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8163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pos="279">
          <p15:clr>
            <a:srgbClr val="F26B43"/>
          </p15:clr>
        </p15:guide>
        <p15:guide id="10" pos="740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0DA0B6E9-427B-488D-BD6F-89C23FEDAB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9AB6A5-9AD7-42F9-81D1-66BCBD37F6B7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7526779-B691-4F95-A1D9-C8673E81E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DA352FE-B223-49FF-B4E2-0F0D8961A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4268485-E88E-4642-859F-E63920B94839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279ABE81-FFC6-40BC-944C-F0C0A299417F}"/>
              </a:ext>
            </a:extLst>
          </p:cNvPr>
          <p:cNvSpPr/>
          <p:nvPr userDrawn="1"/>
        </p:nvSpPr>
        <p:spPr>
          <a:xfrm>
            <a:off x="-2" y="-2"/>
            <a:ext cx="12191999" cy="6858002"/>
          </a:xfrm>
          <a:prstGeom prst="rect">
            <a:avLst/>
          </a:prstGeom>
          <a:gradFill flip="none" rotWithShape="1">
            <a:gsLst>
              <a:gs pos="68000">
                <a:srgbClr val="024291">
                  <a:alpha val="30000"/>
                </a:srgbClr>
              </a:gs>
              <a:gs pos="0">
                <a:srgbClr val="024291">
                  <a:alpha val="3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68941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180ECBDA-DBAD-4D0F-B6D1-E9D5D87A0E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13597-997F-4F40-9027-C1DD392E94AF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839D56C-C154-45E2-B56F-78D0FFE6D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815FBC4-AE74-48E9-8CD7-00C548BF8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AD467-B202-4DFA-9E50-071141F60B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4710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4051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pos="279">
          <p15:clr>
            <a:srgbClr val="F26B43"/>
          </p15:clr>
        </p15:guide>
        <p15:guide id="10" pos="740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8839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38E421-161B-4A4C-9ECA-5A06B632B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B975655-7EA6-4C63-AFA5-1CD3F79D5F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3CB0369-9BB1-44BA-87A8-C371F8543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B727F-F111-4193-ADF3-65A019F42DAD}" type="datetime1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BE4ACAB-238E-46FC-AB85-312921F5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EC4FE6D-F1CE-4B96-A32F-864FCF01C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702D6-7180-491C-910B-B9B8CEB693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78502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00D8A7-1274-44F3-92A3-0970FF98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B15E167-ED9E-4BB3-92E6-5D0EC0969D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2DED4E3-8825-4DC5-8D7E-BBA8584FE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0A02-BADF-478A-9B63-B1FA269C4869}" type="datetime1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C2EA6FA-38F8-40E7-82C2-C8C3A6EB1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9DD537F-03FE-47C4-A5A0-069BB53CC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702D6-7180-491C-910B-B9B8CEB693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57253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686953-0345-4E37-8C80-846781373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F39F1DC7-61EE-4B46-AECA-0BD72F1007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400" y="6235700"/>
            <a:ext cx="2832652" cy="237171"/>
          </a:xfrm>
        </p:spPr>
        <p:txBody>
          <a:bodyPr anchor="ctr"/>
          <a:lstStyle>
            <a:lvl1pPr>
              <a:defRPr sz="1050"/>
            </a:lvl1pPr>
          </a:lstStyle>
          <a:p>
            <a:fld id="{5D39EDE8-6621-41AF-AEA2-BA2A7B2C9BE1}" type="datetime1">
              <a:rPr lang="zh-CN" altLang="en-US" smtClean="0"/>
              <a:pPr/>
              <a:t>2023/7/1/Sat</a:t>
            </a:fld>
            <a:endParaRPr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123769C-5D5E-4057-8280-9E417B6B1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65161" y="6235700"/>
            <a:ext cx="4248978" cy="237171"/>
          </a:xfrm>
        </p:spPr>
        <p:txBody>
          <a:bodyPr anchor="ctr"/>
          <a:lstStyle>
            <a:lvl1pPr>
              <a:defRPr sz="1050"/>
            </a:lvl1pPr>
          </a:lstStyle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155A00E-E874-4015-BD1D-E848A080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6248" y="6235700"/>
            <a:ext cx="2832652" cy="237171"/>
          </a:xfrm>
        </p:spPr>
        <p:txBody>
          <a:bodyPr anchor="ctr"/>
          <a:lstStyle>
            <a:lvl1pPr>
              <a:defRPr sz="1050"/>
            </a:lvl1pPr>
          </a:lstStyle>
          <a:p>
            <a:fld id="{4A2702D6-7180-491C-910B-B9B8CEB6939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62879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442A0F7E-DDDD-492F-ABB7-B441F07F3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</a:defRPr>
            </a:lvl1pPr>
          </a:lstStyle>
          <a:p>
            <a:fld id="{0BDF34FA-545F-45E4-8CE9-50E346094CF2}" type="datetime1">
              <a:rPr lang="zh-CN" altLang="en-US" smtClean="0"/>
              <a:pPr/>
              <a:t>2023/7/1/Sat</a:t>
            </a:fld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0EC8A9A-F184-4A1F-97F4-D11248B00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</a:defRPr>
            </a:lvl1pPr>
          </a:lstStyle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68203B1-F543-4ABD-9BC2-04AA0FC61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</a:defRPr>
            </a:lvl1pPr>
          </a:lstStyle>
          <a:p>
            <a:fld id="{4A2702D6-7180-491C-910B-B9B8CEB6939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887250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420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pos="279">
          <p15:clr>
            <a:srgbClr val="F26B43"/>
          </p15:clr>
        </p15:guide>
        <p15:guide id="10" pos="740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94922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97B5FA-0921-464F-AAE1-844C04324D75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252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1198044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40671" y="1499700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EA50F7-E9AA-423B-832F-CF930DEBB29B}" type="datetimeFigureOut">
              <a:rPr lang="zh-CN" altLang="en-US" smtClean="0"/>
              <a:pPr/>
              <a:t>2023/7/1/Sat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0F2E8-426F-41F9-AE62-CA040F3DDD2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03668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4831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>
            <a:lvl1pPr>
              <a:defRPr>
                <a:ea typeface="思源宋体 Heavy" panose="02020900000000000000" pitchFamily="18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97B5FA-0921-464F-AAE1-844C04324D75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38272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796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pos="279">
          <p15:clr>
            <a:srgbClr val="F26B43"/>
          </p15:clr>
        </p15:guide>
        <p15:guide id="10" pos="740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442A0F7E-DDDD-492F-ABB7-B441F07F3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F34FA-545F-45E4-8CE9-50E346094CF2}" type="datetime1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0EC8A9A-F184-4A1F-97F4-D11248B00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68203B1-F543-4ABD-9BC2-04AA0FC61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702D6-7180-491C-910B-B9B8CEB693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27209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2209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368525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60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1000"/>
    </mc:Choice>
    <mc:Fallback xmlns="">
      <p:transition advClick="0" advTm="100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9715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415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391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D0BC21-B6D0-49F5-B15B-09623566C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3AF4489-9912-454F-8D73-26922511C6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9D3B1A2-4961-4B22-8CD6-423AD1512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88865-53D2-4825-AD03-0FB71F083544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A44735B-5227-4399-99B0-3F594E410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4620AC5-8C33-4FD1-B04F-C74B96A10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8248-AA7B-40C0-B162-579BD715CCC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49629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6979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95FC80-9F85-41B2-9C5A-44F443692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3DE50B3-0DF8-4B29-B080-32F1C0D05C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1FB8001-E84A-41A7-94C3-E557C8A35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3253F2-93BA-42B0-B8D2-AB7659CCA16C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7/1/Sat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A7191F7-5335-414B-9C88-5AF98C7F1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7E30431-A6E1-4703-B881-1D4A12D66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47ADE9-124D-4F6F-BE19-6EEC0CBE3607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7567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58639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656025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99084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副标题 9800">
            <a:extLst>
              <a:ext uri="{FF2B5EF4-FFF2-40B4-BE49-F238E27FC236}">
                <a16:creationId xmlns:a16="http://schemas.microsoft.com/office/drawing/2014/main" id="{131D6C59-E746-4F73-B81D-69022B339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9925" y="3598149"/>
            <a:ext cx="8800042" cy="221599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buNone/>
              <a:defRPr sz="1600">
                <a:solidFill>
                  <a:sysClr val="windowText" lastClr="00000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标题 9801">
            <a:extLst>
              <a:ext uri="{FF2B5EF4-FFF2-40B4-BE49-F238E27FC236}">
                <a16:creationId xmlns:a16="http://schemas.microsoft.com/office/drawing/2014/main" id="{7D77868C-FDA0-42B8-ABF9-50BB38ED7D5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9925" y="2878188"/>
            <a:ext cx="8800042" cy="664797"/>
          </a:xfrm>
        </p:spPr>
        <p:txBody>
          <a:bodyPr wrap="square" lIns="0" tIns="0" rIns="0" bIns="0" anchor="b">
            <a:spAutoFit/>
          </a:bodyPr>
          <a:lstStyle>
            <a:lvl1pPr algn="l">
              <a:defRPr sz="4800" b="1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" name="文本占位符 16">
            <a:extLst>
              <a:ext uri="{FF2B5EF4-FFF2-40B4-BE49-F238E27FC236}">
                <a16:creationId xmlns:a16="http://schemas.microsoft.com/office/drawing/2014/main" id="{A0C2193F-01FD-43D6-85A8-576851A16C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9925" y="6118001"/>
            <a:ext cx="2836846" cy="193899"/>
          </a:xfrm>
        </p:spPr>
        <p:txBody>
          <a:bodyPr lIns="0" tIns="0" rIns="0" bIns="0" anchor="b">
            <a:sp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177" indent="0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2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Signature &amp; Date</a:t>
            </a:r>
          </a:p>
        </p:txBody>
      </p:sp>
    </p:spTree>
    <p:extLst>
      <p:ext uri="{BB962C8B-B14F-4D97-AF65-F5344CB8AC3E}">
        <p14:creationId xmlns:p14="http://schemas.microsoft.com/office/powerpoint/2010/main" val="15317601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38E421-161B-4A4C-9ECA-5A06B632B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B975655-7EA6-4C63-AFA5-1CD3F79D5F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3CB0369-9BB1-44BA-87A8-C371F8543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B727F-F111-4193-ADF3-65A019F42DAD}" type="datetime1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BE4ACAB-238E-46FC-AB85-312921F5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EC4FE6D-F1CE-4B96-A32F-864FCF01C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702D6-7180-491C-910B-B9B8CEB693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8673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00D8A7-1274-44F3-92A3-0970FF983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B15E167-ED9E-4BB3-92E6-5D0EC0969D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2DED4E3-8825-4DC5-8D7E-BBA8584FE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0A02-BADF-478A-9B63-B1FA269C4869}" type="datetime1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C2EA6FA-38F8-40E7-82C2-C8C3A6EB1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9DD537F-03FE-47C4-A5A0-069BB53CC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702D6-7180-491C-910B-B9B8CEB693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04874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686953-0345-4E37-8C80-846781373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F39F1DC7-61EE-4B46-AECA-0BD72F1007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400" y="6235700"/>
            <a:ext cx="2832652" cy="237171"/>
          </a:xfrm>
        </p:spPr>
        <p:txBody>
          <a:bodyPr anchor="ctr"/>
          <a:lstStyle>
            <a:lvl1pPr>
              <a:defRPr sz="1050"/>
            </a:lvl1pPr>
          </a:lstStyle>
          <a:p>
            <a:fld id="{5D39EDE8-6621-41AF-AEA2-BA2A7B2C9BE1}" type="datetime1">
              <a:rPr lang="zh-CN" altLang="en-US" smtClean="0"/>
              <a:pPr/>
              <a:t>2023/7/1/Sat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123769C-5D5E-4057-8280-9E417B6B1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65161" y="6235700"/>
            <a:ext cx="4248978" cy="237171"/>
          </a:xfrm>
        </p:spPr>
        <p:txBody>
          <a:bodyPr anchor="ctr"/>
          <a:lstStyle>
            <a:lvl1pPr>
              <a:defRPr sz="1050"/>
            </a:lvl1pPr>
          </a:lstStyle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155A00E-E874-4015-BD1D-E848A0807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6248" y="6235700"/>
            <a:ext cx="2832652" cy="237171"/>
          </a:xfrm>
        </p:spPr>
        <p:txBody>
          <a:bodyPr anchor="ctr"/>
          <a:lstStyle>
            <a:lvl1pPr>
              <a:defRPr sz="1050"/>
            </a:lvl1pPr>
          </a:lstStyle>
          <a:p>
            <a:fld id="{4A2702D6-7180-491C-910B-B9B8CEB6939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39810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442A0F7E-DDDD-492F-ABB7-B441F07F3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F34FA-545F-45E4-8CE9-50E346094CF2}" type="datetime1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0EC8A9A-F184-4A1F-97F4-D11248B00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68203B1-F543-4ABD-9BC2-04AA0FC61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702D6-7180-491C-910B-B9B8CEB693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987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954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pos="279">
          <p15:clr>
            <a:srgbClr val="F26B43"/>
          </p15:clr>
        </p15:guide>
        <p15:guide id="10" pos="740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2626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87915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37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38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39.xml"/></Relationships>
</file>

<file path=ppt/slideMasters/_rels/slideMaster15.xml.rels><?xml version="1.0" encoding="UTF-8" standalone="yes"?>
<Relationships xmlns="http://schemas.openxmlformats.org/package/2006/relationships"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40.xml"/></Relationships>
</file>

<file path=ppt/slideMasters/_rels/slideMaster16.xml.rels><?xml version="1.0" encoding="UTF-8" standalone="yes"?>
<Relationships xmlns="http://schemas.openxmlformats.org/package/2006/relationships"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41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47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5" Type="http://schemas.openxmlformats.org/officeDocument/2006/relationships/theme" Target="../theme/theme19.xml"/><Relationship Id="rId4" Type="http://schemas.openxmlformats.org/officeDocument/2006/relationships/slideLayout" Target="../slideLayouts/slideLayout5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52.xml"/></Relationships>
</file>

<file path=ppt/slideMasters/_rels/slideMaster21.xml.rels><?xml version="1.0" encoding="UTF-8" standalone="yes"?>
<Relationships xmlns="http://schemas.openxmlformats.org/package/2006/relationships"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53.xml"/></Relationships>
</file>

<file path=ppt/slideMasters/_rels/slideMaster2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54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5" Type="http://schemas.openxmlformats.org/officeDocument/2006/relationships/theme" Target="../theme/theme23.xml"/><Relationship Id="rId4" Type="http://schemas.openxmlformats.org/officeDocument/2006/relationships/slideLayout" Target="../slideLayouts/slideLayout58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theme" Target="../theme/theme25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6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7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12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9023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459">
          <p15:clr>
            <a:srgbClr val="F26B43"/>
          </p15:clr>
        </p15:guide>
        <p15:guide id="6" orient="horz" pos="346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orient="horz" pos="386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923C15CC-5800-4B2A-B6A1-1938D3ABA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EE0F83D-DDBA-490A-9CA6-2A5E4D31C1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4DBE055-1E8A-4FDF-8070-DF2F78101B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30AB0-A720-41E0-B459-2FC0FB9EDBC1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6DA324-3DC4-4892-ADFB-068AEBCF3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BAE2799-2F77-4BA9-98BE-4724EF9467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3576C3-4F8A-4830-B2E2-A16D1442D07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3063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</p:sldLayoutIdLst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4" indent="-228604" algn="l" defTabSz="914411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5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1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7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6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91285C5-19AD-480C-A59A-1F09C009E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830AFFC-7097-446C-9328-3ED04DEB8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5304C83-7627-4862-A534-498EC2957C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6B8A7-C0BF-4F96-9C23-FBB40C1671AC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F3FFF27-8FC1-41BA-A746-D9322AC2A9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0E4F6AA-8E49-4361-970F-88F462A556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01BAC1-022D-4A19-928E-C7BFFB8FA8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4527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3120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41D2C2F-E427-48CD-B15E-98E7494A6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75D118F-2DE1-40F0-8ED9-A9143AF2B5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08B3CA9-8FBB-4530-81C9-61AC36509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12F3B9-FEA9-45D2-B218-D5D538349702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16B2F01-09C3-4FC5-8D40-BFB2D86A4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5CE11B-5FE8-4A10-AB00-DF5603317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9F7DB1-8F28-4E94-9B5D-C33E724C0E8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8366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0983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D43EDA0-D2A3-41C3-BE95-16FEA7803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90F3D09-7AAB-4E5B-A107-CA08DCCFDD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B22E7E-8E56-46E0-A13D-772F00B255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513597-997F-4F40-9027-C1DD392E94AF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EFFD651-897D-44EA-A46E-B9542D8A1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351D706-EEA8-47A3-892B-B9B32DA1E0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DAD467-B202-4DFA-9E50-071141F60B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4638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0052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15107FBC-AEB8-40DE-A974-FBE03D79D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00" y="-1"/>
            <a:ext cx="10858500" cy="10287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FD039C9-3866-4694-A96B-56B52D3B1E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0400" y="1130300"/>
            <a:ext cx="10858500" cy="5003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31C62C0-6DDD-466A-9A6A-4C8E16CF4F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400" y="6235700"/>
            <a:ext cx="2832652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3F797746-5315-42E5-8715-B385B7B51A43}" type="datetime1">
              <a:rPr lang="zh-CN" altLang="en-US" smtClean="0"/>
              <a:pPr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27C8BBC-7E6E-451C-8D0C-6331633886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65161" y="6235700"/>
            <a:ext cx="4248978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200"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B2E968A-E39F-400B-BDB0-F8BD398BB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6248" y="6235700"/>
            <a:ext cx="2832652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4A2702D6-7180-491C-910B-B9B8CEB6939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866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9968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374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459">
          <p15:clr>
            <a:srgbClr val="F26B43"/>
          </p15:clr>
        </p15:guide>
        <p15:guide id="6" orient="horz" pos="346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orient="horz" pos="386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282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1731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15107FBC-AEB8-40DE-A974-FBE03D79D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00" y="-1"/>
            <a:ext cx="10858500" cy="10287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FD039C9-3866-4694-A96B-56B52D3B1E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0400" y="1130300"/>
            <a:ext cx="10858500" cy="5003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31C62C0-6DDD-466A-9A6A-4C8E16CF4F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400" y="6235700"/>
            <a:ext cx="2832652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797746-5315-42E5-8715-B385B7B51A43}" type="datetime1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27C8BBC-7E6E-451C-8D0C-6331633886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65161" y="6235700"/>
            <a:ext cx="4248978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B2E968A-E39F-400B-BDB0-F8BD398BB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6248" y="6235700"/>
            <a:ext cx="2832652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2702D6-7180-491C-910B-B9B8CEB693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2098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321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459">
          <p15:clr>
            <a:srgbClr val="F26B43"/>
          </p15:clr>
        </p15:guide>
        <p15:guide id="6" orient="horz" pos="346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orient="horz" pos="3861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8216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08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70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7528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5535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459">
          <p15:clr>
            <a:srgbClr val="F26B43"/>
          </p15:clr>
        </p15:guide>
        <p15:guide id="6" orient="horz" pos="346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orient="horz" pos="3861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15107FBC-AEB8-40DE-A974-FBE03D79D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00" y="-1"/>
            <a:ext cx="10858500" cy="10287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FD039C9-3866-4694-A96B-56B52D3B1E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0400" y="1130300"/>
            <a:ext cx="10858500" cy="5003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31C62C0-6DDD-466A-9A6A-4C8E16CF4F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400" y="6235700"/>
            <a:ext cx="2832652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797746-5315-42E5-8715-B385B7B51A43}" type="datetime1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27C8BBC-7E6E-451C-8D0C-6331633886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65161" y="6235700"/>
            <a:ext cx="4248978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 dirty="0"/>
              <a:t>设计师设计</a:t>
            </a:r>
            <a:r>
              <a:rPr lang="en-US" altLang="zh-CN" dirty="0"/>
              <a:t>——</a:t>
            </a:r>
            <a:r>
              <a:rPr lang="zh-CN" altLang="en-US" dirty="0"/>
              <a:t>让设计更简单！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B2E968A-E39F-400B-BDB0-F8BD398BB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6248" y="6235700"/>
            <a:ext cx="2832652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2702D6-7180-491C-910B-B9B8CEB693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15728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EA50F7-E9AA-423B-832F-CF930DEBB29B}" type="datetimeFigureOut">
              <a:rPr lang="zh-CN" altLang="en-US" smtClean="0"/>
              <a:pPr/>
              <a:t>2023/7/1/Sat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0F2E8-426F-41F9-AE62-CA040F3DDD2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726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384DDBC-EEDB-4276-83B9-E703D93E7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699EC15-A407-430D-A895-0A984A31E7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F7782CD-B3B2-4259-A996-F7906E4406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500E7D-E38F-4E61-910C-504F55AA0657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2F3736B-59B0-43D8-9AAF-4531EE9F8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B98C6EB-7E53-4117-A9AE-8808B9E232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D25ED5-8995-4D33-8CC1-7018A8101A8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7260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4944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8290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459">
          <p15:clr>
            <a:srgbClr val="F26B43"/>
          </p15:clr>
        </p15:guide>
        <p15:guide id="6" orient="horz" pos="346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orient="horz" pos="386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7441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459">
          <p15:clr>
            <a:srgbClr val="F26B43"/>
          </p15:clr>
        </p15:guide>
        <p15:guide id="6" orient="horz" pos="346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orient="horz" pos="386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8883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61C6CA-0F40-48A2-92F1-9ABA92E79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342341B-C9C9-42E9-88C3-1C9D85404A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4272913-A86D-4B4E-979A-DEBB1F3D2A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AA7146-349A-496F-9E28-2A238CAD9736}" type="datetimeFigureOut">
              <a:rPr lang="zh-CN" altLang="en-US" smtClean="0"/>
              <a:t>2023/7/1/Sat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F6D6BA4-7C1A-430B-9BAD-94791112BF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4EDC60C-9DBB-4A88-A25B-BFFB3D960C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61E1B9-D400-4396-B2A8-81B5725F9B3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2399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66.xml"/><Relationship Id="rId1" Type="http://schemas.openxmlformats.org/officeDocument/2006/relationships/tags" Target="../tags/tag16.xml"/><Relationship Id="rId4" Type="http://schemas.openxmlformats.org/officeDocument/2006/relationships/image" Target="../media/image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jp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microsoft.com/office/2007/relationships/hdphoto" Target="../media/hdphoto2.wdp"/><Relationship Id="rId4" Type="http://schemas.openxmlformats.org/officeDocument/2006/relationships/image" Target="../media/image13.png"/></Relationships>
</file>

<file path=ppt/slides/_rels/slide5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7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0.xml"/></Relationships>
</file>

<file path=ppt/slides/_rels/slide5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4.png"/></Relationships>
</file>

<file path=ppt/slides/_rels/slide57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0.xml"/><Relationship Id="rId5" Type="http://schemas.microsoft.com/office/2007/relationships/hdphoto" Target="../media/hdphoto7.wdp"/><Relationship Id="rId4" Type="http://schemas.openxmlformats.org/officeDocument/2006/relationships/image" Target="../media/image28.pn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microsoft.com/office/2007/relationships/hdphoto" Target="../media/hdphoto8.wdp"/><Relationship Id="rId7" Type="http://schemas.openxmlformats.org/officeDocument/2006/relationships/image" Target="../media/image3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19.xml"/><Relationship Id="rId4" Type="http://schemas.microsoft.com/office/2007/relationships/hdphoto" Target="../media/hdphoto9.wdp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sv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svg"/></Relationships>
</file>

<file path=ppt/slides/_rels/slide65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69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microsoft.com/office/2007/relationships/hdphoto" Target="../media/hdphoto12.wdp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5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7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7.png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63.svg"/><Relationship Id="rId3" Type="http://schemas.openxmlformats.org/officeDocument/2006/relationships/image" Target="../media/image42.svg"/><Relationship Id="rId7" Type="http://schemas.openxmlformats.org/officeDocument/2006/relationships/image" Target="../media/image61.svg"/><Relationship Id="rId12" Type="http://schemas.openxmlformats.org/officeDocument/2006/relationships/image" Target="../media/image6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60.png"/><Relationship Id="rId11" Type="http://schemas.openxmlformats.org/officeDocument/2006/relationships/image" Target="../media/image40.svg"/><Relationship Id="rId5" Type="http://schemas.openxmlformats.org/officeDocument/2006/relationships/image" Target="../media/image59.svg"/><Relationship Id="rId10" Type="http://schemas.openxmlformats.org/officeDocument/2006/relationships/image" Target="../media/image39.png"/><Relationship Id="rId4" Type="http://schemas.openxmlformats.org/officeDocument/2006/relationships/image" Target="../media/image58.png"/><Relationship Id="rId9" Type="http://schemas.openxmlformats.org/officeDocument/2006/relationships/image" Target="../media/image38.sv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microsoft.com/office/2007/relationships/hdphoto" Target="../media/hdphoto13.wdp"/><Relationship Id="rId7" Type="http://schemas.microsoft.com/office/2007/relationships/hdphoto" Target="../media/hdphoto15.wdp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6.png"/><Relationship Id="rId11" Type="http://schemas.microsoft.com/office/2007/relationships/hdphoto" Target="../media/hdphoto17.wdp"/><Relationship Id="rId5" Type="http://schemas.microsoft.com/office/2007/relationships/hdphoto" Target="../media/hdphoto14.wdp"/><Relationship Id="rId10" Type="http://schemas.openxmlformats.org/officeDocument/2006/relationships/image" Target="../media/image68.png"/><Relationship Id="rId4" Type="http://schemas.openxmlformats.org/officeDocument/2006/relationships/image" Target="../media/image65.png"/><Relationship Id="rId9" Type="http://schemas.microsoft.com/office/2007/relationships/hdphoto" Target="../media/hdphoto16.wdp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72.png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2">
            <a:extLst>
              <a:ext uri="{FF2B5EF4-FFF2-40B4-BE49-F238E27FC236}">
                <a16:creationId xmlns:a16="http://schemas.microsoft.com/office/drawing/2014/main" id="{579D457B-5E5F-E8A0-F464-5B442F0C923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58303" y="4010953"/>
            <a:ext cx="9069380" cy="1040530"/>
          </a:xfrm>
          <a:custGeom>
            <a:avLst/>
            <a:gdLst/>
            <a:ahLst/>
            <a:cxnLst/>
            <a:rect l="l" t="t" r="r" b="b"/>
            <a:pathLst>
              <a:path w="9069380" h="1040530">
                <a:moveTo>
                  <a:pt x="8158552" y="14574"/>
                </a:moveTo>
                <a:lnTo>
                  <a:pt x="8448560" y="14574"/>
                </a:lnTo>
                <a:lnTo>
                  <a:pt x="8448560" y="663083"/>
                </a:lnTo>
                <a:cubicBezTo>
                  <a:pt x="8448560" y="679600"/>
                  <a:pt x="8450504" y="695630"/>
                  <a:pt x="8454390" y="711175"/>
                </a:cubicBezTo>
                <a:cubicBezTo>
                  <a:pt x="8458276" y="726720"/>
                  <a:pt x="8466290" y="740564"/>
                  <a:pt x="8478435" y="752709"/>
                </a:cubicBezTo>
                <a:cubicBezTo>
                  <a:pt x="8490580" y="764853"/>
                  <a:pt x="8507339" y="774569"/>
                  <a:pt x="8528713" y="781855"/>
                </a:cubicBezTo>
                <a:cubicBezTo>
                  <a:pt x="8550088" y="789142"/>
                  <a:pt x="8578263" y="792785"/>
                  <a:pt x="8613238" y="792785"/>
                </a:cubicBezTo>
                <a:cubicBezTo>
                  <a:pt x="8649185" y="792785"/>
                  <a:pt x="8678089" y="788656"/>
                  <a:pt x="8699949" y="780398"/>
                </a:cubicBezTo>
                <a:cubicBezTo>
                  <a:pt x="8721809" y="772140"/>
                  <a:pt x="8738811" y="761453"/>
                  <a:pt x="8750956" y="748337"/>
                </a:cubicBezTo>
                <a:cubicBezTo>
                  <a:pt x="8763100" y="735221"/>
                  <a:pt x="8771115" y="721133"/>
                  <a:pt x="8775001" y="706074"/>
                </a:cubicBezTo>
                <a:cubicBezTo>
                  <a:pt x="8778888" y="691015"/>
                  <a:pt x="8780831" y="676685"/>
                  <a:pt x="8780831" y="663083"/>
                </a:cubicBezTo>
                <a:lnTo>
                  <a:pt x="8780831" y="14574"/>
                </a:lnTo>
                <a:lnTo>
                  <a:pt x="9069380" y="14574"/>
                </a:lnTo>
                <a:lnTo>
                  <a:pt x="9069380" y="683486"/>
                </a:lnTo>
                <a:cubicBezTo>
                  <a:pt x="9069380" y="747608"/>
                  <a:pt x="9058937" y="802501"/>
                  <a:pt x="9038049" y="848164"/>
                </a:cubicBezTo>
                <a:cubicBezTo>
                  <a:pt x="9017160" y="893826"/>
                  <a:pt x="8987042" y="930745"/>
                  <a:pt x="8947694" y="958920"/>
                </a:cubicBezTo>
                <a:cubicBezTo>
                  <a:pt x="8908346" y="987095"/>
                  <a:pt x="8860498" y="1007741"/>
                  <a:pt x="8804148" y="1020857"/>
                </a:cubicBezTo>
                <a:cubicBezTo>
                  <a:pt x="8747798" y="1033972"/>
                  <a:pt x="8684161" y="1040530"/>
                  <a:pt x="8613238" y="1040530"/>
                </a:cubicBezTo>
                <a:cubicBezTo>
                  <a:pt x="8542315" y="1040530"/>
                  <a:pt x="8478678" y="1035187"/>
                  <a:pt x="8422328" y="1024500"/>
                </a:cubicBezTo>
                <a:cubicBezTo>
                  <a:pt x="8365979" y="1013813"/>
                  <a:pt x="8318372" y="995110"/>
                  <a:pt x="8279511" y="968393"/>
                </a:cubicBezTo>
                <a:cubicBezTo>
                  <a:pt x="8240648" y="941675"/>
                  <a:pt x="8210773" y="905242"/>
                  <a:pt x="8189885" y="859093"/>
                </a:cubicBezTo>
                <a:cubicBezTo>
                  <a:pt x="8168996" y="812945"/>
                  <a:pt x="8158552" y="754409"/>
                  <a:pt x="8158552" y="683486"/>
                </a:cubicBezTo>
                <a:close/>
                <a:moveTo>
                  <a:pt x="7267212" y="14574"/>
                </a:moveTo>
                <a:lnTo>
                  <a:pt x="8038138" y="14574"/>
                </a:lnTo>
                <a:lnTo>
                  <a:pt x="8038138" y="268148"/>
                </a:lnTo>
                <a:lnTo>
                  <a:pt x="7796221" y="268148"/>
                </a:lnTo>
                <a:lnTo>
                  <a:pt x="7796221" y="1025957"/>
                </a:lnTo>
                <a:lnTo>
                  <a:pt x="7507671" y="1025957"/>
                </a:lnTo>
                <a:lnTo>
                  <a:pt x="7507671" y="268148"/>
                </a:lnTo>
                <a:lnTo>
                  <a:pt x="7267212" y="268148"/>
                </a:lnTo>
                <a:close/>
                <a:moveTo>
                  <a:pt x="5181600" y="14574"/>
                </a:moveTo>
                <a:lnTo>
                  <a:pt x="5618798" y="14574"/>
                </a:lnTo>
                <a:lnTo>
                  <a:pt x="5828652" y="648510"/>
                </a:lnTo>
                <a:lnTo>
                  <a:pt x="5837396" y="648510"/>
                </a:lnTo>
                <a:lnTo>
                  <a:pt x="5837396" y="14574"/>
                </a:lnTo>
                <a:lnTo>
                  <a:pt x="6120117" y="14574"/>
                </a:lnTo>
                <a:lnTo>
                  <a:pt x="6120117" y="1025957"/>
                </a:lnTo>
                <a:lnTo>
                  <a:pt x="5716438" y="1025957"/>
                </a:lnTo>
                <a:lnTo>
                  <a:pt x="5475980" y="349758"/>
                </a:lnTo>
                <a:lnTo>
                  <a:pt x="5467235" y="349758"/>
                </a:lnTo>
                <a:lnTo>
                  <a:pt x="5467235" y="1025957"/>
                </a:lnTo>
                <a:lnTo>
                  <a:pt x="5181600" y="1025957"/>
                </a:lnTo>
                <a:close/>
                <a:moveTo>
                  <a:pt x="4352925" y="14574"/>
                </a:moveTo>
                <a:lnTo>
                  <a:pt x="5013093" y="14574"/>
                </a:lnTo>
                <a:lnTo>
                  <a:pt x="5013093" y="265234"/>
                </a:lnTo>
                <a:lnTo>
                  <a:pt x="4642933" y="265234"/>
                </a:lnTo>
                <a:lnTo>
                  <a:pt x="4642933" y="393478"/>
                </a:lnTo>
                <a:lnTo>
                  <a:pt x="4982489" y="393478"/>
                </a:lnTo>
                <a:lnTo>
                  <a:pt x="4982489" y="633937"/>
                </a:lnTo>
                <a:lnTo>
                  <a:pt x="4642933" y="633937"/>
                </a:lnTo>
                <a:lnTo>
                  <a:pt x="4642933" y="776755"/>
                </a:lnTo>
                <a:lnTo>
                  <a:pt x="5021837" y="776755"/>
                </a:lnTo>
                <a:lnTo>
                  <a:pt x="5021837" y="1025957"/>
                </a:lnTo>
                <a:lnTo>
                  <a:pt x="4352925" y="1025957"/>
                </a:lnTo>
                <a:close/>
                <a:moveTo>
                  <a:pt x="3257550" y="14574"/>
                </a:moveTo>
                <a:lnTo>
                  <a:pt x="3547558" y="14574"/>
                </a:lnTo>
                <a:lnTo>
                  <a:pt x="3547558" y="368704"/>
                </a:lnTo>
                <a:lnTo>
                  <a:pt x="3868170" y="368704"/>
                </a:lnTo>
                <a:lnTo>
                  <a:pt x="3868170" y="14574"/>
                </a:lnTo>
                <a:lnTo>
                  <a:pt x="4158177" y="14574"/>
                </a:lnTo>
                <a:lnTo>
                  <a:pt x="4158177" y="1025957"/>
                </a:lnTo>
                <a:lnTo>
                  <a:pt x="3868170" y="1025957"/>
                </a:lnTo>
                <a:lnTo>
                  <a:pt x="3868170" y="610620"/>
                </a:lnTo>
                <a:lnTo>
                  <a:pt x="3547558" y="610620"/>
                </a:lnTo>
                <a:lnTo>
                  <a:pt x="3547558" y="1025957"/>
                </a:lnTo>
                <a:lnTo>
                  <a:pt x="3257550" y="1025957"/>
                </a:lnTo>
                <a:close/>
                <a:moveTo>
                  <a:pt x="1271978" y="14574"/>
                </a:moveTo>
                <a:lnTo>
                  <a:pt x="1561986" y="14574"/>
                </a:lnTo>
                <a:lnTo>
                  <a:pt x="1561986" y="663083"/>
                </a:lnTo>
                <a:cubicBezTo>
                  <a:pt x="1561986" y="679600"/>
                  <a:pt x="1563929" y="695630"/>
                  <a:pt x="1567815" y="711175"/>
                </a:cubicBezTo>
                <a:cubicBezTo>
                  <a:pt x="1571701" y="726720"/>
                  <a:pt x="1579716" y="740564"/>
                  <a:pt x="1591861" y="752709"/>
                </a:cubicBezTo>
                <a:cubicBezTo>
                  <a:pt x="1604005" y="764853"/>
                  <a:pt x="1620764" y="774569"/>
                  <a:pt x="1642139" y="781855"/>
                </a:cubicBezTo>
                <a:cubicBezTo>
                  <a:pt x="1663512" y="789142"/>
                  <a:pt x="1691688" y="792785"/>
                  <a:pt x="1726663" y="792785"/>
                </a:cubicBezTo>
                <a:cubicBezTo>
                  <a:pt x="1762611" y="792785"/>
                  <a:pt x="1791514" y="788656"/>
                  <a:pt x="1813374" y="780398"/>
                </a:cubicBezTo>
                <a:cubicBezTo>
                  <a:pt x="1835234" y="772140"/>
                  <a:pt x="1852236" y="761453"/>
                  <a:pt x="1864381" y="748337"/>
                </a:cubicBezTo>
                <a:cubicBezTo>
                  <a:pt x="1876525" y="735221"/>
                  <a:pt x="1884540" y="721133"/>
                  <a:pt x="1888426" y="706074"/>
                </a:cubicBezTo>
                <a:cubicBezTo>
                  <a:pt x="1892312" y="691015"/>
                  <a:pt x="1894256" y="676685"/>
                  <a:pt x="1894256" y="663083"/>
                </a:cubicBezTo>
                <a:lnTo>
                  <a:pt x="1894256" y="14574"/>
                </a:lnTo>
                <a:lnTo>
                  <a:pt x="2182806" y="14574"/>
                </a:lnTo>
                <a:lnTo>
                  <a:pt x="2182806" y="683486"/>
                </a:lnTo>
                <a:cubicBezTo>
                  <a:pt x="2182806" y="747608"/>
                  <a:pt x="2172362" y="802501"/>
                  <a:pt x="2151474" y="848164"/>
                </a:cubicBezTo>
                <a:cubicBezTo>
                  <a:pt x="2130585" y="893826"/>
                  <a:pt x="2100467" y="930745"/>
                  <a:pt x="2061120" y="958920"/>
                </a:cubicBezTo>
                <a:cubicBezTo>
                  <a:pt x="2021772" y="987095"/>
                  <a:pt x="1973923" y="1007741"/>
                  <a:pt x="1917573" y="1020857"/>
                </a:cubicBezTo>
                <a:cubicBezTo>
                  <a:pt x="1861223" y="1033972"/>
                  <a:pt x="1797587" y="1040530"/>
                  <a:pt x="1726663" y="1040530"/>
                </a:cubicBezTo>
                <a:cubicBezTo>
                  <a:pt x="1655740" y="1040530"/>
                  <a:pt x="1592104" y="1035187"/>
                  <a:pt x="1535754" y="1024500"/>
                </a:cubicBezTo>
                <a:cubicBezTo>
                  <a:pt x="1479404" y="1013813"/>
                  <a:pt x="1431798" y="995110"/>
                  <a:pt x="1392936" y="968393"/>
                </a:cubicBezTo>
                <a:cubicBezTo>
                  <a:pt x="1354074" y="941675"/>
                  <a:pt x="1324199" y="905242"/>
                  <a:pt x="1303310" y="859093"/>
                </a:cubicBezTo>
                <a:cubicBezTo>
                  <a:pt x="1282422" y="812945"/>
                  <a:pt x="1271978" y="754409"/>
                  <a:pt x="1271978" y="683486"/>
                </a:cubicBezTo>
                <a:close/>
                <a:moveTo>
                  <a:pt x="790575" y="14574"/>
                </a:moveTo>
                <a:lnTo>
                  <a:pt x="1080582" y="14574"/>
                </a:lnTo>
                <a:lnTo>
                  <a:pt x="1080582" y="1025957"/>
                </a:lnTo>
                <a:lnTo>
                  <a:pt x="790575" y="1025957"/>
                </a:lnTo>
                <a:close/>
                <a:moveTo>
                  <a:pt x="0" y="14574"/>
                </a:moveTo>
                <a:lnTo>
                  <a:pt x="290007" y="14574"/>
                </a:lnTo>
                <a:lnTo>
                  <a:pt x="290007" y="776755"/>
                </a:lnTo>
                <a:lnTo>
                  <a:pt x="664540" y="776755"/>
                </a:lnTo>
                <a:lnTo>
                  <a:pt x="664540" y="1025957"/>
                </a:lnTo>
                <a:lnTo>
                  <a:pt x="0" y="1025957"/>
                </a:lnTo>
                <a:close/>
                <a:moveTo>
                  <a:pt x="6807651" y="0"/>
                </a:moveTo>
                <a:cubicBezTo>
                  <a:pt x="6831939" y="0"/>
                  <a:pt x="6857199" y="972"/>
                  <a:pt x="6883431" y="2915"/>
                </a:cubicBezTo>
                <a:cubicBezTo>
                  <a:pt x="6909663" y="4858"/>
                  <a:pt x="6935167" y="7287"/>
                  <a:pt x="6959941" y="10202"/>
                </a:cubicBezTo>
                <a:cubicBezTo>
                  <a:pt x="6984716" y="13116"/>
                  <a:pt x="7007789" y="16517"/>
                  <a:pt x="7029164" y="20403"/>
                </a:cubicBezTo>
                <a:cubicBezTo>
                  <a:pt x="7050538" y="24289"/>
                  <a:pt x="7068997" y="28661"/>
                  <a:pt x="7084542" y="33519"/>
                </a:cubicBezTo>
                <a:lnTo>
                  <a:pt x="7084542" y="285636"/>
                </a:lnTo>
                <a:cubicBezTo>
                  <a:pt x="7043737" y="272034"/>
                  <a:pt x="7001231" y="261833"/>
                  <a:pt x="6957026" y="255032"/>
                </a:cubicBezTo>
                <a:cubicBezTo>
                  <a:pt x="6912821" y="248231"/>
                  <a:pt x="6871287" y="244831"/>
                  <a:pt x="6832425" y="244831"/>
                </a:cubicBezTo>
                <a:cubicBezTo>
                  <a:pt x="6789677" y="244831"/>
                  <a:pt x="6754215" y="249689"/>
                  <a:pt x="6726041" y="259404"/>
                </a:cubicBezTo>
                <a:cubicBezTo>
                  <a:pt x="6697866" y="269120"/>
                  <a:pt x="6675034" y="284907"/>
                  <a:pt x="6657546" y="306767"/>
                </a:cubicBezTo>
                <a:cubicBezTo>
                  <a:pt x="6640059" y="328627"/>
                  <a:pt x="6627671" y="357045"/>
                  <a:pt x="6620385" y="392021"/>
                </a:cubicBezTo>
                <a:cubicBezTo>
                  <a:pt x="6613098" y="426997"/>
                  <a:pt x="6609455" y="469745"/>
                  <a:pt x="6609455" y="520265"/>
                </a:cubicBezTo>
                <a:cubicBezTo>
                  <a:pt x="6609455" y="572729"/>
                  <a:pt x="6611883" y="616935"/>
                  <a:pt x="6616741" y="652882"/>
                </a:cubicBezTo>
                <a:cubicBezTo>
                  <a:pt x="6621599" y="688829"/>
                  <a:pt x="6631557" y="717733"/>
                  <a:pt x="6646616" y="739593"/>
                </a:cubicBezTo>
                <a:cubicBezTo>
                  <a:pt x="6661675" y="761453"/>
                  <a:pt x="6683050" y="776997"/>
                  <a:pt x="6710739" y="786227"/>
                </a:cubicBezTo>
                <a:cubicBezTo>
                  <a:pt x="6738428" y="795457"/>
                  <a:pt x="6774618" y="800072"/>
                  <a:pt x="6819309" y="800072"/>
                </a:cubicBezTo>
                <a:cubicBezTo>
                  <a:pt x="6838740" y="800072"/>
                  <a:pt x="6851613" y="800072"/>
                  <a:pt x="6857928" y="800072"/>
                </a:cubicBezTo>
                <a:cubicBezTo>
                  <a:pt x="6864243" y="800072"/>
                  <a:pt x="6872744" y="799586"/>
                  <a:pt x="6883431" y="798614"/>
                </a:cubicBezTo>
                <a:lnTo>
                  <a:pt x="6883431" y="651425"/>
                </a:lnTo>
                <a:lnTo>
                  <a:pt x="6734785" y="651425"/>
                </a:lnTo>
                <a:lnTo>
                  <a:pt x="6734785" y="409509"/>
                </a:lnTo>
                <a:lnTo>
                  <a:pt x="7150122" y="409509"/>
                </a:lnTo>
                <a:lnTo>
                  <a:pt x="7150122" y="993896"/>
                </a:lnTo>
                <a:cubicBezTo>
                  <a:pt x="7130691" y="999725"/>
                  <a:pt x="7107616" y="1005555"/>
                  <a:pt x="7080899" y="1011384"/>
                </a:cubicBezTo>
                <a:cubicBezTo>
                  <a:pt x="7054181" y="1017213"/>
                  <a:pt x="7025521" y="1022314"/>
                  <a:pt x="6994917" y="1026686"/>
                </a:cubicBezTo>
                <a:cubicBezTo>
                  <a:pt x="6964313" y="1031058"/>
                  <a:pt x="6932495" y="1034458"/>
                  <a:pt x="6899462" y="1036887"/>
                </a:cubicBezTo>
                <a:cubicBezTo>
                  <a:pt x="6866429" y="1039316"/>
                  <a:pt x="6834854" y="1040530"/>
                  <a:pt x="6804736" y="1040530"/>
                </a:cubicBezTo>
                <a:cubicBezTo>
                  <a:pt x="6723126" y="1040530"/>
                  <a:pt x="6650502" y="1033244"/>
                  <a:pt x="6586866" y="1018671"/>
                </a:cubicBezTo>
                <a:cubicBezTo>
                  <a:pt x="6523229" y="1004097"/>
                  <a:pt x="6469308" y="977623"/>
                  <a:pt x="6425103" y="939246"/>
                </a:cubicBezTo>
                <a:cubicBezTo>
                  <a:pt x="6380897" y="900870"/>
                  <a:pt x="6347136" y="847921"/>
                  <a:pt x="6323819" y="780398"/>
                </a:cubicBezTo>
                <a:cubicBezTo>
                  <a:pt x="6300502" y="712875"/>
                  <a:pt x="6288843" y="626164"/>
                  <a:pt x="6288843" y="520265"/>
                </a:cubicBezTo>
                <a:cubicBezTo>
                  <a:pt x="6288843" y="423110"/>
                  <a:pt x="6300987" y="341257"/>
                  <a:pt x="6325276" y="274706"/>
                </a:cubicBezTo>
                <a:cubicBezTo>
                  <a:pt x="6349565" y="208155"/>
                  <a:pt x="6384054" y="154477"/>
                  <a:pt x="6428746" y="113672"/>
                </a:cubicBezTo>
                <a:cubicBezTo>
                  <a:pt x="6473437" y="72867"/>
                  <a:pt x="6527844" y="43720"/>
                  <a:pt x="6591967" y="26232"/>
                </a:cubicBezTo>
                <a:cubicBezTo>
                  <a:pt x="6656089" y="8744"/>
                  <a:pt x="6727983" y="0"/>
                  <a:pt x="6807651" y="0"/>
                </a:cubicBezTo>
                <a:close/>
                <a:moveTo>
                  <a:pt x="2842441" y="0"/>
                </a:moveTo>
                <a:cubicBezTo>
                  <a:pt x="2891990" y="0"/>
                  <a:pt x="2938138" y="3158"/>
                  <a:pt x="2980887" y="9473"/>
                </a:cubicBezTo>
                <a:cubicBezTo>
                  <a:pt x="3023635" y="15788"/>
                  <a:pt x="3060554" y="24775"/>
                  <a:pt x="3091643" y="36433"/>
                </a:cubicBezTo>
                <a:lnTo>
                  <a:pt x="3091643" y="282722"/>
                </a:lnTo>
                <a:cubicBezTo>
                  <a:pt x="3023635" y="257461"/>
                  <a:pt x="2948340" y="244831"/>
                  <a:pt x="2865758" y="244831"/>
                </a:cubicBezTo>
                <a:cubicBezTo>
                  <a:pt x="2828839" y="244831"/>
                  <a:pt x="2797750" y="249446"/>
                  <a:pt x="2772489" y="258676"/>
                </a:cubicBezTo>
                <a:cubicBezTo>
                  <a:pt x="2747229" y="267905"/>
                  <a:pt x="2726341" y="283207"/>
                  <a:pt x="2709824" y="304581"/>
                </a:cubicBezTo>
                <a:cubicBezTo>
                  <a:pt x="2693308" y="325955"/>
                  <a:pt x="2681407" y="354373"/>
                  <a:pt x="2674119" y="389835"/>
                </a:cubicBezTo>
                <a:cubicBezTo>
                  <a:pt x="2666834" y="425296"/>
                  <a:pt x="2663190" y="468773"/>
                  <a:pt x="2663190" y="520265"/>
                </a:cubicBezTo>
                <a:cubicBezTo>
                  <a:pt x="2663190" y="574672"/>
                  <a:pt x="2667319" y="619364"/>
                  <a:pt x="2675577" y="654339"/>
                </a:cubicBezTo>
                <a:cubicBezTo>
                  <a:pt x="2683835" y="689315"/>
                  <a:pt x="2696465" y="716761"/>
                  <a:pt x="2713468" y="736678"/>
                </a:cubicBezTo>
                <a:cubicBezTo>
                  <a:pt x="2730469" y="756595"/>
                  <a:pt x="2751844" y="770440"/>
                  <a:pt x="2777590" y="778212"/>
                </a:cubicBezTo>
                <a:cubicBezTo>
                  <a:pt x="2803336" y="785984"/>
                  <a:pt x="2834182" y="789871"/>
                  <a:pt x="2870130" y="789871"/>
                </a:cubicBezTo>
                <a:cubicBezTo>
                  <a:pt x="2908021" y="789871"/>
                  <a:pt x="2946639" y="787199"/>
                  <a:pt x="2985987" y="781855"/>
                </a:cubicBezTo>
                <a:cubicBezTo>
                  <a:pt x="3025335" y="776512"/>
                  <a:pt x="3064440" y="767039"/>
                  <a:pt x="3103302" y="753437"/>
                </a:cubicBezTo>
                <a:lnTo>
                  <a:pt x="3103302" y="999725"/>
                </a:lnTo>
                <a:cubicBezTo>
                  <a:pt x="3072212" y="1011384"/>
                  <a:pt x="3034807" y="1021099"/>
                  <a:pt x="2991088" y="1028872"/>
                </a:cubicBezTo>
                <a:cubicBezTo>
                  <a:pt x="2947368" y="1036644"/>
                  <a:pt x="2902191" y="1040530"/>
                  <a:pt x="2855557" y="1040530"/>
                </a:cubicBezTo>
                <a:cubicBezTo>
                  <a:pt x="2777833" y="1040530"/>
                  <a:pt x="2707638" y="1033244"/>
                  <a:pt x="2644973" y="1018671"/>
                </a:cubicBezTo>
                <a:cubicBezTo>
                  <a:pt x="2582308" y="1004097"/>
                  <a:pt x="2528873" y="977623"/>
                  <a:pt x="2484668" y="939246"/>
                </a:cubicBezTo>
                <a:cubicBezTo>
                  <a:pt x="2440462" y="900870"/>
                  <a:pt x="2406215" y="847921"/>
                  <a:pt x="2381926" y="780398"/>
                </a:cubicBezTo>
                <a:cubicBezTo>
                  <a:pt x="2357637" y="712875"/>
                  <a:pt x="2345493" y="626164"/>
                  <a:pt x="2345493" y="520265"/>
                </a:cubicBezTo>
                <a:cubicBezTo>
                  <a:pt x="2345493" y="423110"/>
                  <a:pt x="2357152" y="341257"/>
                  <a:pt x="2380469" y="274706"/>
                </a:cubicBezTo>
                <a:cubicBezTo>
                  <a:pt x="2403786" y="208155"/>
                  <a:pt x="2437061" y="154477"/>
                  <a:pt x="2480295" y="113672"/>
                </a:cubicBezTo>
                <a:cubicBezTo>
                  <a:pt x="2523529" y="72867"/>
                  <a:pt x="2575750" y="43720"/>
                  <a:pt x="2636958" y="26232"/>
                </a:cubicBezTo>
                <a:cubicBezTo>
                  <a:pt x="2698166" y="8744"/>
                  <a:pt x="2766660" y="0"/>
                  <a:pt x="284244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glow>
              <a:srgbClr val="000000"/>
            </a:glo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1500" dirty="0"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35C0FE29-4AF2-1629-70D9-BF01681ABE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71184" y="1959252"/>
            <a:ext cx="6049632" cy="1957673"/>
          </a:xfrm>
          <a:custGeom>
            <a:avLst/>
            <a:gdLst/>
            <a:ahLst/>
            <a:cxnLst/>
            <a:rect l="l" t="t" r="r" b="b"/>
            <a:pathLst>
              <a:path w="6049632" h="1957673">
                <a:moveTo>
                  <a:pt x="4675051" y="1263015"/>
                </a:moveTo>
                <a:cubicBezTo>
                  <a:pt x="4729781" y="1265822"/>
                  <a:pt x="4797845" y="1269681"/>
                  <a:pt x="4879238" y="1274593"/>
                </a:cubicBezTo>
                <a:cubicBezTo>
                  <a:pt x="4960633" y="1279504"/>
                  <a:pt x="5045535" y="1285118"/>
                  <a:pt x="5133946" y="1291433"/>
                </a:cubicBezTo>
                <a:cubicBezTo>
                  <a:pt x="5222357" y="1297748"/>
                  <a:pt x="5310418" y="1305115"/>
                  <a:pt x="5398127" y="1313535"/>
                </a:cubicBezTo>
                <a:cubicBezTo>
                  <a:pt x="5485836" y="1321956"/>
                  <a:pt x="5563371" y="1330376"/>
                  <a:pt x="5630732" y="1338796"/>
                </a:cubicBezTo>
                <a:lnTo>
                  <a:pt x="5609682" y="1570349"/>
                </a:lnTo>
                <a:cubicBezTo>
                  <a:pt x="5546530" y="1561928"/>
                  <a:pt x="5471452" y="1553508"/>
                  <a:pt x="5384444" y="1545088"/>
                </a:cubicBezTo>
                <a:cubicBezTo>
                  <a:pt x="5297437" y="1536668"/>
                  <a:pt x="5208675" y="1528599"/>
                  <a:pt x="5118159" y="1520881"/>
                </a:cubicBezTo>
                <a:cubicBezTo>
                  <a:pt x="5027643" y="1513162"/>
                  <a:pt x="4940284" y="1506145"/>
                  <a:pt x="4856083" y="1499830"/>
                </a:cubicBezTo>
                <a:cubicBezTo>
                  <a:pt x="4771882" y="1493515"/>
                  <a:pt x="4700311" y="1488954"/>
                  <a:pt x="4641370" y="1486147"/>
                </a:cubicBezTo>
                <a:close/>
                <a:moveTo>
                  <a:pt x="189453" y="1069353"/>
                </a:moveTo>
                <a:lnTo>
                  <a:pt x="500996" y="1147239"/>
                </a:lnTo>
                <a:cubicBezTo>
                  <a:pt x="489769" y="1199163"/>
                  <a:pt x="477139" y="1260910"/>
                  <a:pt x="463106" y="1332481"/>
                </a:cubicBezTo>
                <a:cubicBezTo>
                  <a:pt x="449072" y="1404052"/>
                  <a:pt x="434337" y="1477026"/>
                  <a:pt x="418900" y="1551403"/>
                </a:cubicBezTo>
                <a:cubicBezTo>
                  <a:pt x="403463" y="1625781"/>
                  <a:pt x="388728" y="1697703"/>
                  <a:pt x="374695" y="1767168"/>
                </a:cubicBezTo>
                <a:cubicBezTo>
                  <a:pt x="360661" y="1836634"/>
                  <a:pt x="348733" y="1895224"/>
                  <a:pt x="338909" y="1942938"/>
                </a:cubicBezTo>
                <a:lnTo>
                  <a:pt x="6315" y="1862947"/>
                </a:lnTo>
                <a:cubicBezTo>
                  <a:pt x="20349" y="1816636"/>
                  <a:pt x="36137" y="1758397"/>
                  <a:pt x="53678" y="1688230"/>
                </a:cubicBezTo>
                <a:cubicBezTo>
                  <a:pt x="71220" y="1618062"/>
                  <a:pt x="88762" y="1545088"/>
                  <a:pt x="106304" y="1469307"/>
                </a:cubicBezTo>
                <a:cubicBezTo>
                  <a:pt x="123846" y="1393526"/>
                  <a:pt x="139984" y="1320201"/>
                  <a:pt x="154720" y="1249332"/>
                </a:cubicBezTo>
                <a:cubicBezTo>
                  <a:pt x="169455" y="1178463"/>
                  <a:pt x="181032" y="1118470"/>
                  <a:pt x="189453" y="1069353"/>
                </a:cubicBezTo>
                <a:close/>
                <a:moveTo>
                  <a:pt x="1014622" y="1044092"/>
                </a:moveTo>
                <a:lnTo>
                  <a:pt x="1300906" y="1052512"/>
                </a:lnTo>
                <a:lnTo>
                  <a:pt x="1300906" y="1900837"/>
                </a:lnTo>
                <a:lnTo>
                  <a:pt x="1014622" y="1900837"/>
                </a:lnTo>
                <a:close/>
                <a:moveTo>
                  <a:pt x="614668" y="1044092"/>
                </a:moveTo>
                <a:lnTo>
                  <a:pt x="926211" y="1052512"/>
                </a:lnTo>
                <a:lnTo>
                  <a:pt x="926211" y="1313535"/>
                </a:lnTo>
                <a:cubicBezTo>
                  <a:pt x="926211" y="1393526"/>
                  <a:pt x="922703" y="1462992"/>
                  <a:pt x="915686" y="1521933"/>
                </a:cubicBezTo>
                <a:cubicBezTo>
                  <a:pt x="908669" y="1580874"/>
                  <a:pt x="897443" y="1634552"/>
                  <a:pt x="882006" y="1682967"/>
                </a:cubicBezTo>
                <a:cubicBezTo>
                  <a:pt x="866569" y="1731383"/>
                  <a:pt x="845869" y="1777343"/>
                  <a:pt x="819907" y="1820847"/>
                </a:cubicBezTo>
                <a:cubicBezTo>
                  <a:pt x="793945" y="1864350"/>
                  <a:pt x="762019" y="1909959"/>
                  <a:pt x="724129" y="1957673"/>
                </a:cubicBezTo>
                <a:lnTo>
                  <a:pt x="395745" y="1797691"/>
                </a:lnTo>
                <a:cubicBezTo>
                  <a:pt x="437845" y="1761204"/>
                  <a:pt x="472929" y="1725068"/>
                  <a:pt x="500996" y="1689282"/>
                </a:cubicBezTo>
                <a:cubicBezTo>
                  <a:pt x="529063" y="1653497"/>
                  <a:pt x="551517" y="1613502"/>
                  <a:pt x="568357" y="1569296"/>
                </a:cubicBezTo>
                <a:cubicBezTo>
                  <a:pt x="585197" y="1525090"/>
                  <a:pt x="597126" y="1474570"/>
                  <a:pt x="604142" y="1417734"/>
                </a:cubicBezTo>
                <a:cubicBezTo>
                  <a:pt x="611159" y="1360899"/>
                  <a:pt x="614668" y="1293889"/>
                  <a:pt x="614668" y="1216704"/>
                </a:cubicBezTo>
                <a:close/>
                <a:moveTo>
                  <a:pt x="5144471" y="943051"/>
                </a:moveTo>
                <a:cubicBezTo>
                  <a:pt x="5112195" y="958488"/>
                  <a:pt x="5077812" y="972872"/>
                  <a:pt x="5041325" y="986204"/>
                </a:cubicBezTo>
                <a:cubicBezTo>
                  <a:pt x="5004838" y="999536"/>
                  <a:pt x="4966247" y="1013920"/>
                  <a:pt x="4925549" y="1029357"/>
                </a:cubicBezTo>
                <a:cubicBezTo>
                  <a:pt x="5008347" y="1033567"/>
                  <a:pt x="5097811" y="1039531"/>
                  <a:pt x="5193940" y="1047250"/>
                </a:cubicBezTo>
                <a:cubicBezTo>
                  <a:pt x="5290069" y="1054968"/>
                  <a:pt x="5380234" y="1063038"/>
                  <a:pt x="5464435" y="1071458"/>
                </a:cubicBezTo>
                <a:cubicBezTo>
                  <a:pt x="5342344" y="1029357"/>
                  <a:pt x="5235689" y="986555"/>
                  <a:pt x="5144471" y="943051"/>
                </a:cubicBezTo>
                <a:close/>
                <a:moveTo>
                  <a:pt x="4552960" y="892530"/>
                </a:moveTo>
                <a:lnTo>
                  <a:pt x="4552960" y="1597714"/>
                </a:lnTo>
                <a:lnTo>
                  <a:pt x="5729668" y="1597714"/>
                </a:lnTo>
                <a:lnTo>
                  <a:pt x="5729668" y="911476"/>
                </a:lnTo>
                <a:lnTo>
                  <a:pt x="5641257" y="1126188"/>
                </a:lnTo>
                <a:cubicBezTo>
                  <a:pt x="5618804" y="1119171"/>
                  <a:pt x="5596701" y="1112506"/>
                  <a:pt x="5574948" y="1106191"/>
                </a:cubicBezTo>
                <a:cubicBezTo>
                  <a:pt x="5553197" y="1099875"/>
                  <a:pt x="5532498" y="1093210"/>
                  <a:pt x="5512850" y="1086193"/>
                </a:cubicBezTo>
                <a:lnTo>
                  <a:pt x="5500220" y="1254595"/>
                </a:lnTo>
                <a:cubicBezTo>
                  <a:pt x="5446893" y="1248981"/>
                  <a:pt x="5389005" y="1243017"/>
                  <a:pt x="5326556" y="1236702"/>
                </a:cubicBezTo>
                <a:cubicBezTo>
                  <a:pt x="5264107" y="1230387"/>
                  <a:pt x="5200957" y="1224423"/>
                  <a:pt x="5137104" y="1218809"/>
                </a:cubicBezTo>
                <a:cubicBezTo>
                  <a:pt x="5073252" y="1213196"/>
                  <a:pt x="5010452" y="1208284"/>
                  <a:pt x="4948704" y="1204074"/>
                </a:cubicBezTo>
                <a:cubicBezTo>
                  <a:pt x="4886957" y="1199864"/>
                  <a:pt x="4829419" y="1196356"/>
                  <a:pt x="4776092" y="1193549"/>
                </a:cubicBezTo>
                <a:lnTo>
                  <a:pt x="4795037" y="1073563"/>
                </a:lnTo>
                <a:cubicBezTo>
                  <a:pt x="4771181" y="1080579"/>
                  <a:pt x="4747324" y="1087947"/>
                  <a:pt x="4723467" y="1095665"/>
                </a:cubicBezTo>
                <a:cubicBezTo>
                  <a:pt x="4699610" y="1103384"/>
                  <a:pt x="4674349" y="1110751"/>
                  <a:pt x="4647686" y="1117768"/>
                </a:cubicBezTo>
                <a:close/>
                <a:moveTo>
                  <a:pt x="4952914" y="631507"/>
                </a:moveTo>
                <a:cubicBezTo>
                  <a:pt x="4983788" y="652558"/>
                  <a:pt x="5015012" y="671503"/>
                  <a:pt x="5046588" y="688343"/>
                </a:cubicBezTo>
                <a:cubicBezTo>
                  <a:pt x="5078163" y="705183"/>
                  <a:pt x="5112195" y="721322"/>
                  <a:pt x="5148681" y="736759"/>
                </a:cubicBezTo>
                <a:cubicBezTo>
                  <a:pt x="5176749" y="725532"/>
                  <a:pt x="5208324" y="711498"/>
                  <a:pt x="5243408" y="694658"/>
                </a:cubicBezTo>
                <a:cubicBezTo>
                  <a:pt x="5278491" y="677818"/>
                  <a:pt x="5319891" y="656768"/>
                  <a:pt x="5367604" y="631507"/>
                </a:cubicBezTo>
                <a:close/>
                <a:moveTo>
                  <a:pt x="1223020" y="458895"/>
                </a:moveTo>
                <a:cubicBezTo>
                  <a:pt x="1194953" y="491172"/>
                  <a:pt x="1163377" y="526607"/>
                  <a:pt x="1128294" y="565199"/>
                </a:cubicBezTo>
                <a:cubicBezTo>
                  <a:pt x="1093210" y="603791"/>
                  <a:pt x="1056021" y="640629"/>
                  <a:pt x="1016727" y="675713"/>
                </a:cubicBezTo>
                <a:cubicBezTo>
                  <a:pt x="1054618" y="674310"/>
                  <a:pt x="1106191" y="672555"/>
                  <a:pt x="1171446" y="670450"/>
                </a:cubicBezTo>
                <a:cubicBezTo>
                  <a:pt x="1236702" y="668345"/>
                  <a:pt x="1303011" y="665889"/>
                  <a:pt x="1370371" y="663083"/>
                </a:cubicBezTo>
                <a:lnTo>
                  <a:pt x="1286171" y="562042"/>
                </a:lnTo>
                <a:lnTo>
                  <a:pt x="1490358" y="458895"/>
                </a:lnTo>
                <a:close/>
                <a:moveTo>
                  <a:pt x="4552960" y="338909"/>
                </a:moveTo>
                <a:lnTo>
                  <a:pt x="4552960" y="882005"/>
                </a:lnTo>
                <a:cubicBezTo>
                  <a:pt x="4610497" y="869375"/>
                  <a:pt x="4666982" y="856043"/>
                  <a:pt x="4722414" y="842010"/>
                </a:cubicBezTo>
                <a:cubicBezTo>
                  <a:pt x="4777846" y="827976"/>
                  <a:pt x="4832226" y="812539"/>
                  <a:pt x="4885553" y="795699"/>
                </a:cubicBezTo>
                <a:cubicBezTo>
                  <a:pt x="4868713" y="784473"/>
                  <a:pt x="4851873" y="772544"/>
                  <a:pt x="4835032" y="759914"/>
                </a:cubicBezTo>
                <a:cubicBezTo>
                  <a:pt x="4818193" y="747284"/>
                  <a:pt x="4801353" y="734654"/>
                  <a:pt x="4784512" y="722023"/>
                </a:cubicBezTo>
                <a:cubicBezTo>
                  <a:pt x="4769075" y="733250"/>
                  <a:pt x="4752937" y="744126"/>
                  <a:pt x="4736097" y="754651"/>
                </a:cubicBezTo>
                <a:cubicBezTo>
                  <a:pt x="4719256" y="765176"/>
                  <a:pt x="4702416" y="776052"/>
                  <a:pt x="4685576" y="787279"/>
                </a:cubicBezTo>
                <a:lnTo>
                  <a:pt x="4555065" y="593617"/>
                </a:lnTo>
                <a:cubicBezTo>
                  <a:pt x="4585938" y="573970"/>
                  <a:pt x="4613655" y="556077"/>
                  <a:pt x="4638213" y="539939"/>
                </a:cubicBezTo>
                <a:cubicBezTo>
                  <a:pt x="4662772" y="523800"/>
                  <a:pt x="4685576" y="507311"/>
                  <a:pt x="4706626" y="490471"/>
                </a:cubicBezTo>
                <a:cubicBezTo>
                  <a:pt x="4727677" y="473630"/>
                  <a:pt x="4748026" y="455738"/>
                  <a:pt x="4767672" y="436793"/>
                </a:cubicBezTo>
                <a:cubicBezTo>
                  <a:pt x="4787319" y="417847"/>
                  <a:pt x="4808370" y="395744"/>
                  <a:pt x="4830823" y="370484"/>
                </a:cubicBezTo>
                <a:lnTo>
                  <a:pt x="5131841" y="376799"/>
                </a:lnTo>
                <a:cubicBezTo>
                  <a:pt x="5124825" y="388026"/>
                  <a:pt x="5117457" y="398551"/>
                  <a:pt x="5109738" y="408375"/>
                </a:cubicBezTo>
                <a:cubicBezTo>
                  <a:pt x="5102020" y="418198"/>
                  <a:pt x="5093951" y="428723"/>
                  <a:pt x="5085531" y="439950"/>
                </a:cubicBezTo>
                <a:lnTo>
                  <a:pt x="5643362" y="439950"/>
                </a:lnTo>
                <a:lnTo>
                  <a:pt x="5643362" y="656768"/>
                </a:lnTo>
                <a:cubicBezTo>
                  <a:pt x="5604068" y="683431"/>
                  <a:pt x="5566529" y="708341"/>
                  <a:pt x="5530743" y="731496"/>
                </a:cubicBezTo>
                <a:cubicBezTo>
                  <a:pt x="5494958" y="754651"/>
                  <a:pt x="5459523" y="776754"/>
                  <a:pt x="5424439" y="797804"/>
                </a:cubicBezTo>
                <a:cubicBezTo>
                  <a:pt x="5477768" y="813241"/>
                  <a:pt x="5530743" y="826924"/>
                  <a:pt x="5583369" y="838852"/>
                </a:cubicBezTo>
                <a:cubicBezTo>
                  <a:pt x="5635994" y="850781"/>
                  <a:pt x="5684761" y="860955"/>
                  <a:pt x="5729668" y="869375"/>
                </a:cubicBezTo>
                <a:lnTo>
                  <a:pt x="5729668" y="338909"/>
                </a:lnTo>
                <a:close/>
                <a:moveTo>
                  <a:pt x="3212163" y="317859"/>
                </a:moveTo>
                <a:lnTo>
                  <a:pt x="3212163" y="444160"/>
                </a:lnTo>
                <a:lnTo>
                  <a:pt x="3618433" y="444160"/>
                </a:lnTo>
                <a:lnTo>
                  <a:pt x="3618433" y="317859"/>
                </a:lnTo>
                <a:close/>
                <a:moveTo>
                  <a:pt x="2906935" y="46310"/>
                </a:moveTo>
                <a:lnTo>
                  <a:pt x="3923662" y="46310"/>
                </a:lnTo>
                <a:lnTo>
                  <a:pt x="3923662" y="709393"/>
                </a:lnTo>
                <a:lnTo>
                  <a:pt x="2906935" y="709393"/>
                </a:lnTo>
                <a:close/>
                <a:moveTo>
                  <a:pt x="4237206" y="33680"/>
                </a:moveTo>
                <a:lnTo>
                  <a:pt x="6049632" y="33680"/>
                </a:lnTo>
                <a:lnTo>
                  <a:pt x="6049632" y="1900837"/>
                </a:lnTo>
                <a:lnTo>
                  <a:pt x="4237206" y="1900837"/>
                </a:lnTo>
                <a:close/>
                <a:moveTo>
                  <a:pt x="2801683" y="23155"/>
                </a:moveTo>
                <a:lnTo>
                  <a:pt x="2843784" y="332594"/>
                </a:lnTo>
                <a:cubicBezTo>
                  <a:pt x="2819927" y="335400"/>
                  <a:pt x="2791860" y="338909"/>
                  <a:pt x="2759583" y="343119"/>
                </a:cubicBezTo>
                <a:cubicBezTo>
                  <a:pt x="2727306" y="347329"/>
                  <a:pt x="2692924" y="350837"/>
                  <a:pt x="2656437" y="353644"/>
                </a:cubicBezTo>
                <a:lnTo>
                  <a:pt x="2656437" y="528361"/>
                </a:lnTo>
                <a:lnTo>
                  <a:pt x="2826944" y="528361"/>
                </a:lnTo>
                <a:lnTo>
                  <a:pt x="2826944" y="848325"/>
                </a:lnTo>
                <a:lnTo>
                  <a:pt x="2656437" y="848325"/>
                </a:lnTo>
                <a:lnTo>
                  <a:pt x="2656437" y="1041987"/>
                </a:lnTo>
                <a:lnTo>
                  <a:pt x="2725902" y="978837"/>
                </a:lnTo>
                <a:cubicBezTo>
                  <a:pt x="2734322" y="988660"/>
                  <a:pt x="2746251" y="1002343"/>
                  <a:pt x="2761688" y="1019885"/>
                </a:cubicBezTo>
                <a:cubicBezTo>
                  <a:pt x="2777125" y="1037426"/>
                  <a:pt x="2793965" y="1056372"/>
                  <a:pt x="2812208" y="1076720"/>
                </a:cubicBezTo>
                <a:cubicBezTo>
                  <a:pt x="2830452" y="1097069"/>
                  <a:pt x="2849046" y="1118470"/>
                  <a:pt x="2867992" y="1140923"/>
                </a:cubicBezTo>
                <a:cubicBezTo>
                  <a:pt x="2886937" y="1163377"/>
                  <a:pt x="2904128" y="1185129"/>
                  <a:pt x="2919565" y="1206179"/>
                </a:cubicBezTo>
                <a:lnTo>
                  <a:pt x="2919565" y="1204074"/>
                </a:lnTo>
                <a:lnTo>
                  <a:pt x="3266894" y="1204074"/>
                </a:lnTo>
                <a:lnTo>
                  <a:pt x="3266894" y="1103033"/>
                </a:lnTo>
                <a:lnTo>
                  <a:pt x="2877464" y="1103033"/>
                </a:lnTo>
                <a:lnTo>
                  <a:pt x="2877464" y="806224"/>
                </a:lnTo>
                <a:lnTo>
                  <a:pt x="3951027" y="806224"/>
                </a:lnTo>
                <a:lnTo>
                  <a:pt x="3951027" y="1103033"/>
                </a:lnTo>
                <a:lnTo>
                  <a:pt x="3565808" y="1103033"/>
                </a:lnTo>
                <a:lnTo>
                  <a:pt x="3565808" y="1204074"/>
                </a:lnTo>
                <a:lnTo>
                  <a:pt x="3913137" y="1204074"/>
                </a:lnTo>
                <a:lnTo>
                  <a:pt x="3913137" y="1479832"/>
                </a:lnTo>
                <a:lnTo>
                  <a:pt x="3565808" y="1479832"/>
                </a:lnTo>
                <a:lnTo>
                  <a:pt x="3565808" y="1580874"/>
                </a:lnTo>
                <a:lnTo>
                  <a:pt x="4022598" y="1580874"/>
                </a:lnTo>
                <a:lnTo>
                  <a:pt x="4022598" y="1890312"/>
                </a:lnTo>
                <a:lnTo>
                  <a:pt x="2801683" y="1890312"/>
                </a:lnTo>
                <a:lnTo>
                  <a:pt x="2801683" y="1580874"/>
                </a:lnTo>
                <a:lnTo>
                  <a:pt x="3266894" y="1580874"/>
                </a:lnTo>
                <a:lnTo>
                  <a:pt x="3266894" y="1479832"/>
                </a:lnTo>
                <a:lnTo>
                  <a:pt x="2919565" y="1479832"/>
                </a:lnTo>
                <a:lnTo>
                  <a:pt x="2919565" y="1290380"/>
                </a:lnTo>
                <a:lnTo>
                  <a:pt x="2755373" y="1479832"/>
                </a:lnTo>
                <a:cubicBezTo>
                  <a:pt x="2744146" y="1462992"/>
                  <a:pt x="2729762" y="1441591"/>
                  <a:pt x="2712220" y="1415629"/>
                </a:cubicBezTo>
                <a:cubicBezTo>
                  <a:pt x="2694678" y="1389667"/>
                  <a:pt x="2676084" y="1362653"/>
                  <a:pt x="2656437" y="1334586"/>
                </a:cubicBezTo>
                <a:lnTo>
                  <a:pt x="2656437" y="1945043"/>
                </a:lnTo>
                <a:lnTo>
                  <a:pt x="2351208" y="1945043"/>
                </a:lnTo>
                <a:lnTo>
                  <a:pt x="2351208" y="1359846"/>
                </a:lnTo>
                <a:cubicBezTo>
                  <a:pt x="2314721" y="1430014"/>
                  <a:pt x="2277181" y="1496322"/>
                  <a:pt x="2238589" y="1558771"/>
                </a:cubicBezTo>
                <a:cubicBezTo>
                  <a:pt x="2199997" y="1621220"/>
                  <a:pt x="2169474" y="1668583"/>
                  <a:pt x="2147021" y="1700860"/>
                </a:cubicBezTo>
                <a:lnTo>
                  <a:pt x="2077555" y="1277750"/>
                </a:lnTo>
                <a:cubicBezTo>
                  <a:pt x="2135092" y="1199163"/>
                  <a:pt x="2187718" y="1124083"/>
                  <a:pt x="2235432" y="1052512"/>
                </a:cubicBezTo>
                <a:cubicBezTo>
                  <a:pt x="2283146" y="980942"/>
                  <a:pt x="2318931" y="912879"/>
                  <a:pt x="2342788" y="848325"/>
                </a:cubicBezTo>
                <a:lnTo>
                  <a:pt x="2136496" y="848325"/>
                </a:lnTo>
                <a:lnTo>
                  <a:pt x="2136496" y="528361"/>
                </a:lnTo>
                <a:lnTo>
                  <a:pt x="2351208" y="528361"/>
                </a:lnTo>
                <a:lnTo>
                  <a:pt x="2351208" y="376799"/>
                </a:lnTo>
                <a:cubicBezTo>
                  <a:pt x="2318931" y="379606"/>
                  <a:pt x="2288759" y="381711"/>
                  <a:pt x="2260692" y="383114"/>
                </a:cubicBezTo>
                <a:cubicBezTo>
                  <a:pt x="2232625" y="384518"/>
                  <a:pt x="2206663" y="385921"/>
                  <a:pt x="2182806" y="387324"/>
                </a:cubicBezTo>
                <a:lnTo>
                  <a:pt x="2151231" y="73676"/>
                </a:lnTo>
                <a:cubicBezTo>
                  <a:pt x="2196138" y="72272"/>
                  <a:pt x="2247009" y="69816"/>
                  <a:pt x="2303845" y="66308"/>
                </a:cubicBezTo>
                <a:cubicBezTo>
                  <a:pt x="2360681" y="62800"/>
                  <a:pt x="2418569" y="58590"/>
                  <a:pt x="2477509" y="53678"/>
                </a:cubicBezTo>
                <a:cubicBezTo>
                  <a:pt x="2536450" y="48766"/>
                  <a:pt x="2593987" y="43854"/>
                  <a:pt x="2650122" y="38943"/>
                </a:cubicBezTo>
                <a:cubicBezTo>
                  <a:pt x="2706256" y="34031"/>
                  <a:pt x="2756776" y="28769"/>
                  <a:pt x="2801683" y="23155"/>
                </a:cubicBezTo>
                <a:close/>
                <a:moveTo>
                  <a:pt x="229448" y="0"/>
                </a:moveTo>
                <a:cubicBezTo>
                  <a:pt x="257515" y="14033"/>
                  <a:pt x="287336" y="30172"/>
                  <a:pt x="318911" y="48415"/>
                </a:cubicBezTo>
                <a:cubicBezTo>
                  <a:pt x="350487" y="66659"/>
                  <a:pt x="381361" y="85253"/>
                  <a:pt x="411533" y="104199"/>
                </a:cubicBezTo>
                <a:cubicBezTo>
                  <a:pt x="441704" y="123144"/>
                  <a:pt x="470824" y="142089"/>
                  <a:pt x="498891" y="161034"/>
                </a:cubicBezTo>
                <a:cubicBezTo>
                  <a:pt x="526958" y="179979"/>
                  <a:pt x="550815" y="196469"/>
                  <a:pt x="570462" y="210502"/>
                </a:cubicBezTo>
                <a:lnTo>
                  <a:pt x="570462" y="153667"/>
                </a:lnTo>
                <a:lnTo>
                  <a:pt x="991467" y="153667"/>
                </a:lnTo>
                <a:cubicBezTo>
                  <a:pt x="984450" y="124196"/>
                  <a:pt x="976732" y="95428"/>
                  <a:pt x="968312" y="67361"/>
                </a:cubicBezTo>
                <a:cubicBezTo>
                  <a:pt x="959892" y="39294"/>
                  <a:pt x="952875" y="16840"/>
                  <a:pt x="947261" y="0"/>
                </a:cubicBezTo>
                <a:lnTo>
                  <a:pt x="1366161" y="0"/>
                </a:lnTo>
                <a:cubicBezTo>
                  <a:pt x="1381598" y="46310"/>
                  <a:pt x="1394930" y="97533"/>
                  <a:pt x="1406157" y="153667"/>
                </a:cubicBezTo>
                <a:lnTo>
                  <a:pt x="1867157" y="153667"/>
                </a:lnTo>
                <a:lnTo>
                  <a:pt x="1867157" y="458895"/>
                </a:lnTo>
                <a:lnTo>
                  <a:pt x="1566139" y="458895"/>
                </a:lnTo>
                <a:cubicBezTo>
                  <a:pt x="1595609" y="491172"/>
                  <a:pt x="1627184" y="526607"/>
                  <a:pt x="1660865" y="565199"/>
                </a:cubicBezTo>
                <a:cubicBezTo>
                  <a:pt x="1694545" y="603791"/>
                  <a:pt x="1726822" y="642383"/>
                  <a:pt x="1757696" y="680975"/>
                </a:cubicBezTo>
                <a:cubicBezTo>
                  <a:pt x="1788569" y="719568"/>
                  <a:pt x="1816987" y="757107"/>
                  <a:pt x="1842949" y="793594"/>
                </a:cubicBezTo>
                <a:cubicBezTo>
                  <a:pt x="1868911" y="830081"/>
                  <a:pt x="1889611" y="861657"/>
                  <a:pt x="1905048" y="888320"/>
                </a:cubicBezTo>
                <a:lnTo>
                  <a:pt x="1665075" y="1052512"/>
                </a:lnTo>
                <a:lnTo>
                  <a:pt x="1700860" y="1052512"/>
                </a:lnTo>
                <a:lnTo>
                  <a:pt x="1700860" y="1576664"/>
                </a:lnTo>
                <a:cubicBezTo>
                  <a:pt x="1700860" y="1590697"/>
                  <a:pt x="1701913" y="1601924"/>
                  <a:pt x="1704018" y="1610344"/>
                </a:cubicBezTo>
                <a:cubicBezTo>
                  <a:pt x="1706123" y="1618764"/>
                  <a:pt x="1713490" y="1622974"/>
                  <a:pt x="1726120" y="1622974"/>
                </a:cubicBezTo>
                <a:lnTo>
                  <a:pt x="1751381" y="1622974"/>
                </a:lnTo>
                <a:cubicBezTo>
                  <a:pt x="1764011" y="1622974"/>
                  <a:pt x="1771729" y="1618413"/>
                  <a:pt x="1774536" y="1609292"/>
                </a:cubicBezTo>
                <a:cubicBezTo>
                  <a:pt x="1777343" y="1600170"/>
                  <a:pt x="1780149" y="1585785"/>
                  <a:pt x="1782956" y="1566139"/>
                </a:cubicBezTo>
                <a:cubicBezTo>
                  <a:pt x="1785763" y="1540878"/>
                  <a:pt x="1787868" y="1519126"/>
                  <a:pt x="1789271" y="1500883"/>
                </a:cubicBezTo>
                <a:cubicBezTo>
                  <a:pt x="1790675" y="1482639"/>
                  <a:pt x="1791376" y="1462291"/>
                  <a:pt x="1791376" y="1439837"/>
                </a:cubicBezTo>
                <a:lnTo>
                  <a:pt x="1953463" y="1494568"/>
                </a:lnTo>
                <a:cubicBezTo>
                  <a:pt x="1953463" y="1501584"/>
                  <a:pt x="1952761" y="1515969"/>
                  <a:pt x="1951358" y="1537721"/>
                </a:cubicBezTo>
                <a:cubicBezTo>
                  <a:pt x="1949955" y="1559473"/>
                  <a:pt x="1948902" y="1582979"/>
                  <a:pt x="1948201" y="1608239"/>
                </a:cubicBezTo>
                <a:cubicBezTo>
                  <a:pt x="1947499" y="1633499"/>
                  <a:pt x="1946096" y="1658409"/>
                  <a:pt x="1943990" y="1682967"/>
                </a:cubicBezTo>
                <a:cubicBezTo>
                  <a:pt x="1941885" y="1707526"/>
                  <a:pt x="1940131" y="1726822"/>
                  <a:pt x="1938728" y="1740856"/>
                </a:cubicBezTo>
                <a:cubicBezTo>
                  <a:pt x="1933115" y="1780149"/>
                  <a:pt x="1923642" y="1812426"/>
                  <a:pt x="1910310" y="1837687"/>
                </a:cubicBezTo>
                <a:cubicBezTo>
                  <a:pt x="1896978" y="1862947"/>
                  <a:pt x="1878735" y="1882945"/>
                  <a:pt x="1855580" y="1897680"/>
                </a:cubicBezTo>
                <a:cubicBezTo>
                  <a:pt x="1832424" y="1912415"/>
                  <a:pt x="1804357" y="1922940"/>
                  <a:pt x="1771379" y="1929255"/>
                </a:cubicBezTo>
                <a:cubicBezTo>
                  <a:pt x="1738400" y="1935570"/>
                  <a:pt x="1699457" y="1938728"/>
                  <a:pt x="1654550" y="1938728"/>
                </a:cubicBezTo>
                <a:lnTo>
                  <a:pt x="1616659" y="1938728"/>
                </a:lnTo>
                <a:cubicBezTo>
                  <a:pt x="1573155" y="1938728"/>
                  <a:pt x="1537019" y="1936272"/>
                  <a:pt x="1508251" y="1931360"/>
                </a:cubicBezTo>
                <a:cubicBezTo>
                  <a:pt x="1479482" y="1926449"/>
                  <a:pt x="1456326" y="1916625"/>
                  <a:pt x="1438785" y="1901890"/>
                </a:cubicBezTo>
                <a:cubicBezTo>
                  <a:pt x="1421243" y="1887155"/>
                  <a:pt x="1408963" y="1866806"/>
                  <a:pt x="1401947" y="1840844"/>
                </a:cubicBezTo>
                <a:cubicBezTo>
                  <a:pt x="1394930" y="1814882"/>
                  <a:pt x="1391422" y="1781553"/>
                  <a:pt x="1391422" y="1740856"/>
                </a:cubicBezTo>
                <a:lnTo>
                  <a:pt x="1391422" y="1044092"/>
                </a:lnTo>
                <a:lnTo>
                  <a:pt x="1633499" y="1050407"/>
                </a:lnTo>
                <a:cubicBezTo>
                  <a:pt x="1622273" y="1030760"/>
                  <a:pt x="1610344" y="1010763"/>
                  <a:pt x="1597714" y="990414"/>
                </a:cubicBezTo>
                <a:cubicBezTo>
                  <a:pt x="1585084" y="970066"/>
                  <a:pt x="1571050" y="947963"/>
                  <a:pt x="1555614" y="924106"/>
                </a:cubicBezTo>
                <a:cubicBezTo>
                  <a:pt x="1500883" y="926913"/>
                  <a:pt x="1443345" y="929719"/>
                  <a:pt x="1383002" y="932526"/>
                </a:cubicBezTo>
                <a:cubicBezTo>
                  <a:pt x="1322658" y="935333"/>
                  <a:pt x="1263015" y="938139"/>
                  <a:pt x="1204075" y="940946"/>
                </a:cubicBezTo>
                <a:cubicBezTo>
                  <a:pt x="1145134" y="943753"/>
                  <a:pt x="1090052" y="946910"/>
                  <a:pt x="1038830" y="950419"/>
                </a:cubicBezTo>
                <a:cubicBezTo>
                  <a:pt x="987608" y="953927"/>
                  <a:pt x="944455" y="956383"/>
                  <a:pt x="909371" y="957786"/>
                </a:cubicBezTo>
                <a:cubicBezTo>
                  <a:pt x="853237" y="960593"/>
                  <a:pt x="798156" y="964452"/>
                  <a:pt x="744126" y="969364"/>
                </a:cubicBezTo>
                <a:cubicBezTo>
                  <a:pt x="690098" y="974276"/>
                  <a:pt x="639226" y="980240"/>
                  <a:pt x="591512" y="987257"/>
                </a:cubicBezTo>
                <a:lnTo>
                  <a:pt x="519941" y="759914"/>
                </a:lnTo>
                <a:lnTo>
                  <a:pt x="359959" y="1020937"/>
                </a:lnTo>
                <a:cubicBezTo>
                  <a:pt x="338909" y="1002694"/>
                  <a:pt x="312947" y="981292"/>
                  <a:pt x="282074" y="956734"/>
                </a:cubicBezTo>
                <a:cubicBezTo>
                  <a:pt x="251200" y="932175"/>
                  <a:pt x="219274" y="907967"/>
                  <a:pt x="186295" y="884110"/>
                </a:cubicBezTo>
                <a:cubicBezTo>
                  <a:pt x="153316" y="860253"/>
                  <a:pt x="120338" y="837098"/>
                  <a:pt x="87359" y="814644"/>
                </a:cubicBezTo>
                <a:cubicBezTo>
                  <a:pt x="54380" y="792191"/>
                  <a:pt x="25260" y="772544"/>
                  <a:pt x="0" y="755704"/>
                </a:cubicBezTo>
                <a:lnTo>
                  <a:pt x="187348" y="492576"/>
                </a:lnTo>
                <a:cubicBezTo>
                  <a:pt x="244885" y="524853"/>
                  <a:pt x="302773" y="561340"/>
                  <a:pt x="361012" y="602037"/>
                </a:cubicBezTo>
                <a:cubicBezTo>
                  <a:pt x="419251" y="642734"/>
                  <a:pt x="468017" y="678520"/>
                  <a:pt x="507311" y="709393"/>
                </a:cubicBezTo>
                <a:cubicBezTo>
                  <a:pt x="548008" y="699570"/>
                  <a:pt x="580987" y="687992"/>
                  <a:pt x="606247" y="674660"/>
                </a:cubicBezTo>
                <a:cubicBezTo>
                  <a:pt x="631508" y="661328"/>
                  <a:pt x="657470" y="641331"/>
                  <a:pt x="684133" y="614667"/>
                </a:cubicBezTo>
                <a:cubicBezTo>
                  <a:pt x="724831" y="573970"/>
                  <a:pt x="770439" y="522046"/>
                  <a:pt x="820960" y="458895"/>
                </a:cubicBezTo>
                <a:lnTo>
                  <a:pt x="570462" y="458895"/>
                </a:lnTo>
                <a:lnTo>
                  <a:pt x="570462" y="229447"/>
                </a:lnTo>
                <a:lnTo>
                  <a:pt x="399955" y="505206"/>
                </a:lnTo>
                <a:cubicBezTo>
                  <a:pt x="377501" y="488366"/>
                  <a:pt x="350487" y="468719"/>
                  <a:pt x="318911" y="446265"/>
                </a:cubicBezTo>
                <a:cubicBezTo>
                  <a:pt x="287336" y="423811"/>
                  <a:pt x="255059" y="401358"/>
                  <a:pt x="222080" y="378904"/>
                </a:cubicBezTo>
                <a:cubicBezTo>
                  <a:pt x="189102" y="356451"/>
                  <a:pt x="156825" y="335050"/>
                  <a:pt x="125249" y="314701"/>
                </a:cubicBezTo>
                <a:cubicBezTo>
                  <a:pt x="93674" y="294352"/>
                  <a:pt x="66659" y="277863"/>
                  <a:pt x="44206" y="265233"/>
                </a:cubicBezTo>
                <a:close/>
              </a:path>
            </a:pathLst>
          </a:custGeom>
          <a:gradFill flip="none" rotWithShape="1">
            <a:gsLst>
              <a:gs pos="0">
                <a:srgbClr val="2254F4"/>
              </a:gs>
              <a:gs pos="100000">
                <a:srgbClr val="2254F4">
                  <a:lumMod val="60000"/>
                  <a:lumOff val="40000"/>
                </a:srgbClr>
              </a:gs>
            </a:gsLst>
            <a:lin ang="16200000" scaled="1"/>
            <a:tileRect/>
          </a:gra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274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B9C3DBC-4B52-4A44-2B17-1DD03DAC845A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F9727AEB-2D4E-4831-A4B3-D742967F5CCC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3107558-D9AE-E54A-60C1-86E895F10CEA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907ED1C9-EBD1-999F-BD6F-2B82236D44E6}"/>
              </a:ext>
            </a:extLst>
          </p:cNvPr>
          <p:cNvCxnSpPr>
            <a:cxnSpLocks/>
          </p:cNvCxnSpPr>
          <p:nvPr/>
        </p:nvCxnSpPr>
        <p:spPr>
          <a:xfrm>
            <a:off x="-4" y="2160270"/>
            <a:ext cx="8490889" cy="0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</p:cxn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95C0AF3F-148A-2BCA-7392-5FA2C6E4A7DA}"/>
              </a:ext>
            </a:extLst>
          </p:cNvPr>
          <p:cNvCxnSpPr/>
          <p:nvPr/>
        </p:nvCxnSpPr>
        <p:spPr>
          <a:xfrm>
            <a:off x="1850055" y="3429000"/>
            <a:ext cx="6640830" cy="0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9F5600E-EE45-8302-490B-677E28C82088}"/>
              </a:ext>
            </a:extLst>
          </p:cNvPr>
          <p:cNvCxnSpPr>
            <a:cxnSpLocks/>
          </p:cNvCxnSpPr>
          <p:nvPr/>
        </p:nvCxnSpPr>
        <p:spPr>
          <a:xfrm>
            <a:off x="1846800" y="4700111"/>
            <a:ext cx="10345200" cy="0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</p:cxnSp>
      <p:sp>
        <p:nvSpPr>
          <p:cNvPr id="8" name="弧形 7">
            <a:extLst>
              <a:ext uri="{FF2B5EF4-FFF2-40B4-BE49-F238E27FC236}">
                <a16:creationId xmlns:a16="http://schemas.microsoft.com/office/drawing/2014/main" id="{4E8DB93F-39CA-108E-A107-45FAC94AEE47}"/>
              </a:ext>
            </a:extLst>
          </p:cNvPr>
          <p:cNvSpPr/>
          <p:nvPr/>
        </p:nvSpPr>
        <p:spPr>
          <a:xfrm>
            <a:off x="7851917" y="2160745"/>
            <a:ext cx="1271428" cy="1268255"/>
          </a:xfrm>
          <a:prstGeom prst="arc">
            <a:avLst>
              <a:gd name="adj1" fmla="val 16200000"/>
              <a:gd name="adj2" fmla="val 5395525"/>
            </a:avLst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endParaRPr lang="zh-CN" altLang="en-US" sz="2800">
              <a:solidFill>
                <a:srgbClr val="8C9097"/>
              </a:solidFill>
              <a:latin typeface="OPPOSans R"/>
              <a:ea typeface="OPPOSans R"/>
            </a:endParaRPr>
          </a:p>
        </p:txBody>
      </p:sp>
      <p:sp>
        <p:nvSpPr>
          <p:cNvPr id="9" name="弧形 8">
            <a:extLst>
              <a:ext uri="{FF2B5EF4-FFF2-40B4-BE49-F238E27FC236}">
                <a16:creationId xmlns:a16="http://schemas.microsoft.com/office/drawing/2014/main" id="{8F586289-B2CB-6DE3-A512-8C82D6B4D7C2}"/>
              </a:ext>
            </a:extLst>
          </p:cNvPr>
          <p:cNvSpPr/>
          <p:nvPr/>
        </p:nvSpPr>
        <p:spPr>
          <a:xfrm>
            <a:off x="1217596" y="3428682"/>
            <a:ext cx="1271429" cy="1271429"/>
          </a:xfrm>
          <a:prstGeom prst="arc">
            <a:avLst>
              <a:gd name="adj1" fmla="val 5437418"/>
              <a:gd name="adj2" fmla="val 16204037"/>
            </a:avLst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endParaRPr lang="zh-CN" altLang="en-US" sz="2800">
              <a:solidFill>
                <a:srgbClr val="8C9097"/>
              </a:solidFill>
              <a:latin typeface="OPPOSans R"/>
              <a:ea typeface="OPPOSans R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FC008A1D-0E7A-672A-852B-3A3E64BF8B63}"/>
              </a:ext>
            </a:extLst>
          </p:cNvPr>
          <p:cNvGrpSpPr>
            <a:grpSpLocks/>
          </p:cNvGrpSpPr>
          <p:nvPr/>
        </p:nvGrpSpPr>
        <p:grpSpPr>
          <a:xfrm>
            <a:off x="1395556" y="2032000"/>
            <a:ext cx="251418" cy="251418"/>
            <a:chOff x="2682012" y="3687542"/>
            <a:chExt cx="6827977" cy="6827977"/>
          </a:xfrm>
        </p:grpSpPr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F9F60A63-79D3-0EB4-3847-8F17DDA0E0E1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C727E487-E57A-BAF6-E3C8-A919357F482D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19A987EC-B86D-D711-9FAE-302188309033}"/>
              </a:ext>
            </a:extLst>
          </p:cNvPr>
          <p:cNvGrpSpPr>
            <a:grpSpLocks/>
          </p:cNvGrpSpPr>
          <p:nvPr/>
        </p:nvGrpSpPr>
        <p:grpSpPr>
          <a:xfrm>
            <a:off x="3389744" y="2032000"/>
            <a:ext cx="251418" cy="251418"/>
            <a:chOff x="2682012" y="3687542"/>
            <a:chExt cx="6827977" cy="6827977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D120A015-F625-7F47-07A6-5B530A768895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B089C117-D5AD-D201-037F-34B68A601DB7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6E9562F-2E9B-FE64-284E-3C5D057F2F96}"/>
              </a:ext>
            </a:extLst>
          </p:cNvPr>
          <p:cNvGrpSpPr>
            <a:grpSpLocks/>
          </p:cNvGrpSpPr>
          <p:nvPr/>
        </p:nvGrpSpPr>
        <p:grpSpPr>
          <a:xfrm>
            <a:off x="5383932" y="2032000"/>
            <a:ext cx="251418" cy="251418"/>
            <a:chOff x="2682012" y="3687542"/>
            <a:chExt cx="6827977" cy="6827977"/>
          </a:xfrm>
        </p:grpSpPr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49369FF5-637D-2FF8-F326-72C88B191EB6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97680F8F-73DC-0D43-F40C-93E090CC434A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B3906992-E4B9-3091-656C-59AC2793787F}"/>
              </a:ext>
            </a:extLst>
          </p:cNvPr>
          <p:cNvGrpSpPr>
            <a:grpSpLocks/>
          </p:cNvGrpSpPr>
          <p:nvPr/>
        </p:nvGrpSpPr>
        <p:grpSpPr>
          <a:xfrm>
            <a:off x="7378119" y="2032000"/>
            <a:ext cx="251418" cy="251418"/>
            <a:chOff x="2682012" y="3687542"/>
            <a:chExt cx="6827977" cy="6827977"/>
          </a:xfrm>
        </p:grpSpPr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C736B3EF-19FC-26B3-8D42-3DF693517A75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4F7E40A7-7C0D-1DAB-6643-D9C08941ADFE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07CBF191-EB4A-356A-0F6F-46A0EFB04772}"/>
              </a:ext>
            </a:extLst>
          </p:cNvPr>
          <p:cNvGrpSpPr>
            <a:grpSpLocks/>
          </p:cNvGrpSpPr>
          <p:nvPr/>
        </p:nvGrpSpPr>
        <p:grpSpPr>
          <a:xfrm>
            <a:off x="3389744" y="3296498"/>
            <a:ext cx="251418" cy="251418"/>
            <a:chOff x="2682012" y="3687542"/>
            <a:chExt cx="6827977" cy="6827977"/>
          </a:xfrm>
        </p:grpSpPr>
        <p:sp>
          <p:nvSpPr>
            <p:cNvPr id="31" name="椭圆 30">
              <a:extLst>
                <a:ext uri="{FF2B5EF4-FFF2-40B4-BE49-F238E27FC236}">
                  <a16:creationId xmlns:a16="http://schemas.microsoft.com/office/drawing/2014/main" id="{CC157702-481F-2924-B4F0-F30EB59F58A4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D4847D9F-B235-1AE8-3AA2-3CF0864747F3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BFA3230B-684A-1B42-9CA2-06394856EBF6}"/>
              </a:ext>
            </a:extLst>
          </p:cNvPr>
          <p:cNvGrpSpPr>
            <a:grpSpLocks/>
          </p:cNvGrpSpPr>
          <p:nvPr/>
        </p:nvGrpSpPr>
        <p:grpSpPr>
          <a:xfrm>
            <a:off x="5383932" y="3296498"/>
            <a:ext cx="251418" cy="251418"/>
            <a:chOff x="2682012" y="3687542"/>
            <a:chExt cx="6827977" cy="6827977"/>
          </a:xfrm>
        </p:grpSpPr>
        <p:sp>
          <p:nvSpPr>
            <p:cNvPr id="36" name="椭圆 35">
              <a:extLst>
                <a:ext uri="{FF2B5EF4-FFF2-40B4-BE49-F238E27FC236}">
                  <a16:creationId xmlns:a16="http://schemas.microsoft.com/office/drawing/2014/main" id="{C8314797-2130-0DB1-F04C-7934AB8519B4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C02FE94D-A265-C0F1-C742-C04C75F71398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556E31B7-2EBB-5428-BADD-8AB4086CA319}"/>
              </a:ext>
            </a:extLst>
          </p:cNvPr>
          <p:cNvGrpSpPr>
            <a:grpSpLocks/>
          </p:cNvGrpSpPr>
          <p:nvPr/>
        </p:nvGrpSpPr>
        <p:grpSpPr>
          <a:xfrm>
            <a:off x="7378119" y="3296498"/>
            <a:ext cx="251418" cy="251418"/>
            <a:chOff x="2682012" y="3687542"/>
            <a:chExt cx="6827977" cy="6827977"/>
          </a:xfrm>
        </p:grpSpPr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93DCA25C-BB3D-338B-B06F-A6FCE803C44A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42" name="椭圆 41">
              <a:extLst>
                <a:ext uri="{FF2B5EF4-FFF2-40B4-BE49-F238E27FC236}">
                  <a16:creationId xmlns:a16="http://schemas.microsoft.com/office/drawing/2014/main" id="{F8C8705C-B544-C052-8071-79E897A963F5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D07CF35A-59C7-4868-9CF7-F0E8EE34DA6E}"/>
              </a:ext>
            </a:extLst>
          </p:cNvPr>
          <p:cNvGrpSpPr>
            <a:grpSpLocks/>
          </p:cNvGrpSpPr>
          <p:nvPr/>
        </p:nvGrpSpPr>
        <p:grpSpPr>
          <a:xfrm>
            <a:off x="3389744" y="4552873"/>
            <a:ext cx="251418" cy="251418"/>
            <a:chOff x="2682012" y="3687542"/>
            <a:chExt cx="6827977" cy="6827977"/>
          </a:xfrm>
        </p:grpSpPr>
        <p:sp>
          <p:nvSpPr>
            <p:cNvPr id="46" name="椭圆 45">
              <a:extLst>
                <a:ext uri="{FF2B5EF4-FFF2-40B4-BE49-F238E27FC236}">
                  <a16:creationId xmlns:a16="http://schemas.microsoft.com/office/drawing/2014/main" id="{8C242596-08C2-AD4F-6EFC-299747D02438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47" name="椭圆 46">
              <a:extLst>
                <a:ext uri="{FF2B5EF4-FFF2-40B4-BE49-F238E27FC236}">
                  <a16:creationId xmlns:a16="http://schemas.microsoft.com/office/drawing/2014/main" id="{67FCF947-EABB-98F0-2022-27567A0464C7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BC911611-FF12-13F7-8D18-B18378130581}"/>
              </a:ext>
            </a:extLst>
          </p:cNvPr>
          <p:cNvGrpSpPr>
            <a:grpSpLocks/>
          </p:cNvGrpSpPr>
          <p:nvPr/>
        </p:nvGrpSpPr>
        <p:grpSpPr>
          <a:xfrm>
            <a:off x="5383932" y="4552873"/>
            <a:ext cx="251418" cy="251418"/>
            <a:chOff x="2682012" y="3687542"/>
            <a:chExt cx="6827977" cy="6827977"/>
          </a:xfrm>
        </p:grpSpPr>
        <p:sp>
          <p:nvSpPr>
            <p:cNvPr id="51" name="椭圆 50">
              <a:extLst>
                <a:ext uri="{FF2B5EF4-FFF2-40B4-BE49-F238E27FC236}">
                  <a16:creationId xmlns:a16="http://schemas.microsoft.com/office/drawing/2014/main" id="{71AC766C-2F6F-682E-105C-1EA3B9975757}"/>
                </a:ext>
              </a:extLst>
            </p:cNvPr>
            <p:cNvSpPr/>
            <p:nvPr/>
          </p:nvSpPr>
          <p:spPr>
            <a:xfrm>
              <a:off x="2682012" y="3687542"/>
              <a:ext cx="6827977" cy="682797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2B0F77DF-09C7-C821-52FD-6E70A239C625}"/>
                </a:ext>
              </a:extLst>
            </p:cNvPr>
            <p:cNvSpPr/>
            <p:nvPr/>
          </p:nvSpPr>
          <p:spPr>
            <a:xfrm>
              <a:off x="4050334" y="5055864"/>
              <a:ext cx="4091333" cy="4091333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sp>
        <p:nvSpPr>
          <p:cNvPr id="56" name="椭圆 55">
            <a:extLst>
              <a:ext uri="{FF2B5EF4-FFF2-40B4-BE49-F238E27FC236}">
                <a16:creationId xmlns:a16="http://schemas.microsoft.com/office/drawing/2014/main" id="{6D59B6F2-203A-FB8A-7A12-6DC8C2A881D8}"/>
              </a:ext>
            </a:extLst>
          </p:cNvPr>
          <p:cNvSpPr/>
          <p:nvPr/>
        </p:nvSpPr>
        <p:spPr>
          <a:xfrm>
            <a:off x="7378119" y="4552873"/>
            <a:ext cx="251418" cy="251418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61" name="稿定-9">
            <a:extLst>
              <a:ext uri="{FF2B5EF4-FFF2-40B4-BE49-F238E27FC236}">
                <a16:creationId xmlns:a16="http://schemas.microsoft.com/office/drawing/2014/main" id="{40770487-0BAB-66EA-FC88-53C87179DC73}"/>
              </a:ext>
            </a:extLst>
          </p:cNvPr>
          <p:cNvSpPr/>
          <p:nvPr/>
        </p:nvSpPr>
        <p:spPr>
          <a:xfrm flipH="1">
            <a:off x="1040323" y="233362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2" name="稿定-31">
            <a:extLst>
              <a:ext uri="{FF2B5EF4-FFF2-40B4-BE49-F238E27FC236}">
                <a16:creationId xmlns:a16="http://schemas.microsoft.com/office/drawing/2014/main" id="{5F685B35-0964-C8E6-8A5F-570C0B91E3E0}"/>
              </a:ext>
            </a:extLst>
          </p:cNvPr>
          <p:cNvSpPr/>
          <p:nvPr/>
        </p:nvSpPr>
        <p:spPr>
          <a:xfrm flipH="1">
            <a:off x="842909" y="259936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3" name="稿定-9">
            <a:extLst>
              <a:ext uri="{FF2B5EF4-FFF2-40B4-BE49-F238E27FC236}">
                <a16:creationId xmlns:a16="http://schemas.microsoft.com/office/drawing/2014/main" id="{C8BF31E0-7791-48A9-A480-2D6A44A77FFB}"/>
              </a:ext>
            </a:extLst>
          </p:cNvPr>
          <p:cNvSpPr/>
          <p:nvPr/>
        </p:nvSpPr>
        <p:spPr>
          <a:xfrm flipH="1">
            <a:off x="3059476" y="233362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4" name="稿定-31">
            <a:extLst>
              <a:ext uri="{FF2B5EF4-FFF2-40B4-BE49-F238E27FC236}">
                <a16:creationId xmlns:a16="http://schemas.microsoft.com/office/drawing/2014/main" id="{85224DEF-36BC-37D8-C3D9-E8A3B7CE9996}"/>
              </a:ext>
            </a:extLst>
          </p:cNvPr>
          <p:cNvSpPr/>
          <p:nvPr/>
        </p:nvSpPr>
        <p:spPr>
          <a:xfrm flipH="1">
            <a:off x="2862062" y="259936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5" name="稿定-9">
            <a:extLst>
              <a:ext uri="{FF2B5EF4-FFF2-40B4-BE49-F238E27FC236}">
                <a16:creationId xmlns:a16="http://schemas.microsoft.com/office/drawing/2014/main" id="{EB8231C3-66BA-AEE5-0648-4EB5F17EF026}"/>
              </a:ext>
            </a:extLst>
          </p:cNvPr>
          <p:cNvSpPr/>
          <p:nvPr/>
        </p:nvSpPr>
        <p:spPr>
          <a:xfrm flipH="1">
            <a:off x="5058321" y="233362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6" name="稿定-31">
            <a:extLst>
              <a:ext uri="{FF2B5EF4-FFF2-40B4-BE49-F238E27FC236}">
                <a16:creationId xmlns:a16="http://schemas.microsoft.com/office/drawing/2014/main" id="{A1CB16CB-1E9D-91D2-83B9-33A02BDDB863}"/>
              </a:ext>
            </a:extLst>
          </p:cNvPr>
          <p:cNvSpPr/>
          <p:nvPr/>
        </p:nvSpPr>
        <p:spPr>
          <a:xfrm flipH="1">
            <a:off x="4860907" y="259936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7" name="稿定-9">
            <a:extLst>
              <a:ext uri="{FF2B5EF4-FFF2-40B4-BE49-F238E27FC236}">
                <a16:creationId xmlns:a16="http://schemas.microsoft.com/office/drawing/2014/main" id="{FC5DDB61-1CED-08D0-FE5D-387D28C25876}"/>
              </a:ext>
            </a:extLst>
          </p:cNvPr>
          <p:cNvSpPr/>
          <p:nvPr/>
        </p:nvSpPr>
        <p:spPr>
          <a:xfrm flipH="1">
            <a:off x="7057166" y="233362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8" name="稿定-31">
            <a:extLst>
              <a:ext uri="{FF2B5EF4-FFF2-40B4-BE49-F238E27FC236}">
                <a16:creationId xmlns:a16="http://schemas.microsoft.com/office/drawing/2014/main" id="{81508618-A608-0809-CF48-391C46505912}"/>
              </a:ext>
            </a:extLst>
          </p:cNvPr>
          <p:cNvSpPr/>
          <p:nvPr/>
        </p:nvSpPr>
        <p:spPr>
          <a:xfrm flipH="1">
            <a:off x="6859752" y="259936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9" name="稿定-9">
            <a:extLst>
              <a:ext uri="{FF2B5EF4-FFF2-40B4-BE49-F238E27FC236}">
                <a16:creationId xmlns:a16="http://schemas.microsoft.com/office/drawing/2014/main" id="{17DF12B1-3D5A-DE3C-D4FD-B81ABED11A77}"/>
              </a:ext>
            </a:extLst>
          </p:cNvPr>
          <p:cNvSpPr/>
          <p:nvPr/>
        </p:nvSpPr>
        <p:spPr>
          <a:xfrm flipH="1">
            <a:off x="3059476" y="363998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0" name="稿定-31">
            <a:extLst>
              <a:ext uri="{FF2B5EF4-FFF2-40B4-BE49-F238E27FC236}">
                <a16:creationId xmlns:a16="http://schemas.microsoft.com/office/drawing/2014/main" id="{B5EEAD49-9106-F117-5DD2-8422C1753326}"/>
              </a:ext>
            </a:extLst>
          </p:cNvPr>
          <p:cNvSpPr/>
          <p:nvPr/>
        </p:nvSpPr>
        <p:spPr>
          <a:xfrm flipH="1">
            <a:off x="2862062" y="390572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1" name="稿定-9">
            <a:extLst>
              <a:ext uri="{FF2B5EF4-FFF2-40B4-BE49-F238E27FC236}">
                <a16:creationId xmlns:a16="http://schemas.microsoft.com/office/drawing/2014/main" id="{2342761B-FD4F-6DE4-3CB3-40FA97F6E090}"/>
              </a:ext>
            </a:extLst>
          </p:cNvPr>
          <p:cNvSpPr/>
          <p:nvPr/>
        </p:nvSpPr>
        <p:spPr>
          <a:xfrm flipH="1">
            <a:off x="5058321" y="363998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2" name="稿定-31">
            <a:extLst>
              <a:ext uri="{FF2B5EF4-FFF2-40B4-BE49-F238E27FC236}">
                <a16:creationId xmlns:a16="http://schemas.microsoft.com/office/drawing/2014/main" id="{067DFAC8-2E80-B8AC-9AE3-BF9B9DA5BF79}"/>
              </a:ext>
            </a:extLst>
          </p:cNvPr>
          <p:cNvSpPr/>
          <p:nvPr/>
        </p:nvSpPr>
        <p:spPr>
          <a:xfrm flipH="1">
            <a:off x="4860907" y="390572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3" name="稿定-9">
            <a:extLst>
              <a:ext uri="{FF2B5EF4-FFF2-40B4-BE49-F238E27FC236}">
                <a16:creationId xmlns:a16="http://schemas.microsoft.com/office/drawing/2014/main" id="{2EF4A9FD-4990-75A6-D632-90C4BA3CC1AD}"/>
              </a:ext>
            </a:extLst>
          </p:cNvPr>
          <p:cNvSpPr/>
          <p:nvPr/>
        </p:nvSpPr>
        <p:spPr>
          <a:xfrm flipH="1">
            <a:off x="7057166" y="363998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4" name="稿定-31">
            <a:extLst>
              <a:ext uri="{FF2B5EF4-FFF2-40B4-BE49-F238E27FC236}">
                <a16:creationId xmlns:a16="http://schemas.microsoft.com/office/drawing/2014/main" id="{4B6D6955-45DF-133F-5396-3356832F3C9C}"/>
              </a:ext>
            </a:extLst>
          </p:cNvPr>
          <p:cNvSpPr/>
          <p:nvPr/>
        </p:nvSpPr>
        <p:spPr>
          <a:xfrm flipH="1">
            <a:off x="6859752" y="390572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5" name="稿定-9">
            <a:extLst>
              <a:ext uri="{FF2B5EF4-FFF2-40B4-BE49-F238E27FC236}">
                <a16:creationId xmlns:a16="http://schemas.microsoft.com/office/drawing/2014/main" id="{D658DFDC-5C20-DE82-4935-9411BD48F383}"/>
              </a:ext>
            </a:extLst>
          </p:cNvPr>
          <p:cNvSpPr/>
          <p:nvPr/>
        </p:nvSpPr>
        <p:spPr>
          <a:xfrm flipH="1">
            <a:off x="3059476" y="491606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6" name="稿定-31">
            <a:extLst>
              <a:ext uri="{FF2B5EF4-FFF2-40B4-BE49-F238E27FC236}">
                <a16:creationId xmlns:a16="http://schemas.microsoft.com/office/drawing/2014/main" id="{76549BCC-D3BA-A142-4BA2-8CB51B38C219}"/>
              </a:ext>
            </a:extLst>
          </p:cNvPr>
          <p:cNvSpPr/>
          <p:nvPr/>
        </p:nvSpPr>
        <p:spPr>
          <a:xfrm flipH="1">
            <a:off x="2862062" y="5181797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7" name="稿定-9">
            <a:extLst>
              <a:ext uri="{FF2B5EF4-FFF2-40B4-BE49-F238E27FC236}">
                <a16:creationId xmlns:a16="http://schemas.microsoft.com/office/drawing/2014/main" id="{ACB8EC27-AE6B-72FF-2768-A362088C2D59}"/>
              </a:ext>
            </a:extLst>
          </p:cNvPr>
          <p:cNvSpPr/>
          <p:nvPr/>
        </p:nvSpPr>
        <p:spPr>
          <a:xfrm flipH="1">
            <a:off x="5058321" y="491606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8" name="稿定-31">
            <a:extLst>
              <a:ext uri="{FF2B5EF4-FFF2-40B4-BE49-F238E27FC236}">
                <a16:creationId xmlns:a16="http://schemas.microsoft.com/office/drawing/2014/main" id="{E0F14F9F-3E0A-2020-772F-E0AE663D5F16}"/>
              </a:ext>
            </a:extLst>
          </p:cNvPr>
          <p:cNvSpPr/>
          <p:nvPr/>
        </p:nvSpPr>
        <p:spPr>
          <a:xfrm flipH="1">
            <a:off x="4860907" y="5181797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9" name="稿定-9">
            <a:extLst>
              <a:ext uri="{FF2B5EF4-FFF2-40B4-BE49-F238E27FC236}">
                <a16:creationId xmlns:a16="http://schemas.microsoft.com/office/drawing/2014/main" id="{04BE4756-DB2F-1483-CC84-8F117B60DDB4}"/>
              </a:ext>
            </a:extLst>
          </p:cNvPr>
          <p:cNvSpPr/>
          <p:nvPr/>
        </p:nvSpPr>
        <p:spPr>
          <a:xfrm flipH="1">
            <a:off x="7057166" y="491606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0" name="稿定-31">
            <a:extLst>
              <a:ext uri="{FF2B5EF4-FFF2-40B4-BE49-F238E27FC236}">
                <a16:creationId xmlns:a16="http://schemas.microsoft.com/office/drawing/2014/main" id="{24FE814A-51EC-08E6-0C02-AC45A669D1CC}"/>
              </a:ext>
            </a:extLst>
          </p:cNvPr>
          <p:cNvSpPr/>
          <p:nvPr/>
        </p:nvSpPr>
        <p:spPr>
          <a:xfrm flipH="1">
            <a:off x="6859752" y="5181797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81" name="gaoding-32">
            <a:extLst>
              <a:ext uri="{FF2B5EF4-FFF2-40B4-BE49-F238E27FC236}">
                <a16:creationId xmlns:a16="http://schemas.microsoft.com/office/drawing/2014/main" id="{A3F97291-9529-5BF2-1806-DCA4F5C2343C}"/>
              </a:ext>
            </a:extLst>
          </p:cNvPr>
          <p:cNvGrpSpPr/>
          <p:nvPr/>
        </p:nvGrpSpPr>
        <p:grpSpPr>
          <a:xfrm rot="3111077">
            <a:off x="9739153" y="3913957"/>
            <a:ext cx="1263249" cy="1493590"/>
            <a:chOff x="2614509" y="5574137"/>
            <a:chExt cx="542021" cy="640853"/>
          </a:xfrm>
        </p:grpSpPr>
        <p:sp>
          <p:nvSpPr>
            <p:cNvPr id="82" name="gaoding-32-1">
              <a:extLst>
                <a:ext uri="{FF2B5EF4-FFF2-40B4-BE49-F238E27FC236}">
                  <a16:creationId xmlns:a16="http://schemas.microsoft.com/office/drawing/2014/main" id="{90E6F7BB-4BFF-BF84-B560-6DBC15F66826}"/>
                </a:ext>
              </a:extLst>
            </p:cNvPr>
            <p:cNvSpPr/>
            <p:nvPr/>
          </p:nvSpPr>
          <p:spPr>
            <a:xfrm>
              <a:off x="2621434" y="5701053"/>
              <a:ext cx="278286" cy="237031"/>
            </a:xfrm>
            <a:custGeom>
              <a:avLst/>
              <a:gdLst>
                <a:gd name="connsiteX0" fmla="*/ 3156 w 278286"/>
                <a:gd name="connsiteY0" fmla="*/ 82025 h 237031"/>
                <a:gd name="connsiteX1" fmla="*/ 53428 w 278286"/>
                <a:gd name="connsiteY1" fmla="*/ 54702 h 237031"/>
                <a:gd name="connsiteX2" fmla="*/ 126014 w 278286"/>
                <a:gd name="connsiteY2" fmla="*/ 46588 h 237031"/>
                <a:gd name="connsiteX3" fmla="*/ 206081 w 278286"/>
                <a:gd name="connsiteY3" fmla="*/ 35747 h 237031"/>
                <a:gd name="connsiteX4" fmla="*/ 278288 w 278286"/>
                <a:gd name="connsiteY4" fmla="*/ 120 h 237031"/>
                <a:gd name="connsiteX5" fmla="*/ 132481 w 278286"/>
                <a:gd name="connsiteY5" fmla="*/ 183963 h 237031"/>
                <a:gd name="connsiteX6" fmla="*/ 874 w 278286"/>
                <a:gd name="connsiteY6" fmla="*/ 108524 h 237031"/>
                <a:gd name="connsiteX7" fmla="*/ 3156 w 278286"/>
                <a:gd name="connsiteY7" fmla="*/ 82025 h 237031"/>
                <a:gd name="connsiteX8" fmla="*/ 132354 w 278286"/>
                <a:gd name="connsiteY8" fmla="*/ 184280 h 237031"/>
                <a:gd name="connsiteX9" fmla="*/ 103890 w 278286"/>
                <a:gd name="connsiteY9" fmla="*/ 237151 h 237031"/>
                <a:gd name="connsiteX10" fmla="*/ 12348 w 278286"/>
                <a:gd name="connsiteY10" fmla="*/ 132424 h 237031"/>
                <a:gd name="connsiteX11" fmla="*/ 874 w 278286"/>
                <a:gd name="connsiteY11" fmla="*/ 108524 h 23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8286" h="237031">
                  <a:moveTo>
                    <a:pt x="3156" y="82025"/>
                  </a:moveTo>
                  <a:cubicBezTo>
                    <a:pt x="13172" y="68966"/>
                    <a:pt x="29928" y="59856"/>
                    <a:pt x="53428" y="54702"/>
                  </a:cubicBezTo>
                  <a:cubicBezTo>
                    <a:pt x="77448" y="50595"/>
                    <a:pt x="101684" y="47888"/>
                    <a:pt x="126014" y="46588"/>
                  </a:cubicBezTo>
                  <a:cubicBezTo>
                    <a:pt x="152957" y="45181"/>
                    <a:pt x="179735" y="41554"/>
                    <a:pt x="206081" y="35747"/>
                  </a:cubicBezTo>
                  <a:cubicBezTo>
                    <a:pt x="232650" y="29814"/>
                    <a:pt x="257412" y="17598"/>
                    <a:pt x="278288" y="120"/>
                  </a:cubicBezTo>
                  <a:lnTo>
                    <a:pt x="132481" y="183963"/>
                  </a:lnTo>
                  <a:close/>
                  <a:moveTo>
                    <a:pt x="874" y="108524"/>
                  </a:moveTo>
                  <a:cubicBezTo>
                    <a:pt x="-825" y="99649"/>
                    <a:pt x="-33" y="90482"/>
                    <a:pt x="3156" y="82025"/>
                  </a:cubicBezTo>
                  <a:lnTo>
                    <a:pt x="132354" y="184280"/>
                  </a:lnTo>
                  <a:lnTo>
                    <a:pt x="103890" y="237151"/>
                  </a:lnTo>
                  <a:lnTo>
                    <a:pt x="12348" y="132424"/>
                  </a:lnTo>
                  <a:cubicBezTo>
                    <a:pt x="6389" y="125672"/>
                    <a:pt x="2414" y="117399"/>
                    <a:pt x="874" y="108524"/>
                  </a:cubicBezTo>
                  <a:close/>
                </a:path>
              </a:pathLst>
            </a:custGeom>
            <a:solidFill>
              <a:srgbClr val="FFFFFF"/>
            </a:solidFill>
            <a:ln w="633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  <p:sp>
          <p:nvSpPr>
            <p:cNvPr id="83" name="gaoding-32-2">
              <a:extLst>
                <a:ext uri="{FF2B5EF4-FFF2-40B4-BE49-F238E27FC236}">
                  <a16:creationId xmlns:a16="http://schemas.microsoft.com/office/drawing/2014/main" id="{0682AF7E-305E-87CE-AABD-3BFD0372EBA7}"/>
                </a:ext>
              </a:extLst>
            </p:cNvPr>
            <p:cNvSpPr/>
            <p:nvPr/>
          </p:nvSpPr>
          <p:spPr>
            <a:xfrm>
              <a:off x="2945047" y="5852692"/>
              <a:ext cx="145806" cy="286162"/>
            </a:xfrm>
            <a:custGeom>
              <a:avLst/>
              <a:gdLst>
                <a:gd name="connsiteX0" fmla="*/ 135411 w 145806"/>
                <a:gd name="connsiteY0" fmla="*/ 158606 h 286162"/>
                <a:gd name="connsiteX1" fmla="*/ 144160 w 145806"/>
                <a:gd name="connsiteY1" fmla="*/ 231192 h 286162"/>
                <a:gd name="connsiteX2" fmla="*/ 129199 w 145806"/>
                <a:gd name="connsiteY2" fmla="*/ 286282 h 286162"/>
                <a:gd name="connsiteX3" fmla="*/ 1 w 145806"/>
                <a:gd name="connsiteY3" fmla="*/ 183963 h 286162"/>
                <a:gd name="connsiteX4" fmla="*/ 145808 w 145806"/>
                <a:gd name="connsiteY4" fmla="*/ 120 h 286162"/>
                <a:gd name="connsiteX5" fmla="*/ 127677 w 145806"/>
                <a:gd name="connsiteY5" fmla="*/ 78349 h 286162"/>
                <a:gd name="connsiteX6" fmla="*/ 135411 w 145806"/>
                <a:gd name="connsiteY6" fmla="*/ 158606 h 286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06" h="286162">
                  <a:moveTo>
                    <a:pt x="135411" y="158606"/>
                  </a:moveTo>
                  <a:cubicBezTo>
                    <a:pt x="139805" y="182601"/>
                    <a:pt x="142727" y="206842"/>
                    <a:pt x="144160" y="231192"/>
                  </a:cubicBezTo>
                  <a:cubicBezTo>
                    <a:pt x="144540" y="255219"/>
                    <a:pt x="139532" y="273540"/>
                    <a:pt x="129199" y="286282"/>
                  </a:cubicBezTo>
                  <a:lnTo>
                    <a:pt x="1" y="183963"/>
                  </a:lnTo>
                  <a:lnTo>
                    <a:pt x="145808" y="120"/>
                  </a:lnTo>
                  <a:cubicBezTo>
                    <a:pt x="133592" y="24368"/>
                    <a:pt x="127373" y="51197"/>
                    <a:pt x="127677" y="78349"/>
                  </a:cubicBezTo>
                  <a:cubicBezTo>
                    <a:pt x="128083" y="105266"/>
                    <a:pt x="130670" y="132107"/>
                    <a:pt x="135411" y="158606"/>
                  </a:cubicBezTo>
                  <a:close/>
                </a:path>
              </a:pathLst>
            </a:custGeom>
            <a:solidFill>
              <a:srgbClr val="FFFFFF"/>
            </a:solidFill>
            <a:ln w="633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  <p:sp>
          <p:nvSpPr>
            <p:cNvPr id="84" name="gaoding-32-3">
              <a:extLst>
                <a:ext uri="{FF2B5EF4-FFF2-40B4-BE49-F238E27FC236}">
                  <a16:creationId xmlns:a16="http://schemas.microsoft.com/office/drawing/2014/main" id="{5676CE2F-4655-AFD9-538A-9E9B8D0F565F}"/>
                </a:ext>
              </a:extLst>
            </p:cNvPr>
            <p:cNvSpPr/>
            <p:nvPr/>
          </p:nvSpPr>
          <p:spPr>
            <a:xfrm>
              <a:off x="2899974" y="6036789"/>
              <a:ext cx="174271" cy="110578"/>
            </a:xfrm>
            <a:custGeom>
              <a:avLst/>
              <a:gdLst>
                <a:gd name="connsiteX0" fmla="*/ 149041 w 174271"/>
                <a:gd name="connsiteY0" fmla="*/ 110616 h 110578"/>
                <a:gd name="connsiteX1" fmla="*/ 123113 w 174271"/>
                <a:gd name="connsiteY1" fmla="*/ 104847 h 110578"/>
                <a:gd name="connsiteX2" fmla="*/ 1 w 174271"/>
                <a:gd name="connsiteY2" fmla="*/ 40058 h 110578"/>
                <a:gd name="connsiteX3" fmla="*/ 45075 w 174271"/>
                <a:gd name="connsiteY3" fmla="*/ 120 h 110578"/>
                <a:gd name="connsiteX4" fmla="*/ 174272 w 174271"/>
                <a:gd name="connsiteY4" fmla="*/ 102438 h 110578"/>
                <a:gd name="connsiteX5" fmla="*/ 149041 w 174271"/>
                <a:gd name="connsiteY5" fmla="*/ 110616 h 110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271" h="110578">
                  <a:moveTo>
                    <a:pt x="149041" y="110616"/>
                  </a:moveTo>
                  <a:cubicBezTo>
                    <a:pt x="140033" y="111142"/>
                    <a:pt x="131050" y="109145"/>
                    <a:pt x="123113" y="104847"/>
                  </a:cubicBezTo>
                  <a:lnTo>
                    <a:pt x="1" y="40058"/>
                  </a:lnTo>
                  <a:lnTo>
                    <a:pt x="45075" y="120"/>
                  </a:lnTo>
                  <a:lnTo>
                    <a:pt x="174272" y="102438"/>
                  </a:lnTo>
                  <a:cubicBezTo>
                    <a:pt x="166754" y="107389"/>
                    <a:pt x="158037" y="110217"/>
                    <a:pt x="149041" y="110616"/>
                  </a:cubicBezTo>
                  <a:close/>
                </a:path>
              </a:pathLst>
            </a:custGeom>
            <a:solidFill>
              <a:srgbClr val="FFFFFF"/>
            </a:solidFill>
            <a:ln w="633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  <p:sp>
          <p:nvSpPr>
            <p:cNvPr id="85" name="gaoding-32-4">
              <a:extLst>
                <a:ext uri="{FF2B5EF4-FFF2-40B4-BE49-F238E27FC236}">
                  <a16:creationId xmlns:a16="http://schemas.microsoft.com/office/drawing/2014/main" id="{30AD5683-C9D9-26E9-D815-75796B39EF91}"/>
                </a:ext>
              </a:extLst>
            </p:cNvPr>
            <p:cNvSpPr/>
            <p:nvPr/>
          </p:nvSpPr>
          <p:spPr>
            <a:xfrm>
              <a:off x="3041470" y="5574137"/>
              <a:ext cx="115060" cy="121590"/>
            </a:xfrm>
            <a:custGeom>
              <a:avLst/>
              <a:gdLst>
                <a:gd name="connsiteX0" fmla="*/ 100291 w 115060"/>
                <a:gd name="connsiteY0" fmla="*/ 121710 h 121590"/>
                <a:gd name="connsiteX1" fmla="*/ 1 w 115060"/>
                <a:gd name="connsiteY1" fmla="*/ 42341 h 121590"/>
                <a:gd name="connsiteX2" fmla="*/ 115062 w 115060"/>
                <a:gd name="connsiteY2" fmla="*/ 120 h 121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060" h="121590">
                  <a:moveTo>
                    <a:pt x="100291" y="121710"/>
                  </a:moveTo>
                  <a:lnTo>
                    <a:pt x="1" y="42341"/>
                  </a:lnTo>
                  <a:lnTo>
                    <a:pt x="115062" y="120"/>
                  </a:lnTo>
                  <a:close/>
                </a:path>
              </a:pathLst>
            </a:custGeom>
            <a:solidFill>
              <a:srgbClr val="101010"/>
            </a:solidFill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  <p:sp>
          <p:nvSpPr>
            <p:cNvPr id="86" name="gaoding-32-5">
              <a:extLst>
                <a:ext uri="{FF2B5EF4-FFF2-40B4-BE49-F238E27FC236}">
                  <a16:creationId xmlns:a16="http://schemas.microsoft.com/office/drawing/2014/main" id="{CB3D96B8-F9A7-8C3C-9B53-13F9DE8118DF}"/>
                </a:ext>
              </a:extLst>
            </p:cNvPr>
            <p:cNvSpPr/>
            <p:nvPr/>
          </p:nvSpPr>
          <p:spPr>
            <a:xfrm>
              <a:off x="2679108" y="5616358"/>
              <a:ext cx="462651" cy="525475"/>
            </a:xfrm>
            <a:custGeom>
              <a:avLst/>
              <a:gdLst>
                <a:gd name="connsiteX0" fmla="*/ 1 w 462651"/>
                <a:gd name="connsiteY0" fmla="*/ 407809 h 525475"/>
                <a:gd name="connsiteX1" fmla="*/ 135728 w 462651"/>
                <a:gd name="connsiteY1" fmla="*/ 156894 h 525475"/>
                <a:gd name="connsiteX2" fmla="*/ 362363 w 462651"/>
                <a:gd name="connsiteY2" fmla="*/ 120 h 525475"/>
                <a:gd name="connsiteX3" fmla="*/ 462653 w 462651"/>
                <a:gd name="connsiteY3" fmla="*/ 79490 h 525475"/>
                <a:gd name="connsiteX4" fmla="*/ 361222 w 462651"/>
                <a:gd name="connsiteY4" fmla="*/ 335476 h 525475"/>
                <a:gd name="connsiteX5" fmla="*/ 264546 w 462651"/>
                <a:gd name="connsiteY5" fmla="*/ 441471 h 525475"/>
                <a:gd name="connsiteX6" fmla="*/ 148851 w 462651"/>
                <a:gd name="connsiteY6" fmla="*/ 525596 h 525475"/>
                <a:gd name="connsiteX7" fmla="*/ 1 w 462651"/>
                <a:gd name="connsiteY7" fmla="*/ 407809 h 5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651" h="525475">
                  <a:moveTo>
                    <a:pt x="1" y="407809"/>
                  </a:moveTo>
                  <a:cubicBezTo>
                    <a:pt x="31825" y="307690"/>
                    <a:pt x="77070" y="224048"/>
                    <a:pt x="135728" y="156894"/>
                  </a:cubicBezTo>
                  <a:cubicBezTo>
                    <a:pt x="197177" y="86736"/>
                    <a:pt x="275038" y="32876"/>
                    <a:pt x="362363" y="120"/>
                  </a:cubicBezTo>
                  <a:lnTo>
                    <a:pt x="462653" y="79490"/>
                  </a:lnTo>
                  <a:cubicBezTo>
                    <a:pt x="454919" y="167652"/>
                    <a:pt x="421111" y="252981"/>
                    <a:pt x="361222" y="335476"/>
                  </a:cubicBezTo>
                  <a:cubicBezTo>
                    <a:pt x="332834" y="374127"/>
                    <a:pt x="300427" y="409654"/>
                    <a:pt x="264546" y="441471"/>
                  </a:cubicBezTo>
                  <a:cubicBezTo>
                    <a:pt x="228956" y="473397"/>
                    <a:pt x="190191" y="501582"/>
                    <a:pt x="148851" y="525596"/>
                  </a:cubicBezTo>
                  <a:lnTo>
                    <a:pt x="1" y="407809"/>
                  </a:lnTo>
                  <a:close/>
                </a:path>
              </a:pathLst>
            </a:custGeom>
            <a:solidFill>
              <a:srgbClr val="2D55F7"/>
            </a:solidFill>
            <a:ln w="3169" cap="flat">
              <a:solidFill>
                <a:srgbClr val="09139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  <p:sp>
          <p:nvSpPr>
            <p:cNvPr id="87" name="gaoding-32-6">
              <a:extLst>
                <a:ext uri="{FF2B5EF4-FFF2-40B4-BE49-F238E27FC236}">
                  <a16:creationId xmlns:a16="http://schemas.microsoft.com/office/drawing/2014/main" id="{81A6067B-74CE-2CBB-6E29-2F54E69DE61C}"/>
                </a:ext>
              </a:extLst>
            </p:cNvPr>
            <p:cNvSpPr/>
            <p:nvPr/>
          </p:nvSpPr>
          <p:spPr>
            <a:xfrm>
              <a:off x="2614509" y="6024047"/>
              <a:ext cx="213448" cy="190943"/>
            </a:xfrm>
            <a:custGeom>
              <a:avLst/>
              <a:gdLst>
                <a:gd name="connsiteX0" fmla="*/ 1 w 213448"/>
                <a:gd name="connsiteY0" fmla="*/ 44876 h 190943"/>
                <a:gd name="connsiteX1" fmla="*/ 64600 w 213448"/>
                <a:gd name="connsiteY1" fmla="*/ 120 h 190943"/>
                <a:gd name="connsiteX2" fmla="*/ 213450 w 213448"/>
                <a:gd name="connsiteY2" fmla="*/ 117907 h 190943"/>
                <a:gd name="connsiteX3" fmla="*/ 184669 w 213448"/>
                <a:gd name="connsiteY3" fmla="*/ 191063 h 190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448" h="190943">
                  <a:moveTo>
                    <a:pt x="1" y="44876"/>
                  </a:moveTo>
                  <a:lnTo>
                    <a:pt x="64600" y="120"/>
                  </a:lnTo>
                  <a:lnTo>
                    <a:pt x="213450" y="117907"/>
                  </a:lnTo>
                  <a:lnTo>
                    <a:pt x="184669" y="191063"/>
                  </a:lnTo>
                  <a:close/>
                </a:path>
              </a:pathLst>
            </a:custGeom>
            <a:solidFill>
              <a:srgbClr val="101010"/>
            </a:solidFill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  <p:sp>
          <p:nvSpPr>
            <p:cNvPr id="88" name="gaoding-32-7">
              <a:extLst>
                <a:ext uri="{FF2B5EF4-FFF2-40B4-BE49-F238E27FC236}">
                  <a16:creationId xmlns:a16="http://schemas.microsoft.com/office/drawing/2014/main" id="{CA6A89AE-EC62-72BB-0BD0-E85DAAA1B242}"/>
                </a:ext>
              </a:extLst>
            </p:cNvPr>
            <p:cNvSpPr/>
            <p:nvPr/>
          </p:nvSpPr>
          <p:spPr>
            <a:xfrm>
              <a:off x="2929332" y="5704695"/>
              <a:ext cx="138079" cy="138168"/>
            </a:xfrm>
            <a:custGeom>
              <a:avLst/>
              <a:gdLst>
                <a:gd name="connsiteX0" fmla="*/ 111886 w 138079"/>
                <a:gd name="connsiteY0" fmla="*/ 15116 h 138168"/>
                <a:gd name="connsiteX1" fmla="*/ 123176 w 138079"/>
                <a:gd name="connsiteY1" fmla="*/ 112097 h 138168"/>
                <a:gd name="connsiteX2" fmla="*/ 26195 w 138079"/>
                <a:gd name="connsiteY2" fmla="*/ 123381 h 138168"/>
                <a:gd name="connsiteX3" fmla="*/ 14905 w 138079"/>
                <a:gd name="connsiteY3" fmla="*/ 26400 h 138168"/>
                <a:gd name="connsiteX4" fmla="*/ 61170 w 138079"/>
                <a:gd name="connsiteY4" fmla="*/ 662 h 138168"/>
                <a:gd name="connsiteX5" fmla="*/ 111886 w 138079"/>
                <a:gd name="connsiteY5" fmla="*/ 15116 h 13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079" h="138168">
                  <a:moveTo>
                    <a:pt x="111886" y="15116"/>
                  </a:moveTo>
                  <a:cubicBezTo>
                    <a:pt x="141782" y="38781"/>
                    <a:pt x="146835" y="82200"/>
                    <a:pt x="123176" y="112097"/>
                  </a:cubicBezTo>
                  <a:cubicBezTo>
                    <a:pt x="99511" y="141987"/>
                    <a:pt x="56092" y="147046"/>
                    <a:pt x="26195" y="123381"/>
                  </a:cubicBezTo>
                  <a:cubicBezTo>
                    <a:pt x="-3701" y="99716"/>
                    <a:pt x="-8754" y="56297"/>
                    <a:pt x="14905" y="26400"/>
                  </a:cubicBezTo>
                  <a:cubicBezTo>
                    <a:pt x="26297" y="12016"/>
                    <a:pt x="42944" y="2754"/>
                    <a:pt x="61170" y="662"/>
                  </a:cubicBezTo>
                  <a:cubicBezTo>
                    <a:pt x="79339" y="-1665"/>
                    <a:pt x="97673" y="3559"/>
                    <a:pt x="111886" y="15116"/>
                  </a:cubicBezTo>
                  <a:close/>
                </a:path>
              </a:pathLst>
            </a:custGeom>
            <a:solidFill>
              <a:srgbClr val="FFFFFF"/>
            </a:solidFill>
            <a:ln w="3169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  <p:sp>
          <p:nvSpPr>
            <p:cNvPr id="89" name="gaoding-32-8">
              <a:extLst>
                <a:ext uri="{FF2B5EF4-FFF2-40B4-BE49-F238E27FC236}">
                  <a16:creationId xmlns:a16="http://schemas.microsoft.com/office/drawing/2014/main" id="{C01B7007-B67E-70A5-53CB-DDCB0040E1BF}"/>
                </a:ext>
              </a:extLst>
            </p:cNvPr>
            <p:cNvSpPr/>
            <p:nvPr/>
          </p:nvSpPr>
          <p:spPr>
            <a:xfrm>
              <a:off x="2949295" y="5724826"/>
              <a:ext cx="98197" cy="98007"/>
            </a:xfrm>
            <a:custGeom>
              <a:avLst/>
              <a:gdLst>
                <a:gd name="connsiteX0" fmla="*/ 45645 w 98197"/>
                <a:gd name="connsiteY0" fmla="*/ 120 h 98007"/>
                <a:gd name="connsiteX1" fmla="*/ 45645 w 98197"/>
                <a:gd name="connsiteY1" fmla="*/ 4241 h 98007"/>
                <a:gd name="connsiteX2" fmla="*/ 33980 w 98197"/>
                <a:gd name="connsiteY2" fmla="*/ 6586 h 98007"/>
                <a:gd name="connsiteX3" fmla="*/ 32649 w 98197"/>
                <a:gd name="connsiteY3" fmla="*/ 2656 h 98007"/>
                <a:gd name="connsiteX4" fmla="*/ 45645 w 98197"/>
                <a:gd name="connsiteY4" fmla="*/ 120 h 98007"/>
                <a:gd name="connsiteX5" fmla="*/ 23647 w 98197"/>
                <a:gd name="connsiteY5" fmla="*/ 11911 h 98007"/>
                <a:gd name="connsiteX6" fmla="*/ 14708 w 98197"/>
                <a:gd name="connsiteY6" fmla="*/ 19899 h 98007"/>
                <a:gd name="connsiteX7" fmla="*/ 11602 w 98197"/>
                <a:gd name="connsiteY7" fmla="*/ 17173 h 98007"/>
                <a:gd name="connsiteX8" fmla="*/ 21238 w 98197"/>
                <a:gd name="connsiteY8" fmla="*/ 8488 h 98007"/>
                <a:gd name="connsiteX9" fmla="*/ 23647 w 98197"/>
                <a:gd name="connsiteY9" fmla="*/ 11911 h 98007"/>
                <a:gd name="connsiteX10" fmla="*/ 57817 w 98197"/>
                <a:gd name="connsiteY10" fmla="*/ 5001 h 98007"/>
                <a:gd name="connsiteX11" fmla="*/ 58641 w 98197"/>
                <a:gd name="connsiteY11" fmla="*/ 817 h 98007"/>
                <a:gd name="connsiteX12" fmla="*/ 70939 w 98197"/>
                <a:gd name="connsiteY12" fmla="*/ 5065 h 98007"/>
                <a:gd name="connsiteX13" fmla="*/ 69037 w 98197"/>
                <a:gd name="connsiteY13" fmla="*/ 8868 h 98007"/>
                <a:gd name="connsiteX14" fmla="*/ 57817 w 98197"/>
                <a:gd name="connsiteY14" fmla="*/ 5001 h 98007"/>
                <a:gd name="connsiteX15" fmla="*/ 81716 w 98197"/>
                <a:gd name="connsiteY15" fmla="*/ 12355 h 98007"/>
                <a:gd name="connsiteX16" fmla="*/ 90211 w 98197"/>
                <a:gd name="connsiteY16" fmla="*/ 22181 h 98007"/>
                <a:gd name="connsiteX17" fmla="*/ 86725 w 98197"/>
                <a:gd name="connsiteY17" fmla="*/ 24527 h 98007"/>
                <a:gd name="connsiteX18" fmla="*/ 78927 w 98197"/>
                <a:gd name="connsiteY18" fmla="*/ 15525 h 98007"/>
                <a:gd name="connsiteX19" fmla="*/ 4502 w 98197"/>
                <a:gd name="connsiteY19" fmla="*/ 28077 h 98007"/>
                <a:gd name="connsiteX20" fmla="*/ 8306 w 98197"/>
                <a:gd name="connsiteY20" fmla="*/ 29915 h 98007"/>
                <a:gd name="connsiteX21" fmla="*/ 4629 w 98197"/>
                <a:gd name="connsiteY21" fmla="*/ 41263 h 98007"/>
                <a:gd name="connsiteX22" fmla="*/ 572 w 98197"/>
                <a:gd name="connsiteY22" fmla="*/ 40502 h 98007"/>
                <a:gd name="connsiteX23" fmla="*/ 4502 w 98197"/>
                <a:gd name="connsiteY23" fmla="*/ 27823 h 98007"/>
                <a:gd name="connsiteX24" fmla="*/ 4185 w 98197"/>
                <a:gd name="connsiteY24" fmla="*/ 53435 h 98007"/>
                <a:gd name="connsiteX25" fmla="*/ 6721 w 98197"/>
                <a:gd name="connsiteY25" fmla="*/ 64972 h 98007"/>
                <a:gd name="connsiteX26" fmla="*/ 2854 w 98197"/>
                <a:gd name="connsiteY26" fmla="*/ 66367 h 98007"/>
                <a:gd name="connsiteX27" fmla="*/ 1 w 98197"/>
                <a:gd name="connsiteY27" fmla="*/ 53688 h 98007"/>
                <a:gd name="connsiteX28" fmla="*/ 4185 w 98197"/>
                <a:gd name="connsiteY28" fmla="*/ 53688 h 98007"/>
                <a:gd name="connsiteX29" fmla="*/ 12236 w 98197"/>
                <a:gd name="connsiteY29" fmla="*/ 75559 h 98007"/>
                <a:gd name="connsiteX30" fmla="*/ 20414 w 98197"/>
                <a:gd name="connsiteY30" fmla="*/ 84244 h 98007"/>
                <a:gd name="connsiteX31" fmla="*/ 17751 w 98197"/>
                <a:gd name="connsiteY31" fmla="*/ 87477 h 98007"/>
                <a:gd name="connsiteX32" fmla="*/ 8876 w 98197"/>
                <a:gd name="connsiteY32" fmla="*/ 77968 h 98007"/>
                <a:gd name="connsiteX33" fmla="*/ 12236 w 98197"/>
                <a:gd name="connsiteY33" fmla="*/ 75559 h 98007"/>
                <a:gd name="connsiteX34" fmla="*/ 95853 w 98197"/>
                <a:gd name="connsiteY34" fmla="*/ 34162 h 98007"/>
                <a:gd name="connsiteX35" fmla="*/ 98199 w 98197"/>
                <a:gd name="connsiteY35" fmla="*/ 46841 h 98007"/>
                <a:gd name="connsiteX36" fmla="*/ 94015 w 98197"/>
                <a:gd name="connsiteY36" fmla="*/ 46841 h 98007"/>
                <a:gd name="connsiteX37" fmla="*/ 91859 w 98197"/>
                <a:gd name="connsiteY37" fmla="*/ 35177 h 98007"/>
                <a:gd name="connsiteX38" fmla="*/ 95853 w 98197"/>
                <a:gd name="connsiteY38" fmla="*/ 33846 h 98007"/>
                <a:gd name="connsiteX39" fmla="*/ 92684 w 98197"/>
                <a:gd name="connsiteY39" fmla="*/ 72199 h 98007"/>
                <a:gd name="connsiteX40" fmla="*/ 89007 w 98197"/>
                <a:gd name="connsiteY40" fmla="*/ 70297 h 98007"/>
                <a:gd name="connsiteX41" fmla="*/ 93000 w 98197"/>
                <a:gd name="connsiteY41" fmla="*/ 59140 h 98007"/>
                <a:gd name="connsiteX42" fmla="*/ 97121 w 98197"/>
                <a:gd name="connsiteY42" fmla="*/ 59964 h 98007"/>
                <a:gd name="connsiteX43" fmla="*/ 92684 w 98197"/>
                <a:gd name="connsiteY43" fmla="*/ 71882 h 98007"/>
                <a:gd name="connsiteX44" fmla="*/ 30811 w 98197"/>
                <a:gd name="connsiteY44" fmla="*/ 90330 h 98007"/>
                <a:gd name="connsiteX45" fmla="*/ 42222 w 98197"/>
                <a:gd name="connsiteY45" fmla="*/ 93690 h 98007"/>
                <a:gd name="connsiteX46" fmla="*/ 41524 w 98197"/>
                <a:gd name="connsiteY46" fmla="*/ 97811 h 98007"/>
                <a:gd name="connsiteX47" fmla="*/ 28845 w 98197"/>
                <a:gd name="connsiteY47" fmla="*/ 94070 h 98007"/>
                <a:gd name="connsiteX48" fmla="*/ 30557 w 98197"/>
                <a:gd name="connsiteY48" fmla="*/ 90330 h 98007"/>
                <a:gd name="connsiteX49" fmla="*/ 76138 w 98197"/>
                <a:gd name="connsiteY49" fmla="*/ 85449 h 98007"/>
                <a:gd name="connsiteX50" fmla="*/ 84696 w 98197"/>
                <a:gd name="connsiteY50" fmla="*/ 77144 h 98007"/>
                <a:gd name="connsiteX51" fmla="*/ 87929 w 98197"/>
                <a:gd name="connsiteY51" fmla="*/ 79743 h 98007"/>
                <a:gd name="connsiteX52" fmla="*/ 78610 w 98197"/>
                <a:gd name="connsiteY52" fmla="*/ 88808 h 98007"/>
                <a:gd name="connsiteX53" fmla="*/ 54140 w 98197"/>
                <a:gd name="connsiteY53" fmla="*/ 93943 h 98007"/>
                <a:gd name="connsiteX54" fmla="*/ 65678 w 98197"/>
                <a:gd name="connsiteY54" fmla="*/ 91217 h 98007"/>
                <a:gd name="connsiteX55" fmla="*/ 67199 w 98197"/>
                <a:gd name="connsiteY55" fmla="*/ 95021 h 98007"/>
                <a:gd name="connsiteX56" fmla="*/ 54520 w 98197"/>
                <a:gd name="connsiteY56" fmla="*/ 98128 h 98007"/>
                <a:gd name="connsiteX57" fmla="*/ 54140 w 98197"/>
                <a:gd name="connsiteY57" fmla="*/ 93943 h 9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98197" h="98007">
                  <a:moveTo>
                    <a:pt x="45645" y="120"/>
                  </a:moveTo>
                  <a:lnTo>
                    <a:pt x="45645" y="4241"/>
                  </a:lnTo>
                  <a:cubicBezTo>
                    <a:pt x="41676" y="4532"/>
                    <a:pt x="37752" y="5318"/>
                    <a:pt x="33980" y="6586"/>
                  </a:cubicBezTo>
                  <a:lnTo>
                    <a:pt x="32649" y="2656"/>
                  </a:lnTo>
                  <a:cubicBezTo>
                    <a:pt x="36827" y="1153"/>
                    <a:pt x="41207" y="304"/>
                    <a:pt x="45645" y="120"/>
                  </a:cubicBezTo>
                  <a:close/>
                  <a:moveTo>
                    <a:pt x="23647" y="11911"/>
                  </a:moveTo>
                  <a:cubicBezTo>
                    <a:pt x="20338" y="14181"/>
                    <a:pt x="17333" y="16862"/>
                    <a:pt x="14708" y="19899"/>
                  </a:cubicBezTo>
                  <a:lnTo>
                    <a:pt x="11602" y="17173"/>
                  </a:lnTo>
                  <a:cubicBezTo>
                    <a:pt x="14410" y="13857"/>
                    <a:pt x="17650" y="10935"/>
                    <a:pt x="21238" y="8488"/>
                  </a:cubicBezTo>
                  <a:lnTo>
                    <a:pt x="23647" y="11911"/>
                  </a:lnTo>
                  <a:close/>
                  <a:moveTo>
                    <a:pt x="57817" y="5001"/>
                  </a:moveTo>
                  <a:lnTo>
                    <a:pt x="58641" y="817"/>
                  </a:lnTo>
                  <a:cubicBezTo>
                    <a:pt x="62888" y="1762"/>
                    <a:pt x="67015" y="3188"/>
                    <a:pt x="70939" y="5065"/>
                  </a:cubicBezTo>
                  <a:lnTo>
                    <a:pt x="69037" y="8868"/>
                  </a:lnTo>
                  <a:cubicBezTo>
                    <a:pt x="65513" y="7017"/>
                    <a:pt x="61734" y="5711"/>
                    <a:pt x="57817" y="5001"/>
                  </a:cubicBezTo>
                  <a:close/>
                  <a:moveTo>
                    <a:pt x="81716" y="12355"/>
                  </a:moveTo>
                  <a:cubicBezTo>
                    <a:pt x="84994" y="15220"/>
                    <a:pt x="87853" y="18523"/>
                    <a:pt x="90211" y="22181"/>
                  </a:cubicBezTo>
                  <a:lnTo>
                    <a:pt x="86725" y="24527"/>
                  </a:lnTo>
                  <a:cubicBezTo>
                    <a:pt x="84544" y="21192"/>
                    <a:pt x="81919" y="18162"/>
                    <a:pt x="78927" y="15525"/>
                  </a:cubicBezTo>
                  <a:close/>
                  <a:moveTo>
                    <a:pt x="4502" y="28077"/>
                  </a:moveTo>
                  <a:lnTo>
                    <a:pt x="8306" y="29915"/>
                  </a:lnTo>
                  <a:cubicBezTo>
                    <a:pt x="6575" y="33516"/>
                    <a:pt x="5339" y="37332"/>
                    <a:pt x="4629" y="41263"/>
                  </a:cubicBezTo>
                  <a:lnTo>
                    <a:pt x="572" y="40502"/>
                  </a:lnTo>
                  <a:cubicBezTo>
                    <a:pt x="1282" y="36109"/>
                    <a:pt x="2600" y="31842"/>
                    <a:pt x="4502" y="27823"/>
                  </a:cubicBezTo>
                  <a:close/>
                  <a:moveTo>
                    <a:pt x="4185" y="53435"/>
                  </a:moveTo>
                  <a:cubicBezTo>
                    <a:pt x="4451" y="57384"/>
                    <a:pt x="5307" y="61270"/>
                    <a:pt x="6721" y="64972"/>
                  </a:cubicBezTo>
                  <a:lnTo>
                    <a:pt x="2854" y="66367"/>
                  </a:lnTo>
                  <a:cubicBezTo>
                    <a:pt x="1332" y="62291"/>
                    <a:pt x="369" y="58024"/>
                    <a:pt x="1" y="53688"/>
                  </a:cubicBezTo>
                  <a:lnTo>
                    <a:pt x="4185" y="53688"/>
                  </a:lnTo>
                  <a:close/>
                  <a:moveTo>
                    <a:pt x="12236" y="75559"/>
                  </a:moveTo>
                  <a:cubicBezTo>
                    <a:pt x="14575" y="78799"/>
                    <a:pt x="17327" y="81715"/>
                    <a:pt x="20414" y="84244"/>
                  </a:cubicBezTo>
                  <a:lnTo>
                    <a:pt x="17751" y="87477"/>
                  </a:lnTo>
                  <a:cubicBezTo>
                    <a:pt x="14398" y="84700"/>
                    <a:pt x="11412" y="81506"/>
                    <a:pt x="8876" y="77968"/>
                  </a:cubicBezTo>
                  <a:lnTo>
                    <a:pt x="12236" y="75559"/>
                  </a:lnTo>
                  <a:close/>
                  <a:moveTo>
                    <a:pt x="95853" y="34162"/>
                  </a:moveTo>
                  <a:cubicBezTo>
                    <a:pt x="97153" y="38277"/>
                    <a:pt x="97939" y="42537"/>
                    <a:pt x="98199" y="46841"/>
                  </a:cubicBezTo>
                  <a:lnTo>
                    <a:pt x="94015" y="46841"/>
                  </a:lnTo>
                  <a:cubicBezTo>
                    <a:pt x="93875" y="42866"/>
                    <a:pt x="93146" y="38936"/>
                    <a:pt x="91859" y="35177"/>
                  </a:cubicBezTo>
                  <a:lnTo>
                    <a:pt x="95853" y="33846"/>
                  </a:lnTo>
                  <a:close/>
                  <a:moveTo>
                    <a:pt x="92684" y="72199"/>
                  </a:moveTo>
                  <a:lnTo>
                    <a:pt x="89007" y="70297"/>
                  </a:lnTo>
                  <a:cubicBezTo>
                    <a:pt x="90851" y="66785"/>
                    <a:pt x="92195" y="63026"/>
                    <a:pt x="93000" y="59140"/>
                  </a:cubicBezTo>
                  <a:lnTo>
                    <a:pt x="97121" y="59964"/>
                  </a:lnTo>
                  <a:cubicBezTo>
                    <a:pt x="96189" y="64117"/>
                    <a:pt x="94693" y="68129"/>
                    <a:pt x="92684" y="71882"/>
                  </a:cubicBezTo>
                  <a:close/>
                  <a:moveTo>
                    <a:pt x="30811" y="90330"/>
                  </a:moveTo>
                  <a:cubicBezTo>
                    <a:pt x="34468" y="91902"/>
                    <a:pt x="38298" y="93031"/>
                    <a:pt x="42222" y="93690"/>
                  </a:cubicBezTo>
                  <a:lnTo>
                    <a:pt x="41524" y="97811"/>
                  </a:lnTo>
                  <a:cubicBezTo>
                    <a:pt x="37137" y="97189"/>
                    <a:pt x="32865" y="95928"/>
                    <a:pt x="28845" y="94070"/>
                  </a:cubicBezTo>
                  <a:lnTo>
                    <a:pt x="30557" y="90330"/>
                  </a:lnTo>
                  <a:close/>
                  <a:moveTo>
                    <a:pt x="76138" y="85449"/>
                  </a:moveTo>
                  <a:cubicBezTo>
                    <a:pt x="79352" y="83078"/>
                    <a:pt x="82230" y="80282"/>
                    <a:pt x="84696" y="77144"/>
                  </a:cubicBezTo>
                  <a:lnTo>
                    <a:pt x="87929" y="79743"/>
                  </a:lnTo>
                  <a:cubicBezTo>
                    <a:pt x="85241" y="83167"/>
                    <a:pt x="82109" y="86216"/>
                    <a:pt x="78610" y="88808"/>
                  </a:cubicBezTo>
                  <a:close/>
                  <a:moveTo>
                    <a:pt x="54140" y="93943"/>
                  </a:moveTo>
                  <a:cubicBezTo>
                    <a:pt x="58095" y="93570"/>
                    <a:pt x="61975" y="92650"/>
                    <a:pt x="65678" y="91217"/>
                  </a:cubicBezTo>
                  <a:lnTo>
                    <a:pt x="67199" y="95021"/>
                  </a:lnTo>
                  <a:cubicBezTo>
                    <a:pt x="63142" y="96657"/>
                    <a:pt x="58875" y="97703"/>
                    <a:pt x="54520" y="98128"/>
                  </a:cubicBezTo>
                  <a:lnTo>
                    <a:pt x="54140" y="93943"/>
                  </a:lnTo>
                  <a:close/>
                </a:path>
              </a:pathLst>
            </a:custGeom>
            <a:solidFill>
              <a:srgbClr val="101010"/>
            </a:solidFill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  <p:sp>
          <p:nvSpPr>
            <p:cNvPr id="90" name="gaoding-32-9">
              <a:extLst>
                <a:ext uri="{FF2B5EF4-FFF2-40B4-BE49-F238E27FC236}">
                  <a16:creationId xmlns:a16="http://schemas.microsoft.com/office/drawing/2014/main" id="{1204F282-F6F0-09C4-567B-F3576E1E3031}"/>
                </a:ext>
              </a:extLst>
            </p:cNvPr>
            <p:cNvSpPr/>
            <p:nvPr/>
          </p:nvSpPr>
          <p:spPr>
            <a:xfrm>
              <a:off x="2650370" y="6021096"/>
              <a:ext cx="155192" cy="188418"/>
            </a:xfrm>
            <a:custGeom>
              <a:avLst/>
              <a:gdLst>
                <a:gd name="connsiteX0" fmla="*/ 152802 w 155192"/>
                <a:gd name="connsiteY0" fmla="*/ 20695 h 188418"/>
                <a:gd name="connsiteX1" fmla="*/ 23287 w 155192"/>
                <a:gd name="connsiteY1" fmla="*/ 184252 h 188418"/>
                <a:gd name="connsiteX2" fmla="*/ 15807 w 155192"/>
                <a:gd name="connsiteY2" fmla="*/ 188436 h 188418"/>
                <a:gd name="connsiteX3" fmla="*/ 7566 w 155192"/>
                <a:gd name="connsiteY3" fmla="*/ 186091 h 188418"/>
                <a:gd name="connsiteX4" fmla="*/ 4333 w 155192"/>
                <a:gd name="connsiteY4" fmla="*/ 183428 h 188418"/>
                <a:gd name="connsiteX5" fmla="*/ 85 w 155192"/>
                <a:gd name="connsiteY5" fmla="*/ 176201 h 188418"/>
                <a:gd name="connsiteX6" fmla="*/ 2431 w 155192"/>
                <a:gd name="connsiteY6" fmla="*/ 167960 h 188418"/>
                <a:gd name="connsiteX7" fmla="*/ 131945 w 155192"/>
                <a:gd name="connsiteY7" fmla="*/ 4339 h 188418"/>
                <a:gd name="connsiteX8" fmla="*/ 139426 w 155192"/>
                <a:gd name="connsiteY8" fmla="*/ 218 h 188418"/>
                <a:gd name="connsiteX9" fmla="*/ 147667 w 155192"/>
                <a:gd name="connsiteY9" fmla="*/ 2500 h 188418"/>
                <a:gd name="connsiteX10" fmla="*/ 150900 w 155192"/>
                <a:gd name="connsiteY10" fmla="*/ 5163 h 188418"/>
                <a:gd name="connsiteX11" fmla="*/ 155084 w 155192"/>
                <a:gd name="connsiteY11" fmla="*/ 12707 h 188418"/>
                <a:gd name="connsiteX12" fmla="*/ 152739 w 155192"/>
                <a:gd name="connsiteY12" fmla="*/ 20948 h 18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5192" h="188418">
                  <a:moveTo>
                    <a:pt x="152802" y="20695"/>
                  </a:moveTo>
                  <a:lnTo>
                    <a:pt x="23287" y="184252"/>
                  </a:lnTo>
                  <a:cubicBezTo>
                    <a:pt x="21506" y="186649"/>
                    <a:pt x="18787" y="188176"/>
                    <a:pt x="15807" y="188436"/>
                  </a:cubicBezTo>
                  <a:cubicBezTo>
                    <a:pt x="12853" y="188848"/>
                    <a:pt x="9860" y="187999"/>
                    <a:pt x="7566" y="186091"/>
                  </a:cubicBezTo>
                  <a:lnTo>
                    <a:pt x="4333" y="183428"/>
                  </a:lnTo>
                  <a:cubicBezTo>
                    <a:pt x="2006" y="181685"/>
                    <a:pt x="472" y="179079"/>
                    <a:pt x="85" y="176201"/>
                  </a:cubicBezTo>
                  <a:cubicBezTo>
                    <a:pt x="-283" y="173247"/>
                    <a:pt x="567" y="170274"/>
                    <a:pt x="2431" y="167960"/>
                  </a:cubicBezTo>
                  <a:lnTo>
                    <a:pt x="131945" y="4339"/>
                  </a:lnTo>
                  <a:cubicBezTo>
                    <a:pt x="133784" y="2019"/>
                    <a:pt x="136478" y="529"/>
                    <a:pt x="139426" y="218"/>
                  </a:cubicBezTo>
                  <a:cubicBezTo>
                    <a:pt x="142367" y="-181"/>
                    <a:pt x="145347" y="643"/>
                    <a:pt x="147667" y="2500"/>
                  </a:cubicBezTo>
                  <a:lnTo>
                    <a:pt x="150900" y="5163"/>
                  </a:lnTo>
                  <a:cubicBezTo>
                    <a:pt x="153297" y="6976"/>
                    <a:pt x="154818" y="9715"/>
                    <a:pt x="155084" y="12707"/>
                  </a:cubicBezTo>
                  <a:cubicBezTo>
                    <a:pt x="155515" y="15661"/>
                    <a:pt x="154660" y="18660"/>
                    <a:pt x="152739" y="20948"/>
                  </a:cubicBezTo>
                  <a:close/>
                </a:path>
              </a:pathLst>
            </a:custGeom>
            <a:solidFill>
              <a:srgbClr val="FFFFFF"/>
            </a:solidFill>
            <a:ln w="633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准圆GB"/>
                <a:ea typeface="锐字云字库准圆GB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6524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: 圆角 4">
            <a:extLst>
              <a:ext uri="{FF2B5EF4-FFF2-40B4-BE49-F238E27FC236}">
                <a16:creationId xmlns:a16="http://schemas.microsoft.com/office/drawing/2014/main" id="{554A90AA-2FAB-0ABE-722D-843E0D547715}"/>
              </a:ext>
            </a:extLst>
          </p:cNvPr>
          <p:cNvSpPr/>
          <p:nvPr/>
        </p:nvSpPr>
        <p:spPr>
          <a:xfrm>
            <a:off x="8895688" y="1750252"/>
            <a:ext cx="2170800" cy="4536000"/>
          </a:xfrm>
          <a:prstGeom prst="roundRect">
            <a:avLst>
              <a:gd name="adj" fmla="val 8900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77567C70-46F5-5652-F272-B6C49FC47BCA}"/>
              </a:ext>
            </a:extLst>
          </p:cNvPr>
          <p:cNvSpPr/>
          <p:nvPr/>
        </p:nvSpPr>
        <p:spPr>
          <a:xfrm>
            <a:off x="6563340" y="1772879"/>
            <a:ext cx="2172276" cy="4536000"/>
          </a:xfrm>
          <a:prstGeom prst="roundRect">
            <a:avLst>
              <a:gd name="adj" fmla="val 89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C55D6FB1-894A-D440-A24F-523FA5743E7C}"/>
              </a:ext>
            </a:extLst>
          </p:cNvPr>
          <p:cNvSpPr/>
          <p:nvPr/>
        </p:nvSpPr>
        <p:spPr>
          <a:xfrm>
            <a:off x="4178781" y="1772879"/>
            <a:ext cx="2172276" cy="4536000"/>
          </a:xfrm>
          <a:prstGeom prst="roundRect">
            <a:avLst>
              <a:gd name="adj" fmla="val 89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96FE6A8F-41EE-C0AA-F566-F905E95A0594}"/>
              </a:ext>
            </a:extLst>
          </p:cNvPr>
          <p:cNvSpPr/>
          <p:nvPr/>
        </p:nvSpPr>
        <p:spPr>
          <a:xfrm>
            <a:off x="1794222" y="1772879"/>
            <a:ext cx="2172276" cy="4536000"/>
          </a:xfrm>
          <a:prstGeom prst="roundRect">
            <a:avLst>
              <a:gd name="adj" fmla="val 89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7DDD3CD-44DF-45FE-4E55-10C65EB9BA90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DB7AEA14-A5C2-0B92-7EA9-AC23F674098C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CC771E7-C983-520A-A348-B3A500DF31F3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3C3D2797-A446-DDBC-1D8C-0FC427938DE7}"/>
              </a:ext>
            </a:extLst>
          </p:cNvPr>
          <p:cNvCxnSpPr>
            <a:cxnSpLocks/>
          </p:cNvCxnSpPr>
          <p:nvPr/>
        </p:nvCxnSpPr>
        <p:spPr>
          <a:xfrm>
            <a:off x="709275" y="3208117"/>
            <a:ext cx="10892591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4767E994-8842-7C8E-50C9-173748143064}"/>
              </a:ext>
            </a:extLst>
          </p:cNvPr>
          <p:cNvCxnSpPr>
            <a:cxnSpLocks/>
          </p:cNvCxnSpPr>
          <p:nvPr/>
        </p:nvCxnSpPr>
        <p:spPr>
          <a:xfrm>
            <a:off x="709275" y="4176328"/>
            <a:ext cx="10892591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B4DBDB60-B574-5AA2-C279-FC5EDC4B890C}"/>
              </a:ext>
            </a:extLst>
          </p:cNvPr>
          <p:cNvCxnSpPr>
            <a:cxnSpLocks/>
          </p:cNvCxnSpPr>
          <p:nvPr/>
        </p:nvCxnSpPr>
        <p:spPr>
          <a:xfrm>
            <a:off x="709275" y="5144539"/>
            <a:ext cx="10892591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稿定-9">
            <a:extLst>
              <a:ext uri="{FF2B5EF4-FFF2-40B4-BE49-F238E27FC236}">
                <a16:creationId xmlns:a16="http://schemas.microsoft.com/office/drawing/2014/main" id="{D176FE41-466F-6A1D-156D-DDE7C7EFC100}"/>
              </a:ext>
            </a:extLst>
          </p:cNvPr>
          <p:cNvSpPr/>
          <p:nvPr/>
        </p:nvSpPr>
        <p:spPr>
          <a:xfrm flipH="1">
            <a:off x="709275" y="2350901"/>
            <a:ext cx="1014431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0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6" name="稿定-9">
            <a:extLst>
              <a:ext uri="{FF2B5EF4-FFF2-40B4-BE49-F238E27FC236}">
                <a16:creationId xmlns:a16="http://schemas.microsoft.com/office/drawing/2014/main" id="{CC39BC06-C0BF-3773-1836-862C1199B4AC}"/>
              </a:ext>
            </a:extLst>
          </p:cNvPr>
          <p:cNvSpPr/>
          <p:nvPr/>
        </p:nvSpPr>
        <p:spPr>
          <a:xfrm flipH="1">
            <a:off x="709275" y="3545084"/>
            <a:ext cx="1014431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1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7" name="稿定-9">
            <a:extLst>
              <a:ext uri="{FF2B5EF4-FFF2-40B4-BE49-F238E27FC236}">
                <a16:creationId xmlns:a16="http://schemas.microsoft.com/office/drawing/2014/main" id="{73CA5628-B169-E3CD-92D6-BFC4B5002EAC}"/>
              </a:ext>
            </a:extLst>
          </p:cNvPr>
          <p:cNvSpPr/>
          <p:nvPr/>
        </p:nvSpPr>
        <p:spPr>
          <a:xfrm flipH="1">
            <a:off x="709275" y="5635142"/>
            <a:ext cx="1014431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3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8" name="稿定-9">
            <a:extLst>
              <a:ext uri="{FF2B5EF4-FFF2-40B4-BE49-F238E27FC236}">
                <a16:creationId xmlns:a16="http://schemas.microsoft.com/office/drawing/2014/main" id="{BF72FD37-16D3-CE06-6371-787BCF70C191}"/>
              </a:ext>
            </a:extLst>
          </p:cNvPr>
          <p:cNvSpPr/>
          <p:nvPr/>
        </p:nvSpPr>
        <p:spPr>
          <a:xfrm flipH="1">
            <a:off x="709275" y="4471006"/>
            <a:ext cx="1014431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2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9" name="稿定-9">
            <a:extLst>
              <a:ext uri="{FF2B5EF4-FFF2-40B4-BE49-F238E27FC236}">
                <a16:creationId xmlns:a16="http://schemas.microsoft.com/office/drawing/2014/main" id="{726DDAFA-EDF9-E03D-9469-FFCC407B7C41}"/>
              </a:ext>
            </a:extLst>
          </p:cNvPr>
          <p:cNvSpPr/>
          <p:nvPr/>
        </p:nvSpPr>
        <p:spPr>
          <a:xfrm flipH="1">
            <a:off x="2334188" y="238882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0" name="稿定-31">
            <a:extLst>
              <a:ext uri="{FF2B5EF4-FFF2-40B4-BE49-F238E27FC236}">
                <a16:creationId xmlns:a16="http://schemas.microsoft.com/office/drawing/2014/main" id="{4041B244-6FCE-16C8-1738-C51B91A052AC}"/>
              </a:ext>
            </a:extLst>
          </p:cNvPr>
          <p:cNvSpPr/>
          <p:nvPr/>
        </p:nvSpPr>
        <p:spPr>
          <a:xfrm flipH="1">
            <a:off x="2173649" y="272560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B5CC7991-0128-7E5B-D9D1-D14634646F97}"/>
              </a:ext>
            </a:extLst>
          </p:cNvPr>
          <p:cNvGrpSpPr/>
          <p:nvPr/>
        </p:nvGrpSpPr>
        <p:grpSpPr>
          <a:xfrm>
            <a:off x="5083968" y="1957862"/>
            <a:ext cx="361901" cy="406359"/>
            <a:chOff x="3193522" y="5222129"/>
            <a:chExt cx="395205" cy="443754"/>
          </a:xfrm>
        </p:grpSpPr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6E21C223-7376-E241-A22A-8D7B2F910178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2353C4CF-5BCD-1426-0F6E-4309D6279AD5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92EAC635-0313-56E0-142A-4C0573F0A3A1}"/>
              </a:ext>
            </a:extLst>
          </p:cNvPr>
          <p:cNvGrpSpPr/>
          <p:nvPr/>
        </p:nvGrpSpPr>
        <p:grpSpPr>
          <a:xfrm>
            <a:off x="2693605" y="2005221"/>
            <a:ext cx="373508" cy="359000"/>
            <a:chOff x="1406740" y="5275641"/>
            <a:chExt cx="441102" cy="423968"/>
          </a:xfrm>
        </p:grpSpPr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AF99324B-F0C4-882D-2780-59EB262D8957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FF95A96A-654A-0799-E27D-2CC18625E3B9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1A9280E8-322F-12D0-DBCB-05A3803E81CE}"/>
              </a:ext>
            </a:extLst>
          </p:cNvPr>
          <p:cNvGrpSpPr/>
          <p:nvPr/>
        </p:nvGrpSpPr>
        <p:grpSpPr>
          <a:xfrm>
            <a:off x="9854646" y="1952754"/>
            <a:ext cx="355003" cy="355003"/>
            <a:chOff x="10357510" y="5253191"/>
            <a:chExt cx="355003" cy="355003"/>
          </a:xfrm>
        </p:grpSpPr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3F498A06-6C7A-9685-B873-AAC3986A3C5B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697AC136-531B-05AD-219D-A8DC4A98DA32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EDE89A07-ACC4-8219-40B7-EC985E0725E5}"/>
              </a:ext>
            </a:extLst>
          </p:cNvPr>
          <p:cNvGrpSpPr/>
          <p:nvPr/>
        </p:nvGrpSpPr>
        <p:grpSpPr>
          <a:xfrm>
            <a:off x="7458026" y="1974087"/>
            <a:ext cx="382904" cy="373907"/>
            <a:chOff x="6770455" y="5253911"/>
            <a:chExt cx="387355" cy="378253"/>
          </a:xfrm>
          <a:solidFill>
            <a:schemeClr val="bg1"/>
          </a:solidFill>
        </p:grpSpPr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05570435-4B26-92A8-A7B2-2ED81DFD5EEB}"/>
                </a:ext>
              </a:extLst>
            </p:cNvPr>
            <p:cNvSpPr/>
            <p:nvPr/>
          </p:nvSpPr>
          <p:spPr>
            <a:xfrm>
              <a:off x="6770455" y="5253911"/>
              <a:ext cx="387355" cy="378253"/>
            </a:xfrm>
            <a:custGeom>
              <a:avLst/>
              <a:gdLst>
                <a:gd name="connsiteX0" fmla="*/ 291860 w 387355"/>
                <a:gd name="connsiteY0" fmla="*/ 378254 h 378253"/>
                <a:gd name="connsiteX1" fmla="*/ 95496 w 387355"/>
                <a:gd name="connsiteY1" fmla="*/ 378254 h 378253"/>
                <a:gd name="connsiteX2" fmla="*/ 0 w 387355"/>
                <a:gd name="connsiteY2" fmla="*/ 282758 h 378253"/>
                <a:gd name="connsiteX3" fmla="*/ 0 w 387355"/>
                <a:gd name="connsiteY3" fmla="*/ 168162 h 378253"/>
                <a:gd name="connsiteX4" fmla="*/ 38198 w 387355"/>
                <a:gd name="connsiteY4" fmla="*/ 91169 h 378253"/>
                <a:gd name="connsiteX5" fmla="*/ 133098 w 387355"/>
                <a:gd name="connsiteY5" fmla="*/ 20144 h 378253"/>
                <a:gd name="connsiteX6" fmla="*/ 254855 w 387355"/>
                <a:gd name="connsiteY6" fmla="*/ 20144 h 378253"/>
                <a:gd name="connsiteX7" fmla="*/ 349157 w 387355"/>
                <a:gd name="connsiteY7" fmla="*/ 91169 h 378253"/>
                <a:gd name="connsiteX8" fmla="*/ 387356 w 387355"/>
                <a:gd name="connsiteY8" fmla="*/ 168162 h 378253"/>
                <a:gd name="connsiteX9" fmla="*/ 387356 w 387355"/>
                <a:gd name="connsiteY9" fmla="*/ 282161 h 378253"/>
                <a:gd name="connsiteX10" fmla="*/ 291860 w 387355"/>
                <a:gd name="connsiteY10" fmla="*/ 378254 h 378253"/>
                <a:gd name="connsiteX11" fmla="*/ 147422 w 387355"/>
                <a:gd name="connsiteY11" fmla="*/ 39840 h 378253"/>
                <a:gd name="connsiteX12" fmla="*/ 52523 w 387355"/>
                <a:gd name="connsiteY12" fmla="*/ 110865 h 378253"/>
                <a:gd name="connsiteX13" fmla="*/ 23874 w 387355"/>
                <a:gd name="connsiteY13" fmla="*/ 168759 h 378253"/>
                <a:gd name="connsiteX14" fmla="*/ 23874 w 387355"/>
                <a:gd name="connsiteY14" fmla="*/ 282758 h 378253"/>
                <a:gd name="connsiteX15" fmla="*/ 95496 w 387355"/>
                <a:gd name="connsiteY15" fmla="*/ 354380 h 378253"/>
                <a:gd name="connsiteX16" fmla="*/ 291860 w 387355"/>
                <a:gd name="connsiteY16" fmla="*/ 354380 h 378253"/>
                <a:gd name="connsiteX17" fmla="*/ 363482 w 387355"/>
                <a:gd name="connsiteY17" fmla="*/ 282758 h 378253"/>
                <a:gd name="connsiteX18" fmla="*/ 363482 w 387355"/>
                <a:gd name="connsiteY18" fmla="*/ 168162 h 378253"/>
                <a:gd name="connsiteX19" fmla="*/ 334833 w 387355"/>
                <a:gd name="connsiteY19" fmla="*/ 110268 h 378253"/>
                <a:gd name="connsiteX20" fmla="*/ 240531 w 387355"/>
                <a:gd name="connsiteY20" fmla="*/ 39243 h 378253"/>
                <a:gd name="connsiteX21" fmla="*/ 147422 w 387355"/>
                <a:gd name="connsiteY21" fmla="*/ 39840 h 37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7355" h="378253">
                  <a:moveTo>
                    <a:pt x="291860" y="378254"/>
                  </a:moveTo>
                  <a:lnTo>
                    <a:pt x="95496" y="378254"/>
                  </a:lnTo>
                  <a:cubicBezTo>
                    <a:pt x="42973" y="378254"/>
                    <a:pt x="0" y="335281"/>
                    <a:pt x="0" y="282758"/>
                  </a:cubicBezTo>
                  <a:lnTo>
                    <a:pt x="0" y="168162"/>
                  </a:lnTo>
                  <a:cubicBezTo>
                    <a:pt x="0" y="137723"/>
                    <a:pt x="14324" y="109074"/>
                    <a:pt x="38198" y="91169"/>
                  </a:cubicBezTo>
                  <a:lnTo>
                    <a:pt x="133098" y="20144"/>
                  </a:lnTo>
                  <a:cubicBezTo>
                    <a:pt x="169505" y="-6715"/>
                    <a:pt x="218447" y="-6715"/>
                    <a:pt x="254855" y="20144"/>
                  </a:cubicBezTo>
                  <a:lnTo>
                    <a:pt x="349157" y="91169"/>
                  </a:lnTo>
                  <a:cubicBezTo>
                    <a:pt x="373628" y="109671"/>
                    <a:pt x="387356" y="137723"/>
                    <a:pt x="387356" y="168162"/>
                  </a:cubicBezTo>
                  <a:lnTo>
                    <a:pt x="387356" y="282161"/>
                  </a:lnTo>
                  <a:cubicBezTo>
                    <a:pt x="387356" y="335281"/>
                    <a:pt x="344382" y="378254"/>
                    <a:pt x="291860" y="378254"/>
                  </a:cubicBezTo>
                  <a:close/>
                  <a:moveTo>
                    <a:pt x="147422" y="39840"/>
                  </a:moveTo>
                  <a:lnTo>
                    <a:pt x="52523" y="110865"/>
                  </a:lnTo>
                  <a:cubicBezTo>
                    <a:pt x="34617" y="123996"/>
                    <a:pt x="23874" y="145482"/>
                    <a:pt x="23874" y="168759"/>
                  </a:cubicBezTo>
                  <a:lnTo>
                    <a:pt x="23874" y="282758"/>
                  </a:lnTo>
                  <a:cubicBezTo>
                    <a:pt x="23874" y="322150"/>
                    <a:pt x="56104" y="354380"/>
                    <a:pt x="95496" y="354380"/>
                  </a:cubicBezTo>
                  <a:lnTo>
                    <a:pt x="291860" y="354380"/>
                  </a:lnTo>
                  <a:cubicBezTo>
                    <a:pt x="331252" y="354380"/>
                    <a:pt x="363482" y="322150"/>
                    <a:pt x="363482" y="282758"/>
                  </a:cubicBezTo>
                  <a:lnTo>
                    <a:pt x="363482" y="168162"/>
                  </a:lnTo>
                  <a:cubicBezTo>
                    <a:pt x="363482" y="145482"/>
                    <a:pt x="352738" y="124592"/>
                    <a:pt x="334833" y="110268"/>
                  </a:cubicBezTo>
                  <a:lnTo>
                    <a:pt x="240531" y="39243"/>
                  </a:lnTo>
                  <a:cubicBezTo>
                    <a:pt x="212479" y="18950"/>
                    <a:pt x="174877" y="18950"/>
                    <a:pt x="147422" y="39840"/>
                  </a:cubicBez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C1AEC420-0636-36CF-7CAF-618D04A068D4}"/>
                </a:ext>
              </a:extLst>
            </p:cNvPr>
            <p:cNvSpPr/>
            <p:nvPr/>
          </p:nvSpPr>
          <p:spPr>
            <a:xfrm>
              <a:off x="6905100" y="5482249"/>
              <a:ext cx="118526" cy="53225"/>
            </a:xfrm>
            <a:custGeom>
              <a:avLst/>
              <a:gdLst>
                <a:gd name="connsiteX0" fmla="*/ 58735 w 118526"/>
                <a:gd name="connsiteY0" fmla="*/ 53226 h 53225"/>
                <a:gd name="connsiteX1" fmla="*/ 1438 w 118526"/>
                <a:gd name="connsiteY1" fmla="*/ 18012 h 53225"/>
                <a:gd name="connsiteX2" fmla="*/ 5616 w 118526"/>
                <a:gd name="connsiteY2" fmla="*/ 2494 h 53225"/>
                <a:gd name="connsiteX3" fmla="*/ 21134 w 118526"/>
                <a:gd name="connsiteY3" fmla="*/ 6672 h 53225"/>
                <a:gd name="connsiteX4" fmla="*/ 59332 w 118526"/>
                <a:gd name="connsiteY4" fmla="*/ 30546 h 53225"/>
                <a:gd name="connsiteX5" fmla="*/ 96934 w 118526"/>
                <a:gd name="connsiteY5" fmla="*/ 6075 h 53225"/>
                <a:gd name="connsiteX6" fmla="*/ 112452 w 118526"/>
                <a:gd name="connsiteY6" fmla="*/ 1300 h 53225"/>
                <a:gd name="connsiteX7" fmla="*/ 117227 w 118526"/>
                <a:gd name="connsiteY7" fmla="*/ 16818 h 53225"/>
                <a:gd name="connsiteX8" fmla="*/ 60526 w 118526"/>
                <a:gd name="connsiteY8" fmla="*/ 53226 h 53225"/>
                <a:gd name="connsiteX9" fmla="*/ 58735 w 118526"/>
                <a:gd name="connsiteY9" fmla="*/ 53226 h 5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526" h="53225">
                  <a:moveTo>
                    <a:pt x="58735" y="53226"/>
                  </a:moveTo>
                  <a:cubicBezTo>
                    <a:pt x="35458" y="53226"/>
                    <a:pt x="13971" y="40095"/>
                    <a:pt x="1438" y="18012"/>
                  </a:cubicBezTo>
                  <a:cubicBezTo>
                    <a:pt x="-1547" y="12640"/>
                    <a:pt x="244" y="5478"/>
                    <a:pt x="5616" y="2494"/>
                  </a:cubicBezTo>
                  <a:cubicBezTo>
                    <a:pt x="10987" y="-491"/>
                    <a:pt x="18149" y="1300"/>
                    <a:pt x="21134" y="6672"/>
                  </a:cubicBezTo>
                  <a:cubicBezTo>
                    <a:pt x="29490" y="21593"/>
                    <a:pt x="44411" y="30546"/>
                    <a:pt x="59332" y="30546"/>
                  </a:cubicBezTo>
                  <a:cubicBezTo>
                    <a:pt x="74850" y="30546"/>
                    <a:pt x="88578" y="20996"/>
                    <a:pt x="96934" y="6075"/>
                  </a:cubicBezTo>
                  <a:cubicBezTo>
                    <a:pt x="99918" y="703"/>
                    <a:pt x="107080" y="-1684"/>
                    <a:pt x="112452" y="1300"/>
                  </a:cubicBezTo>
                  <a:cubicBezTo>
                    <a:pt x="117823" y="4284"/>
                    <a:pt x="120211" y="11446"/>
                    <a:pt x="117227" y="16818"/>
                  </a:cubicBezTo>
                  <a:cubicBezTo>
                    <a:pt x="105290" y="38902"/>
                    <a:pt x="83803" y="52629"/>
                    <a:pt x="60526" y="53226"/>
                  </a:cubicBezTo>
                  <a:lnTo>
                    <a:pt x="58735" y="53226"/>
                  </a:ln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89" name="稿定-9">
            <a:extLst>
              <a:ext uri="{FF2B5EF4-FFF2-40B4-BE49-F238E27FC236}">
                <a16:creationId xmlns:a16="http://schemas.microsoft.com/office/drawing/2014/main" id="{CE9BD1C2-83E2-E3C0-7BDC-25D01BC63099}"/>
              </a:ext>
            </a:extLst>
          </p:cNvPr>
          <p:cNvSpPr/>
          <p:nvPr/>
        </p:nvSpPr>
        <p:spPr>
          <a:xfrm flipH="1">
            <a:off x="2334188" y="335557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0" name="稿定-31">
            <a:extLst>
              <a:ext uri="{FF2B5EF4-FFF2-40B4-BE49-F238E27FC236}">
                <a16:creationId xmlns:a16="http://schemas.microsoft.com/office/drawing/2014/main" id="{0E6D1206-4C5C-00C0-2658-F14D1C230D40}"/>
              </a:ext>
            </a:extLst>
          </p:cNvPr>
          <p:cNvSpPr/>
          <p:nvPr/>
        </p:nvSpPr>
        <p:spPr>
          <a:xfrm flipH="1">
            <a:off x="2173649" y="369235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1" name="稿定-9">
            <a:extLst>
              <a:ext uri="{FF2B5EF4-FFF2-40B4-BE49-F238E27FC236}">
                <a16:creationId xmlns:a16="http://schemas.microsoft.com/office/drawing/2014/main" id="{32035AB0-373A-7346-F7EB-AD92032F0E93}"/>
              </a:ext>
            </a:extLst>
          </p:cNvPr>
          <p:cNvSpPr/>
          <p:nvPr/>
        </p:nvSpPr>
        <p:spPr>
          <a:xfrm flipH="1">
            <a:off x="2334188" y="432158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2" name="稿定-31">
            <a:extLst>
              <a:ext uri="{FF2B5EF4-FFF2-40B4-BE49-F238E27FC236}">
                <a16:creationId xmlns:a16="http://schemas.microsoft.com/office/drawing/2014/main" id="{B7AE7F97-01E4-F8BB-C3CB-05C0D309C4D4}"/>
              </a:ext>
            </a:extLst>
          </p:cNvPr>
          <p:cNvSpPr/>
          <p:nvPr/>
        </p:nvSpPr>
        <p:spPr>
          <a:xfrm flipH="1">
            <a:off x="2173649" y="465836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3" name="稿定-9">
            <a:extLst>
              <a:ext uri="{FF2B5EF4-FFF2-40B4-BE49-F238E27FC236}">
                <a16:creationId xmlns:a16="http://schemas.microsoft.com/office/drawing/2014/main" id="{A6F9066F-A70D-A0F8-E2F7-3CACC6171EEF}"/>
              </a:ext>
            </a:extLst>
          </p:cNvPr>
          <p:cNvSpPr/>
          <p:nvPr/>
        </p:nvSpPr>
        <p:spPr>
          <a:xfrm flipH="1">
            <a:off x="2334188" y="5335852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4" name="稿定-31">
            <a:extLst>
              <a:ext uri="{FF2B5EF4-FFF2-40B4-BE49-F238E27FC236}">
                <a16:creationId xmlns:a16="http://schemas.microsoft.com/office/drawing/2014/main" id="{CFA3E774-F8EF-8CEF-9729-8E82A11E23EE}"/>
              </a:ext>
            </a:extLst>
          </p:cNvPr>
          <p:cNvSpPr/>
          <p:nvPr/>
        </p:nvSpPr>
        <p:spPr>
          <a:xfrm flipH="1">
            <a:off x="2173649" y="5672635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5" name="稿定-9">
            <a:extLst>
              <a:ext uri="{FF2B5EF4-FFF2-40B4-BE49-F238E27FC236}">
                <a16:creationId xmlns:a16="http://schemas.microsoft.com/office/drawing/2014/main" id="{A7232823-2EC9-32CD-EAE5-D3BE96EC38B0}"/>
              </a:ext>
            </a:extLst>
          </p:cNvPr>
          <p:cNvSpPr/>
          <p:nvPr/>
        </p:nvSpPr>
        <p:spPr>
          <a:xfrm flipH="1">
            <a:off x="4728340" y="238882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6" name="稿定-31">
            <a:extLst>
              <a:ext uri="{FF2B5EF4-FFF2-40B4-BE49-F238E27FC236}">
                <a16:creationId xmlns:a16="http://schemas.microsoft.com/office/drawing/2014/main" id="{73C15429-8789-0BC9-EC20-B371B943C743}"/>
              </a:ext>
            </a:extLst>
          </p:cNvPr>
          <p:cNvSpPr/>
          <p:nvPr/>
        </p:nvSpPr>
        <p:spPr>
          <a:xfrm flipH="1">
            <a:off x="4567801" y="272560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7" name="稿定-9">
            <a:extLst>
              <a:ext uri="{FF2B5EF4-FFF2-40B4-BE49-F238E27FC236}">
                <a16:creationId xmlns:a16="http://schemas.microsoft.com/office/drawing/2014/main" id="{C0865329-2FA9-4D31-7FD6-148B6721D9C6}"/>
              </a:ext>
            </a:extLst>
          </p:cNvPr>
          <p:cNvSpPr/>
          <p:nvPr/>
        </p:nvSpPr>
        <p:spPr>
          <a:xfrm flipH="1">
            <a:off x="4728340" y="335557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8" name="稿定-31">
            <a:extLst>
              <a:ext uri="{FF2B5EF4-FFF2-40B4-BE49-F238E27FC236}">
                <a16:creationId xmlns:a16="http://schemas.microsoft.com/office/drawing/2014/main" id="{EF372DD5-547A-1DF9-A23A-E8625FF7FBDF}"/>
              </a:ext>
            </a:extLst>
          </p:cNvPr>
          <p:cNvSpPr/>
          <p:nvPr/>
        </p:nvSpPr>
        <p:spPr>
          <a:xfrm flipH="1">
            <a:off x="4567801" y="369235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9" name="稿定-9">
            <a:extLst>
              <a:ext uri="{FF2B5EF4-FFF2-40B4-BE49-F238E27FC236}">
                <a16:creationId xmlns:a16="http://schemas.microsoft.com/office/drawing/2014/main" id="{B6CFC846-599B-E256-3427-1981FA347B8C}"/>
              </a:ext>
            </a:extLst>
          </p:cNvPr>
          <p:cNvSpPr/>
          <p:nvPr/>
        </p:nvSpPr>
        <p:spPr>
          <a:xfrm flipH="1">
            <a:off x="4728340" y="432158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0" name="稿定-31">
            <a:extLst>
              <a:ext uri="{FF2B5EF4-FFF2-40B4-BE49-F238E27FC236}">
                <a16:creationId xmlns:a16="http://schemas.microsoft.com/office/drawing/2014/main" id="{347DFF39-2AA6-B09A-5A1E-3E12E3BCA084}"/>
              </a:ext>
            </a:extLst>
          </p:cNvPr>
          <p:cNvSpPr/>
          <p:nvPr/>
        </p:nvSpPr>
        <p:spPr>
          <a:xfrm flipH="1">
            <a:off x="4567801" y="465836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1" name="稿定-9">
            <a:extLst>
              <a:ext uri="{FF2B5EF4-FFF2-40B4-BE49-F238E27FC236}">
                <a16:creationId xmlns:a16="http://schemas.microsoft.com/office/drawing/2014/main" id="{3E4CF6A0-9093-5CBD-6520-BA47F1AAD892}"/>
              </a:ext>
            </a:extLst>
          </p:cNvPr>
          <p:cNvSpPr/>
          <p:nvPr/>
        </p:nvSpPr>
        <p:spPr>
          <a:xfrm flipH="1">
            <a:off x="4728340" y="5335852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2" name="稿定-31">
            <a:extLst>
              <a:ext uri="{FF2B5EF4-FFF2-40B4-BE49-F238E27FC236}">
                <a16:creationId xmlns:a16="http://schemas.microsoft.com/office/drawing/2014/main" id="{46ADD2B0-B9CA-B143-0AD3-70EFAA9599CD}"/>
              </a:ext>
            </a:extLst>
          </p:cNvPr>
          <p:cNvSpPr/>
          <p:nvPr/>
        </p:nvSpPr>
        <p:spPr>
          <a:xfrm flipH="1">
            <a:off x="4567801" y="5672635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3" name="稿定-9">
            <a:extLst>
              <a:ext uri="{FF2B5EF4-FFF2-40B4-BE49-F238E27FC236}">
                <a16:creationId xmlns:a16="http://schemas.microsoft.com/office/drawing/2014/main" id="{054210C3-9901-2557-29DB-7BADACE46FD6}"/>
              </a:ext>
            </a:extLst>
          </p:cNvPr>
          <p:cNvSpPr/>
          <p:nvPr/>
        </p:nvSpPr>
        <p:spPr>
          <a:xfrm flipH="1">
            <a:off x="7102840" y="238882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4" name="稿定-31">
            <a:extLst>
              <a:ext uri="{FF2B5EF4-FFF2-40B4-BE49-F238E27FC236}">
                <a16:creationId xmlns:a16="http://schemas.microsoft.com/office/drawing/2014/main" id="{9021A934-B0F4-084E-BBB0-7428038203D1}"/>
              </a:ext>
            </a:extLst>
          </p:cNvPr>
          <p:cNvSpPr/>
          <p:nvPr/>
        </p:nvSpPr>
        <p:spPr>
          <a:xfrm flipH="1">
            <a:off x="6942301" y="272560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5" name="稿定-9">
            <a:extLst>
              <a:ext uri="{FF2B5EF4-FFF2-40B4-BE49-F238E27FC236}">
                <a16:creationId xmlns:a16="http://schemas.microsoft.com/office/drawing/2014/main" id="{E536EFA4-6D5A-B08F-535B-3EBF61AA8B74}"/>
              </a:ext>
            </a:extLst>
          </p:cNvPr>
          <p:cNvSpPr/>
          <p:nvPr/>
        </p:nvSpPr>
        <p:spPr>
          <a:xfrm flipH="1">
            <a:off x="7102840" y="335557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6" name="稿定-31">
            <a:extLst>
              <a:ext uri="{FF2B5EF4-FFF2-40B4-BE49-F238E27FC236}">
                <a16:creationId xmlns:a16="http://schemas.microsoft.com/office/drawing/2014/main" id="{55E4E840-7893-8A69-AB0D-E8E4A5E90DE4}"/>
              </a:ext>
            </a:extLst>
          </p:cNvPr>
          <p:cNvSpPr/>
          <p:nvPr/>
        </p:nvSpPr>
        <p:spPr>
          <a:xfrm flipH="1">
            <a:off x="6942301" y="369235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7" name="稿定-9">
            <a:extLst>
              <a:ext uri="{FF2B5EF4-FFF2-40B4-BE49-F238E27FC236}">
                <a16:creationId xmlns:a16="http://schemas.microsoft.com/office/drawing/2014/main" id="{161DAA30-9A52-43EE-ECFD-C92827506B32}"/>
              </a:ext>
            </a:extLst>
          </p:cNvPr>
          <p:cNvSpPr/>
          <p:nvPr/>
        </p:nvSpPr>
        <p:spPr>
          <a:xfrm flipH="1">
            <a:off x="7102840" y="432158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8" name="稿定-31">
            <a:extLst>
              <a:ext uri="{FF2B5EF4-FFF2-40B4-BE49-F238E27FC236}">
                <a16:creationId xmlns:a16="http://schemas.microsoft.com/office/drawing/2014/main" id="{1C405EE4-712C-7543-020C-49BCED32854C}"/>
              </a:ext>
            </a:extLst>
          </p:cNvPr>
          <p:cNvSpPr/>
          <p:nvPr/>
        </p:nvSpPr>
        <p:spPr>
          <a:xfrm flipH="1">
            <a:off x="6942301" y="465836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9" name="稿定-9">
            <a:extLst>
              <a:ext uri="{FF2B5EF4-FFF2-40B4-BE49-F238E27FC236}">
                <a16:creationId xmlns:a16="http://schemas.microsoft.com/office/drawing/2014/main" id="{ED85C662-69E6-C628-6392-F24621A1653F}"/>
              </a:ext>
            </a:extLst>
          </p:cNvPr>
          <p:cNvSpPr/>
          <p:nvPr/>
        </p:nvSpPr>
        <p:spPr>
          <a:xfrm flipH="1">
            <a:off x="7102840" y="5335852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0" name="稿定-31">
            <a:extLst>
              <a:ext uri="{FF2B5EF4-FFF2-40B4-BE49-F238E27FC236}">
                <a16:creationId xmlns:a16="http://schemas.microsoft.com/office/drawing/2014/main" id="{3E6166FE-163D-2276-E30B-97473A83DECB}"/>
              </a:ext>
            </a:extLst>
          </p:cNvPr>
          <p:cNvSpPr/>
          <p:nvPr/>
        </p:nvSpPr>
        <p:spPr>
          <a:xfrm flipH="1">
            <a:off x="6942301" y="5672635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11" name="稿定-9">
            <a:extLst>
              <a:ext uri="{FF2B5EF4-FFF2-40B4-BE49-F238E27FC236}">
                <a16:creationId xmlns:a16="http://schemas.microsoft.com/office/drawing/2014/main" id="{7559950A-810D-D124-C894-9BB7C917913A}"/>
              </a:ext>
            </a:extLst>
          </p:cNvPr>
          <p:cNvSpPr/>
          <p:nvPr/>
        </p:nvSpPr>
        <p:spPr>
          <a:xfrm flipH="1">
            <a:off x="9496992" y="238882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2" name="稿定-31">
            <a:extLst>
              <a:ext uri="{FF2B5EF4-FFF2-40B4-BE49-F238E27FC236}">
                <a16:creationId xmlns:a16="http://schemas.microsoft.com/office/drawing/2014/main" id="{59E38F99-33D7-3C23-5975-593957EEF1CF}"/>
              </a:ext>
            </a:extLst>
          </p:cNvPr>
          <p:cNvSpPr/>
          <p:nvPr/>
        </p:nvSpPr>
        <p:spPr>
          <a:xfrm flipH="1">
            <a:off x="9336453" y="272560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13" name="稿定-9">
            <a:extLst>
              <a:ext uri="{FF2B5EF4-FFF2-40B4-BE49-F238E27FC236}">
                <a16:creationId xmlns:a16="http://schemas.microsoft.com/office/drawing/2014/main" id="{7C037321-B914-A580-513E-23CE353AC817}"/>
              </a:ext>
            </a:extLst>
          </p:cNvPr>
          <p:cNvSpPr/>
          <p:nvPr/>
        </p:nvSpPr>
        <p:spPr>
          <a:xfrm flipH="1">
            <a:off x="9496992" y="335557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4" name="稿定-31">
            <a:extLst>
              <a:ext uri="{FF2B5EF4-FFF2-40B4-BE49-F238E27FC236}">
                <a16:creationId xmlns:a16="http://schemas.microsoft.com/office/drawing/2014/main" id="{FCAC9D20-0066-FB98-72AA-AFE9BE70E63A}"/>
              </a:ext>
            </a:extLst>
          </p:cNvPr>
          <p:cNvSpPr/>
          <p:nvPr/>
        </p:nvSpPr>
        <p:spPr>
          <a:xfrm flipH="1">
            <a:off x="9336453" y="369235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15" name="稿定-9">
            <a:extLst>
              <a:ext uri="{FF2B5EF4-FFF2-40B4-BE49-F238E27FC236}">
                <a16:creationId xmlns:a16="http://schemas.microsoft.com/office/drawing/2014/main" id="{CB17CC6F-4109-E03C-41F3-FCCECD9F7AFF}"/>
              </a:ext>
            </a:extLst>
          </p:cNvPr>
          <p:cNvSpPr/>
          <p:nvPr/>
        </p:nvSpPr>
        <p:spPr>
          <a:xfrm flipH="1">
            <a:off x="9496992" y="4321585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6" name="稿定-31">
            <a:extLst>
              <a:ext uri="{FF2B5EF4-FFF2-40B4-BE49-F238E27FC236}">
                <a16:creationId xmlns:a16="http://schemas.microsoft.com/office/drawing/2014/main" id="{0395E50C-B8E2-6268-5D33-7BFC07956FBA}"/>
              </a:ext>
            </a:extLst>
          </p:cNvPr>
          <p:cNvSpPr/>
          <p:nvPr/>
        </p:nvSpPr>
        <p:spPr>
          <a:xfrm flipH="1">
            <a:off x="9336453" y="4658368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17" name="稿定-9">
            <a:extLst>
              <a:ext uri="{FF2B5EF4-FFF2-40B4-BE49-F238E27FC236}">
                <a16:creationId xmlns:a16="http://schemas.microsoft.com/office/drawing/2014/main" id="{D80F72F7-182B-B8AF-8402-FC8CB7F53BD6}"/>
              </a:ext>
            </a:extLst>
          </p:cNvPr>
          <p:cNvSpPr/>
          <p:nvPr/>
        </p:nvSpPr>
        <p:spPr>
          <a:xfrm flipH="1">
            <a:off x="9496992" y="5335852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8" name="稿定-31">
            <a:extLst>
              <a:ext uri="{FF2B5EF4-FFF2-40B4-BE49-F238E27FC236}">
                <a16:creationId xmlns:a16="http://schemas.microsoft.com/office/drawing/2014/main" id="{0A22D159-1BF9-8067-13A1-1B6B6ECF0F92}"/>
              </a:ext>
            </a:extLst>
          </p:cNvPr>
          <p:cNvSpPr/>
          <p:nvPr/>
        </p:nvSpPr>
        <p:spPr>
          <a:xfrm flipH="1">
            <a:off x="9336453" y="5672635"/>
            <a:ext cx="141342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35729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D4A07B50-2103-0937-CF93-49159A92666B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7FB3440E-F763-9CC2-3FC0-0E2D5C48AB85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4C8E85E-F72A-A7B5-9FFA-D39BBAA20DDC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0E6F960B-91C1-DE96-08B3-F3B003B0EE01}"/>
              </a:ext>
            </a:extLst>
          </p:cNvPr>
          <p:cNvSpPr/>
          <p:nvPr/>
        </p:nvSpPr>
        <p:spPr>
          <a:xfrm>
            <a:off x="3539897" y="2625333"/>
            <a:ext cx="5112206" cy="5112206"/>
          </a:xfrm>
          <a:prstGeom prst="ellipse">
            <a:avLst/>
          </a:prstGeom>
          <a:noFill/>
          <a:ln w="635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M"/>
              <a:cs typeface="+mn-cs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A363AC6F-FA3F-3752-3E8C-88046EF9EDAF}"/>
              </a:ext>
            </a:extLst>
          </p:cNvPr>
          <p:cNvSpPr/>
          <p:nvPr/>
        </p:nvSpPr>
        <p:spPr>
          <a:xfrm>
            <a:off x="3782065" y="2867501"/>
            <a:ext cx="4627870" cy="462787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F2E64687-8281-3208-087E-FFC1D7645CB5}"/>
              </a:ext>
            </a:extLst>
          </p:cNvPr>
          <p:cNvSpPr/>
          <p:nvPr/>
        </p:nvSpPr>
        <p:spPr>
          <a:xfrm>
            <a:off x="3250369" y="2333800"/>
            <a:ext cx="5691262" cy="5691263"/>
          </a:xfrm>
          <a:prstGeom prst="ellipse">
            <a:avLst/>
          </a:prstGeom>
          <a:noFill/>
          <a:ln w="63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M"/>
              <a:cs typeface="+mn-cs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0983FA55-D243-A4D5-2FD9-2A37A9EC12DC}"/>
              </a:ext>
            </a:extLst>
          </p:cNvPr>
          <p:cNvSpPr/>
          <p:nvPr/>
        </p:nvSpPr>
        <p:spPr>
          <a:xfrm>
            <a:off x="6000479" y="2238279"/>
            <a:ext cx="191043" cy="191043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E65E1A2D-089F-D575-EB1B-8A04BDF56F11}"/>
              </a:ext>
            </a:extLst>
          </p:cNvPr>
          <p:cNvSpPr/>
          <p:nvPr/>
        </p:nvSpPr>
        <p:spPr>
          <a:xfrm>
            <a:off x="3977660" y="3075875"/>
            <a:ext cx="191043" cy="191043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8530C1C8-EB09-2B6C-0F0A-10B074530C30}"/>
              </a:ext>
            </a:extLst>
          </p:cNvPr>
          <p:cNvSpPr/>
          <p:nvPr/>
        </p:nvSpPr>
        <p:spPr>
          <a:xfrm>
            <a:off x="8012509" y="3075875"/>
            <a:ext cx="191043" cy="191043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89E3EF1E-DEDE-5195-CBF8-EC7043A77788}"/>
              </a:ext>
            </a:extLst>
          </p:cNvPr>
          <p:cNvSpPr/>
          <p:nvPr/>
        </p:nvSpPr>
        <p:spPr>
          <a:xfrm>
            <a:off x="3237571" y="4445807"/>
            <a:ext cx="191043" cy="191043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324F1FF4-FDC3-82CC-5082-4DBE73D1DCE8}"/>
              </a:ext>
            </a:extLst>
          </p:cNvPr>
          <p:cNvSpPr/>
          <p:nvPr/>
        </p:nvSpPr>
        <p:spPr>
          <a:xfrm>
            <a:off x="8763386" y="4445807"/>
            <a:ext cx="191043" cy="191043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8" name="等腰三角形 27">
            <a:extLst>
              <a:ext uri="{FF2B5EF4-FFF2-40B4-BE49-F238E27FC236}">
                <a16:creationId xmlns:a16="http://schemas.microsoft.com/office/drawing/2014/main" id="{2B82CA3B-F103-A0AD-40A7-1B1A149A4698}"/>
              </a:ext>
            </a:extLst>
          </p:cNvPr>
          <p:cNvSpPr/>
          <p:nvPr/>
        </p:nvSpPr>
        <p:spPr>
          <a:xfrm rot="1800000">
            <a:off x="3838658" y="3727862"/>
            <a:ext cx="203598" cy="175514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M"/>
              <a:cs typeface="+mn-cs"/>
            </a:endParaRPr>
          </a:p>
        </p:txBody>
      </p:sp>
      <p:sp>
        <p:nvSpPr>
          <p:cNvPr id="29" name="等腰三角形 28">
            <a:extLst>
              <a:ext uri="{FF2B5EF4-FFF2-40B4-BE49-F238E27FC236}">
                <a16:creationId xmlns:a16="http://schemas.microsoft.com/office/drawing/2014/main" id="{8D0E19A2-13FB-9976-DDD6-DA921D6D2953}"/>
              </a:ext>
            </a:extLst>
          </p:cNvPr>
          <p:cNvSpPr/>
          <p:nvPr/>
        </p:nvSpPr>
        <p:spPr>
          <a:xfrm rot="3672048">
            <a:off x="5069451" y="2708102"/>
            <a:ext cx="203598" cy="175514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M"/>
              <a:cs typeface="+mn-cs"/>
            </a:endParaRPr>
          </a:p>
        </p:txBody>
      </p:sp>
      <p:sp>
        <p:nvSpPr>
          <p:cNvPr id="30" name="等腰三角形 29">
            <a:extLst>
              <a:ext uri="{FF2B5EF4-FFF2-40B4-BE49-F238E27FC236}">
                <a16:creationId xmlns:a16="http://schemas.microsoft.com/office/drawing/2014/main" id="{B085DF16-318C-C9B1-3455-8874FE9D4A78}"/>
              </a:ext>
            </a:extLst>
          </p:cNvPr>
          <p:cNvSpPr/>
          <p:nvPr/>
        </p:nvSpPr>
        <p:spPr>
          <a:xfrm rot="6977392">
            <a:off x="7071065" y="2779744"/>
            <a:ext cx="203598" cy="175514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M"/>
              <a:cs typeface="+mn-cs"/>
            </a:endParaRPr>
          </a:p>
        </p:txBody>
      </p:sp>
      <p:sp>
        <p:nvSpPr>
          <p:cNvPr id="31" name="等腰三角形 30">
            <a:extLst>
              <a:ext uri="{FF2B5EF4-FFF2-40B4-BE49-F238E27FC236}">
                <a16:creationId xmlns:a16="http://schemas.microsoft.com/office/drawing/2014/main" id="{4E16D38E-1CF8-CCE2-8048-B7F6C4D547C0}"/>
              </a:ext>
            </a:extLst>
          </p:cNvPr>
          <p:cNvSpPr/>
          <p:nvPr/>
        </p:nvSpPr>
        <p:spPr>
          <a:xfrm rot="9213061">
            <a:off x="8285023" y="3980737"/>
            <a:ext cx="203598" cy="175514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M"/>
              <a:cs typeface="+mn-cs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649AC758-8A75-4FBC-52A9-D6DF80378BF8}"/>
              </a:ext>
            </a:extLst>
          </p:cNvPr>
          <p:cNvSpPr/>
          <p:nvPr/>
        </p:nvSpPr>
        <p:spPr>
          <a:xfrm>
            <a:off x="1" y="4927406"/>
            <a:ext cx="12192000" cy="19305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稿定-9">
            <a:extLst>
              <a:ext uri="{FF2B5EF4-FFF2-40B4-BE49-F238E27FC236}">
                <a16:creationId xmlns:a16="http://schemas.microsoft.com/office/drawing/2014/main" id="{16CD566D-A94A-712D-1949-6C8619067CD7}"/>
              </a:ext>
            </a:extLst>
          </p:cNvPr>
          <p:cNvSpPr/>
          <p:nvPr/>
        </p:nvSpPr>
        <p:spPr>
          <a:xfrm flipH="1">
            <a:off x="2156187" y="417433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2" name="稿定-31">
            <a:extLst>
              <a:ext uri="{FF2B5EF4-FFF2-40B4-BE49-F238E27FC236}">
                <a16:creationId xmlns:a16="http://schemas.microsoft.com/office/drawing/2014/main" id="{F54431D2-DDE9-8BB4-6876-90584E033861}"/>
              </a:ext>
            </a:extLst>
          </p:cNvPr>
          <p:cNvSpPr/>
          <p:nvPr/>
        </p:nvSpPr>
        <p:spPr>
          <a:xfrm flipH="1">
            <a:off x="1761359" y="4440065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3" name="稿定-9">
            <a:extLst>
              <a:ext uri="{FF2B5EF4-FFF2-40B4-BE49-F238E27FC236}">
                <a16:creationId xmlns:a16="http://schemas.microsoft.com/office/drawing/2014/main" id="{3B97A6D0-A930-CA98-796A-A3C706BC5F44}"/>
              </a:ext>
            </a:extLst>
          </p:cNvPr>
          <p:cNvSpPr/>
          <p:nvPr/>
        </p:nvSpPr>
        <p:spPr>
          <a:xfrm flipH="1">
            <a:off x="2795392" y="282399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4" name="稿定-31">
            <a:extLst>
              <a:ext uri="{FF2B5EF4-FFF2-40B4-BE49-F238E27FC236}">
                <a16:creationId xmlns:a16="http://schemas.microsoft.com/office/drawing/2014/main" id="{015F2B05-D8EE-94F7-A32B-30050C4AE876}"/>
              </a:ext>
            </a:extLst>
          </p:cNvPr>
          <p:cNvSpPr/>
          <p:nvPr/>
        </p:nvSpPr>
        <p:spPr>
          <a:xfrm flipH="1">
            <a:off x="2400564" y="308972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5" name="稿定-9">
            <a:extLst>
              <a:ext uri="{FF2B5EF4-FFF2-40B4-BE49-F238E27FC236}">
                <a16:creationId xmlns:a16="http://schemas.microsoft.com/office/drawing/2014/main" id="{7678F644-65C6-18A5-15BB-483ED06008B4}"/>
              </a:ext>
            </a:extLst>
          </p:cNvPr>
          <p:cNvSpPr/>
          <p:nvPr/>
        </p:nvSpPr>
        <p:spPr>
          <a:xfrm flipH="1">
            <a:off x="8408342" y="282399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6" name="稿定-31">
            <a:extLst>
              <a:ext uri="{FF2B5EF4-FFF2-40B4-BE49-F238E27FC236}">
                <a16:creationId xmlns:a16="http://schemas.microsoft.com/office/drawing/2014/main" id="{F3A70DA9-4C85-4BFD-2B7C-F8D532577F9D}"/>
              </a:ext>
            </a:extLst>
          </p:cNvPr>
          <p:cNvSpPr/>
          <p:nvPr/>
        </p:nvSpPr>
        <p:spPr>
          <a:xfrm flipH="1">
            <a:off x="8408342" y="308972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7" name="稿定-9">
            <a:extLst>
              <a:ext uri="{FF2B5EF4-FFF2-40B4-BE49-F238E27FC236}">
                <a16:creationId xmlns:a16="http://schemas.microsoft.com/office/drawing/2014/main" id="{E09ACB93-DF30-DA68-4C12-B601D17A3B32}"/>
              </a:ext>
            </a:extLst>
          </p:cNvPr>
          <p:cNvSpPr/>
          <p:nvPr/>
        </p:nvSpPr>
        <p:spPr>
          <a:xfrm flipH="1">
            <a:off x="9052914" y="417306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8" name="稿定-31">
            <a:extLst>
              <a:ext uri="{FF2B5EF4-FFF2-40B4-BE49-F238E27FC236}">
                <a16:creationId xmlns:a16="http://schemas.microsoft.com/office/drawing/2014/main" id="{4FBEE2B2-17F2-D03D-4060-E3A28DDCFAC0}"/>
              </a:ext>
            </a:extLst>
          </p:cNvPr>
          <p:cNvSpPr/>
          <p:nvPr/>
        </p:nvSpPr>
        <p:spPr>
          <a:xfrm flipH="1">
            <a:off x="9052914" y="4438797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9" name="稿定-9">
            <a:extLst>
              <a:ext uri="{FF2B5EF4-FFF2-40B4-BE49-F238E27FC236}">
                <a16:creationId xmlns:a16="http://schemas.microsoft.com/office/drawing/2014/main" id="{4BC42D8E-0969-081D-5EE1-B1AA14DB1CA9}"/>
              </a:ext>
            </a:extLst>
          </p:cNvPr>
          <p:cNvSpPr/>
          <p:nvPr/>
        </p:nvSpPr>
        <p:spPr>
          <a:xfrm flipH="1">
            <a:off x="5610071" y="151438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0" name="稿定-31">
            <a:extLst>
              <a:ext uri="{FF2B5EF4-FFF2-40B4-BE49-F238E27FC236}">
                <a16:creationId xmlns:a16="http://schemas.microsoft.com/office/drawing/2014/main" id="{933D8521-731D-32EF-1978-1EB80E53368B}"/>
              </a:ext>
            </a:extLst>
          </p:cNvPr>
          <p:cNvSpPr/>
          <p:nvPr/>
        </p:nvSpPr>
        <p:spPr>
          <a:xfrm flipH="1">
            <a:off x="5412657" y="178011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BADBB8C9-0ABD-188E-535C-9F97ECB32C21}"/>
              </a:ext>
            </a:extLst>
          </p:cNvPr>
          <p:cNvGrpSpPr/>
          <p:nvPr/>
        </p:nvGrpSpPr>
        <p:grpSpPr>
          <a:xfrm>
            <a:off x="5594180" y="3406282"/>
            <a:ext cx="1003639" cy="964654"/>
            <a:chOff x="1406740" y="5275641"/>
            <a:chExt cx="441102" cy="423968"/>
          </a:xfrm>
          <a:solidFill>
            <a:schemeClr val="bg1"/>
          </a:solidFill>
        </p:grpSpPr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AAEC807B-308A-AC9C-656B-071E1577F01C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FC7330D8-D46D-8709-E894-52072BA03304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1099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弧形 3">
            <a:extLst>
              <a:ext uri="{FF2B5EF4-FFF2-40B4-BE49-F238E27FC236}">
                <a16:creationId xmlns:a16="http://schemas.microsoft.com/office/drawing/2014/main" id="{483DE919-732A-FD60-9948-49FE4D3DBA9C}"/>
              </a:ext>
            </a:extLst>
          </p:cNvPr>
          <p:cNvSpPr/>
          <p:nvPr/>
        </p:nvSpPr>
        <p:spPr>
          <a:xfrm rot="5400000">
            <a:off x="1088031" y="1092676"/>
            <a:ext cx="2700000" cy="2700000"/>
          </a:xfrm>
          <a:prstGeom prst="arc">
            <a:avLst/>
          </a:prstGeom>
          <a:ln w="38100"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" name="弧形 6">
            <a:extLst>
              <a:ext uri="{FF2B5EF4-FFF2-40B4-BE49-F238E27FC236}">
                <a16:creationId xmlns:a16="http://schemas.microsoft.com/office/drawing/2014/main" id="{582DB961-087C-8C19-E2FF-454A89197A88}"/>
              </a:ext>
            </a:extLst>
          </p:cNvPr>
          <p:cNvSpPr/>
          <p:nvPr/>
        </p:nvSpPr>
        <p:spPr>
          <a:xfrm rot="16200000" flipV="1">
            <a:off x="1088031" y="3912076"/>
            <a:ext cx="2700000" cy="2700000"/>
          </a:xfrm>
          <a:prstGeom prst="arc">
            <a:avLst/>
          </a:prstGeom>
          <a:ln w="38100"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" name="弧形 9">
            <a:extLst>
              <a:ext uri="{FF2B5EF4-FFF2-40B4-BE49-F238E27FC236}">
                <a16:creationId xmlns:a16="http://schemas.microsoft.com/office/drawing/2014/main" id="{2C464677-8717-88A8-FDF2-B074B9664334}"/>
              </a:ext>
            </a:extLst>
          </p:cNvPr>
          <p:cNvSpPr/>
          <p:nvPr/>
        </p:nvSpPr>
        <p:spPr>
          <a:xfrm rot="5400000">
            <a:off x="3970931" y="1092676"/>
            <a:ext cx="2700000" cy="2700000"/>
          </a:xfrm>
          <a:prstGeom prst="arc">
            <a:avLst/>
          </a:prstGeom>
          <a:ln w="38100"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3" name="弧形 12">
            <a:extLst>
              <a:ext uri="{FF2B5EF4-FFF2-40B4-BE49-F238E27FC236}">
                <a16:creationId xmlns:a16="http://schemas.microsoft.com/office/drawing/2014/main" id="{7B981515-A073-A061-3885-6150754BA4DE}"/>
              </a:ext>
            </a:extLst>
          </p:cNvPr>
          <p:cNvSpPr/>
          <p:nvPr/>
        </p:nvSpPr>
        <p:spPr>
          <a:xfrm rot="16200000" flipV="1">
            <a:off x="3970931" y="3912076"/>
            <a:ext cx="2700000" cy="2700000"/>
          </a:xfrm>
          <a:prstGeom prst="arc">
            <a:avLst/>
          </a:prstGeom>
          <a:ln w="38100"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6" name="弧形 15">
            <a:extLst>
              <a:ext uri="{FF2B5EF4-FFF2-40B4-BE49-F238E27FC236}">
                <a16:creationId xmlns:a16="http://schemas.microsoft.com/office/drawing/2014/main" id="{C606DE03-FB38-E632-D47C-2852D5DBE0CC}"/>
              </a:ext>
            </a:extLst>
          </p:cNvPr>
          <p:cNvSpPr/>
          <p:nvPr/>
        </p:nvSpPr>
        <p:spPr>
          <a:xfrm rot="5400000">
            <a:off x="6885581" y="1092676"/>
            <a:ext cx="2700000" cy="2700000"/>
          </a:xfrm>
          <a:prstGeom prst="arc">
            <a:avLst/>
          </a:prstGeom>
          <a:ln w="38100"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9" name="弧形 18">
            <a:extLst>
              <a:ext uri="{FF2B5EF4-FFF2-40B4-BE49-F238E27FC236}">
                <a16:creationId xmlns:a16="http://schemas.microsoft.com/office/drawing/2014/main" id="{47B1C047-550A-98FC-FFB3-46AC439AA600}"/>
              </a:ext>
            </a:extLst>
          </p:cNvPr>
          <p:cNvSpPr/>
          <p:nvPr/>
        </p:nvSpPr>
        <p:spPr>
          <a:xfrm rot="16200000" flipV="1">
            <a:off x="6885581" y="3912076"/>
            <a:ext cx="2700000" cy="2700000"/>
          </a:xfrm>
          <a:prstGeom prst="arc">
            <a:avLst/>
          </a:prstGeom>
          <a:ln w="38100"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26E28279-A763-BBC3-EAE9-2FB1AF132AB7}"/>
              </a:ext>
            </a:extLst>
          </p:cNvPr>
          <p:cNvGrpSpPr/>
          <p:nvPr/>
        </p:nvGrpSpPr>
        <p:grpSpPr>
          <a:xfrm>
            <a:off x="3501559" y="1722687"/>
            <a:ext cx="572943" cy="572943"/>
            <a:chOff x="3501559" y="1722687"/>
            <a:chExt cx="572943" cy="572943"/>
          </a:xfrm>
        </p:grpSpPr>
        <p:sp>
          <p:nvSpPr>
            <p:cNvPr id="59" name="椭圆 58">
              <a:extLst>
                <a:ext uri="{FF2B5EF4-FFF2-40B4-BE49-F238E27FC236}">
                  <a16:creationId xmlns:a16="http://schemas.microsoft.com/office/drawing/2014/main" id="{3D2A02D3-CC04-B107-6127-F54400F48B7F}"/>
                </a:ext>
              </a:extLst>
            </p:cNvPr>
            <p:cNvSpPr/>
            <p:nvPr/>
          </p:nvSpPr>
          <p:spPr>
            <a:xfrm>
              <a:off x="3543902" y="1765030"/>
              <a:ext cx="488257" cy="48825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60" name="弧形 59">
              <a:extLst>
                <a:ext uri="{FF2B5EF4-FFF2-40B4-BE49-F238E27FC236}">
                  <a16:creationId xmlns:a16="http://schemas.microsoft.com/office/drawing/2014/main" id="{770EF7A9-0072-CCD9-6AA9-E9628B9D25D1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5400004"/>
                <a:gd name="adj2" fmla="val 0"/>
              </a:avLst>
            </a:prstGeom>
            <a:ln w="9525">
              <a:solidFill>
                <a:schemeClr val="tx1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61" name="弧形 60">
              <a:extLst>
                <a:ext uri="{FF2B5EF4-FFF2-40B4-BE49-F238E27FC236}">
                  <a16:creationId xmlns:a16="http://schemas.microsoft.com/office/drawing/2014/main" id="{26F18D06-7786-1ACC-E389-C750D06089E7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368536"/>
                <a:gd name="adj2" fmla="val 5113948"/>
              </a:avLst>
            </a:prstGeom>
            <a:ln w="952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77" name="文本框 76">
              <a:extLst>
                <a:ext uri="{FF2B5EF4-FFF2-40B4-BE49-F238E27FC236}">
                  <a16:creationId xmlns:a16="http://schemas.microsoft.com/office/drawing/2014/main" id="{47133F5D-DD10-8C1C-5171-A65A375CD22D}"/>
                </a:ext>
              </a:extLst>
            </p:cNvPr>
            <p:cNvSpPr txBox="1"/>
            <p:nvPr/>
          </p:nvSpPr>
          <p:spPr>
            <a:xfrm>
              <a:off x="3543902" y="1849584"/>
              <a:ext cx="4882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1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</p:grpSp>
      <p:sp>
        <p:nvSpPr>
          <p:cNvPr id="83" name="文本框 82">
            <a:extLst>
              <a:ext uri="{FF2B5EF4-FFF2-40B4-BE49-F238E27FC236}">
                <a16:creationId xmlns:a16="http://schemas.microsoft.com/office/drawing/2014/main" id="{DDF400AA-6618-17EB-2990-526F47096C1F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D0924342-05EE-0F0E-65D4-93131A3C325C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AE4BDF1D-454F-4EED-60C8-B10813BD3379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93" name="稿定-9">
            <a:extLst>
              <a:ext uri="{FF2B5EF4-FFF2-40B4-BE49-F238E27FC236}">
                <a16:creationId xmlns:a16="http://schemas.microsoft.com/office/drawing/2014/main" id="{E71ECF6D-61DC-30B0-F733-B1DABB94F065}"/>
              </a:ext>
            </a:extLst>
          </p:cNvPr>
          <p:cNvSpPr/>
          <p:nvPr/>
        </p:nvSpPr>
        <p:spPr>
          <a:xfrm flipH="1">
            <a:off x="2388469" y="163463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4" name="稿定-31">
            <a:extLst>
              <a:ext uri="{FF2B5EF4-FFF2-40B4-BE49-F238E27FC236}">
                <a16:creationId xmlns:a16="http://schemas.microsoft.com/office/drawing/2014/main" id="{9CA3C5D6-09C2-93F0-2C28-03B663C4596C}"/>
              </a:ext>
            </a:extLst>
          </p:cNvPr>
          <p:cNvSpPr/>
          <p:nvPr/>
        </p:nvSpPr>
        <p:spPr>
          <a:xfrm flipH="1">
            <a:off x="1993641" y="190037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F165EDE4-A121-84CE-835F-517D820F9565}"/>
              </a:ext>
            </a:extLst>
          </p:cNvPr>
          <p:cNvGrpSpPr/>
          <p:nvPr/>
        </p:nvGrpSpPr>
        <p:grpSpPr>
          <a:xfrm>
            <a:off x="6384459" y="1722687"/>
            <a:ext cx="572943" cy="572943"/>
            <a:chOff x="3501559" y="1722687"/>
            <a:chExt cx="572943" cy="572943"/>
          </a:xfrm>
        </p:grpSpPr>
        <p:sp>
          <p:nvSpPr>
            <p:cNvPr id="96" name="椭圆 95">
              <a:extLst>
                <a:ext uri="{FF2B5EF4-FFF2-40B4-BE49-F238E27FC236}">
                  <a16:creationId xmlns:a16="http://schemas.microsoft.com/office/drawing/2014/main" id="{254E4BA5-3E7C-E64D-C341-43A1CF939F63}"/>
                </a:ext>
              </a:extLst>
            </p:cNvPr>
            <p:cNvSpPr/>
            <p:nvPr/>
          </p:nvSpPr>
          <p:spPr>
            <a:xfrm>
              <a:off x="3543902" y="1765030"/>
              <a:ext cx="488257" cy="48825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97" name="弧形 96">
              <a:extLst>
                <a:ext uri="{FF2B5EF4-FFF2-40B4-BE49-F238E27FC236}">
                  <a16:creationId xmlns:a16="http://schemas.microsoft.com/office/drawing/2014/main" id="{3453FBBD-9B57-FA5D-1DD7-77FFD2C9F012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5400004"/>
                <a:gd name="adj2" fmla="val 0"/>
              </a:avLst>
            </a:prstGeom>
            <a:ln w="9525">
              <a:solidFill>
                <a:schemeClr val="tx1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98" name="弧形 97">
              <a:extLst>
                <a:ext uri="{FF2B5EF4-FFF2-40B4-BE49-F238E27FC236}">
                  <a16:creationId xmlns:a16="http://schemas.microsoft.com/office/drawing/2014/main" id="{1545A555-A0E4-FF75-A1C7-80273F5799E9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368536"/>
                <a:gd name="adj2" fmla="val 5113948"/>
              </a:avLst>
            </a:prstGeom>
            <a:ln w="952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99" name="文本框 98">
              <a:extLst>
                <a:ext uri="{FF2B5EF4-FFF2-40B4-BE49-F238E27FC236}">
                  <a16:creationId xmlns:a16="http://schemas.microsoft.com/office/drawing/2014/main" id="{40B24D0E-5C69-84A9-6102-46C87623C695}"/>
                </a:ext>
              </a:extLst>
            </p:cNvPr>
            <p:cNvSpPr txBox="1"/>
            <p:nvPr/>
          </p:nvSpPr>
          <p:spPr>
            <a:xfrm>
              <a:off x="3543902" y="1849584"/>
              <a:ext cx="4882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2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</p:grpSp>
      <p:sp>
        <p:nvSpPr>
          <p:cNvPr id="100" name="稿定-9">
            <a:extLst>
              <a:ext uri="{FF2B5EF4-FFF2-40B4-BE49-F238E27FC236}">
                <a16:creationId xmlns:a16="http://schemas.microsoft.com/office/drawing/2014/main" id="{CD9C19BC-AC03-55E8-6E4C-9EC94B2C1E30}"/>
              </a:ext>
            </a:extLst>
          </p:cNvPr>
          <p:cNvSpPr/>
          <p:nvPr/>
        </p:nvSpPr>
        <p:spPr>
          <a:xfrm flipH="1">
            <a:off x="5271369" y="163463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1" name="稿定-31">
            <a:extLst>
              <a:ext uri="{FF2B5EF4-FFF2-40B4-BE49-F238E27FC236}">
                <a16:creationId xmlns:a16="http://schemas.microsoft.com/office/drawing/2014/main" id="{20E857EC-F108-7765-AE73-4F214184EEBB}"/>
              </a:ext>
            </a:extLst>
          </p:cNvPr>
          <p:cNvSpPr/>
          <p:nvPr/>
        </p:nvSpPr>
        <p:spPr>
          <a:xfrm flipH="1">
            <a:off x="4876541" y="190037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188B42C0-2A5E-B0C6-4548-1453676EE0EA}"/>
              </a:ext>
            </a:extLst>
          </p:cNvPr>
          <p:cNvGrpSpPr/>
          <p:nvPr/>
        </p:nvGrpSpPr>
        <p:grpSpPr>
          <a:xfrm>
            <a:off x="9299109" y="1722687"/>
            <a:ext cx="572943" cy="572943"/>
            <a:chOff x="3501559" y="1722687"/>
            <a:chExt cx="572943" cy="572943"/>
          </a:xfrm>
        </p:grpSpPr>
        <p:sp>
          <p:nvSpPr>
            <p:cNvPr id="103" name="椭圆 102">
              <a:extLst>
                <a:ext uri="{FF2B5EF4-FFF2-40B4-BE49-F238E27FC236}">
                  <a16:creationId xmlns:a16="http://schemas.microsoft.com/office/drawing/2014/main" id="{9BDF1ED7-8692-4FA5-6247-582080C4918A}"/>
                </a:ext>
              </a:extLst>
            </p:cNvPr>
            <p:cNvSpPr/>
            <p:nvPr/>
          </p:nvSpPr>
          <p:spPr>
            <a:xfrm>
              <a:off x="3543902" y="1765030"/>
              <a:ext cx="488257" cy="48825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104" name="弧形 103">
              <a:extLst>
                <a:ext uri="{FF2B5EF4-FFF2-40B4-BE49-F238E27FC236}">
                  <a16:creationId xmlns:a16="http://schemas.microsoft.com/office/drawing/2014/main" id="{6CFEAF98-E6E6-34D7-AD05-D2EF7E7BBC6B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5400004"/>
                <a:gd name="adj2" fmla="val 0"/>
              </a:avLst>
            </a:prstGeom>
            <a:ln w="9525">
              <a:solidFill>
                <a:schemeClr val="tx1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105" name="弧形 104">
              <a:extLst>
                <a:ext uri="{FF2B5EF4-FFF2-40B4-BE49-F238E27FC236}">
                  <a16:creationId xmlns:a16="http://schemas.microsoft.com/office/drawing/2014/main" id="{88D8E077-217F-0B2A-FA53-4DF53D324307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368536"/>
                <a:gd name="adj2" fmla="val 5113948"/>
              </a:avLst>
            </a:prstGeom>
            <a:ln w="952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106" name="文本框 105">
              <a:extLst>
                <a:ext uri="{FF2B5EF4-FFF2-40B4-BE49-F238E27FC236}">
                  <a16:creationId xmlns:a16="http://schemas.microsoft.com/office/drawing/2014/main" id="{609C44D8-8AE0-39FA-C8BD-AD6FBD25052D}"/>
                </a:ext>
              </a:extLst>
            </p:cNvPr>
            <p:cNvSpPr txBox="1"/>
            <p:nvPr/>
          </p:nvSpPr>
          <p:spPr>
            <a:xfrm>
              <a:off x="3543902" y="1849584"/>
              <a:ext cx="4882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3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</p:grpSp>
      <p:sp>
        <p:nvSpPr>
          <p:cNvPr id="107" name="稿定-9">
            <a:extLst>
              <a:ext uri="{FF2B5EF4-FFF2-40B4-BE49-F238E27FC236}">
                <a16:creationId xmlns:a16="http://schemas.microsoft.com/office/drawing/2014/main" id="{D8275152-3B7E-39FB-4E59-E92DCD83C312}"/>
              </a:ext>
            </a:extLst>
          </p:cNvPr>
          <p:cNvSpPr/>
          <p:nvPr/>
        </p:nvSpPr>
        <p:spPr>
          <a:xfrm flipH="1">
            <a:off x="8186019" y="163463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8" name="稿定-31">
            <a:extLst>
              <a:ext uri="{FF2B5EF4-FFF2-40B4-BE49-F238E27FC236}">
                <a16:creationId xmlns:a16="http://schemas.microsoft.com/office/drawing/2014/main" id="{52BAFF39-36AC-C71A-2737-48E017E5905A}"/>
              </a:ext>
            </a:extLst>
          </p:cNvPr>
          <p:cNvSpPr/>
          <p:nvPr/>
        </p:nvSpPr>
        <p:spPr>
          <a:xfrm flipH="1">
            <a:off x="7791191" y="190037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109" name="组合 108">
            <a:extLst>
              <a:ext uri="{FF2B5EF4-FFF2-40B4-BE49-F238E27FC236}">
                <a16:creationId xmlns:a16="http://schemas.microsoft.com/office/drawing/2014/main" id="{7886E010-A1A8-D105-018C-B3836B74D05E}"/>
              </a:ext>
            </a:extLst>
          </p:cNvPr>
          <p:cNvGrpSpPr/>
          <p:nvPr/>
        </p:nvGrpSpPr>
        <p:grpSpPr>
          <a:xfrm>
            <a:off x="3501559" y="5323793"/>
            <a:ext cx="572943" cy="572943"/>
            <a:chOff x="3501559" y="1722687"/>
            <a:chExt cx="572943" cy="572943"/>
          </a:xfrm>
        </p:grpSpPr>
        <p:sp>
          <p:nvSpPr>
            <p:cNvPr id="110" name="椭圆 109">
              <a:extLst>
                <a:ext uri="{FF2B5EF4-FFF2-40B4-BE49-F238E27FC236}">
                  <a16:creationId xmlns:a16="http://schemas.microsoft.com/office/drawing/2014/main" id="{8329E737-6B3E-91B7-D14A-8419FF03B142}"/>
                </a:ext>
              </a:extLst>
            </p:cNvPr>
            <p:cNvSpPr/>
            <p:nvPr/>
          </p:nvSpPr>
          <p:spPr>
            <a:xfrm>
              <a:off x="3543902" y="1765030"/>
              <a:ext cx="488257" cy="48825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111" name="弧形 110">
              <a:extLst>
                <a:ext uri="{FF2B5EF4-FFF2-40B4-BE49-F238E27FC236}">
                  <a16:creationId xmlns:a16="http://schemas.microsoft.com/office/drawing/2014/main" id="{8DCD85A5-8DD6-9E4E-895B-A8D3353DDDEF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5400004"/>
                <a:gd name="adj2" fmla="val 0"/>
              </a:avLst>
            </a:prstGeom>
            <a:ln w="9525">
              <a:solidFill>
                <a:schemeClr val="tx1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112" name="弧形 111">
              <a:extLst>
                <a:ext uri="{FF2B5EF4-FFF2-40B4-BE49-F238E27FC236}">
                  <a16:creationId xmlns:a16="http://schemas.microsoft.com/office/drawing/2014/main" id="{74D0EACE-C702-1416-47DA-41ACFAA14C32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368536"/>
                <a:gd name="adj2" fmla="val 5113948"/>
              </a:avLst>
            </a:prstGeom>
            <a:ln w="952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113" name="文本框 112">
              <a:extLst>
                <a:ext uri="{FF2B5EF4-FFF2-40B4-BE49-F238E27FC236}">
                  <a16:creationId xmlns:a16="http://schemas.microsoft.com/office/drawing/2014/main" id="{78B37C9C-BB4E-F1F7-5F92-3ECB21AC05C4}"/>
                </a:ext>
              </a:extLst>
            </p:cNvPr>
            <p:cNvSpPr txBox="1"/>
            <p:nvPr/>
          </p:nvSpPr>
          <p:spPr>
            <a:xfrm>
              <a:off x="3543902" y="1849584"/>
              <a:ext cx="4882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4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</p:grpSp>
      <p:sp>
        <p:nvSpPr>
          <p:cNvPr id="114" name="稿定-9">
            <a:extLst>
              <a:ext uri="{FF2B5EF4-FFF2-40B4-BE49-F238E27FC236}">
                <a16:creationId xmlns:a16="http://schemas.microsoft.com/office/drawing/2014/main" id="{137A3FED-347C-7AB3-F1D6-9F51925887C2}"/>
              </a:ext>
            </a:extLst>
          </p:cNvPr>
          <p:cNvSpPr/>
          <p:nvPr/>
        </p:nvSpPr>
        <p:spPr>
          <a:xfrm flipH="1">
            <a:off x="2388469" y="523574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5" name="稿定-31">
            <a:extLst>
              <a:ext uri="{FF2B5EF4-FFF2-40B4-BE49-F238E27FC236}">
                <a16:creationId xmlns:a16="http://schemas.microsoft.com/office/drawing/2014/main" id="{AA820894-9A9E-F5D5-F767-58C3DD905762}"/>
              </a:ext>
            </a:extLst>
          </p:cNvPr>
          <p:cNvSpPr/>
          <p:nvPr/>
        </p:nvSpPr>
        <p:spPr>
          <a:xfrm flipH="1">
            <a:off x="1993641" y="550147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3D61C5DA-FF12-3E38-69FF-AD09B5013816}"/>
              </a:ext>
            </a:extLst>
          </p:cNvPr>
          <p:cNvGrpSpPr/>
          <p:nvPr/>
        </p:nvGrpSpPr>
        <p:grpSpPr>
          <a:xfrm>
            <a:off x="6384459" y="5323793"/>
            <a:ext cx="572943" cy="572943"/>
            <a:chOff x="3501559" y="1722687"/>
            <a:chExt cx="572943" cy="572943"/>
          </a:xfrm>
        </p:grpSpPr>
        <p:sp>
          <p:nvSpPr>
            <p:cNvPr id="117" name="椭圆 116">
              <a:extLst>
                <a:ext uri="{FF2B5EF4-FFF2-40B4-BE49-F238E27FC236}">
                  <a16:creationId xmlns:a16="http://schemas.microsoft.com/office/drawing/2014/main" id="{8703B769-71E7-4EC8-D5AF-DD2EFBC6A658}"/>
                </a:ext>
              </a:extLst>
            </p:cNvPr>
            <p:cNvSpPr/>
            <p:nvPr/>
          </p:nvSpPr>
          <p:spPr>
            <a:xfrm>
              <a:off x="3543902" y="1765030"/>
              <a:ext cx="488257" cy="48825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118" name="弧形 117">
              <a:extLst>
                <a:ext uri="{FF2B5EF4-FFF2-40B4-BE49-F238E27FC236}">
                  <a16:creationId xmlns:a16="http://schemas.microsoft.com/office/drawing/2014/main" id="{F711A1E1-62BF-C17F-65D5-534ED0DD2D12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5400004"/>
                <a:gd name="adj2" fmla="val 0"/>
              </a:avLst>
            </a:prstGeom>
            <a:ln w="9525">
              <a:solidFill>
                <a:schemeClr val="tx1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119" name="弧形 118">
              <a:extLst>
                <a:ext uri="{FF2B5EF4-FFF2-40B4-BE49-F238E27FC236}">
                  <a16:creationId xmlns:a16="http://schemas.microsoft.com/office/drawing/2014/main" id="{C4BF7B8E-4ADA-E66B-1F0D-1CA9DD29F39A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368536"/>
                <a:gd name="adj2" fmla="val 5113948"/>
              </a:avLst>
            </a:prstGeom>
            <a:ln w="952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120" name="文本框 119">
              <a:extLst>
                <a:ext uri="{FF2B5EF4-FFF2-40B4-BE49-F238E27FC236}">
                  <a16:creationId xmlns:a16="http://schemas.microsoft.com/office/drawing/2014/main" id="{846BFABA-2613-B263-DB91-4C9AE35C3A91}"/>
                </a:ext>
              </a:extLst>
            </p:cNvPr>
            <p:cNvSpPr txBox="1"/>
            <p:nvPr/>
          </p:nvSpPr>
          <p:spPr>
            <a:xfrm>
              <a:off x="3543902" y="1849584"/>
              <a:ext cx="4882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5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</p:grpSp>
      <p:sp>
        <p:nvSpPr>
          <p:cNvPr id="121" name="稿定-9">
            <a:extLst>
              <a:ext uri="{FF2B5EF4-FFF2-40B4-BE49-F238E27FC236}">
                <a16:creationId xmlns:a16="http://schemas.microsoft.com/office/drawing/2014/main" id="{EA987C96-1860-92FD-6C07-1D7B8E527194}"/>
              </a:ext>
            </a:extLst>
          </p:cNvPr>
          <p:cNvSpPr/>
          <p:nvPr/>
        </p:nvSpPr>
        <p:spPr>
          <a:xfrm flipH="1">
            <a:off x="5271369" y="523574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2" name="稿定-31">
            <a:extLst>
              <a:ext uri="{FF2B5EF4-FFF2-40B4-BE49-F238E27FC236}">
                <a16:creationId xmlns:a16="http://schemas.microsoft.com/office/drawing/2014/main" id="{32D61F14-A364-E725-C5E2-CC26BA5206C1}"/>
              </a:ext>
            </a:extLst>
          </p:cNvPr>
          <p:cNvSpPr/>
          <p:nvPr/>
        </p:nvSpPr>
        <p:spPr>
          <a:xfrm flipH="1">
            <a:off x="4876541" y="550147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123" name="组合 122">
            <a:extLst>
              <a:ext uri="{FF2B5EF4-FFF2-40B4-BE49-F238E27FC236}">
                <a16:creationId xmlns:a16="http://schemas.microsoft.com/office/drawing/2014/main" id="{6B074988-6DC0-8E20-DCAA-206E093826C2}"/>
              </a:ext>
            </a:extLst>
          </p:cNvPr>
          <p:cNvGrpSpPr/>
          <p:nvPr/>
        </p:nvGrpSpPr>
        <p:grpSpPr>
          <a:xfrm>
            <a:off x="9299109" y="5323793"/>
            <a:ext cx="572943" cy="572943"/>
            <a:chOff x="3501559" y="1722687"/>
            <a:chExt cx="572943" cy="572943"/>
          </a:xfrm>
        </p:grpSpPr>
        <p:sp>
          <p:nvSpPr>
            <p:cNvPr id="124" name="椭圆 123">
              <a:extLst>
                <a:ext uri="{FF2B5EF4-FFF2-40B4-BE49-F238E27FC236}">
                  <a16:creationId xmlns:a16="http://schemas.microsoft.com/office/drawing/2014/main" id="{FC0341BA-162F-D329-4048-50E2F3354B29}"/>
                </a:ext>
              </a:extLst>
            </p:cNvPr>
            <p:cNvSpPr/>
            <p:nvPr/>
          </p:nvSpPr>
          <p:spPr>
            <a:xfrm>
              <a:off x="3543902" y="1765030"/>
              <a:ext cx="488257" cy="488257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125" name="弧形 124">
              <a:extLst>
                <a:ext uri="{FF2B5EF4-FFF2-40B4-BE49-F238E27FC236}">
                  <a16:creationId xmlns:a16="http://schemas.microsoft.com/office/drawing/2014/main" id="{9BA1F7F9-8F03-A855-333D-0BC3A75BECF9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5400004"/>
                <a:gd name="adj2" fmla="val 0"/>
              </a:avLst>
            </a:prstGeom>
            <a:ln w="9525">
              <a:solidFill>
                <a:schemeClr val="tx1"/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126" name="弧形 125">
              <a:extLst>
                <a:ext uri="{FF2B5EF4-FFF2-40B4-BE49-F238E27FC236}">
                  <a16:creationId xmlns:a16="http://schemas.microsoft.com/office/drawing/2014/main" id="{76D3E7A2-39B5-5158-F3A1-BDE5A22D3FE7}"/>
                </a:ext>
              </a:extLst>
            </p:cNvPr>
            <p:cNvSpPr/>
            <p:nvPr/>
          </p:nvSpPr>
          <p:spPr>
            <a:xfrm>
              <a:off x="3501559" y="1722687"/>
              <a:ext cx="572943" cy="572943"/>
            </a:xfrm>
            <a:prstGeom prst="arc">
              <a:avLst>
                <a:gd name="adj1" fmla="val 368536"/>
                <a:gd name="adj2" fmla="val 5113948"/>
              </a:avLst>
            </a:prstGeom>
            <a:ln w="952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127" name="文本框 126">
              <a:extLst>
                <a:ext uri="{FF2B5EF4-FFF2-40B4-BE49-F238E27FC236}">
                  <a16:creationId xmlns:a16="http://schemas.microsoft.com/office/drawing/2014/main" id="{F7BF2C25-89F6-774B-A403-83066E54B67D}"/>
                </a:ext>
              </a:extLst>
            </p:cNvPr>
            <p:cNvSpPr txBox="1"/>
            <p:nvPr/>
          </p:nvSpPr>
          <p:spPr>
            <a:xfrm>
              <a:off x="3543902" y="1849584"/>
              <a:ext cx="4882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6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</p:grpSp>
      <p:sp>
        <p:nvSpPr>
          <p:cNvPr id="128" name="稿定-9">
            <a:extLst>
              <a:ext uri="{FF2B5EF4-FFF2-40B4-BE49-F238E27FC236}">
                <a16:creationId xmlns:a16="http://schemas.microsoft.com/office/drawing/2014/main" id="{1FE5CB14-8F48-A62C-C32C-7ED99C2499A6}"/>
              </a:ext>
            </a:extLst>
          </p:cNvPr>
          <p:cNvSpPr/>
          <p:nvPr/>
        </p:nvSpPr>
        <p:spPr>
          <a:xfrm flipH="1">
            <a:off x="8186019" y="523574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9" name="稿定-31">
            <a:extLst>
              <a:ext uri="{FF2B5EF4-FFF2-40B4-BE49-F238E27FC236}">
                <a16:creationId xmlns:a16="http://schemas.microsoft.com/office/drawing/2014/main" id="{F0BA09CD-1488-4CFF-A100-5DEC52A05063}"/>
              </a:ext>
            </a:extLst>
          </p:cNvPr>
          <p:cNvSpPr/>
          <p:nvPr/>
        </p:nvSpPr>
        <p:spPr>
          <a:xfrm flipH="1">
            <a:off x="7791191" y="550147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32" name="任意多边形: 形状 131">
            <a:extLst>
              <a:ext uri="{FF2B5EF4-FFF2-40B4-BE49-F238E27FC236}">
                <a16:creationId xmlns:a16="http://schemas.microsoft.com/office/drawing/2014/main" id="{C7DCA68D-3C8E-72CB-E7D2-F1E6CD09590C}"/>
              </a:ext>
            </a:extLst>
          </p:cNvPr>
          <p:cNvSpPr/>
          <p:nvPr/>
        </p:nvSpPr>
        <p:spPr>
          <a:xfrm>
            <a:off x="0" y="1697516"/>
            <a:ext cx="11319045" cy="4133709"/>
          </a:xfrm>
          <a:custGeom>
            <a:avLst/>
            <a:gdLst>
              <a:gd name="connsiteX0" fmla="*/ 0 w 11319045"/>
              <a:gd name="connsiteY0" fmla="*/ 0 h 4133709"/>
              <a:gd name="connsiteX1" fmla="*/ 267816 w 11319045"/>
              <a:gd name="connsiteY1" fmla="*/ 133531 h 4133709"/>
              <a:gd name="connsiteX2" fmla="*/ 4571630 w 11319045"/>
              <a:gd name="connsiteY2" fmla="*/ 1346143 h 4133709"/>
              <a:gd name="connsiteX3" fmla="*/ 10243097 w 11319045"/>
              <a:gd name="connsiteY3" fmla="*/ 1267585 h 4133709"/>
              <a:gd name="connsiteX4" fmla="*/ 10319386 w 11319045"/>
              <a:gd name="connsiteY4" fmla="*/ 1236684 h 4133709"/>
              <a:gd name="connsiteX5" fmla="*/ 10319386 w 11319045"/>
              <a:gd name="connsiteY5" fmla="*/ 1040509 h 4133709"/>
              <a:gd name="connsiteX6" fmla="*/ 10420619 w 11319045"/>
              <a:gd name="connsiteY6" fmla="*/ 1002908 h 4133709"/>
              <a:gd name="connsiteX7" fmla="*/ 11305071 w 11319045"/>
              <a:gd name="connsiteY7" fmla="*/ 2029254 h 4133709"/>
              <a:gd name="connsiteX8" fmla="*/ 11305071 w 11319045"/>
              <a:gd name="connsiteY8" fmla="*/ 2104456 h 4133709"/>
              <a:gd name="connsiteX9" fmla="*/ 10420619 w 11319045"/>
              <a:gd name="connsiteY9" fmla="*/ 3130801 h 4133709"/>
              <a:gd name="connsiteX10" fmla="*/ 10319386 w 11319045"/>
              <a:gd name="connsiteY10" fmla="*/ 3093200 h 4133709"/>
              <a:gd name="connsiteX11" fmla="*/ 10319386 w 11319045"/>
              <a:gd name="connsiteY11" fmla="*/ 2897024 h 4133709"/>
              <a:gd name="connsiteX12" fmla="*/ 10243097 w 11319045"/>
              <a:gd name="connsiteY12" fmla="*/ 2866124 h 4133709"/>
              <a:gd name="connsiteX13" fmla="*/ 4571630 w 11319045"/>
              <a:gd name="connsiteY13" fmla="*/ 2787565 h 4133709"/>
              <a:gd name="connsiteX14" fmla="*/ 267816 w 11319045"/>
              <a:gd name="connsiteY14" fmla="*/ 4000178 h 4133709"/>
              <a:gd name="connsiteX15" fmla="*/ 0 w 11319045"/>
              <a:gd name="connsiteY15" fmla="*/ 4133709 h 4133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319045" h="4133709">
                <a:moveTo>
                  <a:pt x="0" y="0"/>
                </a:moveTo>
                <a:lnTo>
                  <a:pt x="267816" y="133531"/>
                </a:lnTo>
                <a:cubicBezTo>
                  <a:pt x="1348721" y="633244"/>
                  <a:pt x="2865016" y="1075843"/>
                  <a:pt x="4571630" y="1346143"/>
                </a:cubicBezTo>
                <a:cubicBezTo>
                  <a:pt x="6955471" y="1723706"/>
                  <a:pt x="9090035" y="1666802"/>
                  <a:pt x="10243097" y="1267585"/>
                </a:cubicBezTo>
                <a:lnTo>
                  <a:pt x="10319386" y="1236684"/>
                </a:lnTo>
                <a:lnTo>
                  <a:pt x="10319386" y="1040509"/>
                </a:lnTo>
                <a:cubicBezTo>
                  <a:pt x="10319386" y="987163"/>
                  <a:pt x="10385795" y="962497"/>
                  <a:pt x="10420619" y="1002908"/>
                </a:cubicBezTo>
                <a:lnTo>
                  <a:pt x="11305071" y="2029254"/>
                </a:lnTo>
                <a:cubicBezTo>
                  <a:pt x="11323703" y="2050875"/>
                  <a:pt x="11323703" y="2082836"/>
                  <a:pt x="11305071" y="2104456"/>
                </a:cubicBezTo>
                <a:lnTo>
                  <a:pt x="10420619" y="3130801"/>
                </a:lnTo>
                <a:cubicBezTo>
                  <a:pt x="10385795" y="3171213"/>
                  <a:pt x="10319386" y="3146546"/>
                  <a:pt x="10319386" y="3093200"/>
                </a:cubicBezTo>
                <a:lnTo>
                  <a:pt x="10319386" y="2897024"/>
                </a:lnTo>
                <a:lnTo>
                  <a:pt x="10243097" y="2866124"/>
                </a:lnTo>
                <a:cubicBezTo>
                  <a:pt x="9090035" y="2466907"/>
                  <a:pt x="6955471" y="2410002"/>
                  <a:pt x="4571630" y="2787565"/>
                </a:cubicBezTo>
                <a:cubicBezTo>
                  <a:pt x="2865016" y="3057867"/>
                  <a:pt x="1348721" y="3500465"/>
                  <a:pt x="267816" y="4000178"/>
                </a:cubicBezTo>
                <a:lnTo>
                  <a:pt x="0" y="4133709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970761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CD84ADD-8706-3D81-EE55-7B9EB2473AE2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F26095A-34DB-1340-1072-A5625B6DBAB6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2AAAD85-DF6E-3EF5-471F-991A7EE78459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03932D3C-1494-6AF8-3692-784C26906A73}"/>
              </a:ext>
            </a:extLst>
          </p:cNvPr>
          <p:cNvSpPr/>
          <p:nvPr/>
        </p:nvSpPr>
        <p:spPr>
          <a:xfrm>
            <a:off x="1599786" y="2854212"/>
            <a:ext cx="8992428" cy="1911464"/>
          </a:xfrm>
          <a:custGeom>
            <a:avLst/>
            <a:gdLst>
              <a:gd name="connsiteX0" fmla="*/ 0 w 8743950"/>
              <a:gd name="connsiteY0" fmla="*/ 1885950 h 1905000"/>
              <a:gd name="connsiteX1" fmla="*/ 2171700 w 8743950"/>
              <a:gd name="connsiteY1" fmla="*/ 0 h 1905000"/>
              <a:gd name="connsiteX2" fmla="*/ 4400550 w 8743950"/>
              <a:gd name="connsiteY2" fmla="*/ 1885950 h 1905000"/>
              <a:gd name="connsiteX3" fmla="*/ 6619875 w 8743950"/>
              <a:gd name="connsiteY3" fmla="*/ 0 h 1905000"/>
              <a:gd name="connsiteX4" fmla="*/ 8743950 w 8743950"/>
              <a:gd name="connsiteY4" fmla="*/ 1905000 h 1905000"/>
              <a:gd name="connsiteX0" fmla="*/ 0 w 8743950"/>
              <a:gd name="connsiteY0" fmla="*/ 1885950 h 1905000"/>
              <a:gd name="connsiteX1" fmla="*/ 2171700 w 8743950"/>
              <a:gd name="connsiteY1" fmla="*/ 0 h 1905000"/>
              <a:gd name="connsiteX2" fmla="*/ 4400550 w 8743950"/>
              <a:gd name="connsiteY2" fmla="*/ 1885950 h 1905000"/>
              <a:gd name="connsiteX3" fmla="*/ 6619875 w 8743950"/>
              <a:gd name="connsiteY3" fmla="*/ 0 h 1905000"/>
              <a:gd name="connsiteX4" fmla="*/ 8743950 w 8743950"/>
              <a:gd name="connsiteY4" fmla="*/ 1905000 h 1905000"/>
              <a:gd name="connsiteX0" fmla="*/ 0 w 8743950"/>
              <a:gd name="connsiteY0" fmla="*/ 1885950 h 1986844"/>
              <a:gd name="connsiteX1" fmla="*/ 2171700 w 8743950"/>
              <a:gd name="connsiteY1" fmla="*/ 0 h 1986844"/>
              <a:gd name="connsiteX2" fmla="*/ 4400550 w 8743950"/>
              <a:gd name="connsiteY2" fmla="*/ 1885950 h 1986844"/>
              <a:gd name="connsiteX3" fmla="*/ 6619875 w 8743950"/>
              <a:gd name="connsiteY3" fmla="*/ 0 h 1986844"/>
              <a:gd name="connsiteX4" fmla="*/ 8743950 w 8743950"/>
              <a:gd name="connsiteY4" fmla="*/ 1905000 h 1986844"/>
              <a:gd name="connsiteX0" fmla="*/ 0 w 8743950"/>
              <a:gd name="connsiteY0" fmla="*/ 1885950 h 1905000"/>
              <a:gd name="connsiteX1" fmla="*/ 2171700 w 8743950"/>
              <a:gd name="connsiteY1" fmla="*/ 0 h 1905000"/>
              <a:gd name="connsiteX2" fmla="*/ 4400550 w 8743950"/>
              <a:gd name="connsiteY2" fmla="*/ 1885950 h 1905000"/>
              <a:gd name="connsiteX3" fmla="*/ 6619875 w 8743950"/>
              <a:gd name="connsiteY3" fmla="*/ 0 h 1905000"/>
              <a:gd name="connsiteX4" fmla="*/ 8743950 w 8743950"/>
              <a:gd name="connsiteY4" fmla="*/ 1905000 h 1905000"/>
              <a:gd name="connsiteX0" fmla="*/ 0 w 8743950"/>
              <a:gd name="connsiteY0" fmla="*/ 1988521 h 2007571"/>
              <a:gd name="connsiteX1" fmla="*/ 2171700 w 8743950"/>
              <a:gd name="connsiteY1" fmla="*/ 102571 h 2007571"/>
              <a:gd name="connsiteX2" fmla="*/ 4400550 w 8743950"/>
              <a:gd name="connsiteY2" fmla="*/ 1988521 h 2007571"/>
              <a:gd name="connsiteX3" fmla="*/ 6619875 w 8743950"/>
              <a:gd name="connsiteY3" fmla="*/ 102571 h 2007571"/>
              <a:gd name="connsiteX4" fmla="*/ 8743950 w 8743950"/>
              <a:gd name="connsiteY4" fmla="*/ 2007571 h 2007571"/>
              <a:gd name="connsiteX0" fmla="*/ 0 w 8743950"/>
              <a:gd name="connsiteY0" fmla="*/ 1886044 h 1905094"/>
              <a:gd name="connsiteX1" fmla="*/ 2171700 w 8743950"/>
              <a:gd name="connsiteY1" fmla="*/ 94 h 1905094"/>
              <a:gd name="connsiteX2" fmla="*/ 4400550 w 8743950"/>
              <a:gd name="connsiteY2" fmla="*/ 1886044 h 1905094"/>
              <a:gd name="connsiteX3" fmla="*/ 6619875 w 8743950"/>
              <a:gd name="connsiteY3" fmla="*/ 94 h 1905094"/>
              <a:gd name="connsiteX4" fmla="*/ 8743950 w 8743950"/>
              <a:gd name="connsiteY4" fmla="*/ 1905094 h 1905094"/>
              <a:gd name="connsiteX0" fmla="*/ 0 w 8743950"/>
              <a:gd name="connsiteY0" fmla="*/ 1886031 h 1905081"/>
              <a:gd name="connsiteX1" fmla="*/ 2171700 w 8743950"/>
              <a:gd name="connsiteY1" fmla="*/ 81 h 1905081"/>
              <a:gd name="connsiteX2" fmla="*/ 4400550 w 8743950"/>
              <a:gd name="connsiteY2" fmla="*/ 1886031 h 1905081"/>
              <a:gd name="connsiteX3" fmla="*/ 6619875 w 8743950"/>
              <a:gd name="connsiteY3" fmla="*/ 81 h 1905081"/>
              <a:gd name="connsiteX4" fmla="*/ 8743950 w 8743950"/>
              <a:gd name="connsiteY4" fmla="*/ 1905081 h 1905081"/>
              <a:gd name="connsiteX0" fmla="*/ 0 w 8743950"/>
              <a:gd name="connsiteY0" fmla="*/ 1886031 h 1905081"/>
              <a:gd name="connsiteX1" fmla="*/ 2171700 w 8743950"/>
              <a:gd name="connsiteY1" fmla="*/ 81 h 1905081"/>
              <a:gd name="connsiteX2" fmla="*/ 4400550 w 8743950"/>
              <a:gd name="connsiteY2" fmla="*/ 1886031 h 1905081"/>
              <a:gd name="connsiteX3" fmla="*/ 6619875 w 8743950"/>
              <a:gd name="connsiteY3" fmla="*/ 81 h 1905081"/>
              <a:gd name="connsiteX4" fmla="*/ 8743950 w 8743950"/>
              <a:gd name="connsiteY4" fmla="*/ 1905081 h 1905081"/>
              <a:gd name="connsiteX0" fmla="*/ 0 w 8743950"/>
              <a:gd name="connsiteY0" fmla="*/ 1886031 h 1905081"/>
              <a:gd name="connsiteX1" fmla="*/ 2171700 w 8743950"/>
              <a:gd name="connsiteY1" fmla="*/ 81 h 1905081"/>
              <a:gd name="connsiteX2" fmla="*/ 4400550 w 8743950"/>
              <a:gd name="connsiteY2" fmla="*/ 1886031 h 1905081"/>
              <a:gd name="connsiteX3" fmla="*/ 6709327 w 8743950"/>
              <a:gd name="connsiteY3" fmla="*/ 81 h 1905081"/>
              <a:gd name="connsiteX4" fmla="*/ 8743950 w 8743950"/>
              <a:gd name="connsiteY4" fmla="*/ 1905081 h 1905081"/>
              <a:gd name="connsiteX0" fmla="*/ 0 w 8992428"/>
              <a:gd name="connsiteY0" fmla="*/ 1886031 h 1905081"/>
              <a:gd name="connsiteX1" fmla="*/ 2171700 w 8992428"/>
              <a:gd name="connsiteY1" fmla="*/ 81 h 1905081"/>
              <a:gd name="connsiteX2" fmla="*/ 4400550 w 8992428"/>
              <a:gd name="connsiteY2" fmla="*/ 1886031 h 1905081"/>
              <a:gd name="connsiteX3" fmla="*/ 6709327 w 8992428"/>
              <a:gd name="connsiteY3" fmla="*/ 81 h 1905081"/>
              <a:gd name="connsiteX4" fmla="*/ 8992428 w 8992428"/>
              <a:gd name="connsiteY4" fmla="*/ 1905081 h 1905081"/>
              <a:gd name="connsiteX0" fmla="*/ 0 w 8992428"/>
              <a:gd name="connsiteY0" fmla="*/ 1886031 h 1905081"/>
              <a:gd name="connsiteX1" fmla="*/ 2171700 w 8992428"/>
              <a:gd name="connsiteY1" fmla="*/ 81 h 1905081"/>
              <a:gd name="connsiteX2" fmla="*/ 4400550 w 8992428"/>
              <a:gd name="connsiteY2" fmla="*/ 1886031 h 1905081"/>
              <a:gd name="connsiteX3" fmla="*/ 6759023 w 8992428"/>
              <a:gd name="connsiteY3" fmla="*/ 81 h 1905081"/>
              <a:gd name="connsiteX4" fmla="*/ 8992428 w 8992428"/>
              <a:gd name="connsiteY4" fmla="*/ 1905081 h 1905081"/>
              <a:gd name="connsiteX0" fmla="*/ 0 w 8992428"/>
              <a:gd name="connsiteY0" fmla="*/ 1885954 h 1905004"/>
              <a:gd name="connsiteX1" fmla="*/ 2171700 w 8992428"/>
              <a:gd name="connsiteY1" fmla="*/ 4 h 1905004"/>
              <a:gd name="connsiteX2" fmla="*/ 4400550 w 8992428"/>
              <a:gd name="connsiteY2" fmla="*/ 1885954 h 1905004"/>
              <a:gd name="connsiteX3" fmla="*/ 6759023 w 8992428"/>
              <a:gd name="connsiteY3" fmla="*/ 4 h 1905004"/>
              <a:gd name="connsiteX4" fmla="*/ 8992428 w 8992428"/>
              <a:gd name="connsiteY4" fmla="*/ 1905004 h 1905004"/>
              <a:gd name="connsiteX0" fmla="*/ 0 w 8992428"/>
              <a:gd name="connsiteY0" fmla="*/ 1886064 h 1905114"/>
              <a:gd name="connsiteX1" fmla="*/ 2171700 w 8992428"/>
              <a:gd name="connsiteY1" fmla="*/ 114 h 1905114"/>
              <a:gd name="connsiteX2" fmla="*/ 4400550 w 8992428"/>
              <a:gd name="connsiteY2" fmla="*/ 1886064 h 1905114"/>
              <a:gd name="connsiteX3" fmla="*/ 6759023 w 8992428"/>
              <a:gd name="connsiteY3" fmla="*/ 114 h 1905114"/>
              <a:gd name="connsiteX4" fmla="*/ 8992428 w 8992428"/>
              <a:gd name="connsiteY4" fmla="*/ 1905114 h 1905114"/>
              <a:gd name="connsiteX0" fmla="*/ 0 w 8992428"/>
              <a:gd name="connsiteY0" fmla="*/ 1886064 h 1905114"/>
              <a:gd name="connsiteX1" fmla="*/ 2222500 w 8992428"/>
              <a:gd name="connsiteY1" fmla="*/ 114 h 1905114"/>
              <a:gd name="connsiteX2" fmla="*/ 4400550 w 8992428"/>
              <a:gd name="connsiteY2" fmla="*/ 1886064 h 1905114"/>
              <a:gd name="connsiteX3" fmla="*/ 6759023 w 8992428"/>
              <a:gd name="connsiteY3" fmla="*/ 114 h 1905114"/>
              <a:gd name="connsiteX4" fmla="*/ 8992428 w 8992428"/>
              <a:gd name="connsiteY4" fmla="*/ 1905114 h 1905114"/>
              <a:gd name="connsiteX0" fmla="*/ 0 w 8992428"/>
              <a:gd name="connsiteY0" fmla="*/ 1886064 h 1911464"/>
              <a:gd name="connsiteX1" fmla="*/ 2222500 w 8992428"/>
              <a:gd name="connsiteY1" fmla="*/ 114 h 1911464"/>
              <a:gd name="connsiteX2" fmla="*/ 4489450 w 8992428"/>
              <a:gd name="connsiteY2" fmla="*/ 1911464 h 1911464"/>
              <a:gd name="connsiteX3" fmla="*/ 6759023 w 8992428"/>
              <a:gd name="connsiteY3" fmla="*/ 114 h 1911464"/>
              <a:gd name="connsiteX4" fmla="*/ 8992428 w 8992428"/>
              <a:gd name="connsiteY4" fmla="*/ 1905114 h 1911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2428" h="1911464">
                <a:moveTo>
                  <a:pt x="0" y="1886064"/>
                </a:moveTo>
                <a:cubicBezTo>
                  <a:pt x="762000" y="1438389"/>
                  <a:pt x="1474258" y="-4119"/>
                  <a:pt x="2222500" y="114"/>
                </a:cubicBezTo>
                <a:cubicBezTo>
                  <a:pt x="2970742" y="4347"/>
                  <a:pt x="3733363" y="1911464"/>
                  <a:pt x="4489450" y="1911464"/>
                </a:cubicBezTo>
                <a:cubicBezTo>
                  <a:pt x="5245537" y="1911464"/>
                  <a:pt x="6153702" y="-17004"/>
                  <a:pt x="6759023" y="114"/>
                </a:cubicBezTo>
                <a:cubicBezTo>
                  <a:pt x="7384221" y="-2647"/>
                  <a:pt x="8322503" y="1489189"/>
                  <a:pt x="8992428" y="1905114"/>
                </a:cubicBezTo>
              </a:path>
            </a:pathLst>
          </a:custGeom>
          <a:noFill/>
          <a:ln w="12700">
            <a:solidFill>
              <a:srgbClr val="3361F5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743950"/>
                      <a:gd name="connsiteY0" fmla="*/ 1885950 h 1905000"/>
                      <a:gd name="connsiteX1" fmla="*/ 2171700 w 8743950"/>
                      <a:gd name="connsiteY1" fmla="*/ 0 h 1905000"/>
                      <a:gd name="connsiteX2" fmla="*/ 4400550 w 8743950"/>
                      <a:gd name="connsiteY2" fmla="*/ 1885950 h 1905000"/>
                      <a:gd name="connsiteX3" fmla="*/ 6619875 w 8743950"/>
                      <a:gd name="connsiteY3" fmla="*/ 0 h 1905000"/>
                      <a:gd name="connsiteX4" fmla="*/ 8743950 w 8743950"/>
                      <a:gd name="connsiteY4" fmla="*/ 1905000 h 1905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743950" h="1905000" extrusionOk="0">
                        <a:moveTo>
                          <a:pt x="0" y="1885950"/>
                        </a:moveTo>
                        <a:cubicBezTo>
                          <a:pt x="1108980" y="1080027"/>
                          <a:pt x="1502361" y="734919"/>
                          <a:pt x="2171700" y="0"/>
                        </a:cubicBezTo>
                        <a:cubicBezTo>
                          <a:pt x="2775848" y="685271"/>
                          <a:pt x="4014637" y="1448126"/>
                          <a:pt x="4400550" y="1885950"/>
                        </a:cubicBezTo>
                        <a:cubicBezTo>
                          <a:pt x="5332757" y="917138"/>
                          <a:pt x="5792324" y="909529"/>
                          <a:pt x="6619875" y="0"/>
                        </a:cubicBezTo>
                        <a:cubicBezTo>
                          <a:pt x="7661299" y="906896"/>
                          <a:pt x="8325357" y="1324759"/>
                          <a:pt x="8743950" y="1905000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A36FF23A-4412-ED99-5565-EB10EDD1B1BE}"/>
              </a:ext>
            </a:extLst>
          </p:cNvPr>
          <p:cNvCxnSpPr>
            <a:cxnSpLocks/>
          </p:cNvCxnSpPr>
          <p:nvPr/>
        </p:nvCxnSpPr>
        <p:spPr>
          <a:xfrm>
            <a:off x="2311907" y="3399393"/>
            <a:ext cx="689506" cy="623869"/>
          </a:xfrm>
          <a:prstGeom prst="line">
            <a:avLst/>
          </a:prstGeom>
          <a:ln w="12700">
            <a:gradFill>
              <a:gsLst>
                <a:gs pos="50000">
                  <a:srgbClr val="3361F5"/>
                </a:gs>
                <a:gs pos="0">
                  <a:srgbClr val="3361F5">
                    <a:alpha val="0"/>
                  </a:srgbClr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8439CAD9-EB9A-9115-0837-D1CAC8F04CE8}"/>
              </a:ext>
            </a:extLst>
          </p:cNvPr>
          <p:cNvCxnSpPr>
            <a:cxnSpLocks/>
          </p:cNvCxnSpPr>
          <p:nvPr/>
        </p:nvCxnSpPr>
        <p:spPr>
          <a:xfrm flipH="1">
            <a:off x="4580706" y="3399393"/>
            <a:ext cx="689506" cy="623869"/>
          </a:xfrm>
          <a:prstGeom prst="line">
            <a:avLst/>
          </a:prstGeom>
          <a:ln w="12700">
            <a:gradFill>
              <a:gsLst>
                <a:gs pos="50000">
                  <a:srgbClr val="3361F5"/>
                </a:gs>
                <a:gs pos="0">
                  <a:srgbClr val="3361F5">
                    <a:alpha val="0"/>
                  </a:srgbClr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62EDA438-F251-ED68-4BA3-0C8C04A6331A}"/>
              </a:ext>
            </a:extLst>
          </p:cNvPr>
          <p:cNvCxnSpPr>
            <a:cxnSpLocks/>
          </p:cNvCxnSpPr>
          <p:nvPr/>
        </p:nvCxnSpPr>
        <p:spPr>
          <a:xfrm>
            <a:off x="6870988" y="3399393"/>
            <a:ext cx="689506" cy="623869"/>
          </a:xfrm>
          <a:prstGeom prst="line">
            <a:avLst/>
          </a:prstGeom>
          <a:ln w="12700">
            <a:gradFill>
              <a:gsLst>
                <a:gs pos="50000">
                  <a:srgbClr val="3361F5"/>
                </a:gs>
                <a:gs pos="0">
                  <a:srgbClr val="3361F5">
                    <a:alpha val="0"/>
                  </a:srgbClr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1D42A337-3CCA-9014-3ADF-EE96D2661C2E}"/>
              </a:ext>
            </a:extLst>
          </p:cNvPr>
          <p:cNvCxnSpPr>
            <a:cxnSpLocks/>
          </p:cNvCxnSpPr>
          <p:nvPr/>
        </p:nvCxnSpPr>
        <p:spPr>
          <a:xfrm flipH="1">
            <a:off x="9190587" y="3399393"/>
            <a:ext cx="689506" cy="623869"/>
          </a:xfrm>
          <a:prstGeom prst="line">
            <a:avLst/>
          </a:prstGeom>
          <a:ln w="12700">
            <a:gradFill>
              <a:gsLst>
                <a:gs pos="50000">
                  <a:srgbClr val="3361F5"/>
                </a:gs>
                <a:gs pos="0">
                  <a:srgbClr val="3361F5">
                    <a:alpha val="0"/>
                  </a:srgbClr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椭圆 9">
            <a:extLst>
              <a:ext uri="{FF2B5EF4-FFF2-40B4-BE49-F238E27FC236}">
                <a16:creationId xmlns:a16="http://schemas.microsoft.com/office/drawing/2014/main" id="{25F11A24-41DE-E35F-1CCC-05A23931F5DD}"/>
              </a:ext>
            </a:extLst>
          </p:cNvPr>
          <p:cNvSpPr/>
          <p:nvPr/>
        </p:nvSpPr>
        <p:spPr>
          <a:xfrm>
            <a:off x="1268462" y="4512949"/>
            <a:ext cx="526774" cy="526774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A09D2763-8137-7664-34C7-FA56B49A32E9}"/>
              </a:ext>
            </a:extLst>
          </p:cNvPr>
          <p:cNvSpPr/>
          <p:nvPr/>
        </p:nvSpPr>
        <p:spPr>
          <a:xfrm>
            <a:off x="669649" y="1850625"/>
            <a:ext cx="1724400" cy="17244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5142D990-26E7-600A-2704-24BABAE07008}"/>
              </a:ext>
            </a:extLst>
          </p:cNvPr>
          <p:cNvSpPr/>
          <p:nvPr/>
        </p:nvSpPr>
        <p:spPr>
          <a:xfrm>
            <a:off x="810049" y="1991025"/>
            <a:ext cx="1443600" cy="144360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91697B00-D70C-186A-AEF6-6301270EF988}"/>
              </a:ext>
            </a:extLst>
          </p:cNvPr>
          <p:cNvSpPr/>
          <p:nvPr/>
        </p:nvSpPr>
        <p:spPr>
          <a:xfrm>
            <a:off x="3550538" y="2562193"/>
            <a:ext cx="526774" cy="526774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1C9D8C9B-AEC7-A9C5-13F4-4653460C330A}"/>
              </a:ext>
            </a:extLst>
          </p:cNvPr>
          <p:cNvSpPr/>
          <p:nvPr/>
        </p:nvSpPr>
        <p:spPr>
          <a:xfrm>
            <a:off x="2951725" y="4052039"/>
            <a:ext cx="1724400" cy="17244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L"/>
              <a:ea typeface="OPPOSans L" panose="00020600040101010101" pitchFamily="18" charset="-122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F2ABA50B-E926-1936-78ED-20A69A5CEC86}"/>
              </a:ext>
            </a:extLst>
          </p:cNvPr>
          <p:cNvSpPr/>
          <p:nvPr/>
        </p:nvSpPr>
        <p:spPr>
          <a:xfrm>
            <a:off x="3092125" y="4192439"/>
            <a:ext cx="1443600" cy="144360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F3DE6C9D-95AA-FED8-9429-F87BA7FD58CA}"/>
              </a:ext>
            </a:extLst>
          </p:cNvPr>
          <p:cNvSpPr/>
          <p:nvPr/>
        </p:nvSpPr>
        <p:spPr>
          <a:xfrm>
            <a:off x="5832614" y="4512949"/>
            <a:ext cx="526774" cy="526774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A6B5EAB3-A294-3533-25B4-AC9CB738473C}"/>
              </a:ext>
            </a:extLst>
          </p:cNvPr>
          <p:cNvSpPr/>
          <p:nvPr/>
        </p:nvSpPr>
        <p:spPr>
          <a:xfrm>
            <a:off x="5233801" y="1850625"/>
            <a:ext cx="1724400" cy="17244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L"/>
              <a:ea typeface="OPPOSans L" panose="00020600040101010101" pitchFamily="18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52516A4E-E6C1-E198-C597-0038FB31178F}"/>
              </a:ext>
            </a:extLst>
          </p:cNvPr>
          <p:cNvSpPr/>
          <p:nvPr/>
        </p:nvSpPr>
        <p:spPr>
          <a:xfrm>
            <a:off x="5374201" y="1991025"/>
            <a:ext cx="1443600" cy="144360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E8E5235C-2F72-7A28-B55E-479507CBBC86}"/>
              </a:ext>
            </a:extLst>
          </p:cNvPr>
          <p:cNvSpPr/>
          <p:nvPr/>
        </p:nvSpPr>
        <p:spPr>
          <a:xfrm>
            <a:off x="8114690" y="2562193"/>
            <a:ext cx="526774" cy="526774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105DAF22-3B00-9C9E-1B6D-7DAEA52AA275}"/>
              </a:ext>
            </a:extLst>
          </p:cNvPr>
          <p:cNvSpPr/>
          <p:nvPr/>
        </p:nvSpPr>
        <p:spPr>
          <a:xfrm>
            <a:off x="7515877" y="4052039"/>
            <a:ext cx="1724400" cy="17244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L"/>
              <a:ea typeface="OPPOSans L" panose="00020600040101010101" pitchFamily="18" charset="-122"/>
            </a:endParaRPr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4281A629-72E9-A81A-51BA-64A14DD2E724}"/>
              </a:ext>
            </a:extLst>
          </p:cNvPr>
          <p:cNvSpPr/>
          <p:nvPr/>
        </p:nvSpPr>
        <p:spPr>
          <a:xfrm>
            <a:off x="7656277" y="4192439"/>
            <a:ext cx="1443600" cy="144360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686DD727-E899-60EC-E445-AA29E4C4520A}"/>
              </a:ext>
            </a:extLst>
          </p:cNvPr>
          <p:cNvSpPr/>
          <p:nvPr/>
        </p:nvSpPr>
        <p:spPr>
          <a:xfrm>
            <a:off x="10396764" y="4512949"/>
            <a:ext cx="526774" cy="526774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1DF74CCB-86EA-98AC-501B-16E63200E93E}"/>
              </a:ext>
            </a:extLst>
          </p:cNvPr>
          <p:cNvSpPr/>
          <p:nvPr/>
        </p:nvSpPr>
        <p:spPr>
          <a:xfrm>
            <a:off x="9797951" y="1850625"/>
            <a:ext cx="1724400" cy="17244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L"/>
              <a:ea typeface="OPPOSans L" panose="00020600040101010101" pitchFamily="18" charset="-122"/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6F834935-10C9-8FA6-A86B-D26660D3BE31}"/>
              </a:ext>
            </a:extLst>
          </p:cNvPr>
          <p:cNvSpPr/>
          <p:nvPr/>
        </p:nvSpPr>
        <p:spPr>
          <a:xfrm>
            <a:off x="9938351" y="1991025"/>
            <a:ext cx="1443600" cy="144360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55" name="稿定-9">
            <a:extLst>
              <a:ext uri="{FF2B5EF4-FFF2-40B4-BE49-F238E27FC236}">
                <a16:creationId xmlns:a16="http://schemas.microsoft.com/office/drawing/2014/main" id="{3E6540E3-E6AC-8629-3CB7-5728C662EF61}"/>
              </a:ext>
            </a:extLst>
          </p:cNvPr>
          <p:cNvSpPr/>
          <p:nvPr/>
        </p:nvSpPr>
        <p:spPr>
          <a:xfrm flipH="1">
            <a:off x="1039996" y="228317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6" name="稿定-31">
            <a:extLst>
              <a:ext uri="{FF2B5EF4-FFF2-40B4-BE49-F238E27FC236}">
                <a16:creationId xmlns:a16="http://schemas.microsoft.com/office/drawing/2014/main" id="{ACFA65F4-338A-4039-E276-FAD3941D89E8}"/>
              </a:ext>
            </a:extLst>
          </p:cNvPr>
          <p:cNvSpPr/>
          <p:nvPr/>
        </p:nvSpPr>
        <p:spPr>
          <a:xfrm flipH="1">
            <a:off x="971031" y="2537809"/>
            <a:ext cx="1109786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7" name="稿定-9">
            <a:extLst>
              <a:ext uri="{FF2B5EF4-FFF2-40B4-BE49-F238E27FC236}">
                <a16:creationId xmlns:a16="http://schemas.microsoft.com/office/drawing/2014/main" id="{47A7BBB1-6AFF-2377-BAFF-93A7EB020FB4}"/>
              </a:ext>
            </a:extLst>
          </p:cNvPr>
          <p:cNvSpPr/>
          <p:nvPr/>
        </p:nvSpPr>
        <p:spPr>
          <a:xfrm flipH="1">
            <a:off x="5616956" y="228317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8" name="稿定-31">
            <a:extLst>
              <a:ext uri="{FF2B5EF4-FFF2-40B4-BE49-F238E27FC236}">
                <a16:creationId xmlns:a16="http://schemas.microsoft.com/office/drawing/2014/main" id="{ED348344-4B78-9738-F0FD-126F5D995931}"/>
              </a:ext>
            </a:extLst>
          </p:cNvPr>
          <p:cNvSpPr/>
          <p:nvPr/>
        </p:nvSpPr>
        <p:spPr>
          <a:xfrm flipH="1">
            <a:off x="5547991" y="2537809"/>
            <a:ext cx="1109786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9" name="稿定-9">
            <a:extLst>
              <a:ext uri="{FF2B5EF4-FFF2-40B4-BE49-F238E27FC236}">
                <a16:creationId xmlns:a16="http://schemas.microsoft.com/office/drawing/2014/main" id="{B064BDEF-2DAC-CB44-75DF-13B55B9EC032}"/>
              </a:ext>
            </a:extLst>
          </p:cNvPr>
          <p:cNvSpPr/>
          <p:nvPr/>
        </p:nvSpPr>
        <p:spPr>
          <a:xfrm flipH="1">
            <a:off x="10186897" y="228317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0" name="稿定-31">
            <a:extLst>
              <a:ext uri="{FF2B5EF4-FFF2-40B4-BE49-F238E27FC236}">
                <a16:creationId xmlns:a16="http://schemas.microsoft.com/office/drawing/2014/main" id="{5A8BCFEC-8A3C-FD9F-FDAB-AAF75D92E078}"/>
              </a:ext>
            </a:extLst>
          </p:cNvPr>
          <p:cNvSpPr/>
          <p:nvPr/>
        </p:nvSpPr>
        <p:spPr>
          <a:xfrm flipH="1">
            <a:off x="10117932" y="2537809"/>
            <a:ext cx="1109786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1" name="稿定-9">
            <a:extLst>
              <a:ext uri="{FF2B5EF4-FFF2-40B4-BE49-F238E27FC236}">
                <a16:creationId xmlns:a16="http://schemas.microsoft.com/office/drawing/2014/main" id="{7F3A85C3-44B1-4DD6-DB54-F6EE2765AB19}"/>
              </a:ext>
            </a:extLst>
          </p:cNvPr>
          <p:cNvSpPr/>
          <p:nvPr/>
        </p:nvSpPr>
        <p:spPr>
          <a:xfrm flipH="1">
            <a:off x="7899032" y="455865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2" name="稿定-31">
            <a:extLst>
              <a:ext uri="{FF2B5EF4-FFF2-40B4-BE49-F238E27FC236}">
                <a16:creationId xmlns:a16="http://schemas.microsoft.com/office/drawing/2014/main" id="{0103937B-D0E6-EAB4-E221-26FC5AFAD228}"/>
              </a:ext>
            </a:extLst>
          </p:cNvPr>
          <p:cNvSpPr/>
          <p:nvPr/>
        </p:nvSpPr>
        <p:spPr>
          <a:xfrm flipH="1">
            <a:off x="7830067" y="4813287"/>
            <a:ext cx="1109786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3" name="稿定-9">
            <a:extLst>
              <a:ext uri="{FF2B5EF4-FFF2-40B4-BE49-F238E27FC236}">
                <a16:creationId xmlns:a16="http://schemas.microsoft.com/office/drawing/2014/main" id="{0691DA60-7FAD-AFFC-EE1D-03B742670104}"/>
              </a:ext>
            </a:extLst>
          </p:cNvPr>
          <p:cNvSpPr/>
          <p:nvPr/>
        </p:nvSpPr>
        <p:spPr>
          <a:xfrm flipH="1">
            <a:off x="3334880" y="455865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4" name="稿定-31">
            <a:extLst>
              <a:ext uri="{FF2B5EF4-FFF2-40B4-BE49-F238E27FC236}">
                <a16:creationId xmlns:a16="http://schemas.microsoft.com/office/drawing/2014/main" id="{7D4F1521-DE3D-73C7-45C6-2DE2FEE75183}"/>
              </a:ext>
            </a:extLst>
          </p:cNvPr>
          <p:cNvSpPr/>
          <p:nvPr/>
        </p:nvSpPr>
        <p:spPr>
          <a:xfrm flipH="1">
            <a:off x="3265915" y="4813287"/>
            <a:ext cx="1109786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5" name="稿定-9">
            <a:extLst>
              <a:ext uri="{FF2B5EF4-FFF2-40B4-BE49-F238E27FC236}">
                <a16:creationId xmlns:a16="http://schemas.microsoft.com/office/drawing/2014/main" id="{EF61B80F-E96A-28EC-0B64-41BF5A8546F1}"/>
              </a:ext>
            </a:extLst>
          </p:cNvPr>
          <p:cNvSpPr/>
          <p:nvPr/>
        </p:nvSpPr>
        <p:spPr>
          <a:xfrm flipH="1">
            <a:off x="1262537" y="4558650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1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6" name="稿定-9">
            <a:extLst>
              <a:ext uri="{FF2B5EF4-FFF2-40B4-BE49-F238E27FC236}">
                <a16:creationId xmlns:a16="http://schemas.microsoft.com/office/drawing/2014/main" id="{9C900FC4-4CD3-BD1B-0660-76FFA323E390}"/>
              </a:ext>
            </a:extLst>
          </p:cNvPr>
          <p:cNvSpPr/>
          <p:nvPr/>
        </p:nvSpPr>
        <p:spPr>
          <a:xfrm flipH="1">
            <a:off x="3550539" y="2614534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2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7" name="稿定-9">
            <a:extLst>
              <a:ext uri="{FF2B5EF4-FFF2-40B4-BE49-F238E27FC236}">
                <a16:creationId xmlns:a16="http://schemas.microsoft.com/office/drawing/2014/main" id="{C8B05E1A-AAE0-A2E0-BA8F-9F32F8EDC942}"/>
              </a:ext>
            </a:extLst>
          </p:cNvPr>
          <p:cNvSpPr/>
          <p:nvPr/>
        </p:nvSpPr>
        <p:spPr>
          <a:xfrm flipH="1">
            <a:off x="8121573" y="2614534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4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8" name="稿定-9">
            <a:extLst>
              <a:ext uri="{FF2B5EF4-FFF2-40B4-BE49-F238E27FC236}">
                <a16:creationId xmlns:a16="http://schemas.microsoft.com/office/drawing/2014/main" id="{1D92574D-CDF5-F9D0-B4CD-A598AF6350AA}"/>
              </a:ext>
            </a:extLst>
          </p:cNvPr>
          <p:cNvSpPr/>
          <p:nvPr/>
        </p:nvSpPr>
        <p:spPr>
          <a:xfrm flipH="1">
            <a:off x="5839497" y="4566132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3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9" name="稿定-9">
            <a:extLst>
              <a:ext uri="{FF2B5EF4-FFF2-40B4-BE49-F238E27FC236}">
                <a16:creationId xmlns:a16="http://schemas.microsoft.com/office/drawing/2014/main" id="{F8987FBD-0101-6718-372F-89CE9D6ADC99}"/>
              </a:ext>
            </a:extLst>
          </p:cNvPr>
          <p:cNvSpPr/>
          <p:nvPr/>
        </p:nvSpPr>
        <p:spPr>
          <a:xfrm flipH="1">
            <a:off x="10407670" y="4578612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5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72830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F962D71A-B141-160F-729F-BA56C442F3CC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224EA71B-D54A-8D22-4EF7-977162B42016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F8F8E6F-A584-C87E-E672-028EA916CA33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6" name="gaoding-1">
            <a:extLst>
              <a:ext uri="{FF2B5EF4-FFF2-40B4-BE49-F238E27FC236}">
                <a16:creationId xmlns:a16="http://schemas.microsoft.com/office/drawing/2014/main" id="{5A50C15E-12C5-F6EA-907E-057C3DFA85B3}"/>
              </a:ext>
            </a:extLst>
          </p:cNvPr>
          <p:cNvSpPr/>
          <p:nvPr/>
        </p:nvSpPr>
        <p:spPr>
          <a:xfrm>
            <a:off x="820051" y="2426295"/>
            <a:ext cx="2076498" cy="3181204"/>
          </a:xfrm>
          <a:prstGeom prst="roundRect">
            <a:avLst>
              <a:gd name="adj" fmla="val 3187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7" name="gaoding-2">
            <a:extLst>
              <a:ext uri="{FF2B5EF4-FFF2-40B4-BE49-F238E27FC236}">
                <a16:creationId xmlns:a16="http://schemas.microsoft.com/office/drawing/2014/main" id="{67936899-E8DD-7B0D-4770-4B8B6E83C9FF}"/>
              </a:ext>
            </a:extLst>
          </p:cNvPr>
          <p:cNvSpPr/>
          <p:nvPr/>
        </p:nvSpPr>
        <p:spPr>
          <a:xfrm>
            <a:off x="2941001" y="2426295"/>
            <a:ext cx="2076498" cy="3181204"/>
          </a:xfrm>
          <a:prstGeom prst="roundRect">
            <a:avLst>
              <a:gd name="adj" fmla="val 3187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8" name="gaoding-3">
            <a:extLst>
              <a:ext uri="{FF2B5EF4-FFF2-40B4-BE49-F238E27FC236}">
                <a16:creationId xmlns:a16="http://schemas.microsoft.com/office/drawing/2014/main" id="{74F12952-6DD7-A669-3EAF-AB73A9CB5864}"/>
              </a:ext>
            </a:extLst>
          </p:cNvPr>
          <p:cNvSpPr/>
          <p:nvPr/>
        </p:nvSpPr>
        <p:spPr>
          <a:xfrm>
            <a:off x="5061951" y="2426295"/>
            <a:ext cx="2076498" cy="3181204"/>
          </a:xfrm>
          <a:prstGeom prst="roundRect">
            <a:avLst>
              <a:gd name="adj" fmla="val 3187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9" name="gaoding-4">
            <a:extLst>
              <a:ext uri="{FF2B5EF4-FFF2-40B4-BE49-F238E27FC236}">
                <a16:creationId xmlns:a16="http://schemas.microsoft.com/office/drawing/2014/main" id="{57962D64-7549-7701-9F31-EFFCB16896DC}"/>
              </a:ext>
            </a:extLst>
          </p:cNvPr>
          <p:cNvSpPr/>
          <p:nvPr/>
        </p:nvSpPr>
        <p:spPr>
          <a:xfrm>
            <a:off x="7182901" y="2426295"/>
            <a:ext cx="2076498" cy="3181204"/>
          </a:xfrm>
          <a:prstGeom prst="roundRect">
            <a:avLst>
              <a:gd name="adj" fmla="val 3187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10" name="gaoding-5">
            <a:extLst>
              <a:ext uri="{FF2B5EF4-FFF2-40B4-BE49-F238E27FC236}">
                <a16:creationId xmlns:a16="http://schemas.microsoft.com/office/drawing/2014/main" id="{D623DE65-2686-8787-DD4B-721165C510A5}"/>
              </a:ext>
            </a:extLst>
          </p:cNvPr>
          <p:cNvSpPr/>
          <p:nvPr/>
        </p:nvSpPr>
        <p:spPr>
          <a:xfrm>
            <a:off x="9303852" y="2426295"/>
            <a:ext cx="2076498" cy="3181204"/>
          </a:xfrm>
          <a:prstGeom prst="roundRect">
            <a:avLst>
              <a:gd name="adj" fmla="val 3187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11" name="gaoding-6">
            <a:extLst>
              <a:ext uri="{FF2B5EF4-FFF2-40B4-BE49-F238E27FC236}">
                <a16:creationId xmlns:a16="http://schemas.microsoft.com/office/drawing/2014/main" id="{56002C70-6C4D-0535-2D51-E142C1A555DF}"/>
              </a:ext>
            </a:extLst>
          </p:cNvPr>
          <p:cNvSpPr/>
          <p:nvPr/>
        </p:nvSpPr>
        <p:spPr>
          <a:xfrm>
            <a:off x="818392" y="1977198"/>
            <a:ext cx="2078996" cy="9649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21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2" name="gaoding-7">
            <a:extLst>
              <a:ext uri="{FF2B5EF4-FFF2-40B4-BE49-F238E27FC236}">
                <a16:creationId xmlns:a16="http://schemas.microsoft.com/office/drawing/2014/main" id="{1275B2B1-C5FC-2EC9-A8F0-510C7FE9EC8E}"/>
              </a:ext>
            </a:extLst>
          </p:cNvPr>
          <p:cNvSpPr/>
          <p:nvPr/>
        </p:nvSpPr>
        <p:spPr>
          <a:xfrm>
            <a:off x="2941015" y="1976149"/>
            <a:ext cx="2078996" cy="9649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21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3" name="gaoding-8">
            <a:extLst>
              <a:ext uri="{FF2B5EF4-FFF2-40B4-BE49-F238E27FC236}">
                <a16:creationId xmlns:a16="http://schemas.microsoft.com/office/drawing/2014/main" id="{CBC72C3A-37B4-2F14-4F70-295D20ACAB95}"/>
              </a:ext>
            </a:extLst>
          </p:cNvPr>
          <p:cNvSpPr/>
          <p:nvPr/>
        </p:nvSpPr>
        <p:spPr>
          <a:xfrm>
            <a:off x="5061965" y="1974624"/>
            <a:ext cx="2077359" cy="9664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3"/>
                </a:moveTo>
                <a:lnTo>
                  <a:pt x="21600" y="0"/>
                </a:lnTo>
                <a:lnTo>
                  <a:pt x="21600" y="21567"/>
                </a:lnTo>
                <a:lnTo>
                  <a:pt x="21" y="21600"/>
                </a:lnTo>
                <a:lnTo>
                  <a:pt x="0" y="33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4" name="gaoding-9">
            <a:extLst>
              <a:ext uri="{FF2B5EF4-FFF2-40B4-BE49-F238E27FC236}">
                <a16:creationId xmlns:a16="http://schemas.microsoft.com/office/drawing/2014/main" id="{9C48193B-4C0F-F2D6-4C20-DCCEB8AC47BB}"/>
              </a:ext>
            </a:extLst>
          </p:cNvPr>
          <p:cNvSpPr/>
          <p:nvPr/>
        </p:nvSpPr>
        <p:spPr>
          <a:xfrm>
            <a:off x="7182865" y="1974624"/>
            <a:ext cx="2077359" cy="9664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3"/>
                </a:moveTo>
                <a:lnTo>
                  <a:pt x="21600" y="0"/>
                </a:lnTo>
                <a:lnTo>
                  <a:pt x="21600" y="21567"/>
                </a:lnTo>
                <a:lnTo>
                  <a:pt x="21" y="21600"/>
                </a:lnTo>
                <a:lnTo>
                  <a:pt x="0" y="33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5" name="gaoding-10">
            <a:extLst>
              <a:ext uri="{FF2B5EF4-FFF2-40B4-BE49-F238E27FC236}">
                <a16:creationId xmlns:a16="http://schemas.microsoft.com/office/drawing/2014/main" id="{A53ED70A-6A04-6F66-DA47-59D66352CD43}"/>
              </a:ext>
            </a:extLst>
          </p:cNvPr>
          <p:cNvSpPr/>
          <p:nvPr/>
        </p:nvSpPr>
        <p:spPr>
          <a:xfrm>
            <a:off x="9305104" y="1793367"/>
            <a:ext cx="2075246" cy="13266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79" h="21412" extrusionOk="0">
                <a:moveTo>
                  <a:pt x="10687" y="1511"/>
                </a:moveTo>
                <a:lnTo>
                  <a:pt x="10678" y="2904"/>
                </a:lnTo>
                <a:lnTo>
                  <a:pt x="0" y="2927"/>
                </a:lnTo>
                <a:lnTo>
                  <a:pt x="7" y="18514"/>
                </a:lnTo>
                <a:lnTo>
                  <a:pt x="10713" y="18503"/>
                </a:lnTo>
                <a:lnTo>
                  <a:pt x="10721" y="19859"/>
                </a:lnTo>
                <a:cubicBezTo>
                  <a:pt x="10715" y="20461"/>
                  <a:pt x="10971" y="21011"/>
                  <a:pt x="11374" y="21267"/>
                </a:cubicBezTo>
                <a:cubicBezTo>
                  <a:pt x="11748" y="21504"/>
                  <a:pt x="12187" y="21447"/>
                  <a:pt x="12521" y="21118"/>
                </a:cubicBezTo>
                <a:lnTo>
                  <a:pt x="21172" y="11899"/>
                </a:lnTo>
                <a:cubicBezTo>
                  <a:pt x="21450" y="11578"/>
                  <a:pt x="21600" y="11099"/>
                  <a:pt x="21577" y="10607"/>
                </a:cubicBezTo>
                <a:cubicBezTo>
                  <a:pt x="21553" y="10122"/>
                  <a:pt x="21365" y="9679"/>
                  <a:pt x="21067" y="9408"/>
                </a:cubicBezTo>
                <a:lnTo>
                  <a:pt x="12486" y="286"/>
                </a:lnTo>
                <a:cubicBezTo>
                  <a:pt x="12104" y="-81"/>
                  <a:pt x="11594" y="-96"/>
                  <a:pt x="11200" y="248"/>
                </a:cubicBezTo>
                <a:cubicBezTo>
                  <a:pt x="10882" y="525"/>
                  <a:pt x="10689" y="1000"/>
                  <a:pt x="10687" y="1511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D1B61E48-D1B0-1E1D-C0D3-25820D75B324}"/>
              </a:ext>
            </a:extLst>
          </p:cNvPr>
          <p:cNvGrpSpPr/>
          <p:nvPr/>
        </p:nvGrpSpPr>
        <p:grpSpPr>
          <a:xfrm>
            <a:off x="932919" y="2195462"/>
            <a:ext cx="1849939" cy="2625183"/>
            <a:chOff x="906522" y="2195462"/>
            <a:chExt cx="1849939" cy="2625183"/>
          </a:xfrm>
        </p:grpSpPr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CF69DA5E-4DBB-10B0-6A54-6B785E2DBF71}"/>
                </a:ext>
              </a:extLst>
            </p:cNvPr>
            <p:cNvSpPr txBox="1"/>
            <p:nvPr/>
          </p:nvSpPr>
          <p:spPr>
            <a:xfrm>
              <a:off x="916850" y="2195462"/>
              <a:ext cx="18292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400" dirty="0">
                  <a:solidFill>
                    <a:schemeClr val="bg1"/>
                  </a:solidFill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1</a:t>
              </a:r>
              <a:endParaRPr lang="zh-CN" altLang="en-US" sz="2400" dirty="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34" name="稿定-9">
              <a:extLst>
                <a:ext uri="{FF2B5EF4-FFF2-40B4-BE49-F238E27FC236}">
                  <a16:creationId xmlns:a16="http://schemas.microsoft.com/office/drawing/2014/main" id="{6CC1B841-5689-E80D-9DBE-78F7C5842CD6}"/>
                </a:ext>
              </a:extLst>
            </p:cNvPr>
            <p:cNvSpPr/>
            <p:nvPr/>
          </p:nvSpPr>
          <p:spPr>
            <a:xfrm flipH="1">
              <a:off x="906522" y="3181220"/>
              <a:ext cx="1849939" cy="29444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2254F4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  <a:sym typeface="+mn-lt"/>
                </a:rPr>
                <a:t>设计师素材库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endParaRPr>
            </a:p>
          </p:txBody>
        </p:sp>
        <p:sp>
          <p:nvSpPr>
            <p:cNvPr id="35" name="稿定-31">
              <a:extLst>
                <a:ext uri="{FF2B5EF4-FFF2-40B4-BE49-F238E27FC236}">
                  <a16:creationId xmlns:a16="http://schemas.microsoft.com/office/drawing/2014/main" id="{EFD09141-9E4E-E7C4-9949-AF868188980C}"/>
                </a:ext>
              </a:extLst>
            </p:cNvPr>
            <p:cNvSpPr/>
            <p:nvPr/>
          </p:nvSpPr>
          <p:spPr>
            <a:xfrm flipH="1">
              <a:off x="998387" y="3553952"/>
              <a:ext cx="1673137" cy="126669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设计师素材库包含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owerPoint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Word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Excel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MP4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NG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等众多素材，分类规范查找方便，满足您工作中的任何需求。所有模板素材均可任意编辑，支持一键替换图片、更改文字内容</a:t>
              </a:r>
              <a:endPara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endParaRPr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EC740D0A-EBCD-A829-26FA-D513276C22E7}"/>
              </a:ext>
            </a:extLst>
          </p:cNvPr>
          <p:cNvGrpSpPr/>
          <p:nvPr/>
        </p:nvGrpSpPr>
        <p:grpSpPr>
          <a:xfrm>
            <a:off x="2997255" y="2195462"/>
            <a:ext cx="1849939" cy="2625183"/>
            <a:chOff x="2967394" y="2195462"/>
            <a:chExt cx="1849939" cy="2625183"/>
          </a:xfrm>
        </p:grpSpPr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4D19F6B9-FD77-4055-B30A-CB2BBD3D0797}"/>
                </a:ext>
              </a:extLst>
            </p:cNvPr>
            <p:cNvSpPr txBox="1"/>
            <p:nvPr/>
          </p:nvSpPr>
          <p:spPr>
            <a:xfrm>
              <a:off x="2977722" y="2195462"/>
              <a:ext cx="18292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400" dirty="0">
                  <a:solidFill>
                    <a:schemeClr val="bg1"/>
                  </a:solidFill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2</a:t>
              </a:r>
              <a:endParaRPr lang="zh-CN" altLang="en-US" sz="2400" dirty="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38" name="稿定-9">
              <a:extLst>
                <a:ext uri="{FF2B5EF4-FFF2-40B4-BE49-F238E27FC236}">
                  <a16:creationId xmlns:a16="http://schemas.microsoft.com/office/drawing/2014/main" id="{F8151213-F4C8-864B-3C70-6613CB477FFE}"/>
                </a:ext>
              </a:extLst>
            </p:cNvPr>
            <p:cNvSpPr/>
            <p:nvPr/>
          </p:nvSpPr>
          <p:spPr>
            <a:xfrm flipH="1">
              <a:off x="2967394" y="3181220"/>
              <a:ext cx="1849939" cy="29444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2254F4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  <a:sym typeface="+mn-lt"/>
                </a:rPr>
                <a:t>设计师素材库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endParaRPr>
            </a:p>
          </p:txBody>
        </p:sp>
        <p:sp>
          <p:nvSpPr>
            <p:cNvPr id="39" name="稿定-31">
              <a:extLst>
                <a:ext uri="{FF2B5EF4-FFF2-40B4-BE49-F238E27FC236}">
                  <a16:creationId xmlns:a16="http://schemas.microsoft.com/office/drawing/2014/main" id="{A02A56B1-0DB7-A322-C65D-53B88ECDE662}"/>
                </a:ext>
              </a:extLst>
            </p:cNvPr>
            <p:cNvSpPr/>
            <p:nvPr/>
          </p:nvSpPr>
          <p:spPr>
            <a:xfrm flipH="1">
              <a:off x="3059259" y="3553952"/>
              <a:ext cx="1673137" cy="126669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设计师素材库包含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owerPoint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Word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Excel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MP4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NG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等众多素材，分类规范查找方便，满足您工作中的任何需求。所有模板素材均可任意编辑，支持一键替换图片、更改文字内容</a:t>
              </a:r>
              <a:endPara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endParaRPr>
            </a:p>
          </p:txBody>
        </p:sp>
      </p:grp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2EDA4B2F-9CB6-4401-5812-7A44D1926089}"/>
              </a:ext>
            </a:extLst>
          </p:cNvPr>
          <p:cNvGrpSpPr/>
          <p:nvPr/>
        </p:nvGrpSpPr>
        <p:grpSpPr>
          <a:xfrm>
            <a:off x="5181724" y="2195462"/>
            <a:ext cx="1849939" cy="2625183"/>
            <a:chOff x="906522" y="2195462"/>
            <a:chExt cx="1849939" cy="2625183"/>
          </a:xfrm>
        </p:grpSpPr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281FED20-D54D-3443-57B4-F37BEF8D33FC}"/>
                </a:ext>
              </a:extLst>
            </p:cNvPr>
            <p:cNvSpPr txBox="1"/>
            <p:nvPr/>
          </p:nvSpPr>
          <p:spPr>
            <a:xfrm>
              <a:off x="916850" y="2195462"/>
              <a:ext cx="18292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400" dirty="0">
                  <a:solidFill>
                    <a:schemeClr val="bg1"/>
                  </a:solidFill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3</a:t>
              </a:r>
              <a:endParaRPr lang="zh-CN" altLang="en-US" sz="2400" dirty="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44" name="稿定-9">
              <a:extLst>
                <a:ext uri="{FF2B5EF4-FFF2-40B4-BE49-F238E27FC236}">
                  <a16:creationId xmlns:a16="http://schemas.microsoft.com/office/drawing/2014/main" id="{7F0E8311-8680-21D7-D08D-05F27829ABF1}"/>
                </a:ext>
              </a:extLst>
            </p:cNvPr>
            <p:cNvSpPr/>
            <p:nvPr/>
          </p:nvSpPr>
          <p:spPr>
            <a:xfrm flipH="1">
              <a:off x="906522" y="3181220"/>
              <a:ext cx="1849939" cy="29444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2254F4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  <a:sym typeface="+mn-lt"/>
                </a:rPr>
                <a:t>设计师素材库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endParaRPr>
            </a:p>
          </p:txBody>
        </p:sp>
        <p:sp>
          <p:nvSpPr>
            <p:cNvPr id="45" name="稿定-31">
              <a:extLst>
                <a:ext uri="{FF2B5EF4-FFF2-40B4-BE49-F238E27FC236}">
                  <a16:creationId xmlns:a16="http://schemas.microsoft.com/office/drawing/2014/main" id="{B3BF7B66-9341-8033-342B-9C4084D1FD4C}"/>
                </a:ext>
              </a:extLst>
            </p:cNvPr>
            <p:cNvSpPr/>
            <p:nvPr/>
          </p:nvSpPr>
          <p:spPr>
            <a:xfrm flipH="1">
              <a:off x="998387" y="3553952"/>
              <a:ext cx="1673137" cy="126669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设计师素材库包含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owerPoint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Word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Excel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MP4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NG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等众多素材，分类规范查找方便，满足您工作中的任何需求。所有模板素材均可任意编辑，支持一键替换图片、更改文字内容</a:t>
              </a:r>
              <a:endPara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endParaRP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E9F9AD8A-9E86-7C91-27FA-36889BB58371}"/>
              </a:ext>
            </a:extLst>
          </p:cNvPr>
          <p:cNvGrpSpPr/>
          <p:nvPr/>
        </p:nvGrpSpPr>
        <p:grpSpPr>
          <a:xfrm>
            <a:off x="7246060" y="2195462"/>
            <a:ext cx="1849939" cy="2625183"/>
            <a:chOff x="2967394" y="2195462"/>
            <a:chExt cx="1849939" cy="2625183"/>
          </a:xfrm>
        </p:grpSpPr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A315220B-E1AA-B225-4B60-D7CAE4166245}"/>
                </a:ext>
              </a:extLst>
            </p:cNvPr>
            <p:cNvSpPr txBox="1"/>
            <p:nvPr/>
          </p:nvSpPr>
          <p:spPr>
            <a:xfrm>
              <a:off x="2977722" y="2195462"/>
              <a:ext cx="18292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400" dirty="0">
                  <a:solidFill>
                    <a:schemeClr val="bg1"/>
                  </a:solidFill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4</a:t>
              </a:r>
              <a:endParaRPr lang="zh-CN" altLang="en-US" sz="2400" dirty="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48" name="稿定-9">
              <a:extLst>
                <a:ext uri="{FF2B5EF4-FFF2-40B4-BE49-F238E27FC236}">
                  <a16:creationId xmlns:a16="http://schemas.microsoft.com/office/drawing/2014/main" id="{88B75793-687F-3311-ABEB-B0685951F83B}"/>
                </a:ext>
              </a:extLst>
            </p:cNvPr>
            <p:cNvSpPr/>
            <p:nvPr/>
          </p:nvSpPr>
          <p:spPr>
            <a:xfrm flipH="1">
              <a:off x="2967394" y="3181220"/>
              <a:ext cx="1849939" cy="29444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2254F4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  <a:sym typeface="+mn-lt"/>
                </a:rPr>
                <a:t>设计师素材库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endParaRPr>
            </a:p>
          </p:txBody>
        </p:sp>
        <p:sp>
          <p:nvSpPr>
            <p:cNvPr id="49" name="稿定-31">
              <a:extLst>
                <a:ext uri="{FF2B5EF4-FFF2-40B4-BE49-F238E27FC236}">
                  <a16:creationId xmlns:a16="http://schemas.microsoft.com/office/drawing/2014/main" id="{220A4E59-7CF4-0A79-91D6-DE40C7DC5B72}"/>
                </a:ext>
              </a:extLst>
            </p:cNvPr>
            <p:cNvSpPr/>
            <p:nvPr/>
          </p:nvSpPr>
          <p:spPr>
            <a:xfrm flipH="1">
              <a:off x="3059259" y="3553952"/>
              <a:ext cx="1673137" cy="126669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设计师素材库包含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owerPoint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Word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Excel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MP4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NG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等众多素材，分类规范查找方便，满足您工作中的任何需求。所有模板素材均可任意编辑，支持一键替换图片、更改文字内容</a:t>
              </a:r>
              <a:endPara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endParaRPr>
            </a:p>
          </p:txBody>
        </p:sp>
      </p:grp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85B43B6E-4D99-ADB6-9576-4F4C0B9ACC33}"/>
              </a:ext>
            </a:extLst>
          </p:cNvPr>
          <p:cNvGrpSpPr/>
          <p:nvPr/>
        </p:nvGrpSpPr>
        <p:grpSpPr>
          <a:xfrm>
            <a:off x="9451608" y="2195462"/>
            <a:ext cx="1849939" cy="2625183"/>
            <a:chOff x="2967394" y="2195462"/>
            <a:chExt cx="1849939" cy="2625183"/>
          </a:xfrm>
        </p:grpSpPr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BC13E198-4F3B-2A7A-6E87-71E1A48C3B37}"/>
                </a:ext>
              </a:extLst>
            </p:cNvPr>
            <p:cNvSpPr txBox="1"/>
            <p:nvPr/>
          </p:nvSpPr>
          <p:spPr>
            <a:xfrm>
              <a:off x="2977722" y="2195462"/>
              <a:ext cx="18292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400" dirty="0">
                  <a:solidFill>
                    <a:schemeClr val="bg1"/>
                  </a:solidFill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</a:rPr>
                <a:t>05</a:t>
              </a:r>
              <a:endParaRPr lang="zh-CN" altLang="en-US" sz="2400" dirty="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endParaRPr>
            </a:p>
          </p:txBody>
        </p:sp>
        <p:sp>
          <p:nvSpPr>
            <p:cNvPr id="52" name="稿定-9">
              <a:extLst>
                <a:ext uri="{FF2B5EF4-FFF2-40B4-BE49-F238E27FC236}">
                  <a16:creationId xmlns:a16="http://schemas.microsoft.com/office/drawing/2014/main" id="{F75AC460-2AA9-8E3D-6658-72AA57D1C364}"/>
                </a:ext>
              </a:extLst>
            </p:cNvPr>
            <p:cNvSpPr/>
            <p:nvPr/>
          </p:nvSpPr>
          <p:spPr>
            <a:xfrm flipH="1">
              <a:off x="2967394" y="3181220"/>
              <a:ext cx="1849939" cy="29444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2254F4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  <a:sym typeface="+mn-lt"/>
                </a:rPr>
                <a:t>设计师素材库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endParaRPr>
            </a:p>
          </p:txBody>
        </p:sp>
        <p:sp>
          <p:nvSpPr>
            <p:cNvPr id="53" name="稿定-31">
              <a:extLst>
                <a:ext uri="{FF2B5EF4-FFF2-40B4-BE49-F238E27FC236}">
                  <a16:creationId xmlns:a16="http://schemas.microsoft.com/office/drawing/2014/main" id="{30150490-1C74-D797-877C-354D1FED819F}"/>
                </a:ext>
              </a:extLst>
            </p:cNvPr>
            <p:cNvSpPr/>
            <p:nvPr/>
          </p:nvSpPr>
          <p:spPr>
            <a:xfrm flipH="1">
              <a:off x="3059259" y="3553952"/>
              <a:ext cx="1673137" cy="126669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设计师素材库包含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owerPoint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Word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Excel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MP4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、</a:t>
              </a:r>
              <a:r>
                <a:rPr kumimoji="0" lang="en-US" altLang="zh-CN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PNG</a:t>
              </a:r>
              <a:r>
                <a:rPr kumimoji="0" lang="zh-CN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等众多素材，分类规范查找方便，满足您工作中的任何需求。所有模板素材均可任意编辑，支持一键替换图片、更改文字内容</a:t>
              </a:r>
              <a:endPara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199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Line">
            <a:extLst>
              <a:ext uri="{FF2B5EF4-FFF2-40B4-BE49-F238E27FC236}">
                <a16:creationId xmlns:a16="http://schemas.microsoft.com/office/drawing/2014/main" id="{195FFBCE-C26B-612D-99D4-C8BAD1C3407D}"/>
              </a:ext>
            </a:extLst>
          </p:cNvPr>
          <p:cNvSpPr/>
          <p:nvPr/>
        </p:nvSpPr>
        <p:spPr>
          <a:xfrm>
            <a:off x="10298601" y="2861535"/>
            <a:ext cx="0" cy="2178423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5" name="稿定-9">
            <a:extLst>
              <a:ext uri="{FF2B5EF4-FFF2-40B4-BE49-F238E27FC236}">
                <a16:creationId xmlns:a16="http://schemas.microsoft.com/office/drawing/2014/main" id="{D631E3AD-43D9-A9C1-81D7-B2AA99C8A4B4}"/>
              </a:ext>
            </a:extLst>
          </p:cNvPr>
          <p:cNvSpPr/>
          <p:nvPr/>
        </p:nvSpPr>
        <p:spPr>
          <a:xfrm flipH="1">
            <a:off x="10282465" y="278378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6" name="稿定-31">
            <a:extLst>
              <a:ext uri="{FF2B5EF4-FFF2-40B4-BE49-F238E27FC236}">
                <a16:creationId xmlns:a16="http://schemas.microsoft.com/office/drawing/2014/main" id="{C9662380-3A4A-6FC0-707E-EBFA8093D2A6}"/>
              </a:ext>
            </a:extLst>
          </p:cNvPr>
          <p:cNvSpPr/>
          <p:nvPr/>
        </p:nvSpPr>
        <p:spPr>
          <a:xfrm flipH="1">
            <a:off x="10359092" y="3015194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7" name="稿定-9">
            <a:extLst>
              <a:ext uri="{FF2B5EF4-FFF2-40B4-BE49-F238E27FC236}">
                <a16:creationId xmlns:a16="http://schemas.microsoft.com/office/drawing/2014/main" id="{2760631E-81C8-BCD5-ADFF-AD07F6046575}"/>
              </a:ext>
            </a:extLst>
          </p:cNvPr>
          <p:cNvSpPr/>
          <p:nvPr/>
        </p:nvSpPr>
        <p:spPr>
          <a:xfrm flipH="1">
            <a:off x="10282465" y="428447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8" name="稿定-31">
            <a:extLst>
              <a:ext uri="{FF2B5EF4-FFF2-40B4-BE49-F238E27FC236}">
                <a16:creationId xmlns:a16="http://schemas.microsoft.com/office/drawing/2014/main" id="{6CAB65C4-C00A-E339-9E0E-75562F12F545}"/>
              </a:ext>
            </a:extLst>
          </p:cNvPr>
          <p:cNvSpPr/>
          <p:nvPr/>
        </p:nvSpPr>
        <p:spPr>
          <a:xfrm flipH="1">
            <a:off x="10359092" y="4515887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9" name="Line">
            <a:extLst>
              <a:ext uri="{FF2B5EF4-FFF2-40B4-BE49-F238E27FC236}">
                <a16:creationId xmlns:a16="http://schemas.microsoft.com/office/drawing/2014/main" id="{D4D3CF06-C54B-C55C-8A2A-E72B9C580FA1}"/>
              </a:ext>
            </a:extLst>
          </p:cNvPr>
          <p:cNvSpPr/>
          <p:nvPr/>
        </p:nvSpPr>
        <p:spPr>
          <a:xfrm>
            <a:off x="7921161" y="2861535"/>
            <a:ext cx="0" cy="2178423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0" name="稿定-9">
            <a:extLst>
              <a:ext uri="{FF2B5EF4-FFF2-40B4-BE49-F238E27FC236}">
                <a16:creationId xmlns:a16="http://schemas.microsoft.com/office/drawing/2014/main" id="{2BF5CCA1-EDA1-8740-32DD-1718D0CA88E4}"/>
              </a:ext>
            </a:extLst>
          </p:cNvPr>
          <p:cNvSpPr/>
          <p:nvPr/>
        </p:nvSpPr>
        <p:spPr>
          <a:xfrm flipH="1">
            <a:off x="7905025" y="278378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1" name="稿定-31">
            <a:extLst>
              <a:ext uri="{FF2B5EF4-FFF2-40B4-BE49-F238E27FC236}">
                <a16:creationId xmlns:a16="http://schemas.microsoft.com/office/drawing/2014/main" id="{39140EE0-04CE-CD52-FCC0-14B1B8836144}"/>
              </a:ext>
            </a:extLst>
          </p:cNvPr>
          <p:cNvSpPr/>
          <p:nvPr/>
        </p:nvSpPr>
        <p:spPr>
          <a:xfrm flipH="1">
            <a:off x="7981652" y="3015194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2" name="稿定-9">
            <a:extLst>
              <a:ext uri="{FF2B5EF4-FFF2-40B4-BE49-F238E27FC236}">
                <a16:creationId xmlns:a16="http://schemas.microsoft.com/office/drawing/2014/main" id="{43EA6EA8-2433-DDF3-9AED-2D564BA42059}"/>
              </a:ext>
            </a:extLst>
          </p:cNvPr>
          <p:cNvSpPr/>
          <p:nvPr/>
        </p:nvSpPr>
        <p:spPr>
          <a:xfrm flipH="1">
            <a:off x="7905025" y="428447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3" name="稿定-31">
            <a:extLst>
              <a:ext uri="{FF2B5EF4-FFF2-40B4-BE49-F238E27FC236}">
                <a16:creationId xmlns:a16="http://schemas.microsoft.com/office/drawing/2014/main" id="{B7AAD7EE-3904-C5B5-19C4-505D1974EE58}"/>
              </a:ext>
            </a:extLst>
          </p:cNvPr>
          <p:cNvSpPr/>
          <p:nvPr/>
        </p:nvSpPr>
        <p:spPr>
          <a:xfrm flipH="1">
            <a:off x="7981652" y="4515887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4" name="Line">
            <a:extLst>
              <a:ext uri="{FF2B5EF4-FFF2-40B4-BE49-F238E27FC236}">
                <a16:creationId xmlns:a16="http://schemas.microsoft.com/office/drawing/2014/main" id="{7A829F89-ECE3-2444-02C5-09CD9D0ED2CE}"/>
              </a:ext>
            </a:extLst>
          </p:cNvPr>
          <p:cNvSpPr/>
          <p:nvPr/>
        </p:nvSpPr>
        <p:spPr>
          <a:xfrm>
            <a:off x="5559857" y="2861535"/>
            <a:ext cx="0" cy="2178423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5" name="稿定-9">
            <a:extLst>
              <a:ext uri="{FF2B5EF4-FFF2-40B4-BE49-F238E27FC236}">
                <a16:creationId xmlns:a16="http://schemas.microsoft.com/office/drawing/2014/main" id="{736263AB-70A3-CB4C-7F08-29DB5E745F49}"/>
              </a:ext>
            </a:extLst>
          </p:cNvPr>
          <p:cNvSpPr/>
          <p:nvPr/>
        </p:nvSpPr>
        <p:spPr>
          <a:xfrm flipH="1">
            <a:off x="5543721" y="278378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6" name="稿定-31">
            <a:extLst>
              <a:ext uri="{FF2B5EF4-FFF2-40B4-BE49-F238E27FC236}">
                <a16:creationId xmlns:a16="http://schemas.microsoft.com/office/drawing/2014/main" id="{2AC2E479-BE45-0CF7-016E-F555576EA3B3}"/>
              </a:ext>
            </a:extLst>
          </p:cNvPr>
          <p:cNvSpPr/>
          <p:nvPr/>
        </p:nvSpPr>
        <p:spPr>
          <a:xfrm flipH="1">
            <a:off x="5620348" y="3015194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7" name="稿定-9">
            <a:extLst>
              <a:ext uri="{FF2B5EF4-FFF2-40B4-BE49-F238E27FC236}">
                <a16:creationId xmlns:a16="http://schemas.microsoft.com/office/drawing/2014/main" id="{C546B646-B0D8-5DE1-A323-046394C70DC4}"/>
              </a:ext>
            </a:extLst>
          </p:cNvPr>
          <p:cNvSpPr/>
          <p:nvPr/>
        </p:nvSpPr>
        <p:spPr>
          <a:xfrm flipH="1">
            <a:off x="5543721" y="428447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8" name="稿定-31">
            <a:extLst>
              <a:ext uri="{FF2B5EF4-FFF2-40B4-BE49-F238E27FC236}">
                <a16:creationId xmlns:a16="http://schemas.microsoft.com/office/drawing/2014/main" id="{E91F7855-9798-6FF9-D51E-19205D31E1A9}"/>
              </a:ext>
            </a:extLst>
          </p:cNvPr>
          <p:cNvSpPr/>
          <p:nvPr/>
        </p:nvSpPr>
        <p:spPr>
          <a:xfrm flipH="1">
            <a:off x="5620348" y="4515887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9" name="Line">
            <a:extLst>
              <a:ext uri="{FF2B5EF4-FFF2-40B4-BE49-F238E27FC236}">
                <a16:creationId xmlns:a16="http://schemas.microsoft.com/office/drawing/2014/main" id="{DED1596C-14D1-CCBA-192B-2CDC744694DA}"/>
              </a:ext>
            </a:extLst>
          </p:cNvPr>
          <p:cNvSpPr/>
          <p:nvPr/>
        </p:nvSpPr>
        <p:spPr>
          <a:xfrm>
            <a:off x="3160901" y="2861535"/>
            <a:ext cx="0" cy="2178423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0" name="稿定-9">
            <a:extLst>
              <a:ext uri="{FF2B5EF4-FFF2-40B4-BE49-F238E27FC236}">
                <a16:creationId xmlns:a16="http://schemas.microsoft.com/office/drawing/2014/main" id="{2E1A3422-97C1-6314-FC1F-3A9EA5ADEC1F}"/>
              </a:ext>
            </a:extLst>
          </p:cNvPr>
          <p:cNvSpPr/>
          <p:nvPr/>
        </p:nvSpPr>
        <p:spPr>
          <a:xfrm flipH="1">
            <a:off x="3144765" y="278378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1" name="稿定-31">
            <a:extLst>
              <a:ext uri="{FF2B5EF4-FFF2-40B4-BE49-F238E27FC236}">
                <a16:creationId xmlns:a16="http://schemas.microsoft.com/office/drawing/2014/main" id="{BB5F41C9-4049-6A49-B6C1-5E3F6E88564D}"/>
              </a:ext>
            </a:extLst>
          </p:cNvPr>
          <p:cNvSpPr/>
          <p:nvPr/>
        </p:nvSpPr>
        <p:spPr>
          <a:xfrm flipH="1">
            <a:off x="3221392" y="3015194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2" name="稿定-9">
            <a:extLst>
              <a:ext uri="{FF2B5EF4-FFF2-40B4-BE49-F238E27FC236}">
                <a16:creationId xmlns:a16="http://schemas.microsoft.com/office/drawing/2014/main" id="{1851725B-C0DC-EE82-B638-E81E9B75DD32}"/>
              </a:ext>
            </a:extLst>
          </p:cNvPr>
          <p:cNvSpPr/>
          <p:nvPr/>
        </p:nvSpPr>
        <p:spPr>
          <a:xfrm flipH="1">
            <a:off x="3144765" y="428447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3" name="稿定-31">
            <a:extLst>
              <a:ext uri="{FF2B5EF4-FFF2-40B4-BE49-F238E27FC236}">
                <a16:creationId xmlns:a16="http://schemas.microsoft.com/office/drawing/2014/main" id="{E292C372-E658-B107-9220-BA0A08614974}"/>
              </a:ext>
            </a:extLst>
          </p:cNvPr>
          <p:cNvSpPr/>
          <p:nvPr/>
        </p:nvSpPr>
        <p:spPr>
          <a:xfrm flipH="1">
            <a:off x="3221392" y="4515887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3" name="Line">
            <a:extLst>
              <a:ext uri="{FF2B5EF4-FFF2-40B4-BE49-F238E27FC236}">
                <a16:creationId xmlns:a16="http://schemas.microsoft.com/office/drawing/2014/main" id="{D45DD77E-C03B-1D29-3E92-29C47D0C91C1}"/>
              </a:ext>
            </a:extLst>
          </p:cNvPr>
          <p:cNvSpPr/>
          <p:nvPr/>
        </p:nvSpPr>
        <p:spPr>
          <a:xfrm>
            <a:off x="756567" y="2861535"/>
            <a:ext cx="0" cy="2178423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4" name="稿定-9">
            <a:extLst>
              <a:ext uri="{FF2B5EF4-FFF2-40B4-BE49-F238E27FC236}">
                <a16:creationId xmlns:a16="http://schemas.microsoft.com/office/drawing/2014/main" id="{4A08EFD2-7E59-5021-1E6E-0D10EF2F6276}"/>
              </a:ext>
            </a:extLst>
          </p:cNvPr>
          <p:cNvSpPr/>
          <p:nvPr/>
        </p:nvSpPr>
        <p:spPr>
          <a:xfrm flipH="1">
            <a:off x="740431" y="278378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5" name="稿定-31">
            <a:extLst>
              <a:ext uri="{FF2B5EF4-FFF2-40B4-BE49-F238E27FC236}">
                <a16:creationId xmlns:a16="http://schemas.microsoft.com/office/drawing/2014/main" id="{47FAFD13-7724-6C3C-DE0D-BB1D7CCD74B4}"/>
              </a:ext>
            </a:extLst>
          </p:cNvPr>
          <p:cNvSpPr/>
          <p:nvPr/>
        </p:nvSpPr>
        <p:spPr>
          <a:xfrm flipH="1">
            <a:off x="817058" y="3015194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4129CAF-6ECD-CA0F-A10A-164C7994F369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70993777-F935-27A6-3FD6-7E7CEB1CD4F1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6D51DF5-4E67-A8FA-08E5-5F617B196874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260A307-F0E5-A3D7-716B-16E1A4D26639}"/>
              </a:ext>
            </a:extLst>
          </p:cNvPr>
          <p:cNvSpPr>
            <a:spLocks/>
          </p:cNvSpPr>
          <p:nvPr/>
        </p:nvSpPr>
        <p:spPr>
          <a:xfrm>
            <a:off x="0" y="3829628"/>
            <a:ext cx="12192000" cy="2343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07876A04-C130-1752-2E10-ADDD9538C424}"/>
              </a:ext>
            </a:extLst>
          </p:cNvPr>
          <p:cNvCxnSpPr>
            <a:cxnSpLocks/>
          </p:cNvCxnSpPr>
          <p:nvPr/>
        </p:nvCxnSpPr>
        <p:spPr>
          <a:xfrm>
            <a:off x="-9645" y="3946801"/>
            <a:ext cx="12211291" cy="0"/>
          </a:xfrm>
          <a:prstGeom prst="line">
            <a:avLst/>
          </a:prstGeom>
          <a:ln w="381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CB173C0B-A60A-B5E2-A940-C5C1F50763CC}"/>
              </a:ext>
            </a:extLst>
          </p:cNvPr>
          <p:cNvSpPr/>
          <p:nvPr/>
        </p:nvSpPr>
        <p:spPr>
          <a:xfrm>
            <a:off x="591010" y="3694224"/>
            <a:ext cx="1536848" cy="50514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6F6551DC-4729-C4E6-D148-7C663AE0B1EC}"/>
              </a:ext>
            </a:extLst>
          </p:cNvPr>
          <p:cNvSpPr/>
          <p:nvPr/>
        </p:nvSpPr>
        <p:spPr>
          <a:xfrm>
            <a:off x="644525" y="3740848"/>
            <a:ext cx="1429818" cy="41190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03AC6F24-739E-39A3-4654-9C9B3407DA6D}"/>
              </a:ext>
            </a:extLst>
          </p:cNvPr>
          <p:cNvSpPr/>
          <p:nvPr/>
        </p:nvSpPr>
        <p:spPr>
          <a:xfrm>
            <a:off x="2959293" y="3694224"/>
            <a:ext cx="1536848" cy="50514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C8BF1A08-06DF-FE90-C545-FF10BA851143}"/>
              </a:ext>
            </a:extLst>
          </p:cNvPr>
          <p:cNvSpPr/>
          <p:nvPr/>
        </p:nvSpPr>
        <p:spPr>
          <a:xfrm>
            <a:off x="3012808" y="3740848"/>
            <a:ext cx="1429818" cy="41190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3AC66AEA-43CE-BA30-9CA9-E638A702C427}"/>
              </a:ext>
            </a:extLst>
          </p:cNvPr>
          <p:cNvSpPr/>
          <p:nvPr/>
        </p:nvSpPr>
        <p:spPr>
          <a:xfrm>
            <a:off x="5327576" y="3694224"/>
            <a:ext cx="1536848" cy="50514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23C45177-08B4-993F-987E-EA2D657EA73D}"/>
              </a:ext>
            </a:extLst>
          </p:cNvPr>
          <p:cNvSpPr/>
          <p:nvPr/>
        </p:nvSpPr>
        <p:spPr>
          <a:xfrm>
            <a:off x="5381091" y="3740848"/>
            <a:ext cx="1429818" cy="41190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E53041E0-E997-EDCA-947E-DCBA4A9702EE}"/>
              </a:ext>
            </a:extLst>
          </p:cNvPr>
          <p:cNvSpPr/>
          <p:nvPr/>
        </p:nvSpPr>
        <p:spPr>
          <a:xfrm>
            <a:off x="7695859" y="3694224"/>
            <a:ext cx="1536848" cy="50514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43A273F2-302A-CEF4-3900-A14768FC5976}"/>
              </a:ext>
            </a:extLst>
          </p:cNvPr>
          <p:cNvSpPr/>
          <p:nvPr/>
        </p:nvSpPr>
        <p:spPr>
          <a:xfrm>
            <a:off x="7749374" y="3740848"/>
            <a:ext cx="1429818" cy="41190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A9EDAA93-7F6A-959B-1129-EB5B7FD063C3}"/>
              </a:ext>
            </a:extLst>
          </p:cNvPr>
          <p:cNvSpPr/>
          <p:nvPr/>
        </p:nvSpPr>
        <p:spPr>
          <a:xfrm>
            <a:off x="10064142" y="3694224"/>
            <a:ext cx="1536848" cy="50514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B00CD755-3280-8D4E-C410-A9F7547E1923}"/>
              </a:ext>
            </a:extLst>
          </p:cNvPr>
          <p:cNvSpPr/>
          <p:nvPr/>
        </p:nvSpPr>
        <p:spPr>
          <a:xfrm>
            <a:off x="10117657" y="3740848"/>
            <a:ext cx="1429818" cy="41190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6" name="稿定-9">
            <a:extLst>
              <a:ext uri="{FF2B5EF4-FFF2-40B4-BE49-F238E27FC236}">
                <a16:creationId xmlns:a16="http://schemas.microsoft.com/office/drawing/2014/main" id="{3433E6AB-1A1D-8AA6-9921-A5F70BB95D1D}"/>
              </a:ext>
            </a:extLst>
          </p:cNvPr>
          <p:cNvSpPr/>
          <p:nvPr/>
        </p:nvSpPr>
        <p:spPr>
          <a:xfrm flipH="1">
            <a:off x="436230" y="376231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19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7" name="稿定-9">
            <a:extLst>
              <a:ext uri="{FF2B5EF4-FFF2-40B4-BE49-F238E27FC236}">
                <a16:creationId xmlns:a16="http://schemas.microsoft.com/office/drawing/2014/main" id="{7BBE18F6-DB9D-789E-A01E-9A57AC1062DA}"/>
              </a:ext>
            </a:extLst>
          </p:cNvPr>
          <p:cNvSpPr/>
          <p:nvPr/>
        </p:nvSpPr>
        <p:spPr>
          <a:xfrm flipH="1">
            <a:off x="740431" y="428447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8" name="稿定-31">
            <a:extLst>
              <a:ext uri="{FF2B5EF4-FFF2-40B4-BE49-F238E27FC236}">
                <a16:creationId xmlns:a16="http://schemas.microsoft.com/office/drawing/2014/main" id="{F1A4D117-6022-D2FC-B906-B5A24D90226D}"/>
              </a:ext>
            </a:extLst>
          </p:cNvPr>
          <p:cNvSpPr/>
          <p:nvPr/>
        </p:nvSpPr>
        <p:spPr>
          <a:xfrm flipH="1">
            <a:off x="817058" y="4515887"/>
            <a:ext cx="1189244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9" name="稿定-9">
            <a:extLst>
              <a:ext uri="{FF2B5EF4-FFF2-40B4-BE49-F238E27FC236}">
                <a16:creationId xmlns:a16="http://schemas.microsoft.com/office/drawing/2014/main" id="{0E5E0E28-A1E7-F37D-AAF5-EF73A8216AEB}"/>
              </a:ext>
            </a:extLst>
          </p:cNvPr>
          <p:cNvSpPr/>
          <p:nvPr/>
        </p:nvSpPr>
        <p:spPr>
          <a:xfrm flipH="1">
            <a:off x="2790547" y="376231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0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0" name="稿定-9">
            <a:extLst>
              <a:ext uri="{FF2B5EF4-FFF2-40B4-BE49-F238E27FC236}">
                <a16:creationId xmlns:a16="http://schemas.microsoft.com/office/drawing/2014/main" id="{19251BBF-A4E3-439D-DF63-CB9D42E745F8}"/>
              </a:ext>
            </a:extLst>
          </p:cNvPr>
          <p:cNvSpPr/>
          <p:nvPr/>
        </p:nvSpPr>
        <p:spPr>
          <a:xfrm flipH="1">
            <a:off x="5176395" y="376231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1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1" name="稿定-9">
            <a:extLst>
              <a:ext uri="{FF2B5EF4-FFF2-40B4-BE49-F238E27FC236}">
                <a16:creationId xmlns:a16="http://schemas.microsoft.com/office/drawing/2014/main" id="{0B554A9C-AEC0-F2C8-BA85-C2B79CE86FAE}"/>
              </a:ext>
            </a:extLst>
          </p:cNvPr>
          <p:cNvSpPr/>
          <p:nvPr/>
        </p:nvSpPr>
        <p:spPr>
          <a:xfrm flipH="1">
            <a:off x="7614795" y="376231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2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2" name="稿定-9">
            <a:extLst>
              <a:ext uri="{FF2B5EF4-FFF2-40B4-BE49-F238E27FC236}">
                <a16:creationId xmlns:a16="http://schemas.microsoft.com/office/drawing/2014/main" id="{6627D7C8-9007-3D69-57B1-8B7EC2A528FC}"/>
              </a:ext>
            </a:extLst>
          </p:cNvPr>
          <p:cNvSpPr/>
          <p:nvPr/>
        </p:nvSpPr>
        <p:spPr>
          <a:xfrm flipH="1">
            <a:off x="9927071" y="376231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3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591021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>
            <a:extLst>
              <a:ext uri="{FF2B5EF4-FFF2-40B4-BE49-F238E27FC236}">
                <a16:creationId xmlns:a16="http://schemas.microsoft.com/office/drawing/2014/main" id="{17544B0F-D563-B451-10C9-BD8327D70491}"/>
              </a:ext>
            </a:extLst>
          </p:cNvPr>
          <p:cNvSpPr/>
          <p:nvPr/>
        </p:nvSpPr>
        <p:spPr>
          <a:xfrm>
            <a:off x="1683440" y="2190305"/>
            <a:ext cx="942774" cy="942772"/>
          </a:xfrm>
          <a:prstGeom prst="ellipse">
            <a:avLst/>
          </a:prstGeom>
          <a:solidFill>
            <a:schemeClr val="bg1"/>
          </a:solidFill>
          <a:ln>
            <a:solidFill>
              <a:srgbClr val="336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" name="椭圆 2">
            <a:extLst>
              <a:ext uri="{FF2B5EF4-FFF2-40B4-BE49-F238E27FC236}">
                <a16:creationId xmlns:a16="http://schemas.microsoft.com/office/drawing/2014/main" id="{5116538E-3CB4-F7E1-F2D4-D83E03FC23F4}"/>
              </a:ext>
            </a:extLst>
          </p:cNvPr>
          <p:cNvSpPr/>
          <p:nvPr/>
        </p:nvSpPr>
        <p:spPr>
          <a:xfrm>
            <a:off x="1756816" y="2263680"/>
            <a:ext cx="796022" cy="796022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椭圆 3">
            <a:extLst>
              <a:ext uri="{FF2B5EF4-FFF2-40B4-BE49-F238E27FC236}">
                <a16:creationId xmlns:a16="http://schemas.microsoft.com/office/drawing/2014/main" id="{0A7D1896-351F-A57A-6AEA-80FF515F423C}"/>
              </a:ext>
            </a:extLst>
          </p:cNvPr>
          <p:cNvSpPr/>
          <p:nvPr/>
        </p:nvSpPr>
        <p:spPr>
          <a:xfrm>
            <a:off x="1683440" y="4356399"/>
            <a:ext cx="942774" cy="942772"/>
          </a:xfrm>
          <a:prstGeom prst="ellipse">
            <a:avLst/>
          </a:prstGeom>
          <a:solidFill>
            <a:schemeClr val="bg1"/>
          </a:solidFill>
          <a:ln>
            <a:solidFill>
              <a:srgbClr val="336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4229BFE0-F5AC-98AE-9205-84BA44F51EAA}"/>
              </a:ext>
            </a:extLst>
          </p:cNvPr>
          <p:cNvSpPr/>
          <p:nvPr/>
        </p:nvSpPr>
        <p:spPr>
          <a:xfrm>
            <a:off x="1756816" y="4429774"/>
            <a:ext cx="796022" cy="796022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E0E05DD1-21C7-452F-88A1-73A7F6C7E080}"/>
              </a:ext>
            </a:extLst>
          </p:cNvPr>
          <p:cNvSpPr/>
          <p:nvPr/>
        </p:nvSpPr>
        <p:spPr>
          <a:xfrm>
            <a:off x="1683440" y="3281493"/>
            <a:ext cx="942774" cy="942772"/>
          </a:xfrm>
          <a:prstGeom prst="ellipse">
            <a:avLst/>
          </a:prstGeom>
          <a:solidFill>
            <a:schemeClr val="bg1"/>
          </a:solidFill>
          <a:ln>
            <a:solidFill>
              <a:srgbClr val="336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769CB077-6330-E4AF-CD19-C1AAB038A9F2}"/>
              </a:ext>
            </a:extLst>
          </p:cNvPr>
          <p:cNvSpPr/>
          <p:nvPr/>
        </p:nvSpPr>
        <p:spPr>
          <a:xfrm>
            <a:off x="1756816" y="3354868"/>
            <a:ext cx="796022" cy="796022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159E4594-25CA-FB39-A2B9-B7197A968D47}"/>
              </a:ext>
            </a:extLst>
          </p:cNvPr>
          <p:cNvSpPr/>
          <p:nvPr/>
        </p:nvSpPr>
        <p:spPr>
          <a:xfrm>
            <a:off x="8891831" y="2400817"/>
            <a:ext cx="1964335" cy="4335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79AF4203-AA36-F43D-243F-3CAE6373BEED}"/>
              </a:ext>
            </a:extLst>
          </p:cNvPr>
          <p:cNvSpPr/>
          <p:nvPr/>
        </p:nvSpPr>
        <p:spPr>
          <a:xfrm>
            <a:off x="6325163" y="2400817"/>
            <a:ext cx="1964335" cy="433517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6CE19B3C-1DAD-4F2A-0287-F5CE0253FAB9}"/>
              </a:ext>
            </a:extLst>
          </p:cNvPr>
          <p:cNvSpPr/>
          <p:nvPr/>
        </p:nvSpPr>
        <p:spPr>
          <a:xfrm>
            <a:off x="3808631" y="2400817"/>
            <a:ext cx="1964335" cy="4335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8E94315D-D2AC-661C-2839-528A4E6EA8C3}"/>
              </a:ext>
            </a:extLst>
          </p:cNvPr>
          <p:cNvCxnSpPr>
            <a:cxnSpLocks/>
          </p:cNvCxnSpPr>
          <p:nvPr/>
        </p:nvCxnSpPr>
        <p:spPr>
          <a:xfrm>
            <a:off x="5889132" y="2617575"/>
            <a:ext cx="381111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D7E6FAF2-0D74-A7BE-8A78-736FB7034BE4}"/>
              </a:ext>
            </a:extLst>
          </p:cNvPr>
          <p:cNvCxnSpPr>
            <a:cxnSpLocks/>
          </p:cNvCxnSpPr>
          <p:nvPr/>
        </p:nvCxnSpPr>
        <p:spPr>
          <a:xfrm>
            <a:off x="8429132" y="2617575"/>
            <a:ext cx="381111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BA7E1C6B-A852-182D-7993-4279B25A73FB}"/>
              </a:ext>
            </a:extLst>
          </p:cNvPr>
          <p:cNvSpPr/>
          <p:nvPr/>
        </p:nvSpPr>
        <p:spPr>
          <a:xfrm>
            <a:off x="8891831" y="3542815"/>
            <a:ext cx="1964335" cy="4335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233AC0A8-D231-1203-FEF5-CBBBE45C127C}"/>
              </a:ext>
            </a:extLst>
          </p:cNvPr>
          <p:cNvSpPr/>
          <p:nvPr/>
        </p:nvSpPr>
        <p:spPr>
          <a:xfrm>
            <a:off x="6325163" y="3542815"/>
            <a:ext cx="1964335" cy="433517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F6341461-01FB-53F9-2083-651E7DFCEB9E}"/>
              </a:ext>
            </a:extLst>
          </p:cNvPr>
          <p:cNvSpPr/>
          <p:nvPr/>
        </p:nvSpPr>
        <p:spPr>
          <a:xfrm>
            <a:off x="3808631" y="3542815"/>
            <a:ext cx="1964335" cy="4335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32" name="直接箭头连接符 31">
            <a:extLst>
              <a:ext uri="{FF2B5EF4-FFF2-40B4-BE49-F238E27FC236}">
                <a16:creationId xmlns:a16="http://schemas.microsoft.com/office/drawing/2014/main" id="{C6A6248A-8C9E-50E7-0451-6C233552F499}"/>
              </a:ext>
            </a:extLst>
          </p:cNvPr>
          <p:cNvCxnSpPr>
            <a:cxnSpLocks/>
          </p:cNvCxnSpPr>
          <p:nvPr/>
        </p:nvCxnSpPr>
        <p:spPr>
          <a:xfrm>
            <a:off x="5889132" y="3759573"/>
            <a:ext cx="381111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CF0459D5-0210-D92D-74C7-9F60B40F4642}"/>
              </a:ext>
            </a:extLst>
          </p:cNvPr>
          <p:cNvCxnSpPr>
            <a:cxnSpLocks/>
          </p:cNvCxnSpPr>
          <p:nvPr/>
        </p:nvCxnSpPr>
        <p:spPr>
          <a:xfrm>
            <a:off x="8429132" y="3759573"/>
            <a:ext cx="381111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箭头连接符 34">
            <a:extLst>
              <a:ext uri="{FF2B5EF4-FFF2-40B4-BE49-F238E27FC236}">
                <a16:creationId xmlns:a16="http://schemas.microsoft.com/office/drawing/2014/main" id="{A4BD00DC-D97A-FD8F-7B98-D57D78B09978}"/>
              </a:ext>
            </a:extLst>
          </p:cNvPr>
          <p:cNvCxnSpPr>
            <a:cxnSpLocks/>
          </p:cNvCxnSpPr>
          <p:nvPr/>
        </p:nvCxnSpPr>
        <p:spPr>
          <a:xfrm>
            <a:off x="2687930" y="2617575"/>
            <a:ext cx="1042314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箭头连接符 35">
            <a:extLst>
              <a:ext uri="{FF2B5EF4-FFF2-40B4-BE49-F238E27FC236}">
                <a16:creationId xmlns:a16="http://schemas.microsoft.com/office/drawing/2014/main" id="{D860DAB5-0472-9942-6C1F-533687749582}"/>
              </a:ext>
            </a:extLst>
          </p:cNvPr>
          <p:cNvCxnSpPr>
            <a:cxnSpLocks/>
          </p:cNvCxnSpPr>
          <p:nvPr/>
        </p:nvCxnSpPr>
        <p:spPr>
          <a:xfrm>
            <a:off x="2687930" y="3759573"/>
            <a:ext cx="1042314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6ED53581-22FE-0ADB-E24C-F5D77845C580}"/>
              </a:ext>
            </a:extLst>
          </p:cNvPr>
          <p:cNvCxnSpPr>
            <a:cxnSpLocks/>
          </p:cNvCxnSpPr>
          <p:nvPr/>
        </p:nvCxnSpPr>
        <p:spPr>
          <a:xfrm>
            <a:off x="2687930" y="4841977"/>
            <a:ext cx="1042314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63D383BF-F56A-416D-191F-F73AC98B9746}"/>
              </a:ext>
            </a:extLst>
          </p:cNvPr>
          <p:cNvSpPr/>
          <p:nvPr/>
        </p:nvSpPr>
        <p:spPr>
          <a:xfrm>
            <a:off x="8891831" y="4625219"/>
            <a:ext cx="1964335" cy="4335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OPPOSans R"/>
              <a:ea typeface="OPPOSans R"/>
            </a:endParaRPr>
          </a:p>
        </p:txBody>
      </p:sp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4E65B211-9393-2B35-341A-84A38D0CF5C3}"/>
              </a:ext>
            </a:extLst>
          </p:cNvPr>
          <p:cNvSpPr/>
          <p:nvPr/>
        </p:nvSpPr>
        <p:spPr>
          <a:xfrm>
            <a:off x="6325163" y="4625219"/>
            <a:ext cx="1964335" cy="433517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46C8D2C2-7C20-6AB4-6D64-1FD199587BD1}"/>
              </a:ext>
            </a:extLst>
          </p:cNvPr>
          <p:cNvSpPr/>
          <p:nvPr/>
        </p:nvSpPr>
        <p:spPr>
          <a:xfrm>
            <a:off x="3808631" y="4625219"/>
            <a:ext cx="1964335" cy="4335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46" name="直接箭头连接符 45">
            <a:extLst>
              <a:ext uri="{FF2B5EF4-FFF2-40B4-BE49-F238E27FC236}">
                <a16:creationId xmlns:a16="http://schemas.microsoft.com/office/drawing/2014/main" id="{A0CB7237-A26D-7399-1EB5-48FFA5220B45}"/>
              </a:ext>
            </a:extLst>
          </p:cNvPr>
          <p:cNvCxnSpPr>
            <a:cxnSpLocks/>
          </p:cNvCxnSpPr>
          <p:nvPr/>
        </p:nvCxnSpPr>
        <p:spPr>
          <a:xfrm>
            <a:off x="5889132" y="4841977"/>
            <a:ext cx="381111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791567B4-7FB4-2EE6-A5DB-33F6A2BD4057}"/>
              </a:ext>
            </a:extLst>
          </p:cNvPr>
          <p:cNvCxnSpPr>
            <a:cxnSpLocks/>
          </p:cNvCxnSpPr>
          <p:nvPr/>
        </p:nvCxnSpPr>
        <p:spPr>
          <a:xfrm>
            <a:off x="8429132" y="4841977"/>
            <a:ext cx="381111" cy="0"/>
          </a:xfrm>
          <a:prstGeom prst="straightConnector1">
            <a:avLst/>
          </a:prstGeom>
          <a:ln w="6350"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文本框 50">
            <a:extLst>
              <a:ext uri="{FF2B5EF4-FFF2-40B4-BE49-F238E27FC236}">
                <a16:creationId xmlns:a16="http://schemas.microsoft.com/office/drawing/2014/main" id="{1C5B01C2-BB59-A15A-1C16-806A5E2D2E0C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1CC516B4-002C-ED02-2D80-4F696F4C9503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77B8837-8F0E-7208-18BA-E7BDB19B41CC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F7EF41C3-2305-08A7-19B1-6551AB5C8B98}"/>
              </a:ext>
            </a:extLst>
          </p:cNvPr>
          <p:cNvGrpSpPr/>
          <p:nvPr/>
        </p:nvGrpSpPr>
        <p:grpSpPr>
          <a:xfrm>
            <a:off x="1973876" y="3556393"/>
            <a:ext cx="361901" cy="406359"/>
            <a:chOff x="3193522" y="5222129"/>
            <a:chExt cx="395205" cy="443754"/>
          </a:xfrm>
        </p:grpSpPr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2AEF3907-A869-5D3A-CF40-98AE99CB9539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413CD316-3EFB-85B3-A836-3E7BEE818380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A51ADA2C-0E6A-BA73-5B4E-A4DE58281753}"/>
              </a:ext>
            </a:extLst>
          </p:cNvPr>
          <p:cNvGrpSpPr/>
          <p:nvPr/>
        </p:nvGrpSpPr>
        <p:grpSpPr>
          <a:xfrm>
            <a:off x="1984643" y="2482191"/>
            <a:ext cx="373508" cy="359000"/>
            <a:chOff x="1406740" y="5275641"/>
            <a:chExt cx="441102" cy="423968"/>
          </a:xfrm>
        </p:grpSpPr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8C72D6D5-EB50-1EA4-8D83-7F8EBA4E6760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BDE6C125-D214-6E35-4909-6D1FB03FEFD0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07709886-2B6B-0F1A-AB52-B3CFC8F79472}"/>
              </a:ext>
            </a:extLst>
          </p:cNvPr>
          <p:cNvGrpSpPr/>
          <p:nvPr/>
        </p:nvGrpSpPr>
        <p:grpSpPr>
          <a:xfrm>
            <a:off x="1980774" y="4664475"/>
            <a:ext cx="355003" cy="355003"/>
            <a:chOff x="10357510" y="5253191"/>
            <a:chExt cx="355003" cy="355003"/>
          </a:xfrm>
        </p:grpSpPr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5E904C5C-D1D8-705A-0450-386C57996576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8C1F005E-ECEA-E1DC-1D8C-A5C28D68EBFA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63" name="稿定-9">
            <a:extLst>
              <a:ext uri="{FF2B5EF4-FFF2-40B4-BE49-F238E27FC236}">
                <a16:creationId xmlns:a16="http://schemas.microsoft.com/office/drawing/2014/main" id="{CDBCB25D-688B-D871-7131-393257D8E673}"/>
              </a:ext>
            </a:extLst>
          </p:cNvPr>
          <p:cNvSpPr/>
          <p:nvPr/>
        </p:nvSpPr>
        <p:spPr>
          <a:xfrm flipH="1">
            <a:off x="6822440" y="2450045"/>
            <a:ext cx="971857" cy="2524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4" name="稿定-31">
            <a:extLst>
              <a:ext uri="{FF2B5EF4-FFF2-40B4-BE49-F238E27FC236}">
                <a16:creationId xmlns:a16="http://schemas.microsoft.com/office/drawing/2014/main" id="{8E0F17B0-5676-AEB2-FC7A-AE3FB3681132}"/>
              </a:ext>
            </a:extLst>
          </p:cNvPr>
          <p:cNvSpPr/>
          <p:nvPr/>
        </p:nvSpPr>
        <p:spPr>
          <a:xfrm flipH="1">
            <a:off x="4047487" y="2441116"/>
            <a:ext cx="1700089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5" name="稿定-9">
            <a:extLst>
              <a:ext uri="{FF2B5EF4-FFF2-40B4-BE49-F238E27FC236}">
                <a16:creationId xmlns:a16="http://schemas.microsoft.com/office/drawing/2014/main" id="{A74CDFE7-AAD2-9C5A-AE54-EA2B499D8A29}"/>
              </a:ext>
            </a:extLst>
          </p:cNvPr>
          <p:cNvSpPr/>
          <p:nvPr/>
        </p:nvSpPr>
        <p:spPr>
          <a:xfrm flipH="1">
            <a:off x="6822440" y="3598293"/>
            <a:ext cx="971857" cy="2524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6" name="稿定-9">
            <a:extLst>
              <a:ext uri="{FF2B5EF4-FFF2-40B4-BE49-F238E27FC236}">
                <a16:creationId xmlns:a16="http://schemas.microsoft.com/office/drawing/2014/main" id="{8BDEA2A9-078A-D2D0-CE7C-4EA49C7E7176}"/>
              </a:ext>
            </a:extLst>
          </p:cNvPr>
          <p:cNvSpPr/>
          <p:nvPr/>
        </p:nvSpPr>
        <p:spPr>
          <a:xfrm flipH="1">
            <a:off x="6822440" y="4715755"/>
            <a:ext cx="971857" cy="2524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7" name="稿定-31">
            <a:extLst>
              <a:ext uri="{FF2B5EF4-FFF2-40B4-BE49-F238E27FC236}">
                <a16:creationId xmlns:a16="http://schemas.microsoft.com/office/drawing/2014/main" id="{75411176-924A-3F0F-F556-79D62CBF914C}"/>
              </a:ext>
            </a:extLst>
          </p:cNvPr>
          <p:cNvSpPr/>
          <p:nvPr/>
        </p:nvSpPr>
        <p:spPr>
          <a:xfrm flipH="1">
            <a:off x="4047487" y="3585019"/>
            <a:ext cx="1700089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8" name="稿定-31">
            <a:extLst>
              <a:ext uri="{FF2B5EF4-FFF2-40B4-BE49-F238E27FC236}">
                <a16:creationId xmlns:a16="http://schemas.microsoft.com/office/drawing/2014/main" id="{7CF948F9-ADAB-B1C7-78BD-CDA67FF5D575}"/>
              </a:ext>
            </a:extLst>
          </p:cNvPr>
          <p:cNvSpPr/>
          <p:nvPr/>
        </p:nvSpPr>
        <p:spPr>
          <a:xfrm flipH="1">
            <a:off x="4047487" y="4651326"/>
            <a:ext cx="1700089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9" name="稿定-31">
            <a:extLst>
              <a:ext uri="{FF2B5EF4-FFF2-40B4-BE49-F238E27FC236}">
                <a16:creationId xmlns:a16="http://schemas.microsoft.com/office/drawing/2014/main" id="{6E971222-E5A8-C3CF-5820-C3307EDEDA70}"/>
              </a:ext>
            </a:extLst>
          </p:cNvPr>
          <p:cNvSpPr/>
          <p:nvPr/>
        </p:nvSpPr>
        <p:spPr>
          <a:xfrm flipH="1">
            <a:off x="9071432" y="2441116"/>
            <a:ext cx="1700089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0" name="稿定-31">
            <a:extLst>
              <a:ext uri="{FF2B5EF4-FFF2-40B4-BE49-F238E27FC236}">
                <a16:creationId xmlns:a16="http://schemas.microsoft.com/office/drawing/2014/main" id="{9A2A6924-6D56-92C9-65DA-4FA78783955B}"/>
              </a:ext>
            </a:extLst>
          </p:cNvPr>
          <p:cNvSpPr/>
          <p:nvPr/>
        </p:nvSpPr>
        <p:spPr>
          <a:xfrm flipH="1">
            <a:off x="9071432" y="3585019"/>
            <a:ext cx="1700089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1" name="稿定-31">
            <a:extLst>
              <a:ext uri="{FF2B5EF4-FFF2-40B4-BE49-F238E27FC236}">
                <a16:creationId xmlns:a16="http://schemas.microsoft.com/office/drawing/2014/main" id="{C0D2D925-02B0-4290-C011-6C81D0FA6221}"/>
              </a:ext>
            </a:extLst>
          </p:cNvPr>
          <p:cNvSpPr/>
          <p:nvPr/>
        </p:nvSpPr>
        <p:spPr>
          <a:xfrm flipH="1">
            <a:off x="9071432" y="4651326"/>
            <a:ext cx="1700089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5029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9DF4180E-AA3E-01DB-4545-0217FE1BFD34}"/>
              </a:ext>
            </a:extLst>
          </p:cNvPr>
          <p:cNvSpPr>
            <a:spLocks/>
          </p:cNvSpPr>
          <p:nvPr/>
        </p:nvSpPr>
        <p:spPr>
          <a:xfrm flipH="1">
            <a:off x="6773574" y="1421817"/>
            <a:ext cx="5418426" cy="5448311"/>
          </a:xfrm>
          <a:custGeom>
            <a:avLst/>
            <a:gdLst>
              <a:gd name="connsiteX0" fmla="*/ 3935131 w 5418426"/>
              <a:gd name="connsiteY0" fmla="*/ 0 h 5448311"/>
              <a:gd name="connsiteX1" fmla="*/ 0 w 5418426"/>
              <a:gd name="connsiteY1" fmla="*/ 0 h 5448311"/>
              <a:gd name="connsiteX2" fmla="*/ 0 w 5418426"/>
              <a:gd name="connsiteY2" fmla="*/ 5448311 h 5448311"/>
              <a:gd name="connsiteX3" fmla="*/ 3935006 w 5418426"/>
              <a:gd name="connsiteY3" fmla="*/ 5448311 h 5448311"/>
              <a:gd name="connsiteX4" fmla="*/ 3948348 w 5418426"/>
              <a:gd name="connsiteY4" fmla="*/ 5403121 h 5448311"/>
              <a:gd name="connsiteX5" fmla="*/ 4691010 w 5418426"/>
              <a:gd name="connsiteY5" fmla="*/ 3903690 h 5448311"/>
              <a:gd name="connsiteX6" fmla="*/ 5304053 w 5418426"/>
              <a:gd name="connsiteY6" fmla="*/ 3217050 h 5448311"/>
              <a:gd name="connsiteX7" fmla="*/ 5418426 w 5418426"/>
              <a:gd name="connsiteY7" fmla="*/ 3144618 h 5448311"/>
              <a:gd name="connsiteX8" fmla="*/ 5418426 w 5418426"/>
              <a:gd name="connsiteY8" fmla="*/ 2303821 h 5448311"/>
              <a:gd name="connsiteX9" fmla="*/ 5304177 w 5418426"/>
              <a:gd name="connsiteY9" fmla="*/ 2231389 h 5448311"/>
              <a:gd name="connsiteX10" fmla="*/ 4691140 w 5418426"/>
              <a:gd name="connsiteY10" fmla="*/ 1544749 h 5448311"/>
              <a:gd name="connsiteX11" fmla="*/ 3948478 w 5418426"/>
              <a:gd name="connsiteY11" fmla="*/ 45191 h 544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18426" h="5448311">
                <a:moveTo>
                  <a:pt x="3935131" y="0"/>
                </a:moveTo>
                <a:lnTo>
                  <a:pt x="0" y="0"/>
                </a:lnTo>
                <a:lnTo>
                  <a:pt x="0" y="5448311"/>
                </a:lnTo>
                <a:lnTo>
                  <a:pt x="3935006" y="5448311"/>
                </a:lnTo>
                <a:lnTo>
                  <a:pt x="3948348" y="5403121"/>
                </a:lnTo>
                <a:cubicBezTo>
                  <a:pt x="4101484" y="4921811"/>
                  <a:pt x="4366829" y="4372015"/>
                  <a:pt x="4691010" y="3903690"/>
                </a:cubicBezTo>
                <a:cubicBezTo>
                  <a:pt x="4907048" y="3591176"/>
                  <a:pt x="5118898" y="3358731"/>
                  <a:pt x="5304053" y="3217050"/>
                </a:cubicBezTo>
                <a:lnTo>
                  <a:pt x="5418426" y="3144618"/>
                </a:lnTo>
                <a:lnTo>
                  <a:pt x="5418426" y="2303821"/>
                </a:lnTo>
                <a:lnTo>
                  <a:pt x="5304177" y="2231389"/>
                </a:lnTo>
                <a:cubicBezTo>
                  <a:pt x="5119022" y="2089708"/>
                  <a:pt x="4907302" y="1857263"/>
                  <a:pt x="4691140" y="1544749"/>
                </a:cubicBezTo>
                <a:cubicBezTo>
                  <a:pt x="4366953" y="1075914"/>
                  <a:pt x="4101608" y="526373"/>
                  <a:pt x="3948478" y="45191"/>
                </a:cubicBezTo>
                <a:close/>
              </a:path>
            </a:pathLst>
          </a:custGeom>
          <a:gradFill flip="none" rotWithShape="1">
            <a:gsLst>
              <a:gs pos="0">
                <a:srgbClr val="3361F5">
                  <a:alpha val="10000"/>
                </a:srgbClr>
              </a:gs>
              <a:gs pos="100000">
                <a:srgbClr val="3361F5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思源黑体 CN Regular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5D513C0-FFE2-97B3-10A0-538B180B1FA9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2BE756D-5572-2AA6-BE7D-E9FBE93B6FA7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F36123C-AA57-B366-13F8-06BDDF0224AF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6C06D746-4E0C-7603-E00C-0DB079D1648E}"/>
              </a:ext>
            </a:extLst>
          </p:cNvPr>
          <p:cNvSpPr/>
          <p:nvPr/>
        </p:nvSpPr>
        <p:spPr>
          <a:xfrm>
            <a:off x="0" y="1421817"/>
            <a:ext cx="5412852" cy="5448311"/>
          </a:xfrm>
          <a:custGeom>
            <a:avLst/>
            <a:gdLst>
              <a:gd name="connsiteX0" fmla="*/ 0 w 5412852"/>
              <a:gd name="connsiteY0" fmla="*/ 0 h 5448311"/>
              <a:gd name="connsiteX1" fmla="*/ 3929557 w 5412852"/>
              <a:gd name="connsiteY1" fmla="*/ 0 h 5448311"/>
              <a:gd name="connsiteX2" fmla="*/ 3942904 w 5412852"/>
              <a:gd name="connsiteY2" fmla="*/ 45191 h 5448311"/>
              <a:gd name="connsiteX3" fmla="*/ 4685566 w 5412852"/>
              <a:gd name="connsiteY3" fmla="*/ 1544749 h 5448311"/>
              <a:gd name="connsiteX4" fmla="*/ 5298604 w 5412852"/>
              <a:gd name="connsiteY4" fmla="*/ 2231389 h 5448311"/>
              <a:gd name="connsiteX5" fmla="*/ 5412852 w 5412852"/>
              <a:gd name="connsiteY5" fmla="*/ 2303821 h 5448311"/>
              <a:gd name="connsiteX6" fmla="*/ 5412852 w 5412852"/>
              <a:gd name="connsiteY6" fmla="*/ 3144618 h 5448311"/>
              <a:gd name="connsiteX7" fmla="*/ 5298479 w 5412852"/>
              <a:gd name="connsiteY7" fmla="*/ 3217050 h 5448311"/>
              <a:gd name="connsiteX8" fmla="*/ 4685437 w 5412852"/>
              <a:gd name="connsiteY8" fmla="*/ 3903690 h 5448311"/>
              <a:gd name="connsiteX9" fmla="*/ 3942774 w 5412852"/>
              <a:gd name="connsiteY9" fmla="*/ 5403121 h 5448311"/>
              <a:gd name="connsiteX10" fmla="*/ 3929432 w 5412852"/>
              <a:gd name="connsiteY10" fmla="*/ 5448311 h 5448311"/>
              <a:gd name="connsiteX11" fmla="*/ 0 w 5412852"/>
              <a:gd name="connsiteY11" fmla="*/ 5448311 h 544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12852" h="5448311">
                <a:moveTo>
                  <a:pt x="0" y="0"/>
                </a:moveTo>
                <a:lnTo>
                  <a:pt x="3929557" y="0"/>
                </a:lnTo>
                <a:lnTo>
                  <a:pt x="3942904" y="45191"/>
                </a:lnTo>
                <a:cubicBezTo>
                  <a:pt x="4096034" y="526373"/>
                  <a:pt x="4361379" y="1075914"/>
                  <a:pt x="4685566" y="1544749"/>
                </a:cubicBezTo>
                <a:cubicBezTo>
                  <a:pt x="4901729" y="1857263"/>
                  <a:pt x="5113448" y="2089708"/>
                  <a:pt x="5298604" y="2231389"/>
                </a:cubicBezTo>
                <a:lnTo>
                  <a:pt x="5412852" y="2303821"/>
                </a:lnTo>
                <a:lnTo>
                  <a:pt x="5412852" y="3144618"/>
                </a:lnTo>
                <a:lnTo>
                  <a:pt x="5298479" y="3217050"/>
                </a:lnTo>
                <a:cubicBezTo>
                  <a:pt x="5113324" y="3358731"/>
                  <a:pt x="4901474" y="3591176"/>
                  <a:pt x="4685437" y="3903690"/>
                </a:cubicBezTo>
                <a:cubicBezTo>
                  <a:pt x="4361255" y="4372015"/>
                  <a:pt x="4095910" y="4921811"/>
                  <a:pt x="3942774" y="5403121"/>
                </a:cubicBezTo>
                <a:lnTo>
                  <a:pt x="3929432" y="5448311"/>
                </a:lnTo>
                <a:lnTo>
                  <a:pt x="0" y="5448311"/>
                </a:lnTo>
                <a:close/>
              </a:path>
            </a:pathLst>
          </a:custGeom>
          <a:gradFill flip="none" rotWithShape="1">
            <a:gsLst>
              <a:gs pos="0">
                <a:srgbClr val="3361F5">
                  <a:alpha val="10000"/>
                </a:srgbClr>
              </a:gs>
              <a:gs pos="100000">
                <a:srgbClr val="3361F5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  <a:latin typeface="Helvetica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09364E22-74BF-FA77-1C73-7E4D8AD18949}"/>
              </a:ext>
            </a:extLst>
          </p:cNvPr>
          <p:cNvSpPr/>
          <p:nvPr/>
        </p:nvSpPr>
        <p:spPr>
          <a:xfrm rot="5400000" flipH="1">
            <a:off x="1942089" y="3404370"/>
            <a:ext cx="5435499" cy="1483202"/>
          </a:xfrm>
          <a:custGeom>
            <a:avLst/>
            <a:gdLst>
              <a:gd name="connsiteX0" fmla="*/ 1960891 w 1960891"/>
              <a:gd name="connsiteY0" fmla="*/ 1483202 h 1483202"/>
              <a:gd name="connsiteX1" fmla="*/ 0 w 1960891"/>
              <a:gd name="connsiteY1" fmla="*/ 1483202 h 1483202"/>
              <a:gd name="connsiteX2" fmla="*/ 16272 w 1960891"/>
              <a:gd name="connsiteY2" fmla="*/ 1469790 h 1483202"/>
              <a:gd name="connsiteX3" fmla="*/ 555891 w 1960891"/>
              <a:gd name="connsiteY3" fmla="*/ 727424 h 1483202"/>
              <a:gd name="connsiteX4" fmla="*/ 802986 w 1960891"/>
              <a:gd name="connsiteY4" fmla="*/ 114629 h 1483202"/>
              <a:gd name="connsiteX5" fmla="*/ 829075 w 1960891"/>
              <a:gd name="connsiteY5" fmla="*/ 0 h 1483202"/>
              <a:gd name="connsiteX6" fmla="*/ 1131817 w 1960891"/>
              <a:gd name="connsiteY6" fmla="*/ 0 h 1483202"/>
              <a:gd name="connsiteX7" fmla="*/ 1157907 w 1960891"/>
              <a:gd name="connsiteY7" fmla="*/ 114630 h 1483202"/>
              <a:gd name="connsiteX8" fmla="*/ 1405002 w 1960891"/>
              <a:gd name="connsiteY8" fmla="*/ 727425 h 1483202"/>
              <a:gd name="connsiteX9" fmla="*/ 1944621 w 1960891"/>
              <a:gd name="connsiteY9" fmla="*/ 1469791 h 1483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60891" h="1483202">
                <a:moveTo>
                  <a:pt x="1960891" y="1483202"/>
                </a:moveTo>
                <a:lnTo>
                  <a:pt x="0" y="1483202"/>
                </a:lnTo>
                <a:lnTo>
                  <a:pt x="16272" y="1469790"/>
                </a:lnTo>
                <a:cubicBezTo>
                  <a:pt x="189495" y="1316739"/>
                  <a:pt x="387167" y="1051553"/>
                  <a:pt x="555891" y="727424"/>
                </a:cubicBezTo>
                <a:cubicBezTo>
                  <a:pt x="668373" y="511338"/>
                  <a:pt x="752016" y="299739"/>
                  <a:pt x="802986" y="114629"/>
                </a:cubicBezTo>
                <a:lnTo>
                  <a:pt x="829075" y="0"/>
                </a:lnTo>
                <a:lnTo>
                  <a:pt x="1131817" y="0"/>
                </a:lnTo>
                <a:lnTo>
                  <a:pt x="1157907" y="114630"/>
                </a:lnTo>
                <a:cubicBezTo>
                  <a:pt x="1208876" y="299740"/>
                  <a:pt x="1292520" y="511339"/>
                  <a:pt x="1405002" y="727425"/>
                </a:cubicBezTo>
                <a:cubicBezTo>
                  <a:pt x="1573725" y="1051554"/>
                  <a:pt x="1771397" y="1316740"/>
                  <a:pt x="1944621" y="1469791"/>
                </a:cubicBezTo>
                <a:close/>
              </a:path>
            </a:pathLst>
          </a:custGeom>
          <a:noFill/>
          <a:ln w="6350">
            <a:gradFill>
              <a:gsLst>
                <a:gs pos="0">
                  <a:srgbClr val="7A98F8">
                    <a:alpha val="0"/>
                  </a:srgbClr>
                </a:gs>
                <a:gs pos="48000">
                  <a:srgbClr val="3361F5"/>
                </a:gs>
                <a:gs pos="100000">
                  <a:srgbClr val="7A98F8">
                    <a:alpha val="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思源黑体 CN Regular"/>
              <a:cs typeface="+mn-cs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BFFC0645-4E76-A571-4B0F-8E0AA060629A}"/>
              </a:ext>
            </a:extLst>
          </p:cNvPr>
          <p:cNvSpPr/>
          <p:nvPr/>
        </p:nvSpPr>
        <p:spPr>
          <a:xfrm rot="16200000">
            <a:off x="4814413" y="3404370"/>
            <a:ext cx="5435499" cy="1483202"/>
          </a:xfrm>
          <a:custGeom>
            <a:avLst/>
            <a:gdLst>
              <a:gd name="connsiteX0" fmla="*/ 1960891 w 1960891"/>
              <a:gd name="connsiteY0" fmla="*/ 1483202 h 1483202"/>
              <a:gd name="connsiteX1" fmla="*/ 0 w 1960891"/>
              <a:gd name="connsiteY1" fmla="*/ 1483202 h 1483202"/>
              <a:gd name="connsiteX2" fmla="*/ 16272 w 1960891"/>
              <a:gd name="connsiteY2" fmla="*/ 1469790 h 1483202"/>
              <a:gd name="connsiteX3" fmla="*/ 555891 w 1960891"/>
              <a:gd name="connsiteY3" fmla="*/ 727424 h 1483202"/>
              <a:gd name="connsiteX4" fmla="*/ 802986 w 1960891"/>
              <a:gd name="connsiteY4" fmla="*/ 114629 h 1483202"/>
              <a:gd name="connsiteX5" fmla="*/ 829075 w 1960891"/>
              <a:gd name="connsiteY5" fmla="*/ 0 h 1483202"/>
              <a:gd name="connsiteX6" fmla="*/ 1131817 w 1960891"/>
              <a:gd name="connsiteY6" fmla="*/ 0 h 1483202"/>
              <a:gd name="connsiteX7" fmla="*/ 1157907 w 1960891"/>
              <a:gd name="connsiteY7" fmla="*/ 114630 h 1483202"/>
              <a:gd name="connsiteX8" fmla="*/ 1405002 w 1960891"/>
              <a:gd name="connsiteY8" fmla="*/ 727425 h 1483202"/>
              <a:gd name="connsiteX9" fmla="*/ 1944621 w 1960891"/>
              <a:gd name="connsiteY9" fmla="*/ 1469791 h 1483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60891" h="1483202">
                <a:moveTo>
                  <a:pt x="1960891" y="1483202"/>
                </a:moveTo>
                <a:lnTo>
                  <a:pt x="0" y="1483202"/>
                </a:lnTo>
                <a:lnTo>
                  <a:pt x="16272" y="1469790"/>
                </a:lnTo>
                <a:cubicBezTo>
                  <a:pt x="189495" y="1316739"/>
                  <a:pt x="387167" y="1051553"/>
                  <a:pt x="555891" y="727424"/>
                </a:cubicBezTo>
                <a:cubicBezTo>
                  <a:pt x="668373" y="511338"/>
                  <a:pt x="752016" y="299739"/>
                  <a:pt x="802986" y="114629"/>
                </a:cubicBezTo>
                <a:lnTo>
                  <a:pt x="829075" y="0"/>
                </a:lnTo>
                <a:lnTo>
                  <a:pt x="1131817" y="0"/>
                </a:lnTo>
                <a:lnTo>
                  <a:pt x="1157907" y="114630"/>
                </a:lnTo>
                <a:cubicBezTo>
                  <a:pt x="1208876" y="299740"/>
                  <a:pt x="1292520" y="511339"/>
                  <a:pt x="1405002" y="727425"/>
                </a:cubicBezTo>
                <a:cubicBezTo>
                  <a:pt x="1573725" y="1051554"/>
                  <a:pt x="1771397" y="1316740"/>
                  <a:pt x="1944621" y="1469791"/>
                </a:cubicBezTo>
                <a:close/>
              </a:path>
            </a:pathLst>
          </a:custGeom>
          <a:noFill/>
          <a:ln w="6350">
            <a:gradFill>
              <a:gsLst>
                <a:gs pos="0">
                  <a:srgbClr val="7A98F8">
                    <a:alpha val="0"/>
                  </a:srgbClr>
                </a:gs>
                <a:gs pos="48000">
                  <a:srgbClr val="3361F5"/>
                </a:gs>
                <a:gs pos="100000">
                  <a:srgbClr val="7A98F8">
                    <a:alpha val="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思源黑体 CN Regular"/>
              <a:cs typeface="+mn-cs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9D202340-955E-1757-1C1A-6ECD094FEFF9}"/>
              </a:ext>
            </a:extLst>
          </p:cNvPr>
          <p:cNvSpPr/>
          <p:nvPr/>
        </p:nvSpPr>
        <p:spPr>
          <a:xfrm>
            <a:off x="4445749" y="2390250"/>
            <a:ext cx="3520322" cy="3524248"/>
          </a:xfrm>
          <a:custGeom>
            <a:avLst/>
            <a:gdLst>
              <a:gd name="connsiteX0" fmla="*/ 1948158 w 3044273"/>
              <a:gd name="connsiteY0" fmla="*/ 3046415 h 3047670"/>
              <a:gd name="connsiteX1" fmla="*/ 1948787 w 3044273"/>
              <a:gd name="connsiteY1" fmla="*/ 3047043 h 3047670"/>
              <a:gd name="connsiteX2" fmla="*/ 1948158 w 3044273"/>
              <a:gd name="connsiteY2" fmla="*/ 3047670 h 3047670"/>
              <a:gd name="connsiteX3" fmla="*/ 1947530 w 3044273"/>
              <a:gd name="connsiteY3" fmla="*/ 3047043 h 3047670"/>
              <a:gd name="connsiteX4" fmla="*/ 1948158 w 3044273"/>
              <a:gd name="connsiteY4" fmla="*/ 3046415 h 3047670"/>
              <a:gd name="connsiteX5" fmla="*/ 2262811 w 3044273"/>
              <a:gd name="connsiteY5" fmla="*/ 3022973 h 3047670"/>
              <a:gd name="connsiteX6" fmla="*/ 2263440 w 3044273"/>
              <a:gd name="connsiteY6" fmla="*/ 3023601 h 3047670"/>
              <a:gd name="connsiteX7" fmla="*/ 2262811 w 3044273"/>
              <a:gd name="connsiteY7" fmla="*/ 3024229 h 3047670"/>
              <a:gd name="connsiteX8" fmla="*/ 2262183 w 3044273"/>
              <a:gd name="connsiteY8" fmla="*/ 3023601 h 3047670"/>
              <a:gd name="connsiteX9" fmla="*/ 2262811 w 3044273"/>
              <a:gd name="connsiteY9" fmla="*/ 3022973 h 3047670"/>
              <a:gd name="connsiteX10" fmla="*/ 2029306 w 3044273"/>
              <a:gd name="connsiteY10" fmla="*/ 3020035 h 3047670"/>
              <a:gd name="connsiteX11" fmla="*/ 2030185 w 3044273"/>
              <a:gd name="connsiteY11" fmla="*/ 3020915 h 3047670"/>
              <a:gd name="connsiteX12" fmla="*/ 2029306 w 3044273"/>
              <a:gd name="connsiteY12" fmla="*/ 3021794 h 3047670"/>
              <a:gd name="connsiteX13" fmla="*/ 2028426 w 3044273"/>
              <a:gd name="connsiteY13" fmla="*/ 3020915 h 3047670"/>
              <a:gd name="connsiteX14" fmla="*/ 2029306 w 3044273"/>
              <a:gd name="connsiteY14" fmla="*/ 3020035 h 3047670"/>
              <a:gd name="connsiteX15" fmla="*/ 1527099 w 3044273"/>
              <a:gd name="connsiteY15" fmla="*/ 3010364 h 3047670"/>
              <a:gd name="connsiteX16" fmla="*/ 1529736 w 3044273"/>
              <a:gd name="connsiteY16" fmla="*/ 3013001 h 3047670"/>
              <a:gd name="connsiteX17" fmla="*/ 1527099 w 3044273"/>
              <a:gd name="connsiteY17" fmla="*/ 3015640 h 3047670"/>
              <a:gd name="connsiteX18" fmla="*/ 1524462 w 3044273"/>
              <a:gd name="connsiteY18" fmla="*/ 3013001 h 3047670"/>
              <a:gd name="connsiteX19" fmla="*/ 1527099 w 3044273"/>
              <a:gd name="connsiteY19" fmla="*/ 3010364 h 3047670"/>
              <a:gd name="connsiteX20" fmla="*/ 1612392 w 3044273"/>
              <a:gd name="connsiteY20" fmla="*/ 3008101 h 3047670"/>
              <a:gd name="connsiteX21" fmla="*/ 1614401 w 3044273"/>
              <a:gd name="connsiteY21" fmla="*/ 3010111 h 3047670"/>
              <a:gd name="connsiteX22" fmla="*/ 1612392 w 3044273"/>
              <a:gd name="connsiteY22" fmla="*/ 3012122 h 3047670"/>
              <a:gd name="connsiteX23" fmla="*/ 1610382 w 3044273"/>
              <a:gd name="connsiteY23" fmla="*/ 3010111 h 3047670"/>
              <a:gd name="connsiteX24" fmla="*/ 1612392 w 3044273"/>
              <a:gd name="connsiteY24" fmla="*/ 3008101 h 3047670"/>
              <a:gd name="connsiteX25" fmla="*/ 1441807 w 3044273"/>
              <a:gd name="connsiteY25" fmla="*/ 3007221 h 3047670"/>
              <a:gd name="connsiteX26" fmla="*/ 1444949 w 3044273"/>
              <a:gd name="connsiteY26" fmla="*/ 3010361 h 3047670"/>
              <a:gd name="connsiteX27" fmla="*/ 1438667 w 3044273"/>
              <a:gd name="connsiteY27" fmla="*/ 3010361 h 3047670"/>
              <a:gd name="connsiteX28" fmla="*/ 1441807 w 3044273"/>
              <a:gd name="connsiteY28" fmla="*/ 3007221 h 3047670"/>
              <a:gd name="connsiteX29" fmla="*/ 1697183 w 3044273"/>
              <a:gd name="connsiteY29" fmla="*/ 3000691 h 3047670"/>
              <a:gd name="connsiteX30" fmla="*/ 1698816 w 3044273"/>
              <a:gd name="connsiteY30" fmla="*/ 3002198 h 3047670"/>
              <a:gd name="connsiteX31" fmla="*/ 1697309 w 3044273"/>
              <a:gd name="connsiteY31" fmla="*/ 3003706 h 3047670"/>
              <a:gd name="connsiteX32" fmla="*/ 1695801 w 3044273"/>
              <a:gd name="connsiteY32" fmla="*/ 3002198 h 3047670"/>
              <a:gd name="connsiteX33" fmla="*/ 1697183 w 3044273"/>
              <a:gd name="connsiteY33" fmla="*/ 3000691 h 3047670"/>
              <a:gd name="connsiteX34" fmla="*/ 2108820 w 3044273"/>
              <a:gd name="connsiteY34" fmla="*/ 2989510 h 3047670"/>
              <a:gd name="connsiteX35" fmla="*/ 2109447 w 3044273"/>
              <a:gd name="connsiteY35" fmla="*/ 2990138 h 3047670"/>
              <a:gd name="connsiteX36" fmla="*/ 2108820 w 3044273"/>
              <a:gd name="connsiteY36" fmla="*/ 2990765 h 3047670"/>
              <a:gd name="connsiteX37" fmla="*/ 2108192 w 3044273"/>
              <a:gd name="connsiteY37" fmla="*/ 2990138 h 3047670"/>
              <a:gd name="connsiteX38" fmla="*/ 2108820 w 3044273"/>
              <a:gd name="connsiteY38" fmla="*/ 2989510 h 3047670"/>
              <a:gd name="connsiteX39" fmla="*/ 1781596 w 3044273"/>
              <a:gd name="connsiteY39" fmla="*/ 2987877 h 3047670"/>
              <a:gd name="connsiteX40" fmla="*/ 1782979 w 3044273"/>
              <a:gd name="connsiteY40" fmla="*/ 2989135 h 3047670"/>
              <a:gd name="connsiteX41" fmla="*/ 1781596 w 3044273"/>
              <a:gd name="connsiteY41" fmla="*/ 2990516 h 3047670"/>
              <a:gd name="connsiteX42" fmla="*/ 1780214 w 3044273"/>
              <a:gd name="connsiteY42" fmla="*/ 2989135 h 3047670"/>
              <a:gd name="connsiteX43" fmla="*/ 1781596 w 3044273"/>
              <a:gd name="connsiteY43" fmla="*/ 2987877 h 3047670"/>
              <a:gd name="connsiteX44" fmla="*/ 2340852 w 3044273"/>
              <a:gd name="connsiteY44" fmla="*/ 2979519 h 3047670"/>
              <a:gd name="connsiteX45" fmla="*/ 2341607 w 3044273"/>
              <a:gd name="connsiteY45" fmla="*/ 2980147 h 3047670"/>
              <a:gd name="connsiteX46" fmla="*/ 2340852 w 3044273"/>
              <a:gd name="connsiteY46" fmla="*/ 2980774 h 3047670"/>
              <a:gd name="connsiteX47" fmla="*/ 2340223 w 3044273"/>
              <a:gd name="connsiteY47" fmla="*/ 2980147 h 3047670"/>
              <a:gd name="connsiteX48" fmla="*/ 2340852 w 3044273"/>
              <a:gd name="connsiteY48" fmla="*/ 2979519 h 3047670"/>
              <a:gd name="connsiteX49" fmla="*/ 1864879 w 3044273"/>
              <a:gd name="connsiteY49" fmla="*/ 2969789 h 3047670"/>
              <a:gd name="connsiteX50" fmla="*/ 1866259 w 3044273"/>
              <a:gd name="connsiteY50" fmla="*/ 2971171 h 3047670"/>
              <a:gd name="connsiteX51" fmla="*/ 1865005 w 3044273"/>
              <a:gd name="connsiteY51" fmla="*/ 2972554 h 3047670"/>
              <a:gd name="connsiteX52" fmla="*/ 1863623 w 3044273"/>
              <a:gd name="connsiteY52" fmla="*/ 2971171 h 3047670"/>
              <a:gd name="connsiteX53" fmla="*/ 1864879 w 3044273"/>
              <a:gd name="connsiteY53" fmla="*/ 2969789 h 3047670"/>
              <a:gd name="connsiteX54" fmla="*/ 2186577 w 3044273"/>
              <a:gd name="connsiteY54" fmla="*/ 2954463 h 3047670"/>
              <a:gd name="connsiteX55" fmla="*/ 2187204 w 3044273"/>
              <a:gd name="connsiteY55" fmla="*/ 2955091 h 3047670"/>
              <a:gd name="connsiteX56" fmla="*/ 2186577 w 3044273"/>
              <a:gd name="connsiteY56" fmla="*/ 2955720 h 3047670"/>
              <a:gd name="connsiteX57" fmla="*/ 2185949 w 3044273"/>
              <a:gd name="connsiteY57" fmla="*/ 2955091 h 3047670"/>
              <a:gd name="connsiteX58" fmla="*/ 2186577 w 3044273"/>
              <a:gd name="connsiteY58" fmla="*/ 2954463 h 3047670"/>
              <a:gd name="connsiteX59" fmla="*/ 1947029 w 3044273"/>
              <a:gd name="connsiteY59" fmla="*/ 2947053 h 3047670"/>
              <a:gd name="connsiteX60" fmla="*/ 1948159 w 3044273"/>
              <a:gd name="connsiteY60" fmla="*/ 2948183 h 3047670"/>
              <a:gd name="connsiteX61" fmla="*/ 1947029 w 3044273"/>
              <a:gd name="connsiteY61" fmla="*/ 2949313 h 3047670"/>
              <a:gd name="connsiteX62" fmla="*/ 1945899 w 3044273"/>
              <a:gd name="connsiteY62" fmla="*/ 2948183 h 3047670"/>
              <a:gd name="connsiteX63" fmla="*/ 1947029 w 3044273"/>
              <a:gd name="connsiteY63" fmla="*/ 2947053 h 3047670"/>
              <a:gd name="connsiteX64" fmla="*/ 2413200 w 3044273"/>
              <a:gd name="connsiteY64" fmla="*/ 2934380 h 3047670"/>
              <a:gd name="connsiteX65" fmla="*/ 2413830 w 3044273"/>
              <a:gd name="connsiteY65" fmla="*/ 2935008 h 3047670"/>
              <a:gd name="connsiteX66" fmla="*/ 2413200 w 3044273"/>
              <a:gd name="connsiteY66" fmla="*/ 2935635 h 3047670"/>
              <a:gd name="connsiteX67" fmla="*/ 2412446 w 3044273"/>
              <a:gd name="connsiteY67" fmla="*/ 2935008 h 3047670"/>
              <a:gd name="connsiteX68" fmla="*/ 2413200 w 3044273"/>
              <a:gd name="connsiteY68" fmla="*/ 2934380 h 3047670"/>
              <a:gd name="connsiteX69" fmla="*/ 2027550 w 3044273"/>
              <a:gd name="connsiteY69" fmla="*/ 2917782 h 3047670"/>
              <a:gd name="connsiteX70" fmla="*/ 2030062 w 3044273"/>
              <a:gd name="connsiteY70" fmla="*/ 2920169 h 3047670"/>
              <a:gd name="connsiteX71" fmla="*/ 2027675 w 3044273"/>
              <a:gd name="connsiteY71" fmla="*/ 2922682 h 3047670"/>
              <a:gd name="connsiteX72" fmla="*/ 2025163 w 3044273"/>
              <a:gd name="connsiteY72" fmla="*/ 2920295 h 3047670"/>
              <a:gd name="connsiteX73" fmla="*/ 2027550 w 3044273"/>
              <a:gd name="connsiteY73" fmla="*/ 2917782 h 3047670"/>
              <a:gd name="connsiteX74" fmla="*/ 2262194 w 3044273"/>
              <a:gd name="connsiteY74" fmla="*/ 2915021 h 3047670"/>
              <a:gd name="connsiteX75" fmla="*/ 2262823 w 3044273"/>
              <a:gd name="connsiteY75" fmla="*/ 2915649 h 3047670"/>
              <a:gd name="connsiteX76" fmla="*/ 2262194 w 3044273"/>
              <a:gd name="connsiteY76" fmla="*/ 2916278 h 3047670"/>
              <a:gd name="connsiteX77" fmla="*/ 2261566 w 3044273"/>
              <a:gd name="connsiteY77" fmla="*/ 2915649 h 3047670"/>
              <a:gd name="connsiteX78" fmla="*/ 2262194 w 3044273"/>
              <a:gd name="connsiteY78" fmla="*/ 2915021 h 3047670"/>
              <a:gd name="connsiteX79" fmla="*/ 1526850 w 3044273"/>
              <a:gd name="connsiteY79" fmla="*/ 2912005 h 3047670"/>
              <a:gd name="connsiteX80" fmla="*/ 1532880 w 3044273"/>
              <a:gd name="connsiteY80" fmla="*/ 2917909 h 3047670"/>
              <a:gd name="connsiteX81" fmla="*/ 1526850 w 3044273"/>
              <a:gd name="connsiteY81" fmla="*/ 2923938 h 3047670"/>
              <a:gd name="connsiteX82" fmla="*/ 1520820 w 3044273"/>
              <a:gd name="connsiteY82" fmla="*/ 2918034 h 3047670"/>
              <a:gd name="connsiteX83" fmla="*/ 1526850 w 3044273"/>
              <a:gd name="connsiteY83" fmla="*/ 2912005 h 3047670"/>
              <a:gd name="connsiteX84" fmla="*/ 1612017 w 3044273"/>
              <a:gd name="connsiteY84" fmla="*/ 2909746 h 3047670"/>
              <a:gd name="connsiteX85" fmla="*/ 1617166 w 3044273"/>
              <a:gd name="connsiteY85" fmla="*/ 2914770 h 3047670"/>
              <a:gd name="connsiteX86" fmla="*/ 1612142 w 3044273"/>
              <a:gd name="connsiteY86" fmla="*/ 2919919 h 3047670"/>
              <a:gd name="connsiteX87" fmla="*/ 1606992 w 3044273"/>
              <a:gd name="connsiteY87" fmla="*/ 2914895 h 3047670"/>
              <a:gd name="connsiteX88" fmla="*/ 1612017 w 3044273"/>
              <a:gd name="connsiteY88" fmla="*/ 2909746 h 3047670"/>
              <a:gd name="connsiteX89" fmla="*/ 1441556 w 3044273"/>
              <a:gd name="connsiteY89" fmla="*/ 2908739 h 3047670"/>
              <a:gd name="connsiteX90" fmla="*/ 1448465 w 3044273"/>
              <a:gd name="connsiteY90" fmla="*/ 2915523 h 3047670"/>
              <a:gd name="connsiteX91" fmla="*/ 1441681 w 3044273"/>
              <a:gd name="connsiteY91" fmla="*/ 2922430 h 3047670"/>
              <a:gd name="connsiteX92" fmla="*/ 1434773 w 3044273"/>
              <a:gd name="connsiteY92" fmla="*/ 2915648 h 3047670"/>
              <a:gd name="connsiteX93" fmla="*/ 1441556 w 3044273"/>
              <a:gd name="connsiteY93" fmla="*/ 2908739 h 3047670"/>
              <a:gd name="connsiteX94" fmla="*/ 1696805 w 3044273"/>
              <a:gd name="connsiteY94" fmla="*/ 2902207 h 3047670"/>
              <a:gd name="connsiteX95" fmla="*/ 1701077 w 3044273"/>
              <a:gd name="connsiteY95" fmla="*/ 2906352 h 3047670"/>
              <a:gd name="connsiteX96" fmla="*/ 1696930 w 3044273"/>
              <a:gd name="connsiteY96" fmla="*/ 2910624 h 3047670"/>
              <a:gd name="connsiteX97" fmla="*/ 1692660 w 3044273"/>
              <a:gd name="connsiteY97" fmla="*/ 2906479 h 3047670"/>
              <a:gd name="connsiteX98" fmla="*/ 1696805 w 3044273"/>
              <a:gd name="connsiteY98" fmla="*/ 2902207 h 3047670"/>
              <a:gd name="connsiteX99" fmla="*/ 1356767 w 3044273"/>
              <a:gd name="connsiteY99" fmla="*/ 2900575 h 3047670"/>
              <a:gd name="connsiteX100" fmla="*/ 1363801 w 3044273"/>
              <a:gd name="connsiteY100" fmla="*/ 2907610 h 3047670"/>
              <a:gd name="connsiteX101" fmla="*/ 1356767 w 3044273"/>
              <a:gd name="connsiteY101" fmla="*/ 2914769 h 3047670"/>
              <a:gd name="connsiteX102" fmla="*/ 1349607 w 3044273"/>
              <a:gd name="connsiteY102" fmla="*/ 2907735 h 3047670"/>
              <a:gd name="connsiteX103" fmla="*/ 1356767 w 3044273"/>
              <a:gd name="connsiteY103" fmla="*/ 2900575 h 3047670"/>
              <a:gd name="connsiteX104" fmla="*/ 1781094 w 3044273"/>
              <a:gd name="connsiteY104" fmla="*/ 2888766 h 3047670"/>
              <a:gd name="connsiteX105" fmla="*/ 1784863 w 3044273"/>
              <a:gd name="connsiteY105" fmla="*/ 2892535 h 3047670"/>
              <a:gd name="connsiteX106" fmla="*/ 1781094 w 3044273"/>
              <a:gd name="connsiteY106" fmla="*/ 2896303 h 3047670"/>
              <a:gd name="connsiteX107" fmla="*/ 1777326 w 3044273"/>
              <a:gd name="connsiteY107" fmla="*/ 2892535 h 3047670"/>
              <a:gd name="connsiteX108" fmla="*/ 1781094 w 3044273"/>
              <a:gd name="connsiteY108" fmla="*/ 2888766 h 3047670"/>
              <a:gd name="connsiteX109" fmla="*/ 1272353 w 3044273"/>
              <a:gd name="connsiteY109" fmla="*/ 2887510 h 3047670"/>
              <a:gd name="connsiteX110" fmla="*/ 1279261 w 3044273"/>
              <a:gd name="connsiteY110" fmla="*/ 2894292 h 3047670"/>
              <a:gd name="connsiteX111" fmla="*/ 1272479 w 3044273"/>
              <a:gd name="connsiteY111" fmla="*/ 2901201 h 3047670"/>
              <a:gd name="connsiteX112" fmla="*/ 1265569 w 3044273"/>
              <a:gd name="connsiteY112" fmla="*/ 2894419 h 3047670"/>
              <a:gd name="connsiteX113" fmla="*/ 1272353 w 3044273"/>
              <a:gd name="connsiteY113" fmla="*/ 2887510 h 3047670"/>
              <a:gd name="connsiteX114" fmla="*/ 2106435 w 3044273"/>
              <a:gd name="connsiteY114" fmla="*/ 2886128 h 3047670"/>
              <a:gd name="connsiteX115" fmla="*/ 2107942 w 3044273"/>
              <a:gd name="connsiteY115" fmla="*/ 2887636 h 3047670"/>
              <a:gd name="connsiteX116" fmla="*/ 2106435 w 3044273"/>
              <a:gd name="connsiteY116" fmla="*/ 2889143 h 3047670"/>
              <a:gd name="connsiteX117" fmla="*/ 2104802 w 3044273"/>
              <a:gd name="connsiteY117" fmla="*/ 2887636 h 3047670"/>
              <a:gd name="connsiteX118" fmla="*/ 2106435 w 3044273"/>
              <a:gd name="connsiteY118" fmla="*/ 2886128 h 3047670"/>
              <a:gd name="connsiteX119" fmla="*/ 2483053 w 3044273"/>
              <a:gd name="connsiteY119" fmla="*/ 2885373 h 3047670"/>
              <a:gd name="connsiteX120" fmla="*/ 2483682 w 3044273"/>
              <a:gd name="connsiteY120" fmla="*/ 2886001 h 3047670"/>
              <a:gd name="connsiteX121" fmla="*/ 2483053 w 3044273"/>
              <a:gd name="connsiteY121" fmla="*/ 2886630 h 3047670"/>
              <a:gd name="connsiteX122" fmla="*/ 2482425 w 3044273"/>
              <a:gd name="connsiteY122" fmla="*/ 2886001 h 3047670"/>
              <a:gd name="connsiteX123" fmla="*/ 2483053 w 3044273"/>
              <a:gd name="connsiteY123" fmla="*/ 2885373 h 3047670"/>
              <a:gd name="connsiteX124" fmla="*/ 2335429 w 3044273"/>
              <a:gd name="connsiteY124" fmla="*/ 2871432 h 3047670"/>
              <a:gd name="connsiteX125" fmla="*/ 2336058 w 3044273"/>
              <a:gd name="connsiteY125" fmla="*/ 2872060 h 3047670"/>
              <a:gd name="connsiteX126" fmla="*/ 2335429 w 3044273"/>
              <a:gd name="connsiteY126" fmla="*/ 2872689 h 3047670"/>
              <a:gd name="connsiteX127" fmla="*/ 2334801 w 3044273"/>
              <a:gd name="connsiteY127" fmla="*/ 2872060 h 3047670"/>
              <a:gd name="connsiteX128" fmla="*/ 2335429 w 3044273"/>
              <a:gd name="connsiteY128" fmla="*/ 2871432 h 3047670"/>
              <a:gd name="connsiteX129" fmla="*/ 1864125 w 3044273"/>
              <a:gd name="connsiteY129" fmla="*/ 2869549 h 3047670"/>
              <a:gd name="connsiteX130" fmla="*/ 1867895 w 3044273"/>
              <a:gd name="connsiteY130" fmla="*/ 2873319 h 3047670"/>
              <a:gd name="connsiteX131" fmla="*/ 1864125 w 3044273"/>
              <a:gd name="connsiteY131" fmla="*/ 2877087 h 3047670"/>
              <a:gd name="connsiteX132" fmla="*/ 1860356 w 3044273"/>
              <a:gd name="connsiteY132" fmla="*/ 2873319 h 3047670"/>
              <a:gd name="connsiteX133" fmla="*/ 1864125 w 3044273"/>
              <a:gd name="connsiteY133" fmla="*/ 2869549 h 3047670"/>
              <a:gd name="connsiteX134" fmla="*/ 1189323 w 3044273"/>
              <a:gd name="connsiteY134" fmla="*/ 2869549 h 3047670"/>
              <a:gd name="connsiteX135" fmla="*/ 1195478 w 3044273"/>
              <a:gd name="connsiteY135" fmla="*/ 2875704 h 3047670"/>
              <a:gd name="connsiteX136" fmla="*/ 1189323 w 3044273"/>
              <a:gd name="connsiteY136" fmla="*/ 2881859 h 3047670"/>
              <a:gd name="connsiteX137" fmla="*/ 1183041 w 3044273"/>
              <a:gd name="connsiteY137" fmla="*/ 2875704 h 3047670"/>
              <a:gd name="connsiteX138" fmla="*/ 1189323 w 3044273"/>
              <a:gd name="connsiteY138" fmla="*/ 2869549 h 3047670"/>
              <a:gd name="connsiteX139" fmla="*/ 2182937 w 3044273"/>
              <a:gd name="connsiteY139" fmla="*/ 2848067 h 3047670"/>
              <a:gd name="connsiteX140" fmla="*/ 2185449 w 3044273"/>
              <a:gd name="connsiteY140" fmla="*/ 2850455 h 3047670"/>
              <a:gd name="connsiteX141" fmla="*/ 2183063 w 3044273"/>
              <a:gd name="connsiteY141" fmla="*/ 2852842 h 3047670"/>
              <a:gd name="connsiteX142" fmla="*/ 2180676 w 3044273"/>
              <a:gd name="connsiteY142" fmla="*/ 2850455 h 3047670"/>
              <a:gd name="connsiteX143" fmla="*/ 2182937 w 3044273"/>
              <a:gd name="connsiteY143" fmla="*/ 2848067 h 3047670"/>
              <a:gd name="connsiteX144" fmla="*/ 1107422 w 3044273"/>
              <a:gd name="connsiteY144" fmla="*/ 2843796 h 3047670"/>
              <a:gd name="connsiteX145" fmla="*/ 1115210 w 3044273"/>
              <a:gd name="connsiteY145" fmla="*/ 2851584 h 3047670"/>
              <a:gd name="connsiteX146" fmla="*/ 1107547 w 3044273"/>
              <a:gd name="connsiteY146" fmla="*/ 2859373 h 3047670"/>
              <a:gd name="connsiteX147" fmla="*/ 1099758 w 3044273"/>
              <a:gd name="connsiteY147" fmla="*/ 2851710 h 3047670"/>
              <a:gd name="connsiteX148" fmla="*/ 1107422 w 3044273"/>
              <a:gd name="connsiteY148" fmla="*/ 2843796 h 3047670"/>
              <a:gd name="connsiteX149" fmla="*/ 1945774 w 3044273"/>
              <a:gd name="connsiteY149" fmla="*/ 2842288 h 3047670"/>
              <a:gd name="connsiteX150" fmla="*/ 1952181 w 3044273"/>
              <a:gd name="connsiteY150" fmla="*/ 2848694 h 3047670"/>
              <a:gd name="connsiteX151" fmla="*/ 1945774 w 3044273"/>
              <a:gd name="connsiteY151" fmla="*/ 2855099 h 3047670"/>
              <a:gd name="connsiteX152" fmla="*/ 1939367 w 3044273"/>
              <a:gd name="connsiteY152" fmla="*/ 2848694 h 3047670"/>
              <a:gd name="connsiteX153" fmla="*/ 1945774 w 3044273"/>
              <a:gd name="connsiteY153" fmla="*/ 2842288 h 3047670"/>
              <a:gd name="connsiteX154" fmla="*/ 2550112 w 3044273"/>
              <a:gd name="connsiteY154" fmla="*/ 2832866 h 3047670"/>
              <a:gd name="connsiteX155" fmla="*/ 2550739 w 3044273"/>
              <a:gd name="connsiteY155" fmla="*/ 2833494 h 3047670"/>
              <a:gd name="connsiteX156" fmla="*/ 2550112 w 3044273"/>
              <a:gd name="connsiteY156" fmla="*/ 2834121 h 3047670"/>
              <a:gd name="connsiteX157" fmla="*/ 2549484 w 3044273"/>
              <a:gd name="connsiteY157" fmla="*/ 2833494 h 3047670"/>
              <a:gd name="connsiteX158" fmla="*/ 2550112 w 3044273"/>
              <a:gd name="connsiteY158" fmla="*/ 2832866 h 3047670"/>
              <a:gd name="connsiteX159" fmla="*/ 2406151 w 3044273"/>
              <a:gd name="connsiteY159" fmla="*/ 2823573 h 3047670"/>
              <a:gd name="connsiteX160" fmla="*/ 2407030 w 3044273"/>
              <a:gd name="connsiteY160" fmla="*/ 2824453 h 3047670"/>
              <a:gd name="connsiteX161" fmla="*/ 2406151 w 3044273"/>
              <a:gd name="connsiteY161" fmla="*/ 2825332 h 3047670"/>
              <a:gd name="connsiteX162" fmla="*/ 2405271 w 3044273"/>
              <a:gd name="connsiteY162" fmla="*/ 2824453 h 3047670"/>
              <a:gd name="connsiteX163" fmla="*/ 2406151 w 3044273"/>
              <a:gd name="connsiteY163" fmla="*/ 2823573 h 3047670"/>
              <a:gd name="connsiteX164" fmla="*/ 1027151 w 3044273"/>
              <a:gd name="connsiteY164" fmla="*/ 2814905 h 3047670"/>
              <a:gd name="connsiteX165" fmla="*/ 1034940 w 3044273"/>
              <a:gd name="connsiteY165" fmla="*/ 2822569 h 3047670"/>
              <a:gd name="connsiteX166" fmla="*/ 1027276 w 3044273"/>
              <a:gd name="connsiteY166" fmla="*/ 2830356 h 3047670"/>
              <a:gd name="connsiteX167" fmla="*/ 1019489 w 3044273"/>
              <a:gd name="connsiteY167" fmla="*/ 2822694 h 3047670"/>
              <a:gd name="connsiteX168" fmla="*/ 1027151 w 3044273"/>
              <a:gd name="connsiteY168" fmla="*/ 2814905 h 3047670"/>
              <a:gd name="connsiteX169" fmla="*/ 1526472 w 3044273"/>
              <a:gd name="connsiteY169" fmla="*/ 2814026 h 3047670"/>
              <a:gd name="connsiteX170" fmla="*/ 1535389 w 3044273"/>
              <a:gd name="connsiteY170" fmla="*/ 2822819 h 3047670"/>
              <a:gd name="connsiteX171" fmla="*/ 1526597 w 3044273"/>
              <a:gd name="connsiteY171" fmla="*/ 2831737 h 3047670"/>
              <a:gd name="connsiteX172" fmla="*/ 1517678 w 3044273"/>
              <a:gd name="connsiteY172" fmla="*/ 2822945 h 3047670"/>
              <a:gd name="connsiteX173" fmla="*/ 1526472 w 3044273"/>
              <a:gd name="connsiteY173" fmla="*/ 2814026 h 3047670"/>
              <a:gd name="connsiteX174" fmla="*/ 2025790 w 3044273"/>
              <a:gd name="connsiteY174" fmla="*/ 2813776 h 3047670"/>
              <a:gd name="connsiteX175" fmla="*/ 2031065 w 3044273"/>
              <a:gd name="connsiteY175" fmla="*/ 2819050 h 3047670"/>
              <a:gd name="connsiteX176" fmla="*/ 2025790 w 3044273"/>
              <a:gd name="connsiteY176" fmla="*/ 2824327 h 3047670"/>
              <a:gd name="connsiteX177" fmla="*/ 2020388 w 3044273"/>
              <a:gd name="connsiteY177" fmla="*/ 2819050 h 3047670"/>
              <a:gd name="connsiteX178" fmla="*/ 2025790 w 3044273"/>
              <a:gd name="connsiteY178" fmla="*/ 2813776 h 3047670"/>
              <a:gd name="connsiteX179" fmla="*/ 1611639 w 3044273"/>
              <a:gd name="connsiteY179" fmla="*/ 2811640 h 3047670"/>
              <a:gd name="connsiteX180" fmla="*/ 1619804 w 3044273"/>
              <a:gd name="connsiteY180" fmla="*/ 2819806 h 3047670"/>
              <a:gd name="connsiteX181" fmla="*/ 1611639 w 3044273"/>
              <a:gd name="connsiteY181" fmla="*/ 2827972 h 3047670"/>
              <a:gd name="connsiteX182" fmla="*/ 1603474 w 3044273"/>
              <a:gd name="connsiteY182" fmla="*/ 2819806 h 3047670"/>
              <a:gd name="connsiteX183" fmla="*/ 1611639 w 3044273"/>
              <a:gd name="connsiteY183" fmla="*/ 2811640 h 3047670"/>
              <a:gd name="connsiteX184" fmla="*/ 1441179 w 3044273"/>
              <a:gd name="connsiteY184" fmla="*/ 2810760 h 3047670"/>
              <a:gd name="connsiteX185" fmla="*/ 1450726 w 3044273"/>
              <a:gd name="connsiteY185" fmla="*/ 2820181 h 3047670"/>
              <a:gd name="connsiteX186" fmla="*/ 1441305 w 3044273"/>
              <a:gd name="connsiteY186" fmla="*/ 2829728 h 3047670"/>
              <a:gd name="connsiteX187" fmla="*/ 1431758 w 3044273"/>
              <a:gd name="connsiteY187" fmla="*/ 2820307 h 3047670"/>
              <a:gd name="connsiteX188" fmla="*/ 1441179 w 3044273"/>
              <a:gd name="connsiteY188" fmla="*/ 2810760 h 3047670"/>
              <a:gd name="connsiteX189" fmla="*/ 2257423 w 3044273"/>
              <a:gd name="connsiteY189" fmla="*/ 2807494 h 3047670"/>
              <a:gd name="connsiteX190" fmla="*/ 2258555 w 3044273"/>
              <a:gd name="connsiteY190" fmla="*/ 2808624 h 3047670"/>
              <a:gd name="connsiteX191" fmla="*/ 2257423 w 3044273"/>
              <a:gd name="connsiteY191" fmla="*/ 2809754 h 3047670"/>
              <a:gd name="connsiteX192" fmla="*/ 2256293 w 3044273"/>
              <a:gd name="connsiteY192" fmla="*/ 2808624 h 3047670"/>
              <a:gd name="connsiteX193" fmla="*/ 2257423 w 3044273"/>
              <a:gd name="connsiteY193" fmla="*/ 2807494 h 3047670"/>
              <a:gd name="connsiteX194" fmla="*/ 1696430 w 3044273"/>
              <a:gd name="connsiteY194" fmla="*/ 2802847 h 3047670"/>
              <a:gd name="connsiteX195" fmla="*/ 1704219 w 3044273"/>
              <a:gd name="connsiteY195" fmla="*/ 2810511 h 3047670"/>
              <a:gd name="connsiteX196" fmla="*/ 1696555 w 3044273"/>
              <a:gd name="connsiteY196" fmla="*/ 2818299 h 3047670"/>
              <a:gd name="connsiteX197" fmla="*/ 1688767 w 3044273"/>
              <a:gd name="connsiteY197" fmla="*/ 2810636 h 3047670"/>
              <a:gd name="connsiteX198" fmla="*/ 1696430 w 3044273"/>
              <a:gd name="connsiteY198" fmla="*/ 2802847 h 3047670"/>
              <a:gd name="connsiteX199" fmla="*/ 1356389 w 3044273"/>
              <a:gd name="connsiteY199" fmla="*/ 2802092 h 3047670"/>
              <a:gd name="connsiteX200" fmla="*/ 1366187 w 3044273"/>
              <a:gd name="connsiteY200" fmla="*/ 2811764 h 3047670"/>
              <a:gd name="connsiteX201" fmla="*/ 1356514 w 3044273"/>
              <a:gd name="connsiteY201" fmla="*/ 2821563 h 3047670"/>
              <a:gd name="connsiteX202" fmla="*/ 1346717 w 3044273"/>
              <a:gd name="connsiteY202" fmla="*/ 2811890 h 3047670"/>
              <a:gd name="connsiteX203" fmla="*/ 1356389 w 3044273"/>
              <a:gd name="connsiteY203" fmla="*/ 2802092 h 3047670"/>
              <a:gd name="connsiteX204" fmla="*/ 1780465 w 3044273"/>
              <a:gd name="connsiteY204" fmla="*/ 2788150 h 3047670"/>
              <a:gd name="connsiteX205" fmla="*/ 1788002 w 3044273"/>
              <a:gd name="connsiteY205" fmla="*/ 2795686 h 3047670"/>
              <a:gd name="connsiteX206" fmla="*/ 1780465 w 3044273"/>
              <a:gd name="connsiteY206" fmla="*/ 2803223 h 3047670"/>
              <a:gd name="connsiteX207" fmla="*/ 1772928 w 3044273"/>
              <a:gd name="connsiteY207" fmla="*/ 2795686 h 3047670"/>
              <a:gd name="connsiteX208" fmla="*/ 1780465 w 3044273"/>
              <a:gd name="connsiteY208" fmla="*/ 2788150 h 3047670"/>
              <a:gd name="connsiteX209" fmla="*/ 1272353 w 3044273"/>
              <a:gd name="connsiteY209" fmla="*/ 2787649 h 3047670"/>
              <a:gd name="connsiteX210" fmla="*/ 1282403 w 3044273"/>
              <a:gd name="connsiteY210" fmla="*/ 2797572 h 3047670"/>
              <a:gd name="connsiteX211" fmla="*/ 1272479 w 3044273"/>
              <a:gd name="connsiteY211" fmla="*/ 2807494 h 3047670"/>
              <a:gd name="connsiteX212" fmla="*/ 1262429 w 3044273"/>
              <a:gd name="connsiteY212" fmla="*/ 2797572 h 3047670"/>
              <a:gd name="connsiteX213" fmla="*/ 1272353 w 3044273"/>
              <a:gd name="connsiteY213" fmla="*/ 2787649 h 3047670"/>
              <a:gd name="connsiteX214" fmla="*/ 949144 w 3044273"/>
              <a:gd name="connsiteY214" fmla="*/ 2782874 h 3047670"/>
              <a:gd name="connsiteX215" fmla="*/ 954671 w 3044273"/>
              <a:gd name="connsiteY215" fmla="*/ 2788401 h 3047670"/>
              <a:gd name="connsiteX216" fmla="*/ 949144 w 3044273"/>
              <a:gd name="connsiteY216" fmla="*/ 2793928 h 3047670"/>
              <a:gd name="connsiteX217" fmla="*/ 943618 w 3044273"/>
              <a:gd name="connsiteY217" fmla="*/ 2788401 h 3047670"/>
              <a:gd name="connsiteX218" fmla="*/ 949144 w 3044273"/>
              <a:gd name="connsiteY218" fmla="*/ 2782874 h 3047670"/>
              <a:gd name="connsiteX219" fmla="*/ 2103549 w 3044273"/>
              <a:gd name="connsiteY219" fmla="*/ 2780361 h 3047670"/>
              <a:gd name="connsiteX220" fmla="*/ 2107318 w 3044273"/>
              <a:gd name="connsiteY220" fmla="*/ 2784130 h 3047670"/>
              <a:gd name="connsiteX221" fmla="*/ 2103549 w 3044273"/>
              <a:gd name="connsiteY221" fmla="*/ 2787898 h 3047670"/>
              <a:gd name="connsiteX222" fmla="*/ 2099779 w 3044273"/>
              <a:gd name="connsiteY222" fmla="*/ 2784130 h 3047670"/>
              <a:gd name="connsiteX223" fmla="*/ 2103549 w 3044273"/>
              <a:gd name="connsiteY223" fmla="*/ 2780361 h 3047670"/>
              <a:gd name="connsiteX224" fmla="*/ 2474108 w 3044273"/>
              <a:gd name="connsiteY224" fmla="*/ 2772322 h 3047670"/>
              <a:gd name="connsiteX225" fmla="*/ 2474735 w 3044273"/>
              <a:gd name="connsiteY225" fmla="*/ 2772950 h 3047670"/>
              <a:gd name="connsiteX226" fmla="*/ 2474108 w 3044273"/>
              <a:gd name="connsiteY226" fmla="*/ 2773579 h 3047670"/>
              <a:gd name="connsiteX227" fmla="*/ 2473480 w 3044273"/>
              <a:gd name="connsiteY227" fmla="*/ 2772950 h 3047670"/>
              <a:gd name="connsiteX228" fmla="*/ 2474108 w 3044273"/>
              <a:gd name="connsiteY228" fmla="*/ 2772322 h 3047670"/>
              <a:gd name="connsiteX229" fmla="*/ 1189447 w 3044273"/>
              <a:gd name="connsiteY229" fmla="*/ 2768428 h 3047670"/>
              <a:gd name="connsiteX230" fmla="*/ 1198616 w 3044273"/>
              <a:gd name="connsiteY230" fmla="*/ 2777472 h 3047670"/>
              <a:gd name="connsiteX231" fmla="*/ 1189572 w 3044273"/>
              <a:gd name="connsiteY231" fmla="*/ 2786516 h 3047670"/>
              <a:gd name="connsiteX232" fmla="*/ 1180403 w 3044273"/>
              <a:gd name="connsiteY232" fmla="*/ 2777472 h 3047670"/>
              <a:gd name="connsiteX233" fmla="*/ 1189447 w 3044273"/>
              <a:gd name="connsiteY233" fmla="*/ 2768428 h 3047670"/>
              <a:gd name="connsiteX234" fmla="*/ 1863121 w 3044273"/>
              <a:gd name="connsiteY234" fmla="*/ 2767422 h 3047670"/>
              <a:gd name="connsiteX235" fmla="*/ 1870658 w 3044273"/>
              <a:gd name="connsiteY235" fmla="*/ 2774958 h 3047670"/>
              <a:gd name="connsiteX236" fmla="*/ 1863121 w 3044273"/>
              <a:gd name="connsiteY236" fmla="*/ 2782495 h 3047670"/>
              <a:gd name="connsiteX237" fmla="*/ 1855584 w 3044273"/>
              <a:gd name="connsiteY237" fmla="*/ 2774958 h 3047670"/>
              <a:gd name="connsiteX238" fmla="*/ 1863121 w 3044273"/>
              <a:gd name="connsiteY238" fmla="*/ 2767422 h 3047670"/>
              <a:gd name="connsiteX239" fmla="*/ 2329151 w 3044273"/>
              <a:gd name="connsiteY239" fmla="*/ 2761393 h 3047670"/>
              <a:gd name="connsiteX240" fmla="*/ 2330281 w 3044273"/>
              <a:gd name="connsiteY240" fmla="*/ 2762523 h 3047670"/>
              <a:gd name="connsiteX241" fmla="*/ 2329151 w 3044273"/>
              <a:gd name="connsiteY241" fmla="*/ 2763653 h 3047670"/>
              <a:gd name="connsiteX242" fmla="*/ 2328021 w 3044273"/>
              <a:gd name="connsiteY242" fmla="*/ 2762523 h 3047670"/>
              <a:gd name="connsiteX243" fmla="*/ 2329151 w 3044273"/>
              <a:gd name="connsiteY243" fmla="*/ 2761393 h 3047670"/>
              <a:gd name="connsiteX244" fmla="*/ 873401 w 3044273"/>
              <a:gd name="connsiteY244" fmla="*/ 2744309 h 3047670"/>
              <a:gd name="connsiteX245" fmla="*/ 878299 w 3044273"/>
              <a:gd name="connsiteY245" fmla="*/ 2749208 h 3047670"/>
              <a:gd name="connsiteX246" fmla="*/ 873401 w 3044273"/>
              <a:gd name="connsiteY246" fmla="*/ 2754106 h 3047670"/>
              <a:gd name="connsiteX247" fmla="*/ 868502 w 3044273"/>
              <a:gd name="connsiteY247" fmla="*/ 2749208 h 3047670"/>
              <a:gd name="connsiteX248" fmla="*/ 873401 w 3044273"/>
              <a:gd name="connsiteY248" fmla="*/ 2744309 h 3047670"/>
              <a:gd name="connsiteX249" fmla="*/ 1108300 w 3044273"/>
              <a:gd name="connsiteY249" fmla="*/ 2742802 h 3047670"/>
              <a:gd name="connsiteX250" fmla="*/ 1116967 w 3044273"/>
              <a:gd name="connsiteY250" fmla="*/ 2751469 h 3047670"/>
              <a:gd name="connsiteX251" fmla="*/ 1108300 w 3044273"/>
              <a:gd name="connsiteY251" fmla="*/ 2760137 h 3047670"/>
              <a:gd name="connsiteX252" fmla="*/ 1099631 w 3044273"/>
              <a:gd name="connsiteY252" fmla="*/ 2751595 h 3047670"/>
              <a:gd name="connsiteX253" fmla="*/ 1108300 w 3044273"/>
              <a:gd name="connsiteY253" fmla="*/ 2742802 h 3047670"/>
              <a:gd name="connsiteX254" fmla="*/ 2178915 w 3044273"/>
              <a:gd name="connsiteY254" fmla="*/ 2738908 h 3047670"/>
              <a:gd name="connsiteX255" fmla="*/ 2184442 w 3044273"/>
              <a:gd name="connsiteY255" fmla="*/ 2744435 h 3047670"/>
              <a:gd name="connsiteX256" fmla="*/ 2178915 w 3044273"/>
              <a:gd name="connsiteY256" fmla="*/ 2749962 h 3047670"/>
              <a:gd name="connsiteX257" fmla="*/ 2173388 w 3044273"/>
              <a:gd name="connsiteY257" fmla="*/ 2744435 h 3047670"/>
              <a:gd name="connsiteX258" fmla="*/ 2178915 w 3044273"/>
              <a:gd name="connsiteY258" fmla="*/ 2738908 h 3047670"/>
              <a:gd name="connsiteX259" fmla="*/ 1944140 w 3044273"/>
              <a:gd name="connsiteY259" fmla="*/ 2738029 h 3047670"/>
              <a:gd name="connsiteX260" fmla="*/ 1954566 w 3044273"/>
              <a:gd name="connsiteY260" fmla="*/ 2748456 h 3047670"/>
              <a:gd name="connsiteX261" fmla="*/ 1944266 w 3044273"/>
              <a:gd name="connsiteY261" fmla="*/ 2758882 h 3047670"/>
              <a:gd name="connsiteX262" fmla="*/ 1933839 w 3044273"/>
              <a:gd name="connsiteY262" fmla="*/ 2748581 h 3047670"/>
              <a:gd name="connsiteX263" fmla="*/ 1944140 w 3044273"/>
              <a:gd name="connsiteY263" fmla="*/ 2738029 h 3047670"/>
              <a:gd name="connsiteX264" fmla="*/ 2539052 w 3044273"/>
              <a:gd name="connsiteY264" fmla="*/ 2717051 h 3047670"/>
              <a:gd name="connsiteX265" fmla="*/ 2539679 w 3044273"/>
              <a:gd name="connsiteY265" fmla="*/ 2717679 h 3047670"/>
              <a:gd name="connsiteX266" fmla="*/ 2539052 w 3044273"/>
              <a:gd name="connsiteY266" fmla="*/ 2718306 h 3047670"/>
              <a:gd name="connsiteX267" fmla="*/ 2538424 w 3044273"/>
              <a:gd name="connsiteY267" fmla="*/ 2717679 h 3047670"/>
              <a:gd name="connsiteX268" fmla="*/ 2539052 w 3044273"/>
              <a:gd name="connsiteY268" fmla="*/ 2717051 h 3047670"/>
              <a:gd name="connsiteX269" fmla="*/ 1526096 w 3044273"/>
              <a:gd name="connsiteY269" fmla="*/ 2716423 h 3047670"/>
              <a:gd name="connsiteX270" fmla="*/ 1537653 w 3044273"/>
              <a:gd name="connsiteY270" fmla="*/ 2727855 h 3047670"/>
              <a:gd name="connsiteX271" fmla="*/ 1526221 w 3044273"/>
              <a:gd name="connsiteY271" fmla="*/ 2739412 h 3047670"/>
              <a:gd name="connsiteX272" fmla="*/ 1514664 w 3044273"/>
              <a:gd name="connsiteY272" fmla="*/ 2727980 h 3047670"/>
              <a:gd name="connsiteX273" fmla="*/ 1526096 w 3044273"/>
              <a:gd name="connsiteY273" fmla="*/ 2716423 h 3047670"/>
              <a:gd name="connsiteX274" fmla="*/ 1440929 w 3044273"/>
              <a:gd name="connsiteY274" fmla="*/ 2713284 h 3047670"/>
              <a:gd name="connsiteX275" fmla="*/ 1452738 w 3044273"/>
              <a:gd name="connsiteY275" fmla="*/ 2724967 h 3047670"/>
              <a:gd name="connsiteX276" fmla="*/ 1441056 w 3044273"/>
              <a:gd name="connsiteY276" fmla="*/ 2736776 h 3047670"/>
              <a:gd name="connsiteX277" fmla="*/ 1429247 w 3044273"/>
              <a:gd name="connsiteY277" fmla="*/ 2725093 h 3047670"/>
              <a:gd name="connsiteX278" fmla="*/ 1440929 w 3044273"/>
              <a:gd name="connsiteY278" fmla="*/ 2713284 h 3047670"/>
              <a:gd name="connsiteX279" fmla="*/ 1611261 w 3044273"/>
              <a:gd name="connsiteY279" fmla="*/ 2713284 h 3047670"/>
              <a:gd name="connsiteX280" fmla="*/ 1622566 w 3044273"/>
              <a:gd name="connsiteY280" fmla="*/ 2724463 h 3047670"/>
              <a:gd name="connsiteX281" fmla="*/ 1611386 w 3044273"/>
              <a:gd name="connsiteY281" fmla="*/ 2735768 h 3047670"/>
              <a:gd name="connsiteX282" fmla="*/ 1600082 w 3044273"/>
              <a:gd name="connsiteY282" fmla="*/ 2724463 h 3047670"/>
              <a:gd name="connsiteX283" fmla="*/ 1611261 w 3044273"/>
              <a:gd name="connsiteY283" fmla="*/ 2713284 h 3047670"/>
              <a:gd name="connsiteX284" fmla="*/ 1028784 w 3044273"/>
              <a:gd name="connsiteY284" fmla="*/ 2711651 h 3047670"/>
              <a:gd name="connsiteX285" fmla="*/ 1037451 w 3044273"/>
              <a:gd name="connsiteY285" fmla="*/ 2720193 h 3047670"/>
              <a:gd name="connsiteX286" fmla="*/ 1028910 w 3044273"/>
              <a:gd name="connsiteY286" fmla="*/ 2728861 h 3047670"/>
              <a:gd name="connsiteX287" fmla="*/ 1020243 w 3044273"/>
              <a:gd name="connsiteY287" fmla="*/ 2720319 h 3047670"/>
              <a:gd name="connsiteX288" fmla="*/ 1028784 w 3044273"/>
              <a:gd name="connsiteY288" fmla="*/ 2711651 h 3047670"/>
              <a:gd name="connsiteX289" fmla="*/ 2397988 w 3044273"/>
              <a:gd name="connsiteY289" fmla="*/ 2710268 h 3047670"/>
              <a:gd name="connsiteX290" fmla="*/ 2399746 w 3044273"/>
              <a:gd name="connsiteY290" fmla="*/ 2712026 h 3047670"/>
              <a:gd name="connsiteX291" fmla="*/ 2397988 w 3044273"/>
              <a:gd name="connsiteY291" fmla="*/ 2713786 h 3047670"/>
              <a:gd name="connsiteX292" fmla="*/ 2396229 w 3044273"/>
              <a:gd name="connsiteY292" fmla="*/ 2712026 h 3047670"/>
              <a:gd name="connsiteX293" fmla="*/ 2397988 w 3044273"/>
              <a:gd name="connsiteY293" fmla="*/ 2710268 h 3047670"/>
              <a:gd name="connsiteX294" fmla="*/ 2023280 w 3044273"/>
              <a:gd name="connsiteY294" fmla="*/ 2707378 h 3047670"/>
              <a:gd name="connsiteX295" fmla="*/ 2032575 w 3044273"/>
              <a:gd name="connsiteY295" fmla="*/ 2716675 h 3047670"/>
              <a:gd name="connsiteX296" fmla="*/ 2023280 w 3044273"/>
              <a:gd name="connsiteY296" fmla="*/ 2725970 h 3047670"/>
              <a:gd name="connsiteX297" fmla="*/ 2013983 w 3044273"/>
              <a:gd name="connsiteY297" fmla="*/ 2716675 h 3047670"/>
              <a:gd name="connsiteX298" fmla="*/ 2023280 w 3044273"/>
              <a:gd name="connsiteY298" fmla="*/ 2707378 h 3047670"/>
              <a:gd name="connsiteX299" fmla="*/ 1356140 w 3044273"/>
              <a:gd name="connsiteY299" fmla="*/ 2703863 h 3047670"/>
              <a:gd name="connsiteX300" fmla="*/ 1368199 w 3044273"/>
              <a:gd name="connsiteY300" fmla="*/ 2715797 h 3047670"/>
              <a:gd name="connsiteX301" fmla="*/ 1356265 w 3044273"/>
              <a:gd name="connsiteY301" fmla="*/ 2727856 h 3047670"/>
              <a:gd name="connsiteX302" fmla="*/ 1344206 w 3044273"/>
              <a:gd name="connsiteY302" fmla="*/ 2715922 h 3047670"/>
              <a:gd name="connsiteX303" fmla="*/ 1356140 w 3044273"/>
              <a:gd name="connsiteY303" fmla="*/ 2703863 h 3047670"/>
              <a:gd name="connsiteX304" fmla="*/ 1695926 w 3044273"/>
              <a:gd name="connsiteY304" fmla="*/ 2703360 h 3047670"/>
              <a:gd name="connsiteX305" fmla="*/ 1707232 w 3044273"/>
              <a:gd name="connsiteY305" fmla="*/ 2714664 h 3047670"/>
              <a:gd name="connsiteX306" fmla="*/ 1696052 w 3044273"/>
              <a:gd name="connsiteY306" fmla="*/ 2725970 h 3047670"/>
              <a:gd name="connsiteX307" fmla="*/ 1684746 w 3044273"/>
              <a:gd name="connsiteY307" fmla="*/ 2714664 h 3047670"/>
              <a:gd name="connsiteX308" fmla="*/ 1695926 w 3044273"/>
              <a:gd name="connsiteY308" fmla="*/ 2703360 h 3047670"/>
              <a:gd name="connsiteX309" fmla="*/ 800417 w 3044273"/>
              <a:gd name="connsiteY309" fmla="*/ 2701727 h 3047670"/>
              <a:gd name="connsiteX310" fmla="*/ 803934 w 3044273"/>
              <a:gd name="connsiteY310" fmla="*/ 2705244 h 3047670"/>
              <a:gd name="connsiteX311" fmla="*/ 800417 w 3044273"/>
              <a:gd name="connsiteY311" fmla="*/ 2708762 h 3047670"/>
              <a:gd name="connsiteX312" fmla="*/ 796899 w 3044273"/>
              <a:gd name="connsiteY312" fmla="*/ 2705244 h 3047670"/>
              <a:gd name="connsiteX313" fmla="*/ 800417 w 3044273"/>
              <a:gd name="connsiteY313" fmla="*/ 2701727 h 3047670"/>
              <a:gd name="connsiteX314" fmla="*/ 2251646 w 3044273"/>
              <a:gd name="connsiteY314" fmla="*/ 2696451 h 3047670"/>
              <a:gd name="connsiteX315" fmla="*/ 2255164 w 3044273"/>
              <a:gd name="connsiteY315" fmla="*/ 2699968 h 3047670"/>
              <a:gd name="connsiteX316" fmla="*/ 2251646 w 3044273"/>
              <a:gd name="connsiteY316" fmla="*/ 2703486 h 3047670"/>
              <a:gd name="connsiteX317" fmla="*/ 2248129 w 3044273"/>
              <a:gd name="connsiteY317" fmla="*/ 2699968 h 3047670"/>
              <a:gd name="connsiteX318" fmla="*/ 2251646 w 3044273"/>
              <a:gd name="connsiteY318" fmla="*/ 2696451 h 3047670"/>
              <a:gd name="connsiteX319" fmla="*/ 1272226 w 3044273"/>
              <a:gd name="connsiteY319" fmla="*/ 2688537 h 3047670"/>
              <a:gd name="connsiteX320" fmla="*/ 1284035 w 3044273"/>
              <a:gd name="connsiteY320" fmla="*/ 2700220 h 3047670"/>
              <a:gd name="connsiteX321" fmla="*/ 1272353 w 3044273"/>
              <a:gd name="connsiteY321" fmla="*/ 2712029 h 3047670"/>
              <a:gd name="connsiteX322" fmla="*/ 1260544 w 3044273"/>
              <a:gd name="connsiteY322" fmla="*/ 2700346 h 3047670"/>
              <a:gd name="connsiteX323" fmla="*/ 1272226 w 3044273"/>
              <a:gd name="connsiteY323" fmla="*/ 2688537 h 3047670"/>
              <a:gd name="connsiteX324" fmla="*/ 1779588 w 3044273"/>
              <a:gd name="connsiteY324" fmla="*/ 2687406 h 3047670"/>
              <a:gd name="connsiteX325" fmla="*/ 1790768 w 3044273"/>
              <a:gd name="connsiteY325" fmla="*/ 2698460 h 3047670"/>
              <a:gd name="connsiteX326" fmla="*/ 1779713 w 3044273"/>
              <a:gd name="connsiteY326" fmla="*/ 2709515 h 3047670"/>
              <a:gd name="connsiteX327" fmla="*/ 1768658 w 3044273"/>
              <a:gd name="connsiteY327" fmla="*/ 2698460 h 3047670"/>
              <a:gd name="connsiteX328" fmla="*/ 1779588 w 3044273"/>
              <a:gd name="connsiteY328" fmla="*/ 2687406 h 3047670"/>
              <a:gd name="connsiteX329" fmla="*/ 951909 w 3044273"/>
              <a:gd name="connsiteY329" fmla="*/ 2676729 h 3047670"/>
              <a:gd name="connsiteX330" fmla="*/ 958817 w 3044273"/>
              <a:gd name="connsiteY330" fmla="*/ 2683512 h 3047670"/>
              <a:gd name="connsiteX331" fmla="*/ 952034 w 3044273"/>
              <a:gd name="connsiteY331" fmla="*/ 2690421 h 3047670"/>
              <a:gd name="connsiteX332" fmla="*/ 945125 w 3044273"/>
              <a:gd name="connsiteY332" fmla="*/ 2683638 h 3047670"/>
              <a:gd name="connsiteX333" fmla="*/ 951909 w 3044273"/>
              <a:gd name="connsiteY333" fmla="*/ 2676729 h 3047670"/>
              <a:gd name="connsiteX334" fmla="*/ 2100027 w 3044273"/>
              <a:gd name="connsiteY334" fmla="*/ 2671828 h 3047670"/>
              <a:gd name="connsiteX335" fmla="*/ 2107815 w 3044273"/>
              <a:gd name="connsiteY335" fmla="*/ 2679492 h 3047670"/>
              <a:gd name="connsiteX336" fmla="*/ 2100027 w 3044273"/>
              <a:gd name="connsiteY336" fmla="*/ 2687279 h 3047670"/>
              <a:gd name="connsiteX337" fmla="*/ 2092240 w 3044273"/>
              <a:gd name="connsiteY337" fmla="*/ 2679492 h 3047670"/>
              <a:gd name="connsiteX338" fmla="*/ 2100027 w 3044273"/>
              <a:gd name="connsiteY338" fmla="*/ 2671828 h 3047670"/>
              <a:gd name="connsiteX339" fmla="*/ 1189824 w 3044273"/>
              <a:gd name="connsiteY339" fmla="*/ 2668313 h 3047670"/>
              <a:gd name="connsiteX340" fmla="*/ 1200251 w 3044273"/>
              <a:gd name="connsiteY340" fmla="*/ 2678612 h 3047670"/>
              <a:gd name="connsiteX341" fmla="*/ 1189824 w 3044273"/>
              <a:gd name="connsiteY341" fmla="*/ 2689038 h 3047670"/>
              <a:gd name="connsiteX342" fmla="*/ 1179398 w 3044273"/>
              <a:gd name="connsiteY342" fmla="*/ 2678612 h 3047670"/>
              <a:gd name="connsiteX343" fmla="*/ 1189824 w 3044273"/>
              <a:gd name="connsiteY343" fmla="*/ 2668313 h 3047670"/>
              <a:gd name="connsiteX344" fmla="*/ 1861864 w 3044273"/>
              <a:gd name="connsiteY344" fmla="*/ 2665047 h 3047670"/>
              <a:gd name="connsiteX345" fmla="*/ 1873044 w 3044273"/>
              <a:gd name="connsiteY345" fmla="*/ 2676101 h 3047670"/>
              <a:gd name="connsiteX346" fmla="*/ 1861989 w 3044273"/>
              <a:gd name="connsiteY346" fmla="*/ 2687156 h 3047670"/>
              <a:gd name="connsiteX347" fmla="*/ 1850934 w 3044273"/>
              <a:gd name="connsiteY347" fmla="*/ 2676101 h 3047670"/>
              <a:gd name="connsiteX348" fmla="*/ 1861864 w 3044273"/>
              <a:gd name="connsiteY348" fmla="*/ 2665047 h 3047670"/>
              <a:gd name="connsiteX349" fmla="*/ 588127 w 3044273"/>
              <a:gd name="connsiteY349" fmla="*/ 2662031 h 3047670"/>
              <a:gd name="connsiteX350" fmla="*/ 590513 w 3044273"/>
              <a:gd name="connsiteY350" fmla="*/ 2664418 h 3047670"/>
              <a:gd name="connsiteX351" fmla="*/ 588127 w 3044273"/>
              <a:gd name="connsiteY351" fmla="*/ 2666931 h 3047670"/>
              <a:gd name="connsiteX352" fmla="*/ 585741 w 3044273"/>
              <a:gd name="connsiteY352" fmla="*/ 2664544 h 3047670"/>
              <a:gd name="connsiteX353" fmla="*/ 588127 w 3044273"/>
              <a:gd name="connsiteY353" fmla="*/ 2662031 h 3047670"/>
              <a:gd name="connsiteX354" fmla="*/ 2600854 w 3044273"/>
              <a:gd name="connsiteY354" fmla="*/ 2657761 h 3047670"/>
              <a:gd name="connsiteX355" fmla="*/ 2601984 w 3044273"/>
              <a:gd name="connsiteY355" fmla="*/ 2658891 h 3047670"/>
              <a:gd name="connsiteX356" fmla="*/ 2600854 w 3044273"/>
              <a:gd name="connsiteY356" fmla="*/ 2660021 h 3047670"/>
              <a:gd name="connsiteX357" fmla="*/ 2599724 w 3044273"/>
              <a:gd name="connsiteY357" fmla="*/ 2658891 h 3047670"/>
              <a:gd name="connsiteX358" fmla="*/ 2600854 w 3044273"/>
              <a:gd name="connsiteY358" fmla="*/ 2657761 h 3047670"/>
              <a:gd name="connsiteX359" fmla="*/ 2463685 w 3044273"/>
              <a:gd name="connsiteY359" fmla="*/ 2655374 h 3047670"/>
              <a:gd name="connsiteX360" fmla="*/ 2465945 w 3044273"/>
              <a:gd name="connsiteY360" fmla="*/ 2657636 h 3047670"/>
              <a:gd name="connsiteX361" fmla="*/ 2463685 w 3044273"/>
              <a:gd name="connsiteY361" fmla="*/ 2659896 h 3047670"/>
              <a:gd name="connsiteX362" fmla="*/ 2461423 w 3044273"/>
              <a:gd name="connsiteY362" fmla="*/ 2657636 h 3047670"/>
              <a:gd name="connsiteX363" fmla="*/ 2463685 w 3044273"/>
              <a:gd name="connsiteY363" fmla="*/ 2655374 h 3047670"/>
              <a:gd name="connsiteX364" fmla="*/ 730198 w 3044273"/>
              <a:gd name="connsiteY364" fmla="*/ 2652360 h 3047670"/>
              <a:gd name="connsiteX365" fmla="*/ 734595 w 3044273"/>
              <a:gd name="connsiteY365" fmla="*/ 2656757 h 3047670"/>
              <a:gd name="connsiteX366" fmla="*/ 730198 w 3044273"/>
              <a:gd name="connsiteY366" fmla="*/ 2661154 h 3047670"/>
              <a:gd name="connsiteX367" fmla="*/ 725802 w 3044273"/>
              <a:gd name="connsiteY367" fmla="*/ 2656757 h 3047670"/>
              <a:gd name="connsiteX368" fmla="*/ 730198 w 3044273"/>
              <a:gd name="connsiteY368" fmla="*/ 2652360 h 3047670"/>
              <a:gd name="connsiteX369" fmla="*/ 2321490 w 3044273"/>
              <a:gd name="connsiteY369" fmla="*/ 2643819 h 3047670"/>
              <a:gd name="connsiteX370" fmla="*/ 2328526 w 3044273"/>
              <a:gd name="connsiteY370" fmla="*/ 2650854 h 3047670"/>
              <a:gd name="connsiteX371" fmla="*/ 2321490 w 3044273"/>
              <a:gd name="connsiteY371" fmla="*/ 2658013 h 3047670"/>
              <a:gd name="connsiteX372" fmla="*/ 2314455 w 3044273"/>
              <a:gd name="connsiteY372" fmla="*/ 2650979 h 3047670"/>
              <a:gd name="connsiteX373" fmla="*/ 2321490 w 3044273"/>
              <a:gd name="connsiteY373" fmla="*/ 2643819 h 3047670"/>
              <a:gd name="connsiteX374" fmla="*/ 1109179 w 3044273"/>
              <a:gd name="connsiteY374" fmla="*/ 2639421 h 3047670"/>
              <a:gd name="connsiteX375" fmla="*/ 1120485 w 3044273"/>
              <a:gd name="connsiteY375" fmla="*/ 2650727 h 3047670"/>
              <a:gd name="connsiteX376" fmla="*/ 1109305 w 3044273"/>
              <a:gd name="connsiteY376" fmla="*/ 2662032 h 3047670"/>
              <a:gd name="connsiteX377" fmla="*/ 1098000 w 3044273"/>
              <a:gd name="connsiteY377" fmla="*/ 2650727 h 3047670"/>
              <a:gd name="connsiteX378" fmla="*/ 1109179 w 3044273"/>
              <a:gd name="connsiteY378" fmla="*/ 2639421 h 3047670"/>
              <a:gd name="connsiteX379" fmla="*/ 877671 w 3044273"/>
              <a:gd name="connsiteY379" fmla="*/ 2635654 h 3047670"/>
              <a:gd name="connsiteX380" fmla="*/ 883700 w 3044273"/>
              <a:gd name="connsiteY380" fmla="*/ 2641558 h 3047670"/>
              <a:gd name="connsiteX381" fmla="*/ 877796 w 3044273"/>
              <a:gd name="connsiteY381" fmla="*/ 2647587 h 3047670"/>
              <a:gd name="connsiteX382" fmla="*/ 871767 w 3044273"/>
              <a:gd name="connsiteY382" fmla="*/ 2641683 h 3047670"/>
              <a:gd name="connsiteX383" fmla="*/ 877671 w 3044273"/>
              <a:gd name="connsiteY383" fmla="*/ 2635654 h 3047670"/>
              <a:gd name="connsiteX384" fmla="*/ 1942382 w 3044273"/>
              <a:gd name="connsiteY384" fmla="*/ 2634144 h 3047670"/>
              <a:gd name="connsiteX385" fmla="*/ 1955949 w 3044273"/>
              <a:gd name="connsiteY385" fmla="*/ 2647585 h 3047670"/>
              <a:gd name="connsiteX386" fmla="*/ 1942508 w 3044273"/>
              <a:gd name="connsiteY386" fmla="*/ 2661151 h 3047670"/>
              <a:gd name="connsiteX387" fmla="*/ 1928941 w 3044273"/>
              <a:gd name="connsiteY387" fmla="*/ 2647710 h 3047670"/>
              <a:gd name="connsiteX388" fmla="*/ 1942382 w 3044273"/>
              <a:gd name="connsiteY388" fmla="*/ 2634144 h 3047670"/>
              <a:gd name="connsiteX389" fmla="*/ 2173891 w 3044273"/>
              <a:gd name="connsiteY389" fmla="*/ 2627235 h 3047670"/>
              <a:gd name="connsiteX390" fmla="*/ 2183689 w 3044273"/>
              <a:gd name="connsiteY390" fmla="*/ 2636907 h 3047670"/>
              <a:gd name="connsiteX391" fmla="*/ 2174017 w 3044273"/>
              <a:gd name="connsiteY391" fmla="*/ 2646705 h 3047670"/>
              <a:gd name="connsiteX392" fmla="*/ 2164219 w 3044273"/>
              <a:gd name="connsiteY392" fmla="*/ 2637032 h 3047670"/>
              <a:gd name="connsiteX393" fmla="*/ 2173891 w 3044273"/>
              <a:gd name="connsiteY393" fmla="*/ 2627235 h 3047670"/>
              <a:gd name="connsiteX394" fmla="*/ 1525719 w 3044273"/>
              <a:gd name="connsiteY394" fmla="*/ 2618820 h 3047670"/>
              <a:gd name="connsiteX395" fmla="*/ 1539913 w 3044273"/>
              <a:gd name="connsiteY395" fmla="*/ 2632888 h 3047670"/>
              <a:gd name="connsiteX396" fmla="*/ 1525844 w 3044273"/>
              <a:gd name="connsiteY396" fmla="*/ 2647084 h 3047670"/>
              <a:gd name="connsiteX397" fmla="*/ 1511650 w 3044273"/>
              <a:gd name="connsiteY397" fmla="*/ 2633015 h 3047670"/>
              <a:gd name="connsiteX398" fmla="*/ 1525719 w 3044273"/>
              <a:gd name="connsiteY398" fmla="*/ 2618820 h 3047670"/>
              <a:gd name="connsiteX399" fmla="*/ 1440425 w 3044273"/>
              <a:gd name="connsiteY399" fmla="*/ 2615681 h 3047670"/>
              <a:gd name="connsiteX400" fmla="*/ 1454619 w 3044273"/>
              <a:gd name="connsiteY400" fmla="*/ 2629749 h 3047670"/>
              <a:gd name="connsiteX401" fmla="*/ 1440550 w 3044273"/>
              <a:gd name="connsiteY401" fmla="*/ 2643945 h 3047670"/>
              <a:gd name="connsiteX402" fmla="*/ 1426356 w 3044273"/>
              <a:gd name="connsiteY402" fmla="*/ 2629876 h 3047670"/>
              <a:gd name="connsiteX403" fmla="*/ 1440425 w 3044273"/>
              <a:gd name="connsiteY403" fmla="*/ 2615681 h 3047670"/>
              <a:gd name="connsiteX404" fmla="*/ 1610886 w 3044273"/>
              <a:gd name="connsiteY404" fmla="*/ 2615053 h 3047670"/>
              <a:gd name="connsiteX405" fmla="*/ 1625080 w 3044273"/>
              <a:gd name="connsiteY405" fmla="*/ 2629121 h 3047670"/>
              <a:gd name="connsiteX406" fmla="*/ 1611011 w 3044273"/>
              <a:gd name="connsiteY406" fmla="*/ 2643317 h 3047670"/>
              <a:gd name="connsiteX407" fmla="*/ 1596817 w 3044273"/>
              <a:gd name="connsiteY407" fmla="*/ 2629248 h 3047670"/>
              <a:gd name="connsiteX408" fmla="*/ 1610886 w 3044273"/>
              <a:gd name="connsiteY408" fmla="*/ 2615053 h 3047670"/>
              <a:gd name="connsiteX409" fmla="*/ 1031045 w 3044273"/>
              <a:gd name="connsiteY409" fmla="*/ 2607390 h 3047670"/>
              <a:gd name="connsiteX410" fmla="*/ 1040592 w 3044273"/>
              <a:gd name="connsiteY410" fmla="*/ 2616937 h 3047670"/>
              <a:gd name="connsiteX411" fmla="*/ 1031045 w 3044273"/>
              <a:gd name="connsiteY411" fmla="*/ 2626484 h 3047670"/>
              <a:gd name="connsiteX412" fmla="*/ 1021498 w 3044273"/>
              <a:gd name="connsiteY412" fmla="*/ 2616937 h 3047670"/>
              <a:gd name="connsiteX413" fmla="*/ 1031045 w 3044273"/>
              <a:gd name="connsiteY413" fmla="*/ 2607390 h 3047670"/>
              <a:gd name="connsiteX414" fmla="*/ 1355885 w 3044273"/>
              <a:gd name="connsiteY414" fmla="*/ 2606134 h 3047670"/>
              <a:gd name="connsiteX415" fmla="*/ 1369452 w 3044273"/>
              <a:gd name="connsiteY415" fmla="*/ 2619575 h 3047670"/>
              <a:gd name="connsiteX416" fmla="*/ 1356011 w 3044273"/>
              <a:gd name="connsiteY416" fmla="*/ 2633141 h 3047670"/>
              <a:gd name="connsiteX417" fmla="*/ 1342444 w 3044273"/>
              <a:gd name="connsiteY417" fmla="*/ 2619700 h 3047670"/>
              <a:gd name="connsiteX418" fmla="*/ 1355885 w 3044273"/>
              <a:gd name="connsiteY418" fmla="*/ 2606134 h 3047670"/>
              <a:gd name="connsiteX419" fmla="*/ 525447 w 3044273"/>
              <a:gd name="connsiteY419" fmla="*/ 2605003 h 3047670"/>
              <a:gd name="connsiteX420" fmla="*/ 527205 w 3044273"/>
              <a:gd name="connsiteY420" fmla="*/ 2606761 h 3047670"/>
              <a:gd name="connsiteX421" fmla="*/ 525447 w 3044273"/>
              <a:gd name="connsiteY421" fmla="*/ 2608521 h 3047670"/>
              <a:gd name="connsiteX422" fmla="*/ 523688 w 3044273"/>
              <a:gd name="connsiteY422" fmla="*/ 2606761 h 3047670"/>
              <a:gd name="connsiteX423" fmla="*/ 525447 w 3044273"/>
              <a:gd name="connsiteY423" fmla="*/ 2605003 h 3047670"/>
              <a:gd name="connsiteX424" fmla="*/ 1695423 w 3044273"/>
              <a:gd name="connsiteY424" fmla="*/ 2604374 h 3047670"/>
              <a:gd name="connsiteX425" fmla="*/ 1709617 w 3044273"/>
              <a:gd name="connsiteY425" fmla="*/ 2618442 h 3047670"/>
              <a:gd name="connsiteX426" fmla="*/ 1695548 w 3044273"/>
              <a:gd name="connsiteY426" fmla="*/ 2632638 h 3047670"/>
              <a:gd name="connsiteX427" fmla="*/ 1681354 w 3044273"/>
              <a:gd name="connsiteY427" fmla="*/ 2618569 h 3047670"/>
              <a:gd name="connsiteX428" fmla="*/ 1695423 w 3044273"/>
              <a:gd name="connsiteY428" fmla="*/ 2604374 h 3047670"/>
              <a:gd name="connsiteX429" fmla="*/ 2020390 w 3044273"/>
              <a:gd name="connsiteY429" fmla="*/ 2600230 h 3047670"/>
              <a:gd name="connsiteX430" fmla="*/ 2033454 w 3044273"/>
              <a:gd name="connsiteY430" fmla="*/ 2613294 h 3047670"/>
              <a:gd name="connsiteX431" fmla="*/ 2020390 w 3044273"/>
              <a:gd name="connsiteY431" fmla="*/ 2626358 h 3047670"/>
              <a:gd name="connsiteX432" fmla="*/ 2007326 w 3044273"/>
              <a:gd name="connsiteY432" fmla="*/ 2613294 h 3047670"/>
              <a:gd name="connsiteX433" fmla="*/ 2020390 w 3044273"/>
              <a:gd name="connsiteY433" fmla="*/ 2600230 h 3047670"/>
              <a:gd name="connsiteX434" fmla="*/ 663497 w 3044273"/>
              <a:gd name="connsiteY434" fmla="*/ 2600230 h 3047670"/>
              <a:gd name="connsiteX435" fmla="*/ 667015 w 3044273"/>
              <a:gd name="connsiteY435" fmla="*/ 2603747 h 3047670"/>
              <a:gd name="connsiteX436" fmla="*/ 663497 w 3044273"/>
              <a:gd name="connsiteY436" fmla="*/ 2607265 h 3047670"/>
              <a:gd name="connsiteX437" fmla="*/ 659855 w 3044273"/>
              <a:gd name="connsiteY437" fmla="*/ 2603747 h 3047670"/>
              <a:gd name="connsiteX438" fmla="*/ 663497 w 3044273"/>
              <a:gd name="connsiteY438" fmla="*/ 2600230 h 3047670"/>
              <a:gd name="connsiteX439" fmla="*/ 2525864 w 3044273"/>
              <a:gd name="connsiteY439" fmla="*/ 2597341 h 3047670"/>
              <a:gd name="connsiteX440" fmla="*/ 2528126 w 3044273"/>
              <a:gd name="connsiteY440" fmla="*/ 2599476 h 3047670"/>
              <a:gd name="connsiteX441" fmla="*/ 2525989 w 3044273"/>
              <a:gd name="connsiteY441" fmla="*/ 2601738 h 3047670"/>
              <a:gd name="connsiteX442" fmla="*/ 2523728 w 3044273"/>
              <a:gd name="connsiteY442" fmla="*/ 2599476 h 3047670"/>
              <a:gd name="connsiteX443" fmla="*/ 2525864 w 3044273"/>
              <a:gd name="connsiteY443" fmla="*/ 2597341 h 3047670"/>
              <a:gd name="connsiteX444" fmla="*/ 2659138 w 3044273"/>
              <a:gd name="connsiteY444" fmla="*/ 2596083 h 3047670"/>
              <a:gd name="connsiteX445" fmla="*/ 2659767 w 3044273"/>
              <a:gd name="connsiteY445" fmla="*/ 2596711 h 3047670"/>
              <a:gd name="connsiteX446" fmla="*/ 2659138 w 3044273"/>
              <a:gd name="connsiteY446" fmla="*/ 2597466 h 3047670"/>
              <a:gd name="connsiteX447" fmla="*/ 2658510 w 3044273"/>
              <a:gd name="connsiteY447" fmla="*/ 2596711 h 3047670"/>
              <a:gd name="connsiteX448" fmla="*/ 2659138 w 3044273"/>
              <a:gd name="connsiteY448" fmla="*/ 2596083 h 3047670"/>
              <a:gd name="connsiteX449" fmla="*/ 2388064 w 3044273"/>
              <a:gd name="connsiteY449" fmla="*/ 2593572 h 3047670"/>
              <a:gd name="connsiteX450" fmla="*/ 2392084 w 3044273"/>
              <a:gd name="connsiteY450" fmla="*/ 2597592 h 3047670"/>
              <a:gd name="connsiteX451" fmla="*/ 2388064 w 3044273"/>
              <a:gd name="connsiteY451" fmla="*/ 2601612 h 3047670"/>
              <a:gd name="connsiteX452" fmla="*/ 2384044 w 3044273"/>
              <a:gd name="connsiteY452" fmla="*/ 2597592 h 3047670"/>
              <a:gd name="connsiteX453" fmla="*/ 2388064 w 3044273"/>
              <a:gd name="connsiteY453" fmla="*/ 2593572 h 3047670"/>
              <a:gd name="connsiteX454" fmla="*/ 1272226 w 3044273"/>
              <a:gd name="connsiteY454" fmla="*/ 2590306 h 3047670"/>
              <a:gd name="connsiteX455" fmla="*/ 1284662 w 3044273"/>
              <a:gd name="connsiteY455" fmla="*/ 2602616 h 3047670"/>
              <a:gd name="connsiteX456" fmla="*/ 1272353 w 3044273"/>
              <a:gd name="connsiteY456" fmla="*/ 2615052 h 3047670"/>
              <a:gd name="connsiteX457" fmla="*/ 1259917 w 3044273"/>
              <a:gd name="connsiteY457" fmla="*/ 2602742 h 3047670"/>
              <a:gd name="connsiteX458" fmla="*/ 1272226 w 3044273"/>
              <a:gd name="connsiteY458" fmla="*/ 2590306 h 3047670"/>
              <a:gd name="connsiteX459" fmla="*/ 806573 w 3044273"/>
              <a:gd name="connsiteY459" fmla="*/ 2590306 h 3047670"/>
              <a:gd name="connsiteX460" fmla="*/ 810970 w 3044273"/>
              <a:gd name="connsiteY460" fmla="*/ 2594703 h 3047670"/>
              <a:gd name="connsiteX461" fmla="*/ 806573 w 3044273"/>
              <a:gd name="connsiteY461" fmla="*/ 2599098 h 3047670"/>
              <a:gd name="connsiteX462" fmla="*/ 802176 w 3044273"/>
              <a:gd name="connsiteY462" fmla="*/ 2594703 h 3047670"/>
              <a:gd name="connsiteX463" fmla="*/ 806573 w 3044273"/>
              <a:gd name="connsiteY463" fmla="*/ 2590306 h 3047670"/>
              <a:gd name="connsiteX464" fmla="*/ 1778958 w 3044273"/>
              <a:gd name="connsiteY464" fmla="*/ 2586914 h 3047670"/>
              <a:gd name="connsiteX465" fmla="*/ 1792902 w 3044273"/>
              <a:gd name="connsiteY465" fmla="*/ 2600857 h 3047670"/>
              <a:gd name="connsiteX466" fmla="*/ 1778958 w 3044273"/>
              <a:gd name="connsiteY466" fmla="*/ 2614801 h 3047670"/>
              <a:gd name="connsiteX467" fmla="*/ 1765014 w 3044273"/>
              <a:gd name="connsiteY467" fmla="*/ 2600857 h 3047670"/>
              <a:gd name="connsiteX468" fmla="*/ 1778958 w 3044273"/>
              <a:gd name="connsiteY468" fmla="*/ 2586914 h 3047670"/>
              <a:gd name="connsiteX469" fmla="*/ 2244737 w 3044273"/>
              <a:gd name="connsiteY469" fmla="*/ 2579629 h 3047670"/>
              <a:gd name="connsiteX470" fmla="*/ 2254536 w 3044273"/>
              <a:gd name="connsiteY470" fmla="*/ 2589301 h 3047670"/>
              <a:gd name="connsiteX471" fmla="*/ 2244864 w 3044273"/>
              <a:gd name="connsiteY471" fmla="*/ 2599100 h 3047670"/>
              <a:gd name="connsiteX472" fmla="*/ 2235065 w 3044273"/>
              <a:gd name="connsiteY472" fmla="*/ 2589427 h 3047670"/>
              <a:gd name="connsiteX473" fmla="*/ 2244737 w 3044273"/>
              <a:gd name="connsiteY473" fmla="*/ 2579629 h 3047670"/>
              <a:gd name="connsiteX474" fmla="*/ 955426 w 3044273"/>
              <a:gd name="connsiteY474" fmla="*/ 2569453 h 3047670"/>
              <a:gd name="connsiteX475" fmla="*/ 963215 w 3044273"/>
              <a:gd name="connsiteY475" fmla="*/ 2577241 h 3047670"/>
              <a:gd name="connsiteX476" fmla="*/ 955553 w 3044273"/>
              <a:gd name="connsiteY476" fmla="*/ 2585030 h 3047670"/>
              <a:gd name="connsiteX477" fmla="*/ 947764 w 3044273"/>
              <a:gd name="connsiteY477" fmla="*/ 2577367 h 3047670"/>
              <a:gd name="connsiteX478" fmla="*/ 955426 w 3044273"/>
              <a:gd name="connsiteY478" fmla="*/ 2569453 h 3047670"/>
              <a:gd name="connsiteX479" fmla="*/ 1190451 w 3044273"/>
              <a:gd name="connsiteY479" fmla="*/ 2567821 h 3047670"/>
              <a:gd name="connsiteX480" fmla="*/ 1201757 w 3044273"/>
              <a:gd name="connsiteY480" fmla="*/ 2579000 h 3047670"/>
              <a:gd name="connsiteX481" fmla="*/ 1190451 w 3044273"/>
              <a:gd name="connsiteY481" fmla="*/ 2590307 h 3047670"/>
              <a:gd name="connsiteX482" fmla="*/ 1179146 w 3044273"/>
              <a:gd name="connsiteY482" fmla="*/ 2579000 h 3047670"/>
              <a:gd name="connsiteX483" fmla="*/ 1190451 w 3044273"/>
              <a:gd name="connsiteY483" fmla="*/ 2567821 h 3047670"/>
              <a:gd name="connsiteX484" fmla="*/ 1860606 w 3044273"/>
              <a:gd name="connsiteY484" fmla="*/ 2562798 h 3047670"/>
              <a:gd name="connsiteX485" fmla="*/ 1874677 w 3044273"/>
              <a:gd name="connsiteY485" fmla="*/ 2576615 h 3047670"/>
              <a:gd name="connsiteX486" fmla="*/ 1860733 w 3044273"/>
              <a:gd name="connsiteY486" fmla="*/ 2590559 h 3047670"/>
              <a:gd name="connsiteX487" fmla="*/ 1846789 w 3044273"/>
              <a:gd name="connsiteY487" fmla="*/ 2576615 h 3047670"/>
              <a:gd name="connsiteX488" fmla="*/ 1860606 w 3044273"/>
              <a:gd name="connsiteY488" fmla="*/ 2562798 h 3047670"/>
              <a:gd name="connsiteX489" fmla="*/ 2095633 w 3044273"/>
              <a:gd name="connsiteY489" fmla="*/ 2561667 h 3047670"/>
              <a:gd name="connsiteX490" fmla="*/ 2107189 w 3044273"/>
              <a:gd name="connsiteY490" fmla="*/ 2573097 h 3047670"/>
              <a:gd name="connsiteX491" fmla="*/ 2095759 w 3044273"/>
              <a:gd name="connsiteY491" fmla="*/ 2584654 h 3047670"/>
              <a:gd name="connsiteX492" fmla="*/ 2084203 w 3044273"/>
              <a:gd name="connsiteY492" fmla="*/ 2573224 h 3047670"/>
              <a:gd name="connsiteX493" fmla="*/ 2095633 w 3044273"/>
              <a:gd name="connsiteY493" fmla="*/ 2561667 h 3047670"/>
              <a:gd name="connsiteX494" fmla="*/ 600060 w 3044273"/>
              <a:gd name="connsiteY494" fmla="*/ 2542950 h 3047670"/>
              <a:gd name="connsiteX495" fmla="*/ 603830 w 3044273"/>
              <a:gd name="connsiteY495" fmla="*/ 2546720 h 3047670"/>
              <a:gd name="connsiteX496" fmla="*/ 600060 w 3044273"/>
              <a:gd name="connsiteY496" fmla="*/ 2550488 h 3047670"/>
              <a:gd name="connsiteX497" fmla="*/ 596292 w 3044273"/>
              <a:gd name="connsiteY497" fmla="*/ 2546720 h 3047670"/>
              <a:gd name="connsiteX498" fmla="*/ 600060 w 3044273"/>
              <a:gd name="connsiteY498" fmla="*/ 2542950 h 3047670"/>
              <a:gd name="connsiteX499" fmla="*/ 466407 w 3044273"/>
              <a:gd name="connsiteY499" fmla="*/ 2542195 h 3047670"/>
              <a:gd name="connsiteX500" fmla="*/ 469548 w 3044273"/>
              <a:gd name="connsiteY500" fmla="*/ 2545335 h 3047670"/>
              <a:gd name="connsiteX501" fmla="*/ 466407 w 3044273"/>
              <a:gd name="connsiteY501" fmla="*/ 2548477 h 3047670"/>
              <a:gd name="connsiteX502" fmla="*/ 463267 w 3044273"/>
              <a:gd name="connsiteY502" fmla="*/ 2545335 h 3047670"/>
              <a:gd name="connsiteX503" fmla="*/ 466407 w 3044273"/>
              <a:gd name="connsiteY503" fmla="*/ 2542195 h 3047670"/>
              <a:gd name="connsiteX504" fmla="*/ 738740 w 3044273"/>
              <a:gd name="connsiteY504" fmla="*/ 2536667 h 3047670"/>
              <a:gd name="connsiteX505" fmla="*/ 745021 w 3044273"/>
              <a:gd name="connsiteY505" fmla="*/ 2542822 h 3047670"/>
              <a:gd name="connsiteX506" fmla="*/ 738866 w 3044273"/>
              <a:gd name="connsiteY506" fmla="*/ 2549104 h 3047670"/>
              <a:gd name="connsiteX507" fmla="*/ 732585 w 3044273"/>
              <a:gd name="connsiteY507" fmla="*/ 2542949 h 3047670"/>
              <a:gd name="connsiteX508" fmla="*/ 738740 w 3044273"/>
              <a:gd name="connsiteY508" fmla="*/ 2536667 h 3047670"/>
              <a:gd name="connsiteX509" fmla="*/ 2584650 w 3044273"/>
              <a:gd name="connsiteY509" fmla="*/ 2535035 h 3047670"/>
              <a:gd name="connsiteX510" fmla="*/ 2587287 w 3044273"/>
              <a:gd name="connsiteY510" fmla="*/ 2537673 h 3047670"/>
              <a:gd name="connsiteX511" fmla="*/ 2584650 w 3044273"/>
              <a:gd name="connsiteY511" fmla="*/ 2540310 h 3047670"/>
              <a:gd name="connsiteX512" fmla="*/ 2582013 w 3044273"/>
              <a:gd name="connsiteY512" fmla="*/ 2537673 h 3047670"/>
              <a:gd name="connsiteX513" fmla="*/ 2584650 w 3044273"/>
              <a:gd name="connsiteY513" fmla="*/ 2535035 h 3047670"/>
              <a:gd name="connsiteX514" fmla="*/ 2450873 w 3044273"/>
              <a:gd name="connsiteY514" fmla="*/ 2534910 h 3047670"/>
              <a:gd name="connsiteX515" fmla="*/ 2456022 w 3044273"/>
              <a:gd name="connsiteY515" fmla="*/ 2539935 h 3047670"/>
              <a:gd name="connsiteX516" fmla="*/ 2450998 w 3044273"/>
              <a:gd name="connsiteY516" fmla="*/ 2545084 h 3047670"/>
              <a:gd name="connsiteX517" fmla="*/ 2445848 w 3044273"/>
              <a:gd name="connsiteY517" fmla="*/ 2540060 h 3047670"/>
              <a:gd name="connsiteX518" fmla="*/ 2450873 w 3044273"/>
              <a:gd name="connsiteY518" fmla="*/ 2534910 h 3047670"/>
              <a:gd name="connsiteX519" fmla="*/ 1110686 w 3044273"/>
              <a:gd name="connsiteY519" fmla="*/ 2534532 h 3047670"/>
              <a:gd name="connsiteX520" fmla="*/ 1124880 w 3044273"/>
              <a:gd name="connsiteY520" fmla="*/ 2548600 h 3047670"/>
              <a:gd name="connsiteX521" fmla="*/ 1110811 w 3044273"/>
              <a:gd name="connsiteY521" fmla="*/ 2562796 h 3047670"/>
              <a:gd name="connsiteX522" fmla="*/ 1096617 w 3044273"/>
              <a:gd name="connsiteY522" fmla="*/ 2548727 h 3047670"/>
              <a:gd name="connsiteX523" fmla="*/ 1110686 w 3044273"/>
              <a:gd name="connsiteY523" fmla="*/ 2534532 h 3047670"/>
              <a:gd name="connsiteX524" fmla="*/ 2714032 w 3044273"/>
              <a:gd name="connsiteY524" fmla="*/ 2530136 h 3047670"/>
              <a:gd name="connsiteX525" fmla="*/ 2715415 w 3044273"/>
              <a:gd name="connsiteY525" fmla="*/ 2531393 h 3047670"/>
              <a:gd name="connsiteX526" fmla="*/ 2714032 w 3044273"/>
              <a:gd name="connsiteY526" fmla="*/ 2532773 h 3047670"/>
              <a:gd name="connsiteX527" fmla="*/ 2712650 w 3044273"/>
              <a:gd name="connsiteY527" fmla="*/ 2531393 h 3047670"/>
              <a:gd name="connsiteX528" fmla="*/ 2714032 w 3044273"/>
              <a:gd name="connsiteY528" fmla="*/ 2530136 h 3047670"/>
              <a:gd name="connsiteX529" fmla="*/ 1940121 w 3044273"/>
              <a:gd name="connsiteY529" fmla="*/ 2527876 h 3047670"/>
              <a:gd name="connsiteX530" fmla="*/ 1957835 w 3044273"/>
              <a:gd name="connsiteY530" fmla="*/ 2545588 h 3047670"/>
              <a:gd name="connsiteX531" fmla="*/ 1940121 w 3044273"/>
              <a:gd name="connsiteY531" fmla="*/ 2563299 h 3047670"/>
              <a:gd name="connsiteX532" fmla="*/ 1922409 w 3044273"/>
              <a:gd name="connsiteY532" fmla="*/ 2545713 h 3047670"/>
              <a:gd name="connsiteX533" fmla="*/ 1940121 w 3044273"/>
              <a:gd name="connsiteY533" fmla="*/ 2527876 h 3047670"/>
              <a:gd name="connsiteX534" fmla="*/ 2312067 w 3044273"/>
              <a:gd name="connsiteY534" fmla="*/ 2525489 h 3047670"/>
              <a:gd name="connsiteX535" fmla="*/ 2323876 w 3044273"/>
              <a:gd name="connsiteY535" fmla="*/ 2537172 h 3047670"/>
              <a:gd name="connsiteX536" fmla="*/ 2312194 w 3044273"/>
              <a:gd name="connsiteY536" fmla="*/ 2548981 h 3047670"/>
              <a:gd name="connsiteX537" fmla="*/ 2300385 w 3044273"/>
              <a:gd name="connsiteY537" fmla="*/ 2537298 h 3047670"/>
              <a:gd name="connsiteX538" fmla="*/ 2312067 w 3044273"/>
              <a:gd name="connsiteY538" fmla="*/ 2525489 h 3047670"/>
              <a:gd name="connsiteX539" fmla="*/ 883072 w 3044273"/>
              <a:gd name="connsiteY539" fmla="*/ 2524107 h 3047670"/>
              <a:gd name="connsiteX540" fmla="*/ 891237 w 3044273"/>
              <a:gd name="connsiteY540" fmla="*/ 2532273 h 3047670"/>
              <a:gd name="connsiteX541" fmla="*/ 883072 w 3044273"/>
              <a:gd name="connsiteY541" fmla="*/ 2540439 h 3047670"/>
              <a:gd name="connsiteX542" fmla="*/ 874907 w 3044273"/>
              <a:gd name="connsiteY542" fmla="*/ 2532273 h 3047670"/>
              <a:gd name="connsiteX543" fmla="*/ 883072 w 3044273"/>
              <a:gd name="connsiteY543" fmla="*/ 2524107 h 3047670"/>
              <a:gd name="connsiteX544" fmla="*/ 1525341 w 3044273"/>
              <a:gd name="connsiteY544" fmla="*/ 2519333 h 3047670"/>
              <a:gd name="connsiteX545" fmla="*/ 1544057 w 3044273"/>
              <a:gd name="connsiteY545" fmla="*/ 2537798 h 3047670"/>
              <a:gd name="connsiteX546" fmla="*/ 1525591 w 3044273"/>
              <a:gd name="connsiteY546" fmla="*/ 2556515 h 3047670"/>
              <a:gd name="connsiteX547" fmla="*/ 1506875 w 3044273"/>
              <a:gd name="connsiteY547" fmla="*/ 2538049 h 3047670"/>
              <a:gd name="connsiteX548" fmla="*/ 1525341 w 3044273"/>
              <a:gd name="connsiteY548" fmla="*/ 2519333 h 3047670"/>
              <a:gd name="connsiteX549" fmla="*/ 1440173 w 3044273"/>
              <a:gd name="connsiteY549" fmla="*/ 2516570 h 3047670"/>
              <a:gd name="connsiteX550" fmla="*/ 1458136 w 3044273"/>
              <a:gd name="connsiteY550" fmla="*/ 2534407 h 3047670"/>
              <a:gd name="connsiteX551" fmla="*/ 1440299 w 3044273"/>
              <a:gd name="connsiteY551" fmla="*/ 2552370 h 3047670"/>
              <a:gd name="connsiteX552" fmla="*/ 1422336 w 3044273"/>
              <a:gd name="connsiteY552" fmla="*/ 2534534 h 3047670"/>
              <a:gd name="connsiteX553" fmla="*/ 1440173 w 3044273"/>
              <a:gd name="connsiteY553" fmla="*/ 2516570 h 3047670"/>
              <a:gd name="connsiteX554" fmla="*/ 1610633 w 3044273"/>
              <a:gd name="connsiteY554" fmla="*/ 2515440 h 3047670"/>
              <a:gd name="connsiteX555" fmla="*/ 1629097 w 3044273"/>
              <a:gd name="connsiteY555" fmla="*/ 2533781 h 3047670"/>
              <a:gd name="connsiteX556" fmla="*/ 1610758 w 3044273"/>
              <a:gd name="connsiteY556" fmla="*/ 2552245 h 3047670"/>
              <a:gd name="connsiteX557" fmla="*/ 1592293 w 3044273"/>
              <a:gd name="connsiteY557" fmla="*/ 2533906 h 3047670"/>
              <a:gd name="connsiteX558" fmla="*/ 1610633 w 3044273"/>
              <a:gd name="connsiteY558" fmla="*/ 2515440 h 3047670"/>
              <a:gd name="connsiteX559" fmla="*/ 2167737 w 3044273"/>
              <a:gd name="connsiteY559" fmla="*/ 2513429 h 3047670"/>
              <a:gd name="connsiteX560" fmla="*/ 2181931 w 3044273"/>
              <a:gd name="connsiteY560" fmla="*/ 2527497 h 3047670"/>
              <a:gd name="connsiteX561" fmla="*/ 2167737 w 3044273"/>
              <a:gd name="connsiteY561" fmla="*/ 2541693 h 3047670"/>
              <a:gd name="connsiteX562" fmla="*/ 2153543 w 3044273"/>
              <a:gd name="connsiteY562" fmla="*/ 2527624 h 3047670"/>
              <a:gd name="connsiteX563" fmla="*/ 2167737 w 3044273"/>
              <a:gd name="connsiteY563" fmla="*/ 2513429 h 3047670"/>
              <a:gd name="connsiteX564" fmla="*/ 1355637 w 3044273"/>
              <a:gd name="connsiteY564" fmla="*/ 2506270 h 3047670"/>
              <a:gd name="connsiteX565" fmla="*/ 1372721 w 3044273"/>
              <a:gd name="connsiteY565" fmla="*/ 2523229 h 3047670"/>
              <a:gd name="connsiteX566" fmla="*/ 1355762 w 3044273"/>
              <a:gd name="connsiteY566" fmla="*/ 2540313 h 3047670"/>
              <a:gd name="connsiteX567" fmla="*/ 1338678 w 3044273"/>
              <a:gd name="connsiteY567" fmla="*/ 2523354 h 3047670"/>
              <a:gd name="connsiteX568" fmla="*/ 1355637 w 3044273"/>
              <a:gd name="connsiteY568" fmla="*/ 2506270 h 3047670"/>
              <a:gd name="connsiteX569" fmla="*/ 1695047 w 3044273"/>
              <a:gd name="connsiteY569" fmla="*/ 2503883 h 3047670"/>
              <a:gd name="connsiteX570" fmla="*/ 1713261 w 3044273"/>
              <a:gd name="connsiteY570" fmla="*/ 2521972 h 3047670"/>
              <a:gd name="connsiteX571" fmla="*/ 1695173 w 3044273"/>
              <a:gd name="connsiteY571" fmla="*/ 2540185 h 3047670"/>
              <a:gd name="connsiteX572" fmla="*/ 1676959 w 3044273"/>
              <a:gd name="connsiteY572" fmla="*/ 2522097 h 3047670"/>
              <a:gd name="connsiteX573" fmla="*/ 1695047 w 3044273"/>
              <a:gd name="connsiteY573" fmla="*/ 2503883 h 3047670"/>
              <a:gd name="connsiteX574" fmla="*/ 1033684 w 3044273"/>
              <a:gd name="connsiteY574" fmla="*/ 2499989 h 3047670"/>
              <a:gd name="connsiteX575" fmla="*/ 1045743 w 3044273"/>
              <a:gd name="connsiteY575" fmla="*/ 2511923 h 3047670"/>
              <a:gd name="connsiteX576" fmla="*/ 1033809 w 3044273"/>
              <a:gd name="connsiteY576" fmla="*/ 2523982 h 3047670"/>
              <a:gd name="connsiteX577" fmla="*/ 1021876 w 3044273"/>
              <a:gd name="connsiteY577" fmla="*/ 2512048 h 3047670"/>
              <a:gd name="connsiteX578" fmla="*/ 1033684 w 3044273"/>
              <a:gd name="connsiteY578" fmla="*/ 2499989 h 3047670"/>
              <a:gd name="connsiteX579" fmla="*/ 2016871 w 3044273"/>
              <a:gd name="connsiteY579" fmla="*/ 2491573 h 3047670"/>
              <a:gd name="connsiteX580" fmla="*/ 2033705 w 3044273"/>
              <a:gd name="connsiteY580" fmla="*/ 2508279 h 3047670"/>
              <a:gd name="connsiteX581" fmla="*/ 2016871 w 3044273"/>
              <a:gd name="connsiteY581" fmla="*/ 2525112 h 3047670"/>
              <a:gd name="connsiteX582" fmla="*/ 2000039 w 3044273"/>
              <a:gd name="connsiteY582" fmla="*/ 2508406 h 3047670"/>
              <a:gd name="connsiteX583" fmla="*/ 2016871 w 3044273"/>
              <a:gd name="connsiteY583" fmla="*/ 2491573 h 3047670"/>
              <a:gd name="connsiteX584" fmla="*/ 1272479 w 3044273"/>
              <a:gd name="connsiteY584" fmla="*/ 2488935 h 3047670"/>
              <a:gd name="connsiteX585" fmla="*/ 1288307 w 3044273"/>
              <a:gd name="connsiteY585" fmla="*/ 2504637 h 3047670"/>
              <a:gd name="connsiteX586" fmla="*/ 1272605 w 3044273"/>
              <a:gd name="connsiteY586" fmla="*/ 2520340 h 3047670"/>
              <a:gd name="connsiteX587" fmla="*/ 1256903 w 3044273"/>
              <a:gd name="connsiteY587" fmla="*/ 2504637 h 3047670"/>
              <a:gd name="connsiteX588" fmla="*/ 1272479 w 3044273"/>
              <a:gd name="connsiteY588" fmla="*/ 2488935 h 3047670"/>
              <a:gd name="connsiteX589" fmla="*/ 1778080 w 3044273"/>
              <a:gd name="connsiteY589" fmla="*/ 2484915 h 3047670"/>
              <a:gd name="connsiteX590" fmla="*/ 1796042 w 3044273"/>
              <a:gd name="connsiteY590" fmla="*/ 2502752 h 3047670"/>
              <a:gd name="connsiteX591" fmla="*/ 1778205 w 3044273"/>
              <a:gd name="connsiteY591" fmla="*/ 2520715 h 3047670"/>
              <a:gd name="connsiteX592" fmla="*/ 1760242 w 3044273"/>
              <a:gd name="connsiteY592" fmla="*/ 2502878 h 3047670"/>
              <a:gd name="connsiteX593" fmla="*/ 1778080 w 3044273"/>
              <a:gd name="connsiteY593" fmla="*/ 2484915 h 3047670"/>
              <a:gd name="connsiteX594" fmla="*/ 674801 w 3044273"/>
              <a:gd name="connsiteY594" fmla="*/ 2482024 h 3047670"/>
              <a:gd name="connsiteX595" fmla="*/ 679450 w 3044273"/>
              <a:gd name="connsiteY595" fmla="*/ 2486672 h 3047670"/>
              <a:gd name="connsiteX596" fmla="*/ 674801 w 3044273"/>
              <a:gd name="connsiteY596" fmla="*/ 2491322 h 3047670"/>
              <a:gd name="connsiteX597" fmla="*/ 670154 w 3044273"/>
              <a:gd name="connsiteY597" fmla="*/ 2486672 h 3047670"/>
              <a:gd name="connsiteX598" fmla="*/ 674801 w 3044273"/>
              <a:gd name="connsiteY598" fmla="*/ 2482024 h 3047670"/>
              <a:gd name="connsiteX599" fmla="*/ 540520 w 3044273"/>
              <a:gd name="connsiteY599" fmla="*/ 2481900 h 3047670"/>
              <a:gd name="connsiteX600" fmla="*/ 544289 w 3044273"/>
              <a:gd name="connsiteY600" fmla="*/ 2485670 h 3047670"/>
              <a:gd name="connsiteX601" fmla="*/ 540520 w 3044273"/>
              <a:gd name="connsiteY601" fmla="*/ 2489438 h 3047670"/>
              <a:gd name="connsiteX602" fmla="*/ 536752 w 3044273"/>
              <a:gd name="connsiteY602" fmla="*/ 2485670 h 3047670"/>
              <a:gd name="connsiteX603" fmla="*/ 540520 w 3044273"/>
              <a:gd name="connsiteY603" fmla="*/ 2481900 h 3047670"/>
              <a:gd name="connsiteX604" fmla="*/ 410885 w 3044273"/>
              <a:gd name="connsiteY604" fmla="*/ 2477881 h 3047670"/>
              <a:gd name="connsiteX605" fmla="*/ 413397 w 3044273"/>
              <a:gd name="connsiteY605" fmla="*/ 2480268 h 3047670"/>
              <a:gd name="connsiteX606" fmla="*/ 411011 w 3044273"/>
              <a:gd name="connsiteY606" fmla="*/ 2482781 h 3047670"/>
              <a:gd name="connsiteX607" fmla="*/ 408499 w 3044273"/>
              <a:gd name="connsiteY607" fmla="*/ 2480394 h 3047670"/>
              <a:gd name="connsiteX608" fmla="*/ 410885 w 3044273"/>
              <a:gd name="connsiteY608" fmla="*/ 2477881 h 3047670"/>
              <a:gd name="connsiteX609" fmla="*/ 814235 w 3044273"/>
              <a:gd name="connsiteY609" fmla="*/ 2475493 h 3047670"/>
              <a:gd name="connsiteX610" fmla="*/ 820517 w 3044273"/>
              <a:gd name="connsiteY610" fmla="*/ 2481648 h 3047670"/>
              <a:gd name="connsiteX611" fmla="*/ 814361 w 3044273"/>
              <a:gd name="connsiteY611" fmla="*/ 2487930 h 3047670"/>
              <a:gd name="connsiteX612" fmla="*/ 808206 w 3044273"/>
              <a:gd name="connsiteY612" fmla="*/ 2481775 h 3047670"/>
              <a:gd name="connsiteX613" fmla="*/ 814235 w 3044273"/>
              <a:gd name="connsiteY613" fmla="*/ 2475493 h 3047670"/>
              <a:gd name="connsiteX614" fmla="*/ 2509910 w 3044273"/>
              <a:gd name="connsiteY614" fmla="*/ 2473358 h 3047670"/>
              <a:gd name="connsiteX615" fmla="*/ 2515060 w 3044273"/>
              <a:gd name="connsiteY615" fmla="*/ 2478383 h 3047670"/>
              <a:gd name="connsiteX616" fmla="*/ 2510035 w 3044273"/>
              <a:gd name="connsiteY616" fmla="*/ 2483532 h 3047670"/>
              <a:gd name="connsiteX617" fmla="*/ 2504885 w 3044273"/>
              <a:gd name="connsiteY617" fmla="*/ 2478508 h 3047670"/>
              <a:gd name="connsiteX618" fmla="*/ 2509910 w 3044273"/>
              <a:gd name="connsiteY618" fmla="*/ 2473358 h 3047670"/>
              <a:gd name="connsiteX619" fmla="*/ 2375628 w 3044273"/>
              <a:gd name="connsiteY619" fmla="*/ 2472480 h 3047670"/>
              <a:gd name="connsiteX620" fmla="*/ 2383667 w 3044273"/>
              <a:gd name="connsiteY620" fmla="*/ 2480395 h 3047670"/>
              <a:gd name="connsiteX621" fmla="*/ 2375754 w 3044273"/>
              <a:gd name="connsiteY621" fmla="*/ 2488435 h 3047670"/>
              <a:gd name="connsiteX622" fmla="*/ 2367840 w 3044273"/>
              <a:gd name="connsiteY622" fmla="*/ 2480520 h 3047670"/>
              <a:gd name="connsiteX623" fmla="*/ 2375628 w 3044273"/>
              <a:gd name="connsiteY623" fmla="*/ 2472480 h 3047670"/>
              <a:gd name="connsiteX624" fmla="*/ 2639546 w 3044273"/>
              <a:gd name="connsiteY624" fmla="*/ 2470972 h 3047670"/>
              <a:gd name="connsiteX625" fmla="*/ 2640800 w 3044273"/>
              <a:gd name="connsiteY625" fmla="*/ 2472354 h 3047670"/>
              <a:gd name="connsiteX626" fmla="*/ 2639546 w 3044273"/>
              <a:gd name="connsiteY626" fmla="*/ 2473735 h 3047670"/>
              <a:gd name="connsiteX627" fmla="*/ 2638164 w 3044273"/>
              <a:gd name="connsiteY627" fmla="*/ 2472354 h 3047670"/>
              <a:gd name="connsiteX628" fmla="*/ 2639546 w 3044273"/>
              <a:gd name="connsiteY628" fmla="*/ 2470972 h 3047670"/>
              <a:gd name="connsiteX629" fmla="*/ 1191330 w 3044273"/>
              <a:gd name="connsiteY629" fmla="*/ 2464441 h 3047670"/>
              <a:gd name="connsiteX630" fmla="*/ 1205526 w 3044273"/>
              <a:gd name="connsiteY630" fmla="*/ 2478509 h 3047670"/>
              <a:gd name="connsiteX631" fmla="*/ 1191457 w 3044273"/>
              <a:gd name="connsiteY631" fmla="*/ 2492705 h 3047670"/>
              <a:gd name="connsiteX632" fmla="*/ 1177261 w 3044273"/>
              <a:gd name="connsiteY632" fmla="*/ 2478636 h 3047670"/>
              <a:gd name="connsiteX633" fmla="*/ 1191330 w 3044273"/>
              <a:gd name="connsiteY633" fmla="*/ 2464441 h 3047670"/>
              <a:gd name="connsiteX634" fmla="*/ 2236197 w 3044273"/>
              <a:gd name="connsiteY634" fmla="*/ 2462555 h 3047670"/>
              <a:gd name="connsiteX635" fmla="*/ 2250392 w 3044273"/>
              <a:gd name="connsiteY635" fmla="*/ 2476623 h 3047670"/>
              <a:gd name="connsiteX636" fmla="*/ 2236197 w 3044273"/>
              <a:gd name="connsiteY636" fmla="*/ 2490819 h 3047670"/>
              <a:gd name="connsiteX637" fmla="*/ 2222002 w 3044273"/>
              <a:gd name="connsiteY637" fmla="*/ 2476750 h 3047670"/>
              <a:gd name="connsiteX638" fmla="*/ 2236197 w 3044273"/>
              <a:gd name="connsiteY638" fmla="*/ 2462555 h 3047670"/>
              <a:gd name="connsiteX639" fmla="*/ 2765032 w 3044273"/>
              <a:gd name="connsiteY639" fmla="*/ 2461927 h 3047670"/>
              <a:gd name="connsiteX640" fmla="*/ 2766164 w 3044273"/>
              <a:gd name="connsiteY640" fmla="*/ 2463057 h 3047670"/>
              <a:gd name="connsiteX641" fmla="*/ 2765032 w 3044273"/>
              <a:gd name="connsiteY641" fmla="*/ 2464187 h 3047670"/>
              <a:gd name="connsiteX642" fmla="*/ 2763902 w 3044273"/>
              <a:gd name="connsiteY642" fmla="*/ 2463057 h 3047670"/>
              <a:gd name="connsiteX643" fmla="*/ 2765032 w 3044273"/>
              <a:gd name="connsiteY643" fmla="*/ 2461927 h 3047670"/>
              <a:gd name="connsiteX644" fmla="*/ 1858974 w 3044273"/>
              <a:gd name="connsiteY644" fmla="*/ 2458285 h 3047670"/>
              <a:gd name="connsiteX645" fmla="*/ 1876938 w 3044273"/>
              <a:gd name="connsiteY645" fmla="*/ 2476122 h 3047670"/>
              <a:gd name="connsiteX646" fmla="*/ 1859101 w 3044273"/>
              <a:gd name="connsiteY646" fmla="*/ 2494085 h 3047670"/>
              <a:gd name="connsiteX647" fmla="*/ 1841137 w 3044273"/>
              <a:gd name="connsiteY647" fmla="*/ 2476249 h 3047670"/>
              <a:gd name="connsiteX648" fmla="*/ 1858974 w 3044273"/>
              <a:gd name="connsiteY648" fmla="*/ 2458285 h 3047670"/>
              <a:gd name="connsiteX649" fmla="*/ 960073 w 3044273"/>
              <a:gd name="connsiteY649" fmla="*/ 2454893 h 3047670"/>
              <a:gd name="connsiteX650" fmla="*/ 974268 w 3044273"/>
              <a:gd name="connsiteY650" fmla="*/ 2468961 h 3047670"/>
              <a:gd name="connsiteX651" fmla="*/ 960200 w 3044273"/>
              <a:gd name="connsiteY651" fmla="*/ 2483157 h 3047670"/>
              <a:gd name="connsiteX652" fmla="*/ 946004 w 3044273"/>
              <a:gd name="connsiteY652" fmla="*/ 2469088 h 3047670"/>
              <a:gd name="connsiteX653" fmla="*/ 960073 w 3044273"/>
              <a:gd name="connsiteY653" fmla="*/ 2454893 h 3047670"/>
              <a:gd name="connsiteX654" fmla="*/ 2090106 w 3044273"/>
              <a:gd name="connsiteY654" fmla="*/ 2445975 h 3047670"/>
              <a:gd name="connsiteX655" fmla="*/ 2109200 w 3044273"/>
              <a:gd name="connsiteY655" fmla="*/ 2464943 h 3047670"/>
              <a:gd name="connsiteX656" fmla="*/ 2090232 w 3044273"/>
              <a:gd name="connsiteY656" fmla="*/ 2484037 h 3047670"/>
              <a:gd name="connsiteX657" fmla="*/ 2071138 w 3044273"/>
              <a:gd name="connsiteY657" fmla="*/ 2465069 h 3047670"/>
              <a:gd name="connsiteX658" fmla="*/ 2090106 w 3044273"/>
              <a:gd name="connsiteY658" fmla="*/ 2445975 h 3047670"/>
              <a:gd name="connsiteX659" fmla="*/ 1112696 w 3044273"/>
              <a:gd name="connsiteY659" fmla="*/ 2426756 h 3047670"/>
              <a:gd name="connsiteX660" fmla="*/ 1131412 w 3044273"/>
              <a:gd name="connsiteY660" fmla="*/ 2445221 h 3047670"/>
              <a:gd name="connsiteX661" fmla="*/ 1112947 w 3044273"/>
              <a:gd name="connsiteY661" fmla="*/ 2463812 h 3047670"/>
              <a:gd name="connsiteX662" fmla="*/ 1094231 w 3044273"/>
              <a:gd name="connsiteY662" fmla="*/ 2445347 h 3047670"/>
              <a:gd name="connsiteX663" fmla="*/ 1112696 w 3044273"/>
              <a:gd name="connsiteY663" fmla="*/ 2426756 h 3047670"/>
              <a:gd name="connsiteX664" fmla="*/ 1937232 w 3044273"/>
              <a:gd name="connsiteY664" fmla="*/ 2420979 h 3047670"/>
              <a:gd name="connsiteX665" fmla="*/ 1958713 w 3044273"/>
              <a:gd name="connsiteY665" fmla="*/ 2442332 h 3047670"/>
              <a:gd name="connsiteX666" fmla="*/ 1937359 w 3044273"/>
              <a:gd name="connsiteY666" fmla="*/ 2463813 h 3047670"/>
              <a:gd name="connsiteX667" fmla="*/ 1915878 w 3044273"/>
              <a:gd name="connsiteY667" fmla="*/ 2442459 h 3047670"/>
              <a:gd name="connsiteX668" fmla="*/ 1937232 w 3044273"/>
              <a:gd name="connsiteY668" fmla="*/ 2420979 h 3047670"/>
              <a:gd name="connsiteX669" fmla="*/ 1525089 w 3044273"/>
              <a:gd name="connsiteY669" fmla="*/ 2420977 h 3047670"/>
              <a:gd name="connsiteX670" fmla="*/ 1547072 w 3044273"/>
              <a:gd name="connsiteY670" fmla="*/ 2442835 h 3047670"/>
              <a:gd name="connsiteX671" fmla="*/ 1525216 w 3044273"/>
              <a:gd name="connsiteY671" fmla="*/ 2464816 h 3047670"/>
              <a:gd name="connsiteX672" fmla="*/ 1503233 w 3044273"/>
              <a:gd name="connsiteY672" fmla="*/ 2442960 h 3047670"/>
              <a:gd name="connsiteX673" fmla="*/ 1525089 w 3044273"/>
              <a:gd name="connsiteY673" fmla="*/ 2420977 h 3047670"/>
              <a:gd name="connsiteX674" fmla="*/ 614885 w 3044273"/>
              <a:gd name="connsiteY674" fmla="*/ 2420725 h 3047670"/>
              <a:gd name="connsiteX675" fmla="*/ 620160 w 3044273"/>
              <a:gd name="connsiteY675" fmla="*/ 2426000 h 3047670"/>
              <a:gd name="connsiteX676" fmla="*/ 614885 w 3044273"/>
              <a:gd name="connsiteY676" fmla="*/ 2431277 h 3047670"/>
              <a:gd name="connsiteX677" fmla="*/ 609483 w 3044273"/>
              <a:gd name="connsiteY677" fmla="*/ 2426000 h 3047670"/>
              <a:gd name="connsiteX678" fmla="*/ 614885 w 3044273"/>
              <a:gd name="connsiteY678" fmla="*/ 2420725 h 3047670"/>
              <a:gd name="connsiteX679" fmla="*/ 1439923 w 3044273"/>
              <a:gd name="connsiteY679" fmla="*/ 2417461 h 3047670"/>
              <a:gd name="connsiteX680" fmla="*/ 1461402 w 3044273"/>
              <a:gd name="connsiteY680" fmla="*/ 2438814 h 3047670"/>
              <a:gd name="connsiteX681" fmla="*/ 1440048 w 3044273"/>
              <a:gd name="connsiteY681" fmla="*/ 2460420 h 3047670"/>
              <a:gd name="connsiteX682" fmla="*/ 1418442 w 3044273"/>
              <a:gd name="connsiteY682" fmla="*/ 2439066 h 3047670"/>
              <a:gd name="connsiteX683" fmla="*/ 1439923 w 3044273"/>
              <a:gd name="connsiteY683" fmla="*/ 2417461 h 3047670"/>
              <a:gd name="connsiteX684" fmla="*/ 749417 w 3044273"/>
              <a:gd name="connsiteY684" fmla="*/ 2417460 h 3047670"/>
              <a:gd name="connsiteX685" fmla="*/ 758335 w 3044273"/>
              <a:gd name="connsiteY685" fmla="*/ 2426253 h 3047670"/>
              <a:gd name="connsiteX686" fmla="*/ 749543 w 3044273"/>
              <a:gd name="connsiteY686" fmla="*/ 2435171 h 3047670"/>
              <a:gd name="connsiteX687" fmla="*/ 740624 w 3044273"/>
              <a:gd name="connsiteY687" fmla="*/ 2426379 h 3047670"/>
              <a:gd name="connsiteX688" fmla="*/ 749417 w 3044273"/>
              <a:gd name="connsiteY688" fmla="*/ 2417460 h 3047670"/>
              <a:gd name="connsiteX689" fmla="*/ 1610257 w 3044273"/>
              <a:gd name="connsiteY689" fmla="*/ 2416455 h 3047670"/>
              <a:gd name="connsiteX690" fmla="*/ 1632240 w 3044273"/>
              <a:gd name="connsiteY690" fmla="*/ 2438313 h 3047670"/>
              <a:gd name="connsiteX691" fmla="*/ 1610384 w 3044273"/>
              <a:gd name="connsiteY691" fmla="*/ 2460294 h 3047670"/>
              <a:gd name="connsiteX692" fmla="*/ 1588401 w 3044273"/>
              <a:gd name="connsiteY692" fmla="*/ 2438438 h 3047670"/>
              <a:gd name="connsiteX693" fmla="*/ 1610257 w 3044273"/>
              <a:gd name="connsiteY693" fmla="*/ 2416455 h 3047670"/>
              <a:gd name="connsiteX694" fmla="*/ 484872 w 3044273"/>
              <a:gd name="connsiteY694" fmla="*/ 2416455 h 3047670"/>
              <a:gd name="connsiteX695" fmla="*/ 489394 w 3044273"/>
              <a:gd name="connsiteY695" fmla="*/ 2420852 h 3047670"/>
              <a:gd name="connsiteX696" fmla="*/ 484997 w 3044273"/>
              <a:gd name="connsiteY696" fmla="*/ 2425375 h 3047670"/>
              <a:gd name="connsiteX697" fmla="*/ 480601 w 3044273"/>
              <a:gd name="connsiteY697" fmla="*/ 2420978 h 3047670"/>
              <a:gd name="connsiteX698" fmla="*/ 484872 w 3044273"/>
              <a:gd name="connsiteY698" fmla="*/ 2416455 h 3047670"/>
              <a:gd name="connsiteX699" fmla="*/ 890108 w 3044273"/>
              <a:gd name="connsiteY699" fmla="*/ 2408541 h 3047670"/>
              <a:gd name="connsiteX700" fmla="*/ 901916 w 3044273"/>
              <a:gd name="connsiteY700" fmla="*/ 2420224 h 3047670"/>
              <a:gd name="connsiteX701" fmla="*/ 890234 w 3044273"/>
              <a:gd name="connsiteY701" fmla="*/ 2432033 h 3047670"/>
              <a:gd name="connsiteX702" fmla="*/ 878426 w 3044273"/>
              <a:gd name="connsiteY702" fmla="*/ 2420349 h 3047670"/>
              <a:gd name="connsiteX703" fmla="*/ 890108 w 3044273"/>
              <a:gd name="connsiteY703" fmla="*/ 2408541 h 3047670"/>
              <a:gd name="connsiteX704" fmla="*/ 2564930 w 3044273"/>
              <a:gd name="connsiteY704" fmla="*/ 2408290 h 3047670"/>
              <a:gd name="connsiteX705" fmla="*/ 2570079 w 3044273"/>
              <a:gd name="connsiteY705" fmla="*/ 2413315 h 3047670"/>
              <a:gd name="connsiteX706" fmla="*/ 2565055 w 3044273"/>
              <a:gd name="connsiteY706" fmla="*/ 2418464 h 3047670"/>
              <a:gd name="connsiteX707" fmla="*/ 2559905 w 3044273"/>
              <a:gd name="connsiteY707" fmla="*/ 2413440 h 3047670"/>
              <a:gd name="connsiteX708" fmla="*/ 2564930 w 3044273"/>
              <a:gd name="connsiteY708" fmla="*/ 2408290 h 3047670"/>
              <a:gd name="connsiteX709" fmla="*/ 359508 w 3044273"/>
              <a:gd name="connsiteY709" fmla="*/ 2408290 h 3047670"/>
              <a:gd name="connsiteX710" fmla="*/ 363528 w 3044273"/>
              <a:gd name="connsiteY710" fmla="*/ 2412310 h 3047670"/>
              <a:gd name="connsiteX711" fmla="*/ 359508 w 3044273"/>
              <a:gd name="connsiteY711" fmla="*/ 2416330 h 3047670"/>
              <a:gd name="connsiteX712" fmla="*/ 355489 w 3044273"/>
              <a:gd name="connsiteY712" fmla="*/ 2412435 h 3047670"/>
              <a:gd name="connsiteX713" fmla="*/ 359508 w 3044273"/>
              <a:gd name="connsiteY713" fmla="*/ 2408290 h 3047670"/>
              <a:gd name="connsiteX714" fmla="*/ 2435295 w 3044273"/>
              <a:gd name="connsiteY714" fmla="*/ 2407661 h 3047670"/>
              <a:gd name="connsiteX715" fmla="*/ 2447104 w 3044273"/>
              <a:gd name="connsiteY715" fmla="*/ 2419344 h 3047670"/>
              <a:gd name="connsiteX716" fmla="*/ 2435422 w 3044273"/>
              <a:gd name="connsiteY716" fmla="*/ 2431153 h 3047670"/>
              <a:gd name="connsiteX717" fmla="*/ 2423613 w 3044273"/>
              <a:gd name="connsiteY717" fmla="*/ 2419470 h 3047670"/>
              <a:gd name="connsiteX718" fmla="*/ 2435295 w 3044273"/>
              <a:gd name="connsiteY718" fmla="*/ 2407661 h 3047670"/>
              <a:gd name="connsiteX719" fmla="*/ 2300511 w 3044273"/>
              <a:gd name="connsiteY719" fmla="*/ 2405903 h 3047670"/>
              <a:gd name="connsiteX720" fmla="*/ 2315585 w 3044273"/>
              <a:gd name="connsiteY720" fmla="*/ 2420851 h 3047670"/>
              <a:gd name="connsiteX721" fmla="*/ 2300636 w 3044273"/>
              <a:gd name="connsiteY721" fmla="*/ 2435925 h 3047670"/>
              <a:gd name="connsiteX722" fmla="*/ 2285563 w 3044273"/>
              <a:gd name="connsiteY722" fmla="*/ 2420851 h 3047670"/>
              <a:gd name="connsiteX723" fmla="*/ 2300511 w 3044273"/>
              <a:gd name="connsiteY723" fmla="*/ 2405903 h 3047670"/>
              <a:gd name="connsiteX724" fmla="*/ 1355510 w 3044273"/>
              <a:gd name="connsiteY724" fmla="*/ 2405778 h 3047670"/>
              <a:gd name="connsiteX725" fmla="*/ 1376364 w 3044273"/>
              <a:gd name="connsiteY725" fmla="*/ 2426505 h 3047670"/>
              <a:gd name="connsiteX726" fmla="*/ 1355635 w 3044273"/>
              <a:gd name="connsiteY726" fmla="*/ 2447358 h 3047670"/>
              <a:gd name="connsiteX727" fmla="*/ 1334783 w 3044273"/>
              <a:gd name="connsiteY727" fmla="*/ 2426630 h 3047670"/>
              <a:gd name="connsiteX728" fmla="*/ 1355510 w 3044273"/>
              <a:gd name="connsiteY728" fmla="*/ 2405778 h 3047670"/>
              <a:gd name="connsiteX729" fmla="*/ 1694420 w 3044273"/>
              <a:gd name="connsiteY729" fmla="*/ 2403391 h 3047670"/>
              <a:gd name="connsiteX730" fmla="*/ 1716401 w 3044273"/>
              <a:gd name="connsiteY730" fmla="*/ 2425249 h 3047670"/>
              <a:gd name="connsiteX731" fmla="*/ 1694545 w 3044273"/>
              <a:gd name="connsiteY731" fmla="*/ 2447230 h 3047670"/>
              <a:gd name="connsiteX732" fmla="*/ 1672562 w 3044273"/>
              <a:gd name="connsiteY732" fmla="*/ 2425374 h 3047670"/>
              <a:gd name="connsiteX733" fmla="*/ 1694420 w 3044273"/>
              <a:gd name="connsiteY733" fmla="*/ 2403391 h 3047670"/>
              <a:gd name="connsiteX734" fmla="*/ 2690419 w 3044273"/>
              <a:gd name="connsiteY734" fmla="*/ 2400752 h 3047670"/>
              <a:gd name="connsiteX735" fmla="*/ 2693561 w 3044273"/>
              <a:gd name="connsiteY735" fmla="*/ 2403892 h 3047670"/>
              <a:gd name="connsiteX736" fmla="*/ 2690419 w 3044273"/>
              <a:gd name="connsiteY736" fmla="*/ 2407034 h 3047670"/>
              <a:gd name="connsiteX737" fmla="*/ 2687279 w 3044273"/>
              <a:gd name="connsiteY737" fmla="*/ 2404019 h 3047670"/>
              <a:gd name="connsiteX738" fmla="*/ 2690419 w 3044273"/>
              <a:gd name="connsiteY738" fmla="*/ 2400752 h 3047670"/>
              <a:gd name="connsiteX739" fmla="*/ 2159822 w 3044273"/>
              <a:gd name="connsiteY739" fmla="*/ 2398492 h 3047670"/>
              <a:gd name="connsiteX740" fmla="*/ 2177158 w 3044273"/>
              <a:gd name="connsiteY740" fmla="*/ 2415701 h 3047670"/>
              <a:gd name="connsiteX741" fmla="*/ 2159947 w 3044273"/>
              <a:gd name="connsiteY741" fmla="*/ 2433036 h 3047670"/>
              <a:gd name="connsiteX742" fmla="*/ 2142613 w 3044273"/>
              <a:gd name="connsiteY742" fmla="*/ 2415827 h 3047670"/>
              <a:gd name="connsiteX743" fmla="*/ 2159822 w 3044273"/>
              <a:gd name="connsiteY743" fmla="*/ 2398492 h 3047670"/>
              <a:gd name="connsiteX744" fmla="*/ 2812137 w 3044273"/>
              <a:gd name="connsiteY744" fmla="*/ 2390830 h 3047670"/>
              <a:gd name="connsiteX745" fmla="*/ 2813269 w 3044273"/>
              <a:gd name="connsiteY745" fmla="*/ 2391960 h 3047670"/>
              <a:gd name="connsiteX746" fmla="*/ 2812137 w 3044273"/>
              <a:gd name="connsiteY746" fmla="*/ 2393090 h 3047670"/>
              <a:gd name="connsiteX747" fmla="*/ 2811007 w 3044273"/>
              <a:gd name="connsiteY747" fmla="*/ 2391960 h 3047670"/>
              <a:gd name="connsiteX748" fmla="*/ 2812137 w 3044273"/>
              <a:gd name="connsiteY748" fmla="*/ 2390830 h 3047670"/>
              <a:gd name="connsiteX749" fmla="*/ 1037577 w 3044273"/>
              <a:gd name="connsiteY749" fmla="*/ 2389070 h 3047670"/>
              <a:gd name="connsiteX750" fmla="*/ 1053781 w 3044273"/>
              <a:gd name="connsiteY750" fmla="*/ 2405149 h 3047670"/>
              <a:gd name="connsiteX751" fmla="*/ 1037702 w 3044273"/>
              <a:gd name="connsiteY751" fmla="*/ 2421353 h 3047670"/>
              <a:gd name="connsiteX752" fmla="*/ 1021498 w 3044273"/>
              <a:gd name="connsiteY752" fmla="*/ 2405274 h 3047670"/>
              <a:gd name="connsiteX753" fmla="*/ 1037577 w 3044273"/>
              <a:gd name="connsiteY753" fmla="*/ 2389070 h 3047670"/>
              <a:gd name="connsiteX754" fmla="*/ 1272856 w 3044273"/>
              <a:gd name="connsiteY754" fmla="*/ 2385930 h 3047670"/>
              <a:gd name="connsiteX755" fmla="*/ 1292828 w 3044273"/>
              <a:gd name="connsiteY755" fmla="*/ 2405778 h 3047670"/>
              <a:gd name="connsiteX756" fmla="*/ 1272982 w 3044273"/>
              <a:gd name="connsiteY756" fmla="*/ 2425750 h 3047670"/>
              <a:gd name="connsiteX757" fmla="*/ 1253008 w 3044273"/>
              <a:gd name="connsiteY757" fmla="*/ 2405904 h 3047670"/>
              <a:gd name="connsiteX758" fmla="*/ 1272856 w 3044273"/>
              <a:gd name="connsiteY758" fmla="*/ 2385930 h 3047670"/>
              <a:gd name="connsiteX759" fmla="*/ 1776949 w 3044273"/>
              <a:gd name="connsiteY759" fmla="*/ 2382036 h 3047670"/>
              <a:gd name="connsiteX760" fmla="*/ 1798930 w 3044273"/>
              <a:gd name="connsiteY760" fmla="*/ 2403892 h 3047670"/>
              <a:gd name="connsiteX761" fmla="*/ 1777074 w 3044273"/>
              <a:gd name="connsiteY761" fmla="*/ 2425875 h 3047670"/>
              <a:gd name="connsiteX762" fmla="*/ 1755091 w 3044273"/>
              <a:gd name="connsiteY762" fmla="*/ 2404019 h 3047670"/>
              <a:gd name="connsiteX763" fmla="*/ 1776949 w 3044273"/>
              <a:gd name="connsiteY763" fmla="*/ 2382036 h 3047670"/>
              <a:gd name="connsiteX764" fmla="*/ 2012224 w 3044273"/>
              <a:gd name="connsiteY764" fmla="*/ 2381156 h 3047670"/>
              <a:gd name="connsiteX765" fmla="*/ 2032825 w 3044273"/>
              <a:gd name="connsiteY765" fmla="*/ 2401632 h 3047670"/>
              <a:gd name="connsiteX766" fmla="*/ 2012350 w 3044273"/>
              <a:gd name="connsiteY766" fmla="*/ 2422232 h 3047670"/>
              <a:gd name="connsiteX767" fmla="*/ 1991749 w 3044273"/>
              <a:gd name="connsiteY767" fmla="*/ 2401757 h 3047670"/>
              <a:gd name="connsiteX768" fmla="*/ 2012224 w 3044273"/>
              <a:gd name="connsiteY768" fmla="*/ 2381156 h 3047670"/>
              <a:gd name="connsiteX769" fmla="*/ 688998 w 3044273"/>
              <a:gd name="connsiteY769" fmla="*/ 2355907 h 3047670"/>
              <a:gd name="connsiteX770" fmla="*/ 699423 w 3044273"/>
              <a:gd name="connsiteY770" fmla="*/ 2366333 h 3047670"/>
              <a:gd name="connsiteX771" fmla="*/ 688998 w 3044273"/>
              <a:gd name="connsiteY771" fmla="*/ 2376760 h 3047670"/>
              <a:gd name="connsiteX772" fmla="*/ 678572 w 3044273"/>
              <a:gd name="connsiteY772" fmla="*/ 2366333 h 3047670"/>
              <a:gd name="connsiteX773" fmla="*/ 688998 w 3044273"/>
              <a:gd name="connsiteY773" fmla="*/ 2355907 h 3047670"/>
              <a:gd name="connsiteX774" fmla="*/ 1192713 w 3044273"/>
              <a:gd name="connsiteY774" fmla="*/ 2354777 h 3047670"/>
              <a:gd name="connsiteX775" fmla="*/ 1214946 w 3044273"/>
              <a:gd name="connsiteY775" fmla="*/ 2376760 h 3047670"/>
              <a:gd name="connsiteX776" fmla="*/ 1192838 w 3044273"/>
              <a:gd name="connsiteY776" fmla="*/ 2398993 h 3047670"/>
              <a:gd name="connsiteX777" fmla="*/ 1170604 w 3044273"/>
              <a:gd name="connsiteY777" fmla="*/ 2377010 h 3047670"/>
              <a:gd name="connsiteX778" fmla="*/ 1192713 w 3044273"/>
              <a:gd name="connsiteY778" fmla="*/ 2354777 h 3047670"/>
              <a:gd name="connsiteX779" fmla="*/ 558986 w 3044273"/>
              <a:gd name="connsiteY779" fmla="*/ 2353270 h 3047670"/>
              <a:gd name="connsiteX780" fmla="*/ 567277 w 3044273"/>
              <a:gd name="connsiteY780" fmla="*/ 2361435 h 3047670"/>
              <a:gd name="connsiteX781" fmla="*/ 559112 w 3044273"/>
              <a:gd name="connsiteY781" fmla="*/ 2369601 h 3047670"/>
              <a:gd name="connsiteX782" fmla="*/ 550946 w 3044273"/>
              <a:gd name="connsiteY782" fmla="*/ 2361435 h 3047670"/>
              <a:gd name="connsiteX783" fmla="*/ 558986 w 3044273"/>
              <a:gd name="connsiteY783" fmla="*/ 2353270 h 3047670"/>
              <a:gd name="connsiteX784" fmla="*/ 1856964 w 3044273"/>
              <a:gd name="connsiteY784" fmla="*/ 2352016 h 3047670"/>
              <a:gd name="connsiteX785" fmla="*/ 1879575 w 3044273"/>
              <a:gd name="connsiteY785" fmla="*/ 2374502 h 3047670"/>
              <a:gd name="connsiteX786" fmla="*/ 1857090 w 3044273"/>
              <a:gd name="connsiteY786" fmla="*/ 2397113 h 3047670"/>
              <a:gd name="connsiteX787" fmla="*/ 1834479 w 3044273"/>
              <a:gd name="connsiteY787" fmla="*/ 2374627 h 3047670"/>
              <a:gd name="connsiteX788" fmla="*/ 1856964 w 3044273"/>
              <a:gd name="connsiteY788" fmla="*/ 2352016 h 3047670"/>
              <a:gd name="connsiteX789" fmla="*/ 824409 w 3044273"/>
              <a:gd name="connsiteY789" fmla="*/ 2350381 h 3047670"/>
              <a:gd name="connsiteX790" fmla="*/ 840112 w 3044273"/>
              <a:gd name="connsiteY790" fmla="*/ 2366083 h 3047670"/>
              <a:gd name="connsiteX791" fmla="*/ 824409 w 3044273"/>
              <a:gd name="connsiteY791" fmla="*/ 2381786 h 3047670"/>
              <a:gd name="connsiteX792" fmla="*/ 808708 w 3044273"/>
              <a:gd name="connsiteY792" fmla="*/ 2366083 h 3047670"/>
              <a:gd name="connsiteX793" fmla="*/ 824409 w 3044273"/>
              <a:gd name="connsiteY793" fmla="*/ 2350381 h 3047670"/>
              <a:gd name="connsiteX794" fmla="*/ 433748 w 3044273"/>
              <a:gd name="connsiteY794" fmla="*/ 2346864 h 3047670"/>
              <a:gd name="connsiteX795" fmla="*/ 439777 w 3044273"/>
              <a:gd name="connsiteY795" fmla="*/ 2352768 h 3047670"/>
              <a:gd name="connsiteX796" fmla="*/ 433873 w 3044273"/>
              <a:gd name="connsiteY796" fmla="*/ 2358797 h 3047670"/>
              <a:gd name="connsiteX797" fmla="*/ 427844 w 3044273"/>
              <a:gd name="connsiteY797" fmla="*/ 2352768 h 3047670"/>
              <a:gd name="connsiteX798" fmla="*/ 433748 w 3044273"/>
              <a:gd name="connsiteY798" fmla="*/ 2346864 h 3047670"/>
              <a:gd name="connsiteX799" fmla="*/ 2360554 w 3044273"/>
              <a:gd name="connsiteY799" fmla="*/ 2345233 h 3047670"/>
              <a:gd name="connsiteX800" fmla="*/ 2375628 w 3044273"/>
              <a:gd name="connsiteY800" fmla="*/ 2360181 h 3047670"/>
              <a:gd name="connsiteX801" fmla="*/ 2360679 w 3044273"/>
              <a:gd name="connsiteY801" fmla="*/ 2375255 h 3047670"/>
              <a:gd name="connsiteX802" fmla="*/ 2345606 w 3044273"/>
              <a:gd name="connsiteY802" fmla="*/ 2360306 h 3047670"/>
              <a:gd name="connsiteX803" fmla="*/ 2360554 w 3044273"/>
              <a:gd name="connsiteY803" fmla="*/ 2345233 h 3047670"/>
              <a:gd name="connsiteX804" fmla="*/ 2490566 w 3044273"/>
              <a:gd name="connsiteY804" fmla="*/ 2342216 h 3047670"/>
              <a:gd name="connsiteX805" fmla="*/ 2502750 w 3044273"/>
              <a:gd name="connsiteY805" fmla="*/ 2354401 h 3047670"/>
              <a:gd name="connsiteX806" fmla="*/ 2490566 w 3044273"/>
              <a:gd name="connsiteY806" fmla="*/ 2366586 h 3047670"/>
              <a:gd name="connsiteX807" fmla="*/ 2478382 w 3044273"/>
              <a:gd name="connsiteY807" fmla="*/ 2354401 h 3047670"/>
              <a:gd name="connsiteX808" fmla="*/ 2490566 w 3044273"/>
              <a:gd name="connsiteY808" fmla="*/ 2342216 h 3047670"/>
              <a:gd name="connsiteX809" fmla="*/ 966229 w 3044273"/>
              <a:gd name="connsiteY809" fmla="*/ 2340081 h 3047670"/>
              <a:gd name="connsiteX810" fmla="*/ 984695 w 3044273"/>
              <a:gd name="connsiteY810" fmla="*/ 2358422 h 3047670"/>
              <a:gd name="connsiteX811" fmla="*/ 966356 w 3044273"/>
              <a:gd name="connsiteY811" fmla="*/ 2376886 h 3047670"/>
              <a:gd name="connsiteX812" fmla="*/ 947890 w 3044273"/>
              <a:gd name="connsiteY812" fmla="*/ 2358547 h 3047670"/>
              <a:gd name="connsiteX813" fmla="*/ 966229 w 3044273"/>
              <a:gd name="connsiteY813" fmla="*/ 2340081 h 3047670"/>
              <a:gd name="connsiteX814" fmla="*/ 2225143 w 3044273"/>
              <a:gd name="connsiteY814" fmla="*/ 2339955 h 3047670"/>
              <a:gd name="connsiteX815" fmla="*/ 2246247 w 3044273"/>
              <a:gd name="connsiteY815" fmla="*/ 2360933 h 3047670"/>
              <a:gd name="connsiteX816" fmla="*/ 2225269 w 3044273"/>
              <a:gd name="connsiteY816" fmla="*/ 2382036 h 3047670"/>
              <a:gd name="connsiteX817" fmla="*/ 2204165 w 3044273"/>
              <a:gd name="connsiteY817" fmla="*/ 2361058 h 3047670"/>
              <a:gd name="connsiteX818" fmla="*/ 2225143 w 3044273"/>
              <a:gd name="connsiteY818" fmla="*/ 2339955 h 3047670"/>
              <a:gd name="connsiteX819" fmla="*/ 312277 w 3044273"/>
              <a:gd name="connsiteY819" fmla="*/ 2337068 h 3047670"/>
              <a:gd name="connsiteX820" fmla="*/ 316799 w 3044273"/>
              <a:gd name="connsiteY820" fmla="*/ 2341465 h 3047670"/>
              <a:gd name="connsiteX821" fmla="*/ 312402 w 3044273"/>
              <a:gd name="connsiteY821" fmla="*/ 2345862 h 3047670"/>
              <a:gd name="connsiteX822" fmla="*/ 307880 w 3044273"/>
              <a:gd name="connsiteY822" fmla="*/ 2341465 h 3047670"/>
              <a:gd name="connsiteX823" fmla="*/ 312277 w 3044273"/>
              <a:gd name="connsiteY823" fmla="*/ 2337068 h 3047670"/>
              <a:gd name="connsiteX824" fmla="*/ 2615805 w 3044273"/>
              <a:gd name="connsiteY824" fmla="*/ 2335559 h 3047670"/>
              <a:gd name="connsiteX825" fmla="*/ 2625100 w 3044273"/>
              <a:gd name="connsiteY825" fmla="*/ 2344855 h 3047670"/>
              <a:gd name="connsiteX826" fmla="*/ 2615805 w 3044273"/>
              <a:gd name="connsiteY826" fmla="*/ 2354150 h 3047670"/>
              <a:gd name="connsiteX827" fmla="*/ 2606509 w 3044273"/>
              <a:gd name="connsiteY827" fmla="*/ 2344855 h 3047670"/>
              <a:gd name="connsiteX828" fmla="*/ 2615805 w 3044273"/>
              <a:gd name="connsiteY828" fmla="*/ 2335559 h 3047670"/>
              <a:gd name="connsiteX829" fmla="*/ 2083196 w 3044273"/>
              <a:gd name="connsiteY829" fmla="*/ 2331664 h 3047670"/>
              <a:gd name="connsiteX830" fmla="*/ 2106059 w 3044273"/>
              <a:gd name="connsiteY830" fmla="*/ 2354400 h 3047670"/>
              <a:gd name="connsiteX831" fmla="*/ 2083323 w 3044273"/>
              <a:gd name="connsiteY831" fmla="*/ 2377263 h 3047670"/>
              <a:gd name="connsiteX832" fmla="*/ 2060460 w 3044273"/>
              <a:gd name="connsiteY832" fmla="*/ 2354527 h 3047670"/>
              <a:gd name="connsiteX833" fmla="*/ 2083196 w 3044273"/>
              <a:gd name="connsiteY833" fmla="*/ 2331664 h 3047670"/>
              <a:gd name="connsiteX834" fmla="*/ 2737023 w 3044273"/>
              <a:gd name="connsiteY834" fmla="*/ 2329529 h 3047670"/>
              <a:gd name="connsiteX835" fmla="*/ 2740163 w 3044273"/>
              <a:gd name="connsiteY835" fmla="*/ 2332669 h 3047670"/>
              <a:gd name="connsiteX836" fmla="*/ 2737148 w 3044273"/>
              <a:gd name="connsiteY836" fmla="*/ 2335811 h 3047670"/>
              <a:gd name="connsiteX837" fmla="*/ 2734008 w 3044273"/>
              <a:gd name="connsiteY837" fmla="*/ 2332669 h 3047670"/>
              <a:gd name="connsiteX838" fmla="*/ 2737023 w 3044273"/>
              <a:gd name="connsiteY838" fmla="*/ 2329529 h 3047670"/>
              <a:gd name="connsiteX839" fmla="*/ 1524712 w 3044273"/>
              <a:gd name="connsiteY839" fmla="*/ 2328399 h 3047670"/>
              <a:gd name="connsiteX840" fmla="*/ 1544308 w 3044273"/>
              <a:gd name="connsiteY840" fmla="*/ 2347743 h 3047670"/>
              <a:gd name="connsiteX841" fmla="*/ 1524837 w 3044273"/>
              <a:gd name="connsiteY841" fmla="*/ 2367341 h 3047670"/>
              <a:gd name="connsiteX842" fmla="*/ 1505241 w 3044273"/>
              <a:gd name="connsiteY842" fmla="*/ 2347995 h 3047670"/>
              <a:gd name="connsiteX843" fmla="*/ 1524712 w 3044273"/>
              <a:gd name="connsiteY843" fmla="*/ 2328399 h 3047670"/>
              <a:gd name="connsiteX844" fmla="*/ 1439672 w 3044273"/>
              <a:gd name="connsiteY844" fmla="*/ 2323751 h 3047670"/>
              <a:gd name="connsiteX845" fmla="*/ 1459393 w 3044273"/>
              <a:gd name="connsiteY845" fmla="*/ 2343347 h 3047670"/>
              <a:gd name="connsiteX846" fmla="*/ 1439799 w 3044273"/>
              <a:gd name="connsiteY846" fmla="*/ 2363068 h 3047670"/>
              <a:gd name="connsiteX847" fmla="*/ 1419951 w 3044273"/>
              <a:gd name="connsiteY847" fmla="*/ 2343472 h 3047670"/>
              <a:gd name="connsiteX848" fmla="*/ 1439672 w 3044273"/>
              <a:gd name="connsiteY848" fmla="*/ 2323751 h 3047670"/>
              <a:gd name="connsiteX849" fmla="*/ 1609754 w 3044273"/>
              <a:gd name="connsiteY849" fmla="*/ 2322872 h 3047670"/>
              <a:gd name="connsiteX850" fmla="*/ 1629727 w 3044273"/>
              <a:gd name="connsiteY850" fmla="*/ 2342720 h 3047670"/>
              <a:gd name="connsiteX851" fmla="*/ 1609881 w 3044273"/>
              <a:gd name="connsiteY851" fmla="*/ 2362692 h 3047670"/>
              <a:gd name="connsiteX852" fmla="*/ 1589907 w 3044273"/>
              <a:gd name="connsiteY852" fmla="*/ 2342846 h 3047670"/>
              <a:gd name="connsiteX853" fmla="*/ 1609754 w 3044273"/>
              <a:gd name="connsiteY853" fmla="*/ 2322872 h 3047670"/>
              <a:gd name="connsiteX854" fmla="*/ 1115711 w 3044273"/>
              <a:gd name="connsiteY854" fmla="*/ 2318224 h 3047670"/>
              <a:gd name="connsiteX855" fmla="*/ 1137945 w 3044273"/>
              <a:gd name="connsiteY855" fmla="*/ 2340206 h 3047670"/>
              <a:gd name="connsiteX856" fmla="*/ 1115836 w 3044273"/>
              <a:gd name="connsiteY856" fmla="*/ 2362439 h 3047670"/>
              <a:gd name="connsiteX857" fmla="*/ 1093603 w 3044273"/>
              <a:gd name="connsiteY857" fmla="*/ 2340331 h 3047670"/>
              <a:gd name="connsiteX858" fmla="*/ 1115711 w 3044273"/>
              <a:gd name="connsiteY858" fmla="*/ 2318224 h 3047670"/>
              <a:gd name="connsiteX859" fmla="*/ 2855224 w 3044273"/>
              <a:gd name="connsiteY859" fmla="*/ 2317218 h 3047670"/>
              <a:gd name="connsiteX860" fmla="*/ 2856354 w 3044273"/>
              <a:gd name="connsiteY860" fmla="*/ 2318348 h 3047670"/>
              <a:gd name="connsiteX861" fmla="*/ 2855224 w 3044273"/>
              <a:gd name="connsiteY861" fmla="*/ 2319478 h 3047670"/>
              <a:gd name="connsiteX862" fmla="*/ 2854094 w 3044273"/>
              <a:gd name="connsiteY862" fmla="*/ 2318348 h 3047670"/>
              <a:gd name="connsiteX863" fmla="*/ 2855224 w 3044273"/>
              <a:gd name="connsiteY863" fmla="*/ 2317218 h 3047670"/>
              <a:gd name="connsiteX864" fmla="*/ 1933716 w 3044273"/>
              <a:gd name="connsiteY864" fmla="*/ 2313325 h 3047670"/>
              <a:gd name="connsiteX865" fmla="*/ 1957708 w 3044273"/>
              <a:gd name="connsiteY865" fmla="*/ 2337191 h 3047670"/>
              <a:gd name="connsiteX866" fmla="*/ 1933842 w 3044273"/>
              <a:gd name="connsiteY866" fmla="*/ 2361184 h 3047670"/>
              <a:gd name="connsiteX867" fmla="*/ 1909850 w 3044273"/>
              <a:gd name="connsiteY867" fmla="*/ 2337318 h 3047670"/>
              <a:gd name="connsiteX868" fmla="*/ 1933716 w 3044273"/>
              <a:gd name="connsiteY868" fmla="*/ 2313325 h 3047670"/>
              <a:gd name="connsiteX869" fmla="*/ 1355385 w 3044273"/>
              <a:gd name="connsiteY869" fmla="*/ 2308803 h 3047670"/>
              <a:gd name="connsiteX870" fmla="*/ 1376112 w 3044273"/>
              <a:gd name="connsiteY870" fmla="*/ 2329279 h 3047670"/>
              <a:gd name="connsiteX871" fmla="*/ 1355637 w 3044273"/>
              <a:gd name="connsiteY871" fmla="*/ 2350005 h 3047670"/>
              <a:gd name="connsiteX872" fmla="*/ 1335036 w 3044273"/>
              <a:gd name="connsiteY872" fmla="*/ 2329530 h 3047670"/>
              <a:gd name="connsiteX873" fmla="*/ 1355385 w 3044273"/>
              <a:gd name="connsiteY873" fmla="*/ 2308803 h 3047670"/>
              <a:gd name="connsiteX874" fmla="*/ 1693792 w 3044273"/>
              <a:gd name="connsiteY874" fmla="*/ 2306794 h 3047670"/>
              <a:gd name="connsiteX875" fmla="*/ 1715271 w 3044273"/>
              <a:gd name="connsiteY875" fmla="*/ 2328147 h 3047670"/>
              <a:gd name="connsiteX876" fmla="*/ 1693917 w 3044273"/>
              <a:gd name="connsiteY876" fmla="*/ 2349628 h 3047670"/>
              <a:gd name="connsiteX877" fmla="*/ 1672311 w 3044273"/>
              <a:gd name="connsiteY877" fmla="*/ 2328274 h 3047670"/>
              <a:gd name="connsiteX878" fmla="*/ 1693792 w 3044273"/>
              <a:gd name="connsiteY878" fmla="*/ 2306794 h 3047670"/>
              <a:gd name="connsiteX879" fmla="*/ 763235 w 3044273"/>
              <a:gd name="connsiteY879" fmla="*/ 2293730 h 3047670"/>
              <a:gd name="connsiteX880" fmla="*/ 776174 w 3044273"/>
              <a:gd name="connsiteY880" fmla="*/ 2306542 h 3047670"/>
              <a:gd name="connsiteX881" fmla="*/ 763362 w 3044273"/>
              <a:gd name="connsiteY881" fmla="*/ 2319481 h 3047670"/>
              <a:gd name="connsiteX882" fmla="*/ 750423 w 3044273"/>
              <a:gd name="connsiteY882" fmla="*/ 2306669 h 3047670"/>
              <a:gd name="connsiteX883" fmla="*/ 763235 w 3044273"/>
              <a:gd name="connsiteY883" fmla="*/ 2293730 h 3047670"/>
              <a:gd name="connsiteX884" fmla="*/ 633224 w 3044273"/>
              <a:gd name="connsiteY884" fmla="*/ 2291468 h 3047670"/>
              <a:gd name="connsiteX885" fmla="*/ 643649 w 3044273"/>
              <a:gd name="connsiteY885" fmla="*/ 2301894 h 3047670"/>
              <a:gd name="connsiteX886" fmla="*/ 633224 w 3044273"/>
              <a:gd name="connsiteY886" fmla="*/ 2312321 h 3047670"/>
              <a:gd name="connsiteX887" fmla="*/ 622798 w 3044273"/>
              <a:gd name="connsiteY887" fmla="*/ 2301894 h 3047670"/>
              <a:gd name="connsiteX888" fmla="*/ 633224 w 3044273"/>
              <a:gd name="connsiteY888" fmla="*/ 2291468 h 3047670"/>
              <a:gd name="connsiteX889" fmla="*/ 899401 w 3044273"/>
              <a:gd name="connsiteY889" fmla="*/ 2289962 h 3047670"/>
              <a:gd name="connsiteX890" fmla="*/ 915229 w 3044273"/>
              <a:gd name="connsiteY890" fmla="*/ 2305663 h 3047670"/>
              <a:gd name="connsiteX891" fmla="*/ 899528 w 3044273"/>
              <a:gd name="connsiteY891" fmla="*/ 2321366 h 3047670"/>
              <a:gd name="connsiteX892" fmla="*/ 883700 w 3044273"/>
              <a:gd name="connsiteY892" fmla="*/ 2305663 h 3047670"/>
              <a:gd name="connsiteX893" fmla="*/ 899401 w 3044273"/>
              <a:gd name="connsiteY893" fmla="*/ 2289962 h 3047670"/>
              <a:gd name="connsiteX894" fmla="*/ 507861 w 3044273"/>
              <a:gd name="connsiteY894" fmla="*/ 2285941 h 3047670"/>
              <a:gd name="connsiteX895" fmla="*/ 515020 w 3044273"/>
              <a:gd name="connsiteY895" fmla="*/ 2292976 h 3047670"/>
              <a:gd name="connsiteX896" fmla="*/ 507986 w 3044273"/>
              <a:gd name="connsiteY896" fmla="*/ 2300135 h 3047670"/>
              <a:gd name="connsiteX897" fmla="*/ 500952 w 3044273"/>
              <a:gd name="connsiteY897" fmla="*/ 2293101 h 3047670"/>
              <a:gd name="connsiteX898" fmla="*/ 507861 w 3044273"/>
              <a:gd name="connsiteY898" fmla="*/ 2285941 h 3047670"/>
              <a:gd name="connsiteX899" fmla="*/ 1273481 w 3044273"/>
              <a:gd name="connsiteY899" fmla="*/ 2284308 h 3047670"/>
              <a:gd name="connsiteX900" fmla="*/ 1295464 w 3044273"/>
              <a:gd name="connsiteY900" fmla="*/ 2306164 h 3047670"/>
              <a:gd name="connsiteX901" fmla="*/ 1273608 w 3044273"/>
              <a:gd name="connsiteY901" fmla="*/ 2328147 h 3047670"/>
              <a:gd name="connsiteX902" fmla="*/ 1251625 w 3044273"/>
              <a:gd name="connsiteY902" fmla="*/ 2306291 h 3047670"/>
              <a:gd name="connsiteX903" fmla="*/ 1273481 w 3044273"/>
              <a:gd name="connsiteY903" fmla="*/ 2284308 h 3047670"/>
              <a:gd name="connsiteX904" fmla="*/ 2285813 w 3044273"/>
              <a:gd name="connsiteY904" fmla="*/ 2282675 h 3047670"/>
              <a:gd name="connsiteX905" fmla="*/ 2304277 w 3044273"/>
              <a:gd name="connsiteY905" fmla="*/ 2301014 h 3047670"/>
              <a:gd name="connsiteX906" fmla="*/ 2285938 w 3044273"/>
              <a:gd name="connsiteY906" fmla="*/ 2319480 h 3047670"/>
              <a:gd name="connsiteX907" fmla="*/ 2267472 w 3044273"/>
              <a:gd name="connsiteY907" fmla="*/ 2301141 h 3047670"/>
              <a:gd name="connsiteX908" fmla="*/ 2285813 w 3044273"/>
              <a:gd name="connsiteY908" fmla="*/ 2282675 h 3047670"/>
              <a:gd name="connsiteX909" fmla="*/ 1775690 w 3044273"/>
              <a:gd name="connsiteY909" fmla="*/ 2281796 h 3047670"/>
              <a:gd name="connsiteX910" fmla="*/ 1798300 w 3044273"/>
              <a:gd name="connsiteY910" fmla="*/ 2304282 h 3047670"/>
              <a:gd name="connsiteX911" fmla="*/ 1775815 w 3044273"/>
              <a:gd name="connsiteY911" fmla="*/ 2326893 h 3047670"/>
              <a:gd name="connsiteX912" fmla="*/ 1753079 w 3044273"/>
              <a:gd name="connsiteY912" fmla="*/ 2304407 h 3047670"/>
              <a:gd name="connsiteX913" fmla="*/ 1775690 w 3044273"/>
              <a:gd name="connsiteY913" fmla="*/ 2281796 h 3047670"/>
              <a:gd name="connsiteX914" fmla="*/ 2415951 w 3044273"/>
              <a:gd name="connsiteY914" fmla="*/ 2280413 h 3047670"/>
              <a:gd name="connsiteX915" fmla="*/ 2431025 w 3044273"/>
              <a:gd name="connsiteY915" fmla="*/ 2295362 h 3047670"/>
              <a:gd name="connsiteX916" fmla="*/ 2416076 w 3044273"/>
              <a:gd name="connsiteY916" fmla="*/ 2310436 h 3047670"/>
              <a:gd name="connsiteX917" fmla="*/ 2400877 w 3044273"/>
              <a:gd name="connsiteY917" fmla="*/ 2295488 h 3047670"/>
              <a:gd name="connsiteX918" fmla="*/ 2415951 w 3044273"/>
              <a:gd name="connsiteY918" fmla="*/ 2280413 h 3047670"/>
              <a:gd name="connsiteX919" fmla="*/ 2149647 w 3044273"/>
              <a:gd name="connsiteY919" fmla="*/ 2278279 h 3047670"/>
              <a:gd name="connsiteX920" fmla="*/ 2172510 w 3044273"/>
              <a:gd name="connsiteY920" fmla="*/ 2301015 h 3047670"/>
              <a:gd name="connsiteX921" fmla="*/ 2149772 w 3044273"/>
              <a:gd name="connsiteY921" fmla="*/ 2323878 h 3047670"/>
              <a:gd name="connsiteX922" fmla="*/ 2126911 w 3044273"/>
              <a:gd name="connsiteY922" fmla="*/ 2301142 h 3047670"/>
              <a:gd name="connsiteX923" fmla="*/ 2149647 w 3044273"/>
              <a:gd name="connsiteY923" fmla="*/ 2278279 h 3047670"/>
              <a:gd name="connsiteX924" fmla="*/ 2541061 w 3044273"/>
              <a:gd name="connsiteY924" fmla="*/ 2276519 h 3047670"/>
              <a:gd name="connsiteX925" fmla="*/ 2550358 w 3044273"/>
              <a:gd name="connsiteY925" fmla="*/ 2285815 h 3047670"/>
              <a:gd name="connsiteX926" fmla="*/ 2541061 w 3044273"/>
              <a:gd name="connsiteY926" fmla="*/ 2295110 h 3047670"/>
              <a:gd name="connsiteX927" fmla="*/ 2531766 w 3044273"/>
              <a:gd name="connsiteY927" fmla="*/ 2285815 h 3047670"/>
              <a:gd name="connsiteX928" fmla="*/ 2541061 w 3044273"/>
              <a:gd name="connsiteY928" fmla="*/ 2276519 h 3047670"/>
              <a:gd name="connsiteX929" fmla="*/ 1042603 w 3044273"/>
              <a:gd name="connsiteY929" fmla="*/ 2275515 h 3047670"/>
              <a:gd name="connsiteX930" fmla="*/ 1063329 w 3044273"/>
              <a:gd name="connsiteY930" fmla="*/ 2295991 h 3047670"/>
              <a:gd name="connsiteX931" fmla="*/ 1042854 w 3044273"/>
              <a:gd name="connsiteY931" fmla="*/ 2316592 h 3047670"/>
              <a:gd name="connsiteX932" fmla="*/ 1022253 w 3044273"/>
              <a:gd name="connsiteY932" fmla="*/ 2296117 h 3047670"/>
              <a:gd name="connsiteX933" fmla="*/ 1042603 w 3044273"/>
              <a:gd name="connsiteY933" fmla="*/ 2275515 h 3047670"/>
              <a:gd name="connsiteX934" fmla="*/ 387019 w 3044273"/>
              <a:gd name="connsiteY934" fmla="*/ 2274887 h 3047670"/>
              <a:gd name="connsiteX935" fmla="*/ 393677 w 3044273"/>
              <a:gd name="connsiteY935" fmla="*/ 2281545 h 3047670"/>
              <a:gd name="connsiteX936" fmla="*/ 387019 w 3044273"/>
              <a:gd name="connsiteY936" fmla="*/ 2288202 h 3047670"/>
              <a:gd name="connsiteX937" fmla="*/ 380362 w 3044273"/>
              <a:gd name="connsiteY937" fmla="*/ 2281545 h 3047670"/>
              <a:gd name="connsiteX938" fmla="*/ 387019 w 3044273"/>
              <a:gd name="connsiteY938" fmla="*/ 2274887 h 3047670"/>
              <a:gd name="connsiteX939" fmla="*/ 2006196 w 3044273"/>
              <a:gd name="connsiteY939" fmla="*/ 2268480 h 3047670"/>
              <a:gd name="connsiteX940" fmla="*/ 2030439 w 3044273"/>
              <a:gd name="connsiteY940" fmla="*/ 2292473 h 3047670"/>
              <a:gd name="connsiteX941" fmla="*/ 2006447 w 3044273"/>
              <a:gd name="connsiteY941" fmla="*/ 2316716 h 3047670"/>
              <a:gd name="connsiteX942" fmla="*/ 1982204 w 3044273"/>
              <a:gd name="connsiteY942" fmla="*/ 2292724 h 3047670"/>
              <a:gd name="connsiteX943" fmla="*/ 2006196 w 3044273"/>
              <a:gd name="connsiteY943" fmla="*/ 2268480 h 3047670"/>
              <a:gd name="connsiteX944" fmla="*/ 2661904 w 3044273"/>
              <a:gd name="connsiteY944" fmla="*/ 2263455 h 3047670"/>
              <a:gd name="connsiteX945" fmla="*/ 2671702 w 3044273"/>
              <a:gd name="connsiteY945" fmla="*/ 2273126 h 3047670"/>
              <a:gd name="connsiteX946" fmla="*/ 2662029 w 3044273"/>
              <a:gd name="connsiteY946" fmla="*/ 2282924 h 3047670"/>
              <a:gd name="connsiteX947" fmla="*/ 2652232 w 3044273"/>
              <a:gd name="connsiteY947" fmla="*/ 2273252 h 3047670"/>
              <a:gd name="connsiteX948" fmla="*/ 2661904 w 3044273"/>
              <a:gd name="connsiteY948" fmla="*/ 2263455 h 3047670"/>
              <a:gd name="connsiteX949" fmla="*/ 269444 w 3044273"/>
              <a:gd name="connsiteY949" fmla="*/ 2263330 h 3047670"/>
              <a:gd name="connsiteX950" fmla="*/ 273841 w 3044273"/>
              <a:gd name="connsiteY950" fmla="*/ 2267727 h 3047670"/>
              <a:gd name="connsiteX951" fmla="*/ 269444 w 3044273"/>
              <a:gd name="connsiteY951" fmla="*/ 2272123 h 3047670"/>
              <a:gd name="connsiteX952" fmla="*/ 264922 w 3044273"/>
              <a:gd name="connsiteY952" fmla="*/ 2267727 h 3047670"/>
              <a:gd name="connsiteX953" fmla="*/ 269444 w 3044273"/>
              <a:gd name="connsiteY953" fmla="*/ 2263330 h 3047670"/>
              <a:gd name="connsiteX954" fmla="*/ 1854201 w 3044273"/>
              <a:gd name="connsiteY954" fmla="*/ 2254160 h 3047670"/>
              <a:gd name="connsiteX955" fmla="*/ 1871537 w 3044273"/>
              <a:gd name="connsiteY955" fmla="*/ 2271368 h 3047670"/>
              <a:gd name="connsiteX956" fmla="*/ 1854326 w 3044273"/>
              <a:gd name="connsiteY956" fmla="*/ 2288703 h 3047670"/>
              <a:gd name="connsiteX957" fmla="*/ 1836992 w 3044273"/>
              <a:gd name="connsiteY957" fmla="*/ 2271495 h 3047670"/>
              <a:gd name="connsiteX958" fmla="*/ 1854201 w 3044273"/>
              <a:gd name="connsiteY958" fmla="*/ 2254160 h 3047670"/>
              <a:gd name="connsiteX959" fmla="*/ 1194598 w 3044273"/>
              <a:gd name="connsiteY959" fmla="*/ 2253659 h 3047670"/>
              <a:gd name="connsiteX960" fmla="*/ 1214821 w 3044273"/>
              <a:gd name="connsiteY960" fmla="*/ 2273757 h 3047670"/>
              <a:gd name="connsiteX961" fmla="*/ 1194723 w 3044273"/>
              <a:gd name="connsiteY961" fmla="*/ 2293981 h 3047670"/>
              <a:gd name="connsiteX962" fmla="*/ 1174499 w 3044273"/>
              <a:gd name="connsiteY962" fmla="*/ 2273883 h 3047670"/>
              <a:gd name="connsiteX963" fmla="*/ 1194598 w 3044273"/>
              <a:gd name="connsiteY963" fmla="*/ 2253659 h 3047670"/>
              <a:gd name="connsiteX964" fmla="*/ 2779480 w 3044273"/>
              <a:gd name="connsiteY964" fmla="*/ 2253531 h 3047670"/>
              <a:gd name="connsiteX965" fmla="*/ 2784630 w 3044273"/>
              <a:gd name="connsiteY965" fmla="*/ 2258555 h 3047670"/>
              <a:gd name="connsiteX966" fmla="*/ 2779605 w 3044273"/>
              <a:gd name="connsiteY966" fmla="*/ 2263705 h 3047670"/>
              <a:gd name="connsiteX967" fmla="*/ 2774455 w 3044273"/>
              <a:gd name="connsiteY967" fmla="*/ 2258681 h 3047670"/>
              <a:gd name="connsiteX968" fmla="*/ 2779480 w 3044273"/>
              <a:gd name="connsiteY968" fmla="*/ 2253531 h 3047670"/>
              <a:gd name="connsiteX969" fmla="*/ 1524463 w 3044273"/>
              <a:gd name="connsiteY969" fmla="*/ 2241850 h 3047670"/>
              <a:gd name="connsiteX970" fmla="*/ 1535518 w 3044273"/>
              <a:gd name="connsiteY970" fmla="*/ 2252904 h 3047670"/>
              <a:gd name="connsiteX971" fmla="*/ 1524463 w 3044273"/>
              <a:gd name="connsiteY971" fmla="*/ 2263958 h 3047670"/>
              <a:gd name="connsiteX972" fmla="*/ 1513409 w 3044273"/>
              <a:gd name="connsiteY972" fmla="*/ 2252904 h 3047670"/>
              <a:gd name="connsiteX973" fmla="*/ 1524463 w 3044273"/>
              <a:gd name="connsiteY973" fmla="*/ 2241850 h 3047670"/>
              <a:gd name="connsiteX974" fmla="*/ 2894164 w 3044273"/>
              <a:gd name="connsiteY974" fmla="*/ 2240469 h 3047670"/>
              <a:gd name="connsiteX975" fmla="*/ 2896174 w 3044273"/>
              <a:gd name="connsiteY975" fmla="*/ 2242479 h 3047670"/>
              <a:gd name="connsiteX976" fmla="*/ 2894164 w 3044273"/>
              <a:gd name="connsiteY976" fmla="*/ 2244489 h 3047670"/>
              <a:gd name="connsiteX977" fmla="*/ 2892154 w 3044273"/>
              <a:gd name="connsiteY977" fmla="*/ 2242479 h 3047670"/>
              <a:gd name="connsiteX978" fmla="*/ 2894164 w 3044273"/>
              <a:gd name="connsiteY978" fmla="*/ 2240469 h 3047670"/>
              <a:gd name="connsiteX979" fmla="*/ 1439295 w 3044273"/>
              <a:gd name="connsiteY979" fmla="*/ 2235947 h 3047670"/>
              <a:gd name="connsiteX980" fmla="*/ 1451104 w 3044273"/>
              <a:gd name="connsiteY980" fmla="*/ 2247629 h 3047670"/>
              <a:gd name="connsiteX981" fmla="*/ 1439420 w 3044273"/>
              <a:gd name="connsiteY981" fmla="*/ 2259438 h 3047670"/>
              <a:gd name="connsiteX982" fmla="*/ 1427613 w 3044273"/>
              <a:gd name="connsiteY982" fmla="*/ 2247756 h 3047670"/>
              <a:gd name="connsiteX983" fmla="*/ 1439295 w 3044273"/>
              <a:gd name="connsiteY983" fmla="*/ 2235947 h 3047670"/>
              <a:gd name="connsiteX984" fmla="*/ 1609379 w 3044273"/>
              <a:gd name="connsiteY984" fmla="*/ 2235067 h 3047670"/>
              <a:gd name="connsiteX985" fmla="*/ 1621313 w 3044273"/>
              <a:gd name="connsiteY985" fmla="*/ 2247001 h 3047670"/>
              <a:gd name="connsiteX986" fmla="*/ 1609379 w 3044273"/>
              <a:gd name="connsiteY986" fmla="*/ 2259059 h 3047670"/>
              <a:gd name="connsiteX987" fmla="*/ 1597445 w 3044273"/>
              <a:gd name="connsiteY987" fmla="*/ 2247126 h 3047670"/>
              <a:gd name="connsiteX988" fmla="*/ 1609379 w 3044273"/>
              <a:gd name="connsiteY988" fmla="*/ 2235067 h 3047670"/>
              <a:gd name="connsiteX989" fmla="*/ 707085 w 3044273"/>
              <a:gd name="connsiteY989" fmla="*/ 2229413 h 3047670"/>
              <a:gd name="connsiteX990" fmla="*/ 720149 w 3044273"/>
              <a:gd name="connsiteY990" fmla="*/ 2242479 h 3047670"/>
              <a:gd name="connsiteX991" fmla="*/ 707211 w 3044273"/>
              <a:gd name="connsiteY991" fmla="*/ 2255542 h 3047670"/>
              <a:gd name="connsiteX992" fmla="*/ 694147 w 3044273"/>
              <a:gd name="connsiteY992" fmla="*/ 2242479 h 3047670"/>
              <a:gd name="connsiteX993" fmla="*/ 707085 w 3044273"/>
              <a:gd name="connsiteY993" fmla="*/ 2229413 h 3047670"/>
              <a:gd name="connsiteX994" fmla="*/ 837598 w 3044273"/>
              <a:gd name="connsiteY994" fmla="*/ 2229162 h 3047670"/>
              <a:gd name="connsiteX995" fmla="*/ 855309 w 3044273"/>
              <a:gd name="connsiteY995" fmla="*/ 2246748 h 3047670"/>
              <a:gd name="connsiteX996" fmla="*/ 837725 w 3044273"/>
              <a:gd name="connsiteY996" fmla="*/ 2264586 h 3047670"/>
              <a:gd name="connsiteX997" fmla="*/ 819887 w 3044273"/>
              <a:gd name="connsiteY997" fmla="*/ 2247000 h 3047670"/>
              <a:gd name="connsiteX998" fmla="*/ 837598 w 3044273"/>
              <a:gd name="connsiteY998" fmla="*/ 2229162 h 3047670"/>
              <a:gd name="connsiteX999" fmla="*/ 974645 w 3044273"/>
              <a:gd name="connsiteY999" fmla="*/ 2224641 h 3047670"/>
              <a:gd name="connsiteX1000" fmla="*/ 994869 w 3044273"/>
              <a:gd name="connsiteY1000" fmla="*/ 2244739 h 3047670"/>
              <a:gd name="connsiteX1001" fmla="*/ 974770 w 3044273"/>
              <a:gd name="connsiteY1001" fmla="*/ 2264963 h 3047670"/>
              <a:gd name="connsiteX1002" fmla="*/ 954547 w 3044273"/>
              <a:gd name="connsiteY1002" fmla="*/ 2244865 h 3047670"/>
              <a:gd name="connsiteX1003" fmla="*/ 974645 w 3044273"/>
              <a:gd name="connsiteY1003" fmla="*/ 2224641 h 3047670"/>
              <a:gd name="connsiteX1004" fmla="*/ 582224 w 3044273"/>
              <a:gd name="connsiteY1004" fmla="*/ 2222883 h 3047670"/>
              <a:gd name="connsiteX1005" fmla="*/ 592902 w 3044273"/>
              <a:gd name="connsiteY1005" fmla="*/ 2233434 h 3047670"/>
              <a:gd name="connsiteX1006" fmla="*/ 582349 w 3044273"/>
              <a:gd name="connsiteY1006" fmla="*/ 2244111 h 3047670"/>
              <a:gd name="connsiteX1007" fmla="*/ 571672 w 3044273"/>
              <a:gd name="connsiteY1007" fmla="*/ 2233560 h 3047670"/>
              <a:gd name="connsiteX1008" fmla="*/ 582224 w 3044273"/>
              <a:gd name="connsiteY1008" fmla="*/ 2222883 h 3047670"/>
              <a:gd name="connsiteX1009" fmla="*/ 2211073 w 3044273"/>
              <a:gd name="connsiteY1009" fmla="*/ 2217983 h 3047670"/>
              <a:gd name="connsiteX1010" fmla="*/ 2235064 w 3044273"/>
              <a:gd name="connsiteY1010" fmla="*/ 2241849 h 3047670"/>
              <a:gd name="connsiteX1011" fmla="*/ 2211198 w 3044273"/>
              <a:gd name="connsiteY1011" fmla="*/ 2265842 h 3047670"/>
              <a:gd name="connsiteX1012" fmla="*/ 2187205 w 3044273"/>
              <a:gd name="connsiteY1012" fmla="*/ 2241976 h 3047670"/>
              <a:gd name="connsiteX1013" fmla="*/ 2211073 w 3044273"/>
              <a:gd name="connsiteY1013" fmla="*/ 2217983 h 3047670"/>
              <a:gd name="connsiteX1014" fmla="*/ 1355636 w 3044273"/>
              <a:gd name="connsiteY1014" fmla="*/ 2217731 h 3047670"/>
              <a:gd name="connsiteX1015" fmla="*/ 1369579 w 3044273"/>
              <a:gd name="connsiteY1015" fmla="*/ 2231675 h 3047670"/>
              <a:gd name="connsiteX1016" fmla="*/ 1355761 w 3044273"/>
              <a:gd name="connsiteY1016" fmla="*/ 2245618 h 3047670"/>
              <a:gd name="connsiteX1017" fmla="*/ 1341692 w 3044273"/>
              <a:gd name="connsiteY1017" fmla="*/ 2231800 h 3047670"/>
              <a:gd name="connsiteX1018" fmla="*/ 1355636 w 3044273"/>
              <a:gd name="connsiteY1018" fmla="*/ 2217731 h 3047670"/>
              <a:gd name="connsiteX1019" fmla="*/ 1693038 w 3044273"/>
              <a:gd name="connsiteY1019" fmla="*/ 2215847 h 3047670"/>
              <a:gd name="connsiteX1020" fmla="*/ 1707734 w 3044273"/>
              <a:gd name="connsiteY1020" fmla="*/ 2230418 h 3047670"/>
              <a:gd name="connsiteX1021" fmla="*/ 1693163 w 3044273"/>
              <a:gd name="connsiteY1021" fmla="*/ 2245115 h 3047670"/>
              <a:gd name="connsiteX1022" fmla="*/ 1678466 w 3044273"/>
              <a:gd name="connsiteY1022" fmla="*/ 2230544 h 3047670"/>
              <a:gd name="connsiteX1023" fmla="*/ 1693038 w 3044273"/>
              <a:gd name="connsiteY1023" fmla="*/ 2215847 h 3047670"/>
              <a:gd name="connsiteX1024" fmla="*/ 2073901 w 3044273"/>
              <a:gd name="connsiteY1024" fmla="*/ 2215596 h 3047670"/>
              <a:gd name="connsiteX1025" fmla="*/ 2099275 w 3044273"/>
              <a:gd name="connsiteY1025" fmla="*/ 2240719 h 3047670"/>
              <a:gd name="connsiteX1026" fmla="*/ 2074152 w 3044273"/>
              <a:gd name="connsiteY1026" fmla="*/ 2266093 h 3047670"/>
              <a:gd name="connsiteX1027" fmla="*/ 2048904 w 3044273"/>
              <a:gd name="connsiteY1027" fmla="*/ 2240970 h 3047670"/>
              <a:gd name="connsiteX1028" fmla="*/ 2073901 w 3044273"/>
              <a:gd name="connsiteY1028" fmla="*/ 2215596 h 3047670"/>
              <a:gd name="connsiteX1029" fmla="*/ 2341462 w 3044273"/>
              <a:gd name="connsiteY1029" fmla="*/ 2215471 h 3047670"/>
              <a:gd name="connsiteX1030" fmla="*/ 2362566 w 3044273"/>
              <a:gd name="connsiteY1030" fmla="*/ 2236449 h 3047670"/>
              <a:gd name="connsiteX1031" fmla="*/ 2341588 w 3044273"/>
              <a:gd name="connsiteY1031" fmla="*/ 2257551 h 3047670"/>
              <a:gd name="connsiteX1032" fmla="*/ 2320484 w 3044273"/>
              <a:gd name="connsiteY1032" fmla="*/ 2236574 h 3047670"/>
              <a:gd name="connsiteX1033" fmla="*/ 2341462 w 3044273"/>
              <a:gd name="connsiteY1033" fmla="*/ 2215471 h 3047670"/>
              <a:gd name="connsiteX1034" fmla="*/ 461633 w 3044273"/>
              <a:gd name="connsiteY1034" fmla="*/ 2212832 h 3047670"/>
              <a:gd name="connsiteX1035" fmla="*/ 470300 w 3044273"/>
              <a:gd name="connsiteY1035" fmla="*/ 2221499 h 3047670"/>
              <a:gd name="connsiteX1036" fmla="*/ 461759 w 3044273"/>
              <a:gd name="connsiteY1036" fmla="*/ 2230166 h 3047670"/>
              <a:gd name="connsiteX1037" fmla="*/ 453092 w 3044273"/>
              <a:gd name="connsiteY1037" fmla="*/ 2221499 h 3047670"/>
              <a:gd name="connsiteX1038" fmla="*/ 461633 w 3044273"/>
              <a:gd name="connsiteY1038" fmla="*/ 2212832 h 3047670"/>
              <a:gd name="connsiteX1039" fmla="*/ 1119855 w 3044273"/>
              <a:gd name="connsiteY1039" fmla="*/ 2212707 h 3047670"/>
              <a:gd name="connsiteX1040" fmla="*/ 1140079 w 3044273"/>
              <a:gd name="connsiteY1040" fmla="*/ 2232805 h 3047670"/>
              <a:gd name="connsiteX1041" fmla="*/ 1119980 w 3044273"/>
              <a:gd name="connsiteY1041" fmla="*/ 2253029 h 3047670"/>
              <a:gd name="connsiteX1042" fmla="*/ 1099757 w 3044273"/>
              <a:gd name="connsiteY1042" fmla="*/ 2232931 h 3047670"/>
              <a:gd name="connsiteX1043" fmla="*/ 1119855 w 3044273"/>
              <a:gd name="connsiteY1043" fmla="*/ 2212707 h 3047670"/>
              <a:gd name="connsiteX1044" fmla="*/ 2466323 w 3044273"/>
              <a:gd name="connsiteY1044" fmla="*/ 2211701 h 3047670"/>
              <a:gd name="connsiteX1045" fmla="*/ 2481397 w 3044273"/>
              <a:gd name="connsiteY1045" fmla="*/ 2226650 h 3047670"/>
              <a:gd name="connsiteX1046" fmla="*/ 2466448 w 3044273"/>
              <a:gd name="connsiteY1046" fmla="*/ 2241849 h 3047670"/>
              <a:gd name="connsiteX1047" fmla="*/ 2451374 w 3044273"/>
              <a:gd name="connsiteY1047" fmla="*/ 2226775 h 3047670"/>
              <a:gd name="connsiteX1048" fmla="*/ 2466323 w 3044273"/>
              <a:gd name="connsiteY1048" fmla="*/ 2211701 h 3047670"/>
              <a:gd name="connsiteX1049" fmla="*/ 1928565 w 3044273"/>
              <a:gd name="connsiteY1049" fmla="*/ 2208687 h 3047670"/>
              <a:gd name="connsiteX1050" fmla="*/ 1949919 w 3044273"/>
              <a:gd name="connsiteY1050" fmla="*/ 2229915 h 3047670"/>
              <a:gd name="connsiteX1051" fmla="*/ 1928816 w 3044273"/>
              <a:gd name="connsiteY1051" fmla="*/ 2251270 h 3047670"/>
              <a:gd name="connsiteX1052" fmla="*/ 1907462 w 3044273"/>
              <a:gd name="connsiteY1052" fmla="*/ 2230041 h 3047670"/>
              <a:gd name="connsiteX1053" fmla="*/ 1928565 w 3044273"/>
              <a:gd name="connsiteY1053" fmla="*/ 2208687 h 3047670"/>
              <a:gd name="connsiteX1054" fmla="*/ 344812 w 3044273"/>
              <a:gd name="connsiteY1054" fmla="*/ 2202910 h 3047670"/>
              <a:gd name="connsiteX1055" fmla="*/ 349208 w 3044273"/>
              <a:gd name="connsiteY1055" fmla="*/ 2207307 h 3047670"/>
              <a:gd name="connsiteX1056" fmla="*/ 344812 w 3044273"/>
              <a:gd name="connsiteY1056" fmla="*/ 2211703 h 3047670"/>
              <a:gd name="connsiteX1057" fmla="*/ 340416 w 3044273"/>
              <a:gd name="connsiteY1057" fmla="*/ 2207307 h 3047670"/>
              <a:gd name="connsiteX1058" fmla="*/ 344812 w 3044273"/>
              <a:gd name="connsiteY1058" fmla="*/ 2202910 h 3047670"/>
              <a:gd name="connsiteX1059" fmla="*/ 2586788 w 3044273"/>
              <a:gd name="connsiteY1059" fmla="*/ 2201150 h 3047670"/>
              <a:gd name="connsiteX1060" fmla="*/ 2599474 w 3044273"/>
              <a:gd name="connsiteY1060" fmla="*/ 2213711 h 3047670"/>
              <a:gd name="connsiteX1061" fmla="*/ 2586913 w 3044273"/>
              <a:gd name="connsiteY1061" fmla="*/ 2226398 h 3047670"/>
              <a:gd name="connsiteX1062" fmla="*/ 2574226 w 3044273"/>
              <a:gd name="connsiteY1062" fmla="*/ 2213837 h 3047670"/>
              <a:gd name="connsiteX1063" fmla="*/ 2586788 w 3044273"/>
              <a:gd name="connsiteY1063" fmla="*/ 2201150 h 3047670"/>
              <a:gd name="connsiteX1064" fmla="*/ 231007 w 3044273"/>
              <a:gd name="connsiteY1064" fmla="*/ 2190348 h 3047670"/>
              <a:gd name="connsiteX1065" fmla="*/ 232388 w 3044273"/>
              <a:gd name="connsiteY1065" fmla="*/ 2191605 h 3047670"/>
              <a:gd name="connsiteX1066" fmla="*/ 231007 w 3044273"/>
              <a:gd name="connsiteY1066" fmla="*/ 2192985 h 3047670"/>
              <a:gd name="connsiteX1067" fmla="*/ 229625 w 3044273"/>
              <a:gd name="connsiteY1067" fmla="*/ 2191605 h 3047670"/>
              <a:gd name="connsiteX1068" fmla="*/ 231007 w 3044273"/>
              <a:gd name="connsiteY1068" fmla="*/ 2190348 h 3047670"/>
              <a:gd name="connsiteX1069" fmla="*/ 2703483 w 3044273"/>
              <a:gd name="connsiteY1069" fmla="*/ 2188965 h 3047670"/>
              <a:gd name="connsiteX1070" fmla="*/ 2713281 w 3044273"/>
              <a:gd name="connsiteY1070" fmla="*/ 2198636 h 3047670"/>
              <a:gd name="connsiteX1071" fmla="*/ 2703608 w 3044273"/>
              <a:gd name="connsiteY1071" fmla="*/ 2208434 h 3047670"/>
              <a:gd name="connsiteX1072" fmla="*/ 2693811 w 3044273"/>
              <a:gd name="connsiteY1072" fmla="*/ 2198762 h 3047670"/>
              <a:gd name="connsiteX1073" fmla="*/ 2703483 w 3044273"/>
              <a:gd name="connsiteY1073" fmla="*/ 2188965 h 3047670"/>
              <a:gd name="connsiteX1074" fmla="*/ 1274613 w 3044273"/>
              <a:gd name="connsiteY1074" fmla="*/ 2187962 h 3047670"/>
              <a:gd name="connsiteX1075" fmla="*/ 1291949 w 3044273"/>
              <a:gd name="connsiteY1075" fmla="*/ 2205170 h 3047670"/>
              <a:gd name="connsiteX1076" fmla="*/ 1274740 w 3044273"/>
              <a:gd name="connsiteY1076" fmla="*/ 2222505 h 3047670"/>
              <a:gd name="connsiteX1077" fmla="*/ 1257405 w 3044273"/>
              <a:gd name="connsiteY1077" fmla="*/ 2205297 h 3047670"/>
              <a:gd name="connsiteX1078" fmla="*/ 1274613 w 3044273"/>
              <a:gd name="connsiteY1078" fmla="*/ 2187962 h 3047670"/>
              <a:gd name="connsiteX1079" fmla="*/ 1773806 w 3044273"/>
              <a:gd name="connsiteY1079" fmla="*/ 2186078 h 3047670"/>
              <a:gd name="connsiteX1080" fmla="*/ 1791142 w 3044273"/>
              <a:gd name="connsiteY1080" fmla="*/ 2203286 h 3047670"/>
              <a:gd name="connsiteX1081" fmla="*/ 1773933 w 3044273"/>
              <a:gd name="connsiteY1081" fmla="*/ 2220621 h 3047670"/>
              <a:gd name="connsiteX1082" fmla="*/ 1756597 w 3044273"/>
              <a:gd name="connsiteY1082" fmla="*/ 2203413 h 3047670"/>
              <a:gd name="connsiteX1083" fmla="*/ 1773806 w 3044273"/>
              <a:gd name="connsiteY1083" fmla="*/ 2186078 h 3047670"/>
              <a:gd name="connsiteX1084" fmla="*/ 2817415 w 3044273"/>
              <a:gd name="connsiteY1084" fmla="*/ 2178414 h 3047670"/>
              <a:gd name="connsiteX1085" fmla="*/ 2821185 w 3044273"/>
              <a:gd name="connsiteY1085" fmla="*/ 2182183 h 3047670"/>
              <a:gd name="connsiteX1086" fmla="*/ 2817415 w 3044273"/>
              <a:gd name="connsiteY1086" fmla="*/ 2185951 h 3047670"/>
              <a:gd name="connsiteX1087" fmla="*/ 2813646 w 3044273"/>
              <a:gd name="connsiteY1087" fmla="*/ 2182183 h 3047670"/>
              <a:gd name="connsiteX1088" fmla="*/ 2817415 w 3044273"/>
              <a:gd name="connsiteY1088" fmla="*/ 2178414 h 3047670"/>
              <a:gd name="connsiteX1089" fmla="*/ 911963 w 3044273"/>
              <a:gd name="connsiteY1089" fmla="*/ 2168365 h 3047670"/>
              <a:gd name="connsiteX1090" fmla="*/ 930806 w 3044273"/>
              <a:gd name="connsiteY1090" fmla="*/ 2187082 h 3047670"/>
              <a:gd name="connsiteX1091" fmla="*/ 912090 w 3044273"/>
              <a:gd name="connsiteY1091" fmla="*/ 2205925 h 3047670"/>
              <a:gd name="connsiteX1092" fmla="*/ 893247 w 3044273"/>
              <a:gd name="connsiteY1092" fmla="*/ 2187208 h 3047670"/>
              <a:gd name="connsiteX1093" fmla="*/ 911963 w 3044273"/>
              <a:gd name="connsiteY1093" fmla="*/ 2168365 h 3047670"/>
              <a:gd name="connsiteX1094" fmla="*/ 1050140 w 3044273"/>
              <a:gd name="connsiteY1094" fmla="*/ 2166732 h 3047670"/>
              <a:gd name="connsiteX1095" fmla="*/ 1067224 w 3044273"/>
              <a:gd name="connsiteY1095" fmla="*/ 2183691 h 3047670"/>
              <a:gd name="connsiteX1096" fmla="*/ 1050266 w 3044273"/>
              <a:gd name="connsiteY1096" fmla="*/ 2200774 h 3047670"/>
              <a:gd name="connsiteX1097" fmla="*/ 1033182 w 3044273"/>
              <a:gd name="connsiteY1097" fmla="*/ 2183816 h 3047670"/>
              <a:gd name="connsiteX1098" fmla="*/ 1050140 w 3044273"/>
              <a:gd name="connsiteY1098" fmla="*/ 2166732 h 3047670"/>
              <a:gd name="connsiteX1099" fmla="*/ 781324 w 3044273"/>
              <a:gd name="connsiteY1099" fmla="*/ 2165476 h 3047670"/>
              <a:gd name="connsiteX1100" fmla="*/ 798910 w 3044273"/>
              <a:gd name="connsiteY1100" fmla="*/ 2182812 h 3047670"/>
              <a:gd name="connsiteX1101" fmla="*/ 781450 w 3044273"/>
              <a:gd name="connsiteY1101" fmla="*/ 2200398 h 3047670"/>
              <a:gd name="connsiteX1102" fmla="*/ 763864 w 3044273"/>
              <a:gd name="connsiteY1102" fmla="*/ 2182937 h 3047670"/>
              <a:gd name="connsiteX1103" fmla="*/ 781324 w 3044273"/>
              <a:gd name="connsiteY1103" fmla="*/ 2165476 h 3047670"/>
              <a:gd name="connsiteX1104" fmla="*/ 2928708 w 3044273"/>
              <a:gd name="connsiteY1104" fmla="*/ 2163341 h 3047670"/>
              <a:gd name="connsiteX1105" fmla="*/ 2929840 w 3044273"/>
              <a:gd name="connsiteY1105" fmla="*/ 2164471 h 3047670"/>
              <a:gd name="connsiteX1106" fmla="*/ 2928708 w 3044273"/>
              <a:gd name="connsiteY1106" fmla="*/ 2165601 h 3047670"/>
              <a:gd name="connsiteX1107" fmla="*/ 2927578 w 3044273"/>
              <a:gd name="connsiteY1107" fmla="*/ 2164471 h 3047670"/>
              <a:gd name="connsiteX1108" fmla="*/ 2928708 w 3044273"/>
              <a:gd name="connsiteY1108" fmla="*/ 2163341 h 3047670"/>
              <a:gd name="connsiteX1109" fmla="*/ 1998030 w 3044273"/>
              <a:gd name="connsiteY1109" fmla="*/ 2161331 h 3047670"/>
              <a:gd name="connsiteX1110" fmla="*/ 2017124 w 3044273"/>
              <a:gd name="connsiteY1110" fmla="*/ 2180299 h 3047670"/>
              <a:gd name="connsiteX1111" fmla="*/ 1998156 w 3044273"/>
              <a:gd name="connsiteY1111" fmla="*/ 2199392 h 3047670"/>
              <a:gd name="connsiteX1112" fmla="*/ 1979062 w 3044273"/>
              <a:gd name="connsiteY1112" fmla="*/ 2180424 h 3047670"/>
              <a:gd name="connsiteX1113" fmla="*/ 1998030 w 3044273"/>
              <a:gd name="connsiteY1113" fmla="*/ 2161331 h 3047670"/>
              <a:gd name="connsiteX1114" fmla="*/ 1850432 w 3044273"/>
              <a:gd name="connsiteY1114" fmla="*/ 2158567 h 3047670"/>
              <a:gd name="connsiteX1115" fmla="*/ 1857969 w 3044273"/>
              <a:gd name="connsiteY1115" fmla="*/ 2166103 h 3047670"/>
              <a:gd name="connsiteX1116" fmla="*/ 1850432 w 3044273"/>
              <a:gd name="connsiteY1116" fmla="*/ 2173639 h 3047670"/>
              <a:gd name="connsiteX1117" fmla="*/ 1842895 w 3044273"/>
              <a:gd name="connsiteY1117" fmla="*/ 2166103 h 3047670"/>
              <a:gd name="connsiteX1118" fmla="*/ 1850432 w 3044273"/>
              <a:gd name="connsiteY1118" fmla="*/ 2158567 h 3047670"/>
              <a:gd name="connsiteX1119" fmla="*/ 656463 w 3044273"/>
              <a:gd name="connsiteY1119" fmla="*/ 2158567 h 3047670"/>
              <a:gd name="connsiteX1120" fmla="*/ 671788 w 3044273"/>
              <a:gd name="connsiteY1120" fmla="*/ 2173766 h 3047670"/>
              <a:gd name="connsiteX1121" fmla="*/ 656589 w 3044273"/>
              <a:gd name="connsiteY1121" fmla="*/ 2189091 h 3047670"/>
              <a:gd name="connsiteX1122" fmla="*/ 641264 w 3044273"/>
              <a:gd name="connsiteY1122" fmla="*/ 2173893 h 3047670"/>
              <a:gd name="connsiteX1123" fmla="*/ 656463 w 3044273"/>
              <a:gd name="connsiteY1123" fmla="*/ 2158567 h 3047670"/>
              <a:gd name="connsiteX1124" fmla="*/ 2136081 w 3044273"/>
              <a:gd name="connsiteY1124" fmla="*/ 2158191 h 3047670"/>
              <a:gd name="connsiteX1125" fmla="*/ 2160576 w 3044273"/>
              <a:gd name="connsiteY1125" fmla="*/ 2182435 h 3047670"/>
              <a:gd name="connsiteX1126" fmla="*/ 2136333 w 3044273"/>
              <a:gd name="connsiteY1126" fmla="*/ 2206930 h 3047670"/>
              <a:gd name="connsiteX1127" fmla="*/ 2111963 w 3044273"/>
              <a:gd name="connsiteY1127" fmla="*/ 2182687 h 3047670"/>
              <a:gd name="connsiteX1128" fmla="*/ 2136081 w 3044273"/>
              <a:gd name="connsiteY1128" fmla="*/ 2158191 h 3047670"/>
              <a:gd name="connsiteX1129" fmla="*/ 1197738 w 3044273"/>
              <a:gd name="connsiteY1129" fmla="*/ 2156683 h 3047670"/>
              <a:gd name="connsiteX1130" fmla="*/ 1209545 w 3044273"/>
              <a:gd name="connsiteY1130" fmla="*/ 2168365 h 3047670"/>
              <a:gd name="connsiteX1131" fmla="*/ 1197863 w 3044273"/>
              <a:gd name="connsiteY1131" fmla="*/ 2180174 h 3047670"/>
              <a:gd name="connsiteX1132" fmla="*/ 1186056 w 3044273"/>
              <a:gd name="connsiteY1132" fmla="*/ 2168492 h 3047670"/>
              <a:gd name="connsiteX1133" fmla="*/ 1197738 w 3044273"/>
              <a:gd name="connsiteY1133" fmla="*/ 2156683 h 3047670"/>
              <a:gd name="connsiteX1134" fmla="*/ 1524086 w 3044273"/>
              <a:gd name="connsiteY1134" fmla="*/ 2155426 h 3047670"/>
              <a:gd name="connsiteX1135" fmla="*/ 1526473 w 3044273"/>
              <a:gd name="connsiteY1135" fmla="*/ 2157813 h 3047670"/>
              <a:gd name="connsiteX1136" fmla="*/ 1524086 w 3044273"/>
              <a:gd name="connsiteY1136" fmla="*/ 2160325 h 3047670"/>
              <a:gd name="connsiteX1137" fmla="*/ 1521699 w 3044273"/>
              <a:gd name="connsiteY1137" fmla="*/ 2157938 h 3047670"/>
              <a:gd name="connsiteX1138" fmla="*/ 1524086 w 3044273"/>
              <a:gd name="connsiteY1138" fmla="*/ 2155426 h 3047670"/>
              <a:gd name="connsiteX1139" fmla="*/ 2266973 w 3044273"/>
              <a:gd name="connsiteY1139" fmla="*/ 2153039 h 3047670"/>
              <a:gd name="connsiteX1140" fmla="*/ 2291592 w 3044273"/>
              <a:gd name="connsiteY1140" fmla="*/ 2177534 h 3047670"/>
              <a:gd name="connsiteX1141" fmla="*/ 2267098 w 3044273"/>
              <a:gd name="connsiteY1141" fmla="*/ 2202154 h 3047670"/>
              <a:gd name="connsiteX1142" fmla="*/ 2242478 w 3044273"/>
              <a:gd name="connsiteY1142" fmla="*/ 2177659 h 3047670"/>
              <a:gd name="connsiteX1143" fmla="*/ 2266973 w 3044273"/>
              <a:gd name="connsiteY1143" fmla="*/ 2153039 h 3047670"/>
              <a:gd name="connsiteX1144" fmla="*/ 536501 w 3044273"/>
              <a:gd name="connsiteY1144" fmla="*/ 2152286 h 3047670"/>
              <a:gd name="connsiteX1145" fmla="*/ 545670 w 3044273"/>
              <a:gd name="connsiteY1145" fmla="*/ 2161330 h 3047670"/>
              <a:gd name="connsiteX1146" fmla="*/ 536626 w 3044273"/>
              <a:gd name="connsiteY1146" fmla="*/ 2170500 h 3047670"/>
              <a:gd name="connsiteX1147" fmla="*/ 527582 w 3044273"/>
              <a:gd name="connsiteY1147" fmla="*/ 2161456 h 3047670"/>
              <a:gd name="connsiteX1148" fmla="*/ 536501 w 3044273"/>
              <a:gd name="connsiteY1148" fmla="*/ 2152286 h 3047670"/>
              <a:gd name="connsiteX1149" fmla="*/ 1439042 w 3044273"/>
              <a:gd name="connsiteY1149" fmla="*/ 2149146 h 3047670"/>
              <a:gd name="connsiteX1150" fmla="*/ 1441679 w 3044273"/>
              <a:gd name="connsiteY1150" fmla="*/ 2151783 h 3047670"/>
              <a:gd name="connsiteX1151" fmla="*/ 1439042 w 3044273"/>
              <a:gd name="connsiteY1151" fmla="*/ 2154420 h 3047670"/>
              <a:gd name="connsiteX1152" fmla="*/ 1436405 w 3044273"/>
              <a:gd name="connsiteY1152" fmla="*/ 2151783 h 3047670"/>
              <a:gd name="connsiteX1153" fmla="*/ 1439042 w 3044273"/>
              <a:gd name="connsiteY1153" fmla="*/ 2149146 h 3047670"/>
              <a:gd name="connsiteX1154" fmla="*/ 1609001 w 3044273"/>
              <a:gd name="connsiteY1154" fmla="*/ 2148267 h 3047670"/>
              <a:gd name="connsiteX1155" fmla="*/ 1611891 w 3044273"/>
              <a:gd name="connsiteY1155" fmla="*/ 2151157 h 3047670"/>
              <a:gd name="connsiteX1156" fmla="*/ 1609001 w 3044273"/>
              <a:gd name="connsiteY1156" fmla="*/ 2154045 h 3047670"/>
              <a:gd name="connsiteX1157" fmla="*/ 1606111 w 3044273"/>
              <a:gd name="connsiteY1157" fmla="*/ 2151157 h 3047670"/>
              <a:gd name="connsiteX1158" fmla="*/ 1609001 w 3044273"/>
              <a:gd name="connsiteY1158" fmla="*/ 2148267 h 3047670"/>
              <a:gd name="connsiteX1159" fmla="*/ 2391582 w 3044273"/>
              <a:gd name="connsiteY1159" fmla="*/ 2146509 h 3047670"/>
              <a:gd name="connsiteX1160" fmla="*/ 2412686 w 3044273"/>
              <a:gd name="connsiteY1160" fmla="*/ 2167487 h 3047670"/>
              <a:gd name="connsiteX1161" fmla="*/ 2391708 w 3044273"/>
              <a:gd name="connsiteY1161" fmla="*/ 2188589 h 3047670"/>
              <a:gd name="connsiteX1162" fmla="*/ 2370604 w 3044273"/>
              <a:gd name="connsiteY1162" fmla="*/ 2167612 h 3047670"/>
              <a:gd name="connsiteX1163" fmla="*/ 2391582 w 3044273"/>
              <a:gd name="connsiteY1163" fmla="*/ 2146509 h 3047670"/>
              <a:gd name="connsiteX1164" fmla="*/ 420557 w 3044273"/>
              <a:gd name="connsiteY1164" fmla="*/ 2141108 h 3047670"/>
              <a:gd name="connsiteX1165" fmla="*/ 426336 w 3044273"/>
              <a:gd name="connsiteY1165" fmla="*/ 2146887 h 3047670"/>
              <a:gd name="connsiteX1166" fmla="*/ 420557 w 3044273"/>
              <a:gd name="connsiteY1166" fmla="*/ 2152664 h 3047670"/>
              <a:gd name="connsiteX1167" fmla="*/ 414780 w 3044273"/>
              <a:gd name="connsiteY1167" fmla="*/ 2146887 h 3047670"/>
              <a:gd name="connsiteX1168" fmla="*/ 420557 w 3044273"/>
              <a:gd name="connsiteY1168" fmla="*/ 2141108 h 3047670"/>
              <a:gd name="connsiteX1169" fmla="*/ 2511417 w 3044273"/>
              <a:gd name="connsiteY1169" fmla="*/ 2135956 h 3047670"/>
              <a:gd name="connsiteX1170" fmla="*/ 2529883 w 3044273"/>
              <a:gd name="connsiteY1170" fmla="*/ 2154297 h 3047670"/>
              <a:gd name="connsiteX1171" fmla="*/ 2511544 w 3044273"/>
              <a:gd name="connsiteY1171" fmla="*/ 2172761 h 3047670"/>
              <a:gd name="connsiteX1172" fmla="*/ 2493078 w 3044273"/>
              <a:gd name="connsiteY1172" fmla="*/ 2154422 h 3047670"/>
              <a:gd name="connsiteX1173" fmla="*/ 2511417 w 3044273"/>
              <a:gd name="connsiteY1173" fmla="*/ 2135956 h 3047670"/>
              <a:gd name="connsiteX1174" fmla="*/ 1356013 w 3044273"/>
              <a:gd name="connsiteY1174" fmla="*/ 2129173 h 3047670"/>
              <a:gd name="connsiteX1175" fmla="*/ 1360033 w 3044273"/>
              <a:gd name="connsiteY1175" fmla="*/ 2133193 h 3047670"/>
              <a:gd name="connsiteX1176" fmla="*/ 1356013 w 3044273"/>
              <a:gd name="connsiteY1176" fmla="*/ 2137212 h 3047670"/>
              <a:gd name="connsiteX1177" fmla="*/ 1351993 w 3044273"/>
              <a:gd name="connsiteY1177" fmla="*/ 2133193 h 3047670"/>
              <a:gd name="connsiteX1178" fmla="*/ 1356013 w 3044273"/>
              <a:gd name="connsiteY1178" fmla="*/ 2129173 h 3047670"/>
              <a:gd name="connsiteX1179" fmla="*/ 1692032 w 3044273"/>
              <a:gd name="connsiteY1179" fmla="*/ 2127542 h 3047670"/>
              <a:gd name="connsiteX1180" fmla="*/ 1696427 w 3044273"/>
              <a:gd name="connsiteY1180" fmla="*/ 2131939 h 3047670"/>
              <a:gd name="connsiteX1181" fmla="*/ 1692032 w 3044273"/>
              <a:gd name="connsiteY1181" fmla="*/ 2136335 h 3047670"/>
              <a:gd name="connsiteX1182" fmla="*/ 1687635 w 3044273"/>
              <a:gd name="connsiteY1182" fmla="*/ 2131939 h 3047670"/>
              <a:gd name="connsiteX1183" fmla="*/ 1692032 w 3044273"/>
              <a:gd name="connsiteY1183" fmla="*/ 2127542 h 3047670"/>
              <a:gd name="connsiteX1184" fmla="*/ 307755 w 3044273"/>
              <a:gd name="connsiteY1184" fmla="*/ 2127163 h 3047670"/>
              <a:gd name="connsiteX1185" fmla="*/ 311273 w 3044273"/>
              <a:gd name="connsiteY1185" fmla="*/ 2130680 h 3047670"/>
              <a:gd name="connsiteX1186" fmla="*/ 307755 w 3044273"/>
              <a:gd name="connsiteY1186" fmla="*/ 2134197 h 3047670"/>
              <a:gd name="connsiteX1187" fmla="*/ 304113 w 3044273"/>
              <a:gd name="connsiteY1187" fmla="*/ 2130680 h 3047670"/>
              <a:gd name="connsiteX1188" fmla="*/ 307755 w 3044273"/>
              <a:gd name="connsiteY1188" fmla="*/ 2127163 h 3047670"/>
              <a:gd name="connsiteX1189" fmla="*/ 2627361 w 3044273"/>
              <a:gd name="connsiteY1189" fmla="*/ 2125279 h 3047670"/>
              <a:gd name="connsiteX1190" fmla="*/ 2640928 w 3044273"/>
              <a:gd name="connsiteY1190" fmla="*/ 2138720 h 3047670"/>
              <a:gd name="connsiteX1191" fmla="*/ 2627487 w 3044273"/>
              <a:gd name="connsiteY1191" fmla="*/ 2152285 h 3047670"/>
              <a:gd name="connsiteX1192" fmla="*/ 2613920 w 3044273"/>
              <a:gd name="connsiteY1192" fmla="*/ 2138845 h 3047670"/>
              <a:gd name="connsiteX1193" fmla="*/ 2627361 w 3044273"/>
              <a:gd name="connsiteY1193" fmla="*/ 2125279 h 3047670"/>
              <a:gd name="connsiteX1194" fmla="*/ 2740289 w 3044273"/>
              <a:gd name="connsiteY1194" fmla="*/ 2113220 h 3047670"/>
              <a:gd name="connsiteX1195" fmla="*/ 2748956 w 3044273"/>
              <a:gd name="connsiteY1195" fmla="*/ 2121761 h 3047670"/>
              <a:gd name="connsiteX1196" fmla="*/ 2740415 w 3044273"/>
              <a:gd name="connsiteY1196" fmla="*/ 2130430 h 3047670"/>
              <a:gd name="connsiteX1197" fmla="*/ 2731747 w 3044273"/>
              <a:gd name="connsiteY1197" fmla="*/ 2121888 h 3047670"/>
              <a:gd name="connsiteX1198" fmla="*/ 2740289 w 3044273"/>
              <a:gd name="connsiteY1198" fmla="*/ 2113220 h 3047670"/>
              <a:gd name="connsiteX1199" fmla="*/ 197215 w 3044273"/>
              <a:gd name="connsiteY1199" fmla="*/ 2111838 h 3047670"/>
              <a:gd name="connsiteX1200" fmla="*/ 198597 w 3044273"/>
              <a:gd name="connsiteY1200" fmla="*/ 2113220 h 3047670"/>
              <a:gd name="connsiteX1201" fmla="*/ 197215 w 3044273"/>
              <a:gd name="connsiteY1201" fmla="*/ 2114602 h 3047670"/>
              <a:gd name="connsiteX1202" fmla="*/ 195833 w 3044273"/>
              <a:gd name="connsiteY1202" fmla="*/ 2113220 h 3047670"/>
              <a:gd name="connsiteX1203" fmla="*/ 197215 w 3044273"/>
              <a:gd name="connsiteY1203" fmla="*/ 2111838 h 3047670"/>
              <a:gd name="connsiteX1204" fmla="*/ 1126137 w 3044273"/>
              <a:gd name="connsiteY1204" fmla="*/ 2110457 h 3047670"/>
              <a:gd name="connsiteX1205" fmla="*/ 1137945 w 3044273"/>
              <a:gd name="connsiteY1205" fmla="*/ 2122139 h 3047670"/>
              <a:gd name="connsiteX1206" fmla="*/ 1126263 w 3044273"/>
              <a:gd name="connsiteY1206" fmla="*/ 2133948 h 3047670"/>
              <a:gd name="connsiteX1207" fmla="*/ 1114455 w 3044273"/>
              <a:gd name="connsiteY1207" fmla="*/ 2122266 h 3047670"/>
              <a:gd name="connsiteX1208" fmla="*/ 1126137 w 3044273"/>
              <a:gd name="connsiteY1208" fmla="*/ 2110457 h 3047670"/>
              <a:gd name="connsiteX1209" fmla="*/ 986454 w 3044273"/>
              <a:gd name="connsiteY1209" fmla="*/ 2108194 h 3047670"/>
              <a:gd name="connsiteX1210" fmla="*/ 1005547 w 3044273"/>
              <a:gd name="connsiteY1210" fmla="*/ 2127162 h 3047670"/>
              <a:gd name="connsiteX1211" fmla="*/ 986579 w 3044273"/>
              <a:gd name="connsiteY1211" fmla="*/ 2146255 h 3047670"/>
              <a:gd name="connsiteX1212" fmla="*/ 967486 w 3044273"/>
              <a:gd name="connsiteY1212" fmla="*/ 2127287 h 3047670"/>
              <a:gd name="connsiteX1213" fmla="*/ 986454 w 3044273"/>
              <a:gd name="connsiteY1213" fmla="*/ 2108194 h 3047670"/>
              <a:gd name="connsiteX1214" fmla="*/ 1921781 w 3044273"/>
              <a:gd name="connsiteY1214" fmla="*/ 2106310 h 3047670"/>
              <a:gd name="connsiteX1215" fmla="*/ 1934845 w 3044273"/>
              <a:gd name="connsiteY1215" fmla="*/ 2119374 h 3047670"/>
              <a:gd name="connsiteX1216" fmla="*/ 1921781 w 3044273"/>
              <a:gd name="connsiteY1216" fmla="*/ 2132438 h 3047670"/>
              <a:gd name="connsiteX1217" fmla="*/ 1908717 w 3044273"/>
              <a:gd name="connsiteY1217" fmla="*/ 2119374 h 3047670"/>
              <a:gd name="connsiteX1218" fmla="*/ 1921781 w 3044273"/>
              <a:gd name="connsiteY1218" fmla="*/ 2106310 h 3047670"/>
              <a:gd name="connsiteX1219" fmla="*/ 855310 w 3044273"/>
              <a:gd name="connsiteY1219" fmla="*/ 2104553 h 3047670"/>
              <a:gd name="connsiteX1220" fmla="*/ 874153 w 3044273"/>
              <a:gd name="connsiteY1220" fmla="*/ 2123270 h 3047670"/>
              <a:gd name="connsiteX1221" fmla="*/ 855437 w 3044273"/>
              <a:gd name="connsiteY1221" fmla="*/ 2142113 h 3047670"/>
              <a:gd name="connsiteX1222" fmla="*/ 836594 w 3044273"/>
              <a:gd name="connsiteY1222" fmla="*/ 2123396 h 3047670"/>
              <a:gd name="connsiteX1223" fmla="*/ 855310 w 3044273"/>
              <a:gd name="connsiteY1223" fmla="*/ 2104553 h 3047670"/>
              <a:gd name="connsiteX1224" fmla="*/ 2850578 w 3044273"/>
              <a:gd name="connsiteY1224" fmla="*/ 2099905 h 3047670"/>
              <a:gd name="connsiteX1225" fmla="*/ 2854348 w 3044273"/>
              <a:gd name="connsiteY1225" fmla="*/ 2103674 h 3047670"/>
              <a:gd name="connsiteX1226" fmla="*/ 2850578 w 3044273"/>
              <a:gd name="connsiteY1226" fmla="*/ 2107442 h 3047670"/>
              <a:gd name="connsiteX1227" fmla="*/ 2846809 w 3044273"/>
              <a:gd name="connsiteY1227" fmla="*/ 2103674 h 3047670"/>
              <a:gd name="connsiteX1228" fmla="*/ 2850578 w 3044273"/>
              <a:gd name="connsiteY1228" fmla="*/ 2099905 h 3047670"/>
              <a:gd name="connsiteX1229" fmla="*/ 2061340 w 3044273"/>
              <a:gd name="connsiteY1229" fmla="*/ 2098900 h 3047670"/>
              <a:gd name="connsiteX1230" fmla="*/ 2085710 w 3044273"/>
              <a:gd name="connsiteY1230" fmla="*/ 2123144 h 3047670"/>
              <a:gd name="connsiteX1231" fmla="*/ 2061466 w 3044273"/>
              <a:gd name="connsiteY1231" fmla="*/ 2147639 h 3047670"/>
              <a:gd name="connsiteX1232" fmla="*/ 2037096 w 3044273"/>
              <a:gd name="connsiteY1232" fmla="*/ 2123396 h 3047670"/>
              <a:gd name="connsiteX1233" fmla="*/ 2061340 w 3044273"/>
              <a:gd name="connsiteY1233" fmla="*/ 2098900 h 3047670"/>
              <a:gd name="connsiteX1234" fmla="*/ 730827 w 3044273"/>
              <a:gd name="connsiteY1234" fmla="*/ 2096514 h 3047670"/>
              <a:gd name="connsiteX1235" fmla="*/ 748413 w 3044273"/>
              <a:gd name="connsiteY1235" fmla="*/ 2113975 h 3047670"/>
              <a:gd name="connsiteX1236" fmla="*/ 730952 w 3044273"/>
              <a:gd name="connsiteY1236" fmla="*/ 2131561 h 3047670"/>
              <a:gd name="connsiteX1237" fmla="*/ 713492 w 3044273"/>
              <a:gd name="connsiteY1237" fmla="*/ 2114100 h 3047670"/>
              <a:gd name="connsiteX1238" fmla="*/ 730827 w 3044273"/>
              <a:gd name="connsiteY1238" fmla="*/ 2096514 h 3047670"/>
              <a:gd name="connsiteX1239" fmla="*/ 1771169 w 3044273"/>
              <a:gd name="connsiteY1239" fmla="*/ 2096136 h 3047670"/>
              <a:gd name="connsiteX1240" fmla="*/ 1775566 w 3044273"/>
              <a:gd name="connsiteY1240" fmla="*/ 2100533 h 3047670"/>
              <a:gd name="connsiteX1241" fmla="*/ 1771169 w 3044273"/>
              <a:gd name="connsiteY1241" fmla="*/ 2104929 h 3047670"/>
              <a:gd name="connsiteX1242" fmla="*/ 1766772 w 3044273"/>
              <a:gd name="connsiteY1242" fmla="*/ 2100533 h 3047670"/>
              <a:gd name="connsiteX1243" fmla="*/ 1771169 w 3044273"/>
              <a:gd name="connsiteY1243" fmla="*/ 2096136 h 3047670"/>
              <a:gd name="connsiteX1244" fmla="*/ 1276499 w 3044273"/>
              <a:gd name="connsiteY1244" fmla="*/ 2094754 h 3047670"/>
              <a:gd name="connsiteX1245" fmla="*/ 1284036 w 3044273"/>
              <a:gd name="connsiteY1245" fmla="*/ 2102291 h 3047670"/>
              <a:gd name="connsiteX1246" fmla="*/ 1276499 w 3044273"/>
              <a:gd name="connsiteY1246" fmla="*/ 2109828 h 3047670"/>
              <a:gd name="connsiteX1247" fmla="*/ 1268961 w 3044273"/>
              <a:gd name="connsiteY1247" fmla="*/ 2102291 h 3047670"/>
              <a:gd name="connsiteX1248" fmla="*/ 1276499 w 3044273"/>
              <a:gd name="connsiteY1248" fmla="*/ 2094754 h 3047670"/>
              <a:gd name="connsiteX1249" fmla="*/ 2192357 w 3044273"/>
              <a:gd name="connsiteY1249" fmla="*/ 2092368 h 3047670"/>
              <a:gd name="connsiteX1250" fmla="*/ 2218610 w 3044273"/>
              <a:gd name="connsiteY1250" fmla="*/ 2118369 h 3047670"/>
              <a:gd name="connsiteX1251" fmla="*/ 2192607 w 3044273"/>
              <a:gd name="connsiteY1251" fmla="*/ 2144623 h 3047670"/>
              <a:gd name="connsiteX1252" fmla="*/ 2166354 w 3044273"/>
              <a:gd name="connsiteY1252" fmla="*/ 2118621 h 3047670"/>
              <a:gd name="connsiteX1253" fmla="*/ 2192357 w 3044273"/>
              <a:gd name="connsiteY1253" fmla="*/ 2092368 h 3047670"/>
              <a:gd name="connsiteX1254" fmla="*/ 611620 w 3044273"/>
              <a:gd name="connsiteY1254" fmla="*/ 2089480 h 3047670"/>
              <a:gd name="connsiteX1255" fmla="*/ 623679 w 3044273"/>
              <a:gd name="connsiteY1255" fmla="*/ 2101413 h 3047670"/>
              <a:gd name="connsiteX1256" fmla="*/ 611745 w 3044273"/>
              <a:gd name="connsiteY1256" fmla="*/ 2113347 h 3047670"/>
              <a:gd name="connsiteX1257" fmla="*/ 599812 w 3044273"/>
              <a:gd name="connsiteY1257" fmla="*/ 2101413 h 3047670"/>
              <a:gd name="connsiteX1258" fmla="*/ 611620 w 3044273"/>
              <a:gd name="connsiteY1258" fmla="*/ 2089480 h 3047670"/>
              <a:gd name="connsiteX1259" fmla="*/ 2316841 w 3044273"/>
              <a:gd name="connsiteY1259" fmla="*/ 2083827 h 3047670"/>
              <a:gd name="connsiteX1260" fmla="*/ 2341460 w 3044273"/>
              <a:gd name="connsiteY1260" fmla="*/ 2108322 h 3047670"/>
              <a:gd name="connsiteX1261" fmla="*/ 2316966 w 3044273"/>
              <a:gd name="connsiteY1261" fmla="*/ 2132942 h 3047670"/>
              <a:gd name="connsiteX1262" fmla="*/ 2292346 w 3044273"/>
              <a:gd name="connsiteY1262" fmla="*/ 2108447 h 3047670"/>
              <a:gd name="connsiteX1263" fmla="*/ 2316841 w 3044273"/>
              <a:gd name="connsiteY1263" fmla="*/ 2083827 h 3047670"/>
              <a:gd name="connsiteX1264" fmla="*/ 2958731 w 3044273"/>
              <a:gd name="connsiteY1264" fmla="*/ 2082444 h 3047670"/>
              <a:gd name="connsiteX1265" fmla="*/ 2960993 w 3044273"/>
              <a:gd name="connsiteY1265" fmla="*/ 2084706 h 3047670"/>
              <a:gd name="connsiteX1266" fmla="*/ 2958857 w 3044273"/>
              <a:gd name="connsiteY1266" fmla="*/ 2086966 h 3047670"/>
              <a:gd name="connsiteX1267" fmla="*/ 2956595 w 3044273"/>
              <a:gd name="connsiteY1267" fmla="*/ 2084706 h 3047670"/>
              <a:gd name="connsiteX1268" fmla="*/ 2958731 w 3044273"/>
              <a:gd name="connsiteY1268" fmla="*/ 2082444 h 3047670"/>
              <a:gd name="connsiteX1269" fmla="*/ 496556 w 3044273"/>
              <a:gd name="connsiteY1269" fmla="*/ 2076540 h 3047670"/>
              <a:gd name="connsiteX1270" fmla="*/ 506103 w 3044273"/>
              <a:gd name="connsiteY1270" fmla="*/ 2086087 h 3047670"/>
              <a:gd name="connsiteX1271" fmla="*/ 496556 w 3044273"/>
              <a:gd name="connsiteY1271" fmla="*/ 2095633 h 3047670"/>
              <a:gd name="connsiteX1272" fmla="*/ 487010 w 3044273"/>
              <a:gd name="connsiteY1272" fmla="*/ 2086212 h 3047670"/>
              <a:gd name="connsiteX1273" fmla="*/ 496556 w 3044273"/>
              <a:gd name="connsiteY1273" fmla="*/ 2076540 h 3047670"/>
              <a:gd name="connsiteX1274" fmla="*/ 2435924 w 3044273"/>
              <a:gd name="connsiteY1274" fmla="*/ 2073652 h 3047670"/>
              <a:gd name="connsiteX1275" fmla="*/ 2457028 w 3044273"/>
              <a:gd name="connsiteY1275" fmla="*/ 2094630 h 3047670"/>
              <a:gd name="connsiteX1276" fmla="*/ 2436050 w 3044273"/>
              <a:gd name="connsiteY1276" fmla="*/ 2115732 h 3047670"/>
              <a:gd name="connsiteX1277" fmla="*/ 2414946 w 3044273"/>
              <a:gd name="connsiteY1277" fmla="*/ 2094755 h 3047670"/>
              <a:gd name="connsiteX1278" fmla="*/ 2435924 w 3044273"/>
              <a:gd name="connsiteY1278" fmla="*/ 2073652 h 3047670"/>
              <a:gd name="connsiteX1279" fmla="*/ 384508 w 3044273"/>
              <a:gd name="connsiteY1279" fmla="*/ 2064231 h 3047670"/>
              <a:gd name="connsiteX1280" fmla="*/ 389910 w 3044273"/>
              <a:gd name="connsiteY1280" fmla="*/ 2069506 h 3047670"/>
              <a:gd name="connsiteX1281" fmla="*/ 384634 w 3044273"/>
              <a:gd name="connsiteY1281" fmla="*/ 2074782 h 3047670"/>
              <a:gd name="connsiteX1282" fmla="*/ 379358 w 3044273"/>
              <a:gd name="connsiteY1282" fmla="*/ 2069506 h 3047670"/>
              <a:gd name="connsiteX1283" fmla="*/ 384508 w 3044273"/>
              <a:gd name="connsiteY1283" fmla="*/ 2064231 h 3047670"/>
              <a:gd name="connsiteX1284" fmla="*/ 2550986 w 3044273"/>
              <a:gd name="connsiteY1284" fmla="*/ 2059959 h 3047670"/>
              <a:gd name="connsiteX1285" fmla="*/ 2569829 w 3044273"/>
              <a:gd name="connsiteY1285" fmla="*/ 2078675 h 3047670"/>
              <a:gd name="connsiteX1286" fmla="*/ 2551113 w 3044273"/>
              <a:gd name="connsiteY1286" fmla="*/ 2097518 h 3047670"/>
              <a:gd name="connsiteX1287" fmla="*/ 2532270 w 3044273"/>
              <a:gd name="connsiteY1287" fmla="*/ 2078802 h 3047670"/>
              <a:gd name="connsiteX1288" fmla="*/ 2550986 w 3044273"/>
              <a:gd name="connsiteY1288" fmla="*/ 2059959 h 3047670"/>
              <a:gd name="connsiteX1289" fmla="*/ 1202636 w 3044273"/>
              <a:gd name="connsiteY1289" fmla="*/ 2058705 h 3047670"/>
              <a:gd name="connsiteX1290" fmla="*/ 1204019 w 3044273"/>
              <a:gd name="connsiteY1290" fmla="*/ 2059963 h 3047670"/>
              <a:gd name="connsiteX1291" fmla="*/ 1202636 w 3044273"/>
              <a:gd name="connsiteY1291" fmla="*/ 2061344 h 3047670"/>
              <a:gd name="connsiteX1292" fmla="*/ 1201254 w 3044273"/>
              <a:gd name="connsiteY1292" fmla="*/ 2059963 h 3047670"/>
              <a:gd name="connsiteX1293" fmla="*/ 1202636 w 3044273"/>
              <a:gd name="connsiteY1293" fmla="*/ 2058705 h 3047670"/>
              <a:gd name="connsiteX1294" fmla="*/ 1060942 w 3044273"/>
              <a:gd name="connsiteY1294" fmla="*/ 2057446 h 3047670"/>
              <a:gd name="connsiteX1295" fmla="*/ 1070740 w 3044273"/>
              <a:gd name="connsiteY1295" fmla="*/ 2067118 h 3047670"/>
              <a:gd name="connsiteX1296" fmla="*/ 1061067 w 3044273"/>
              <a:gd name="connsiteY1296" fmla="*/ 2076916 h 3047670"/>
              <a:gd name="connsiteX1297" fmla="*/ 1051271 w 3044273"/>
              <a:gd name="connsiteY1297" fmla="*/ 2067244 h 3047670"/>
              <a:gd name="connsiteX1298" fmla="*/ 1060942 w 3044273"/>
              <a:gd name="connsiteY1298" fmla="*/ 2057446 h 3047670"/>
              <a:gd name="connsiteX1299" fmla="*/ 1844780 w 3044273"/>
              <a:gd name="connsiteY1299" fmla="*/ 2056190 h 3047670"/>
              <a:gd name="connsiteX1300" fmla="*/ 1846412 w 3044273"/>
              <a:gd name="connsiteY1300" fmla="*/ 2057698 h 3047670"/>
              <a:gd name="connsiteX1301" fmla="*/ 1844905 w 3044273"/>
              <a:gd name="connsiteY1301" fmla="*/ 2059205 h 3047670"/>
              <a:gd name="connsiteX1302" fmla="*/ 1843272 w 3044273"/>
              <a:gd name="connsiteY1302" fmla="*/ 2057698 h 3047670"/>
              <a:gd name="connsiteX1303" fmla="*/ 1844780 w 3044273"/>
              <a:gd name="connsiteY1303" fmla="*/ 2056190 h 3047670"/>
              <a:gd name="connsiteX1304" fmla="*/ 1438919 w 3044273"/>
              <a:gd name="connsiteY1304" fmla="*/ 2055311 h 3047670"/>
              <a:gd name="connsiteX1305" fmla="*/ 1439169 w 3044273"/>
              <a:gd name="connsiteY1305" fmla="*/ 2055563 h 3047670"/>
              <a:gd name="connsiteX1306" fmla="*/ 1438919 w 3044273"/>
              <a:gd name="connsiteY1306" fmla="*/ 2055814 h 3047670"/>
              <a:gd name="connsiteX1307" fmla="*/ 1438667 w 3044273"/>
              <a:gd name="connsiteY1307" fmla="*/ 2055563 h 3047670"/>
              <a:gd name="connsiteX1308" fmla="*/ 1438919 w 3044273"/>
              <a:gd name="connsiteY1308" fmla="*/ 2055311 h 3047670"/>
              <a:gd name="connsiteX1309" fmla="*/ 1608624 w 3044273"/>
              <a:gd name="connsiteY1309" fmla="*/ 2054683 h 3047670"/>
              <a:gd name="connsiteX1310" fmla="*/ 1608874 w 3044273"/>
              <a:gd name="connsiteY1310" fmla="*/ 2054934 h 3047670"/>
              <a:gd name="connsiteX1311" fmla="*/ 1608624 w 3044273"/>
              <a:gd name="connsiteY1311" fmla="*/ 2055185 h 3047670"/>
              <a:gd name="connsiteX1312" fmla="*/ 1608372 w 3044273"/>
              <a:gd name="connsiteY1312" fmla="*/ 2054934 h 3047670"/>
              <a:gd name="connsiteX1313" fmla="*/ 1608624 w 3044273"/>
              <a:gd name="connsiteY1313" fmla="*/ 2054683 h 3047670"/>
              <a:gd name="connsiteX1314" fmla="*/ 1986474 w 3044273"/>
              <a:gd name="connsiteY1314" fmla="*/ 2052925 h 3047670"/>
              <a:gd name="connsiteX1315" fmla="*/ 1997529 w 3044273"/>
              <a:gd name="connsiteY1315" fmla="*/ 2063979 h 3047670"/>
              <a:gd name="connsiteX1316" fmla="*/ 1986474 w 3044273"/>
              <a:gd name="connsiteY1316" fmla="*/ 2075033 h 3047670"/>
              <a:gd name="connsiteX1317" fmla="*/ 1975420 w 3044273"/>
              <a:gd name="connsiteY1317" fmla="*/ 2063979 h 3047670"/>
              <a:gd name="connsiteX1318" fmla="*/ 1986474 w 3044273"/>
              <a:gd name="connsiteY1318" fmla="*/ 2052925 h 3047670"/>
              <a:gd name="connsiteX1319" fmla="*/ 275346 w 3044273"/>
              <a:gd name="connsiteY1319" fmla="*/ 2048529 h 3047670"/>
              <a:gd name="connsiteX1320" fmla="*/ 278487 w 3044273"/>
              <a:gd name="connsiteY1320" fmla="*/ 2051669 h 3047670"/>
              <a:gd name="connsiteX1321" fmla="*/ 275346 w 3044273"/>
              <a:gd name="connsiteY1321" fmla="*/ 2054810 h 3047670"/>
              <a:gd name="connsiteX1322" fmla="*/ 272206 w 3044273"/>
              <a:gd name="connsiteY1322" fmla="*/ 2051669 h 3047670"/>
              <a:gd name="connsiteX1323" fmla="*/ 275346 w 3044273"/>
              <a:gd name="connsiteY1323" fmla="*/ 2048529 h 3047670"/>
              <a:gd name="connsiteX1324" fmla="*/ 929550 w 3044273"/>
              <a:gd name="connsiteY1324" fmla="*/ 2048152 h 3047670"/>
              <a:gd name="connsiteX1325" fmla="*/ 945251 w 3044273"/>
              <a:gd name="connsiteY1325" fmla="*/ 2063853 h 3047670"/>
              <a:gd name="connsiteX1326" fmla="*/ 929550 w 3044273"/>
              <a:gd name="connsiteY1326" fmla="*/ 2079681 h 3047670"/>
              <a:gd name="connsiteX1327" fmla="*/ 913722 w 3044273"/>
              <a:gd name="connsiteY1327" fmla="*/ 2063979 h 3047670"/>
              <a:gd name="connsiteX1328" fmla="*/ 929550 w 3044273"/>
              <a:gd name="connsiteY1328" fmla="*/ 2048152 h 3047670"/>
              <a:gd name="connsiteX1329" fmla="*/ 2662784 w 3044273"/>
              <a:gd name="connsiteY1329" fmla="*/ 2044007 h 3047670"/>
              <a:gd name="connsiteX1330" fmla="*/ 2680120 w 3044273"/>
              <a:gd name="connsiteY1330" fmla="*/ 2061215 h 3047670"/>
              <a:gd name="connsiteX1331" fmla="*/ 2662911 w 3044273"/>
              <a:gd name="connsiteY1331" fmla="*/ 2078550 h 3047670"/>
              <a:gd name="connsiteX1332" fmla="*/ 2645575 w 3044273"/>
              <a:gd name="connsiteY1332" fmla="*/ 2061342 h 3047670"/>
              <a:gd name="connsiteX1333" fmla="*/ 2662784 w 3044273"/>
              <a:gd name="connsiteY1333" fmla="*/ 2044007 h 3047670"/>
              <a:gd name="connsiteX1334" fmla="*/ 2117866 w 3044273"/>
              <a:gd name="connsiteY1334" fmla="*/ 2039860 h 3047670"/>
              <a:gd name="connsiteX1335" fmla="*/ 2137587 w 3044273"/>
              <a:gd name="connsiteY1335" fmla="*/ 2059456 h 3047670"/>
              <a:gd name="connsiteX1336" fmla="*/ 2117991 w 3044273"/>
              <a:gd name="connsiteY1336" fmla="*/ 2079178 h 3047670"/>
              <a:gd name="connsiteX1337" fmla="*/ 2098270 w 3044273"/>
              <a:gd name="connsiteY1337" fmla="*/ 2059582 h 3047670"/>
              <a:gd name="connsiteX1338" fmla="*/ 2117866 w 3044273"/>
              <a:gd name="connsiteY1338" fmla="*/ 2039860 h 3047670"/>
              <a:gd name="connsiteX1339" fmla="*/ 805316 w 3044273"/>
              <a:gd name="connsiteY1339" fmla="*/ 2034208 h 3047670"/>
              <a:gd name="connsiteX1340" fmla="*/ 825540 w 3044273"/>
              <a:gd name="connsiteY1340" fmla="*/ 2054306 h 3047670"/>
              <a:gd name="connsiteX1341" fmla="*/ 805441 w 3044273"/>
              <a:gd name="connsiteY1341" fmla="*/ 2074530 h 3047670"/>
              <a:gd name="connsiteX1342" fmla="*/ 785218 w 3044273"/>
              <a:gd name="connsiteY1342" fmla="*/ 2054432 h 3047670"/>
              <a:gd name="connsiteX1343" fmla="*/ 805316 w 3044273"/>
              <a:gd name="connsiteY1343" fmla="*/ 2034208 h 3047670"/>
              <a:gd name="connsiteX1344" fmla="*/ 1356767 w 3044273"/>
              <a:gd name="connsiteY1344" fmla="*/ 2032576 h 3047670"/>
              <a:gd name="connsiteX1345" fmla="*/ 1357269 w 3044273"/>
              <a:gd name="connsiteY1345" fmla="*/ 2033079 h 3047670"/>
              <a:gd name="connsiteX1346" fmla="*/ 1356767 w 3044273"/>
              <a:gd name="connsiteY1346" fmla="*/ 2033581 h 3047670"/>
              <a:gd name="connsiteX1347" fmla="*/ 1356264 w 3044273"/>
              <a:gd name="connsiteY1347" fmla="*/ 2033204 h 3047670"/>
              <a:gd name="connsiteX1348" fmla="*/ 1356767 w 3044273"/>
              <a:gd name="connsiteY1348" fmla="*/ 2032576 h 3047670"/>
              <a:gd name="connsiteX1349" fmla="*/ 168072 w 3044273"/>
              <a:gd name="connsiteY1349" fmla="*/ 2031696 h 3047670"/>
              <a:gd name="connsiteX1350" fmla="*/ 169453 w 3044273"/>
              <a:gd name="connsiteY1350" fmla="*/ 2032951 h 3047670"/>
              <a:gd name="connsiteX1351" fmla="*/ 168197 w 3044273"/>
              <a:gd name="connsiteY1351" fmla="*/ 2034333 h 3047670"/>
              <a:gd name="connsiteX1352" fmla="*/ 166815 w 3044273"/>
              <a:gd name="connsiteY1352" fmla="*/ 2033078 h 3047670"/>
              <a:gd name="connsiteX1353" fmla="*/ 168072 w 3044273"/>
              <a:gd name="connsiteY1353" fmla="*/ 2031696 h 3047670"/>
              <a:gd name="connsiteX1354" fmla="*/ 1690524 w 3044273"/>
              <a:gd name="connsiteY1354" fmla="*/ 2031571 h 3047670"/>
              <a:gd name="connsiteX1355" fmla="*/ 1691027 w 3044273"/>
              <a:gd name="connsiteY1355" fmla="*/ 2032074 h 3047670"/>
              <a:gd name="connsiteX1356" fmla="*/ 1690524 w 3044273"/>
              <a:gd name="connsiteY1356" fmla="*/ 2032451 h 3047670"/>
              <a:gd name="connsiteX1357" fmla="*/ 1690147 w 3044273"/>
              <a:gd name="connsiteY1357" fmla="*/ 2031949 h 3047670"/>
              <a:gd name="connsiteX1358" fmla="*/ 1690524 w 3044273"/>
              <a:gd name="connsiteY1358" fmla="*/ 2031571 h 3047670"/>
              <a:gd name="connsiteX1359" fmla="*/ 2772068 w 3044273"/>
              <a:gd name="connsiteY1359" fmla="*/ 2029686 h 3047670"/>
              <a:gd name="connsiteX1360" fmla="*/ 2785134 w 3044273"/>
              <a:gd name="connsiteY1360" fmla="*/ 2042750 h 3047670"/>
              <a:gd name="connsiteX1361" fmla="*/ 2772068 w 3044273"/>
              <a:gd name="connsiteY1361" fmla="*/ 2055814 h 3047670"/>
              <a:gd name="connsiteX1362" fmla="*/ 2759004 w 3044273"/>
              <a:gd name="connsiteY1362" fmla="*/ 2042750 h 3047670"/>
              <a:gd name="connsiteX1363" fmla="*/ 2772068 w 3044273"/>
              <a:gd name="connsiteY1363" fmla="*/ 2029686 h 3047670"/>
              <a:gd name="connsiteX1364" fmla="*/ 2241848 w 3044273"/>
              <a:gd name="connsiteY1364" fmla="*/ 2024034 h 3047670"/>
              <a:gd name="connsiteX1365" fmla="*/ 2266970 w 3044273"/>
              <a:gd name="connsiteY1365" fmla="*/ 2048905 h 3047670"/>
              <a:gd name="connsiteX1366" fmla="*/ 2242100 w 3044273"/>
              <a:gd name="connsiteY1366" fmla="*/ 2074028 h 3047670"/>
              <a:gd name="connsiteX1367" fmla="*/ 2216977 w 3044273"/>
              <a:gd name="connsiteY1367" fmla="*/ 2049157 h 3047670"/>
              <a:gd name="connsiteX1368" fmla="*/ 2241848 w 3044273"/>
              <a:gd name="connsiteY1368" fmla="*/ 2024034 h 3047670"/>
              <a:gd name="connsiteX1369" fmla="*/ 686863 w 3044273"/>
              <a:gd name="connsiteY1369" fmla="*/ 2023154 h 3047670"/>
              <a:gd name="connsiteX1370" fmla="*/ 704826 w 3044273"/>
              <a:gd name="connsiteY1370" fmla="*/ 2040992 h 3047670"/>
              <a:gd name="connsiteX1371" fmla="*/ 686989 w 3044273"/>
              <a:gd name="connsiteY1371" fmla="*/ 2058954 h 3047670"/>
              <a:gd name="connsiteX1372" fmla="*/ 669025 w 3044273"/>
              <a:gd name="connsiteY1372" fmla="*/ 2041118 h 3047670"/>
              <a:gd name="connsiteX1373" fmla="*/ 686863 w 3044273"/>
              <a:gd name="connsiteY1373" fmla="*/ 2023154 h 3047670"/>
              <a:gd name="connsiteX1374" fmla="*/ 2879092 w 3044273"/>
              <a:gd name="connsiteY1374" fmla="*/ 2015994 h 3047670"/>
              <a:gd name="connsiteX1375" fmla="*/ 2886377 w 3044273"/>
              <a:gd name="connsiteY1375" fmla="*/ 2023280 h 3047670"/>
              <a:gd name="connsiteX1376" fmla="*/ 2879092 w 3044273"/>
              <a:gd name="connsiteY1376" fmla="*/ 2030565 h 3047670"/>
              <a:gd name="connsiteX1377" fmla="*/ 2871806 w 3044273"/>
              <a:gd name="connsiteY1377" fmla="*/ 2023280 h 3047670"/>
              <a:gd name="connsiteX1378" fmla="*/ 2879092 w 3044273"/>
              <a:gd name="connsiteY1378" fmla="*/ 2015994 h 3047670"/>
              <a:gd name="connsiteX1379" fmla="*/ 572802 w 3044273"/>
              <a:gd name="connsiteY1379" fmla="*/ 2011597 h 3047670"/>
              <a:gd name="connsiteX1380" fmla="*/ 586620 w 3044273"/>
              <a:gd name="connsiteY1380" fmla="*/ 2025289 h 3047670"/>
              <a:gd name="connsiteX1381" fmla="*/ 572928 w 3044273"/>
              <a:gd name="connsiteY1381" fmla="*/ 2039107 h 3047670"/>
              <a:gd name="connsiteX1382" fmla="*/ 559110 w 3044273"/>
              <a:gd name="connsiteY1382" fmla="*/ 2025416 h 3047670"/>
              <a:gd name="connsiteX1383" fmla="*/ 572802 w 3044273"/>
              <a:gd name="connsiteY1383" fmla="*/ 2011597 h 3047670"/>
              <a:gd name="connsiteX1384" fmla="*/ 2360053 w 3044273"/>
              <a:gd name="connsiteY1384" fmla="*/ 2010592 h 3047670"/>
              <a:gd name="connsiteX1385" fmla="*/ 2384548 w 3044273"/>
              <a:gd name="connsiteY1385" fmla="*/ 2034836 h 3047670"/>
              <a:gd name="connsiteX1386" fmla="*/ 2360304 w 3044273"/>
              <a:gd name="connsiteY1386" fmla="*/ 2059331 h 3047670"/>
              <a:gd name="connsiteX1387" fmla="*/ 2335935 w 3044273"/>
              <a:gd name="connsiteY1387" fmla="*/ 2035088 h 3047670"/>
              <a:gd name="connsiteX1388" fmla="*/ 2360053 w 3044273"/>
              <a:gd name="connsiteY1388" fmla="*/ 2010592 h 3047670"/>
              <a:gd name="connsiteX1389" fmla="*/ 1135810 w 3044273"/>
              <a:gd name="connsiteY1389" fmla="*/ 2003306 h 3047670"/>
              <a:gd name="connsiteX1390" fmla="*/ 1139580 w 3044273"/>
              <a:gd name="connsiteY1390" fmla="*/ 2007075 h 3047670"/>
              <a:gd name="connsiteX1391" fmla="*/ 1135810 w 3044273"/>
              <a:gd name="connsiteY1391" fmla="*/ 2010843 h 3047670"/>
              <a:gd name="connsiteX1392" fmla="*/ 1132042 w 3044273"/>
              <a:gd name="connsiteY1392" fmla="*/ 2007075 h 3047670"/>
              <a:gd name="connsiteX1393" fmla="*/ 1135810 w 3044273"/>
              <a:gd name="connsiteY1393" fmla="*/ 2003306 h 3047670"/>
              <a:gd name="connsiteX1394" fmla="*/ 2984356 w 3044273"/>
              <a:gd name="connsiteY1394" fmla="*/ 2001171 h 3047670"/>
              <a:gd name="connsiteX1395" fmla="*/ 2986616 w 3044273"/>
              <a:gd name="connsiteY1395" fmla="*/ 2003306 h 3047670"/>
              <a:gd name="connsiteX1396" fmla="*/ 2984356 w 3044273"/>
              <a:gd name="connsiteY1396" fmla="*/ 2005568 h 3047670"/>
              <a:gd name="connsiteX1397" fmla="*/ 2982094 w 3044273"/>
              <a:gd name="connsiteY1397" fmla="*/ 2003306 h 3047670"/>
              <a:gd name="connsiteX1398" fmla="*/ 2984356 w 3044273"/>
              <a:gd name="connsiteY1398" fmla="*/ 2001171 h 3047670"/>
              <a:gd name="connsiteX1399" fmla="*/ 1911230 w 3044273"/>
              <a:gd name="connsiteY1399" fmla="*/ 1999413 h 3047670"/>
              <a:gd name="connsiteX1400" fmla="*/ 1916129 w 3044273"/>
              <a:gd name="connsiteY1400" fmla="*/ 2004312 h 3047670"/>
              <a:gd name="connsiteX1401" fmla="*/ 1911357 w 3044273"/>
              <a:gd name="connsiteY1401" fmla="*/ 2009210 h 3047670"/>
              <a:gd name="connsiteX1402" fmla="*/ 1906457 w 3044273"/>
              <a:gd name="connsiteY1402" fmla="*/ 2004312 h 3047670"/>
              <a:gd name="connsiteX1403" fmla="*/ 1911230 w 3044273"/>
              <a:gd name="connsiteY1403" fmla="*/ 1999413 h 3047670"/>
              <a:gd name="connsiteX1404" fmla="*/ 462010 w 3044273"/>
              <a:gd name="connsiteY1404" fmla="*/ 1998534 h 3047670"/>
              <a:gd name="connsiteX1405" fmla="*/ 471556 w 3044273"/>
              <a:gd name="connsiteY1405" fmla="*/ 2008081 h 3047670"/>
              <a:gd name="connsiteX1406" fmla="*/ 462135 w 3044273"/>
              <a:gd name="connsiteY1406" fmla="*/ 2017627 h 3047670"/>
              <a:gd name="connsiteX1407" fmla="*/ 452589 w 3044273"/>
              <a:gd name="connsiteY1407" fmla="*/ 2008206 h 3047670"/>
              <a:gd name="connsiteX1408" fmla="*/ 462010 w 3044273"/>
              <a:gd name="connsiteY1408" fmla="*/ 1998534 h 3047670"/>
              <a:gd name="connsiteX1409" fmla="*/ 2474235 w 3044273"/>
              <a:gd name="connsiteY1409" fmla="*/ 1997278 h 3047670"/>
              <a:gd name="connsiteX1410" fmla="*/ 2495590 w 3044273"/>
              <a:gd name="connsiteY1410" fmla="*/ 2018506 h 3047670"/>
              <a:gd name="connsiteX1411" fmla="*/ 2474360 w 3044273"/>
              <a:gd name="connsiteY1411" fmla="*/ 2039861 h 3047670"/>
              <a:gd name="connsiteX1412" fmla="*/ 2453006 w 3044273"/>
              <a:gd name="connsiteY1412" fmla="*/ 2018632 h 3047670"/>
              <a:gd name="connsiteX1413" fmla="*/ 2474235 w 3044273"/>
              <a:gd name="connsiteY1413" fmla="*/ 1997278 h 3047670"/>
              <a:gd name="connsiteX1414" fmla="*/ 1279889 w 3044273"/>
              <a:gd name="connsiteY1414" fmla="*/ 1996271 h 3047670"/>
              <a:gd name="connsiteX1415" fmla="*/ 1280140 w 3044273"/>
              <a:gd name="connsiteY1415" fmla="*/ 1996523 h 3047670"/>
              <a:gd name="connsiteX1416" fmla="*/ 1279889 w 3044273"/>
              <a:gd name="connsiteY1416" fmla="*/ 1996774 h 3047670"/>
              <a:gd name="connsiteX1417" fmla="*/ 1279638 w 3044273"/>
              <a:gd name="connsiteY1417" fmla="*/ 1996523 h 3047670"/>
              <a:gd name="connsiteX1418" fmla="*/ 1279889 w 3044273"/>
              <a:gd name="connsiteY1418" fmla="*/ 1996271 h 3047670"/>
              <a:gd name="connsiteX1419" fmla="*/ 2043504 w 3044273"/>
              <a:gd name="connsiteY1419" fmla="*/ 1989489 h 3047670"/>
              <a:gd name="connsiteX1420" fmla="*/ 2054559 w 3044273"/>
              <a:gd name="connsiteY1420" fmla="*/ 2000543 h 3047670"/>
              <a:gd name="connsiteX1421" fmla="*/ 2043504 w 3044273"/>
              <a:gd name="connsiteY1421" fmla="*/ 2011723 h 3047670"/>
              <a:gd name="connsiteX1422" fmla="*/ 2032449 w 3044273"/>
              <a:gd name="connsiteY1422" fmla="*/ 2000669 h 3047670"/>
              <a:gd name="connsiteX1423" fmla="*/ 2043504 w 3044273"/>
              <a:gd name="connsiteY1423" fmla="*/ 1989489 h 3047670"/>
              <a:gd name="connsiteX1424" fmla="*/ 1003535 w 3044273"/>
              <a:gd name="connsiteY1424" fmla="*/ 1988735 h 3047670"/>
              <a:gd name="connsiteX1425" fmla="*/ 1019363 w 3044273"/>
              <a:gd name="connsiteY1425" fmla="*/ 2004437 h 3047670"/>
              <a:gd name="connsiteX1426" fmla="*/ 1003662 w 3044273"/>
              <a:gd name="connsiteY1426" fmla="*/ 2020139 h 3047670"/>
              <a:gd name="connsiteX1427" fmla="*/ 987834 w 3044273"/>
              <a:gd name="connsiteY1427" fmla="*/ 2004437 h 3047670"/>
              <a:gd name="connsiteX1428" fmla="*/ 1003535 w 3044273"/>
              <a:gd name="connsiteY1428" fmla="*/ 1988735 h 3047670"/>
              <a:gd name="connsiteX1429" fmla="*/ 354234 w 3044273"/>
              <a:gd name="connsiteY1429" fmla="*/ 1983711 h 3047670"/>
              <a:gd name="connsiteX1430" fmla="*/ 360390 w 3044273"/>
              <a:gd name="connsiteY1430" fmla="*/ 1989866 h 3047670"/>
              <a:gd name="connsiteX1431" fmla="*/ 354234 w 3044273"/>
              <a:gd name="connsiteY1431" fmla="*/ 1996021 h 3047670"/>
              <a:gd name="connsiteX1432" fmla="*/ 347954 w 3044273"/>
              <a:gd name="connsiteY1432" fmla="*/ 1989866 h 3047670"/>
              <a:gd name="connsiteX1433" fmla="*/ 354234 w 3044273"/>
              <a:gd name="connsiteY1433" fmla="*/ 1983711 h 3047670"/>
              <a:gd name="connsiteX1434" fmla="*/ 2584776 w 3044273"/>
              <a:gd name="connsiteY1434" fmla="*/ 1981700 h 3047670"/>
              <a:gd name="connsiteX1435" fmla="*/ 2603619 w 3044273"/>
              <a:gd name="connsiteY1435" fmla="*/ 2000417 h 3047670"/>
              <a:gd name="connsiteX1436" fmla="*/ 2584903 w 3044273"/>
              <a:gd name="connsiteY1436" fmla="*/ 2019260 h 3047670"/>
              <a:gd name="connsiteX1437" fmla="*/ 2566060 w 3044273"/>
              <a:gd name="connsiteY1437" fmla="*/ 2000544 h 3047670"/>
              <a:gd name="connsiteX1438" fmla="*/ 2584776 w 3044273"/>
              <a:gd name="connsiteY1438" fmla="*/ 1981700 h 3047670"/>
              <a:gd name="connsiteX1439" fmla="*/ 879807 w 3044273"/>
              <a:gd name="connsiteY1439" fmla="*/ 1974666 h 3047670"/>
              <a:gd name="connsiteX1440" fmla="*/ 899779 w 3044273"/>
              <a:gd name="connsiteY1440" fmla="*/ 1994514 h 3047670"/>
              <a:gd name="connsiteX1441" fmla="*/ 879932 w 3044273"/>
              <a:gd name="connsiteY1441" fmla="*/ 2014486 h 3047670"/>
              <a:gd name="connsiteX1442" fmla="*/ 859959 w 3044273"/>
              <a:gd name="connsiteY1442" fmla="*/ 1994639 h 3047670"/>
              <a:gd name="connsiteX1443" fmla="*/ 879807 w 3044273"/>
              <a:gd name="connsiteY1443" fmla="*/ 1974666 h 3047670"/>
              <a:gd name="connsiteX1444" fmla="*/ 248214 w 3044273"/>
              <a:gd name="connsiteY1444" fmla="*/ 1968889 h 3047670"/>
              <a:gd name="connsiteX1445" fmla="*/ 250224 w 3044273"/>
              <a:gd name="connsiteY1445" fmla="*/ 1970899 h 3047670"/>
              <a:gd name="connsiteX1446" fmla="*/ 248214 w 3044273"/>
              <a:gd name="connsiteY1446" fmla="*/ 1972909 h 3047670"/>
              <a:gd name="connsiteX1447" fmla="*/ 246205 w 3044273"/>
              <a:gd name="connsiteY1447" fmla="*/ 1970899 h 3047670"/>
              <a:gd name="connsiteX1448" fmla="*/ 248214 w 3044273"/>
              <a:gd name="connsiteY1448" fmla="*/ 1968889 h 3047670"/>
              <a:gd name="connsiteX1449" fmla="*/ 2166982 w 3044273"/>
              <a:gd name="connsiteY1449" fmla="*/ 1968261 h 3047670"/>
              <a:gd name="connsiteX1450" fmla="*/ 2188713 w 3044273"/>
              <a:gd name="connsiteY1450" fmla="*/ 1989867 h 3047670"/>
              <a:gd name="connsiteX1451" fmla="*/ 2167107 w 3044273"/>
              <a:gd name="connsiteY1451" fmla="*/ 2011598 h 3047670"/>
              <a:gd name="connsiteX1452" fmla="*/ 2145376 w 3044273"/>
              <a:gd name="connsiteY1452" fmla="*/ 1989992 h 3047670"/>
              <a:gd name="connsiteX1453" fmla="*/ 2166982 w 3044273"/>
              <a:gd name="connsiteY1453" fmla="*/ 1968261 h 3047670"/>
              <a:gd name="connsiteX1454" fmla="*/ 2692808 w 3044273"/>
              <a:gd name="connsiteY1454" fmla="*/ 1961854 h 3047670"/>
              <a:gd name="connsiteX1455" fmla="*/ 2712404 w 3044273"/>
              <a:gd name="connsiteY1455" fmla="*/ 1981200 h 3047670"/>
              <a:gd name="connsiteX1456" fmla="*/ 2692933 w 3044273"/>
              <a:gd name="connsiteY1456" fmla="*/ 2000797 h 3047670"/>
              <a:gd name="connsiteX1457" fmla="*/ 2673337 w 3044273"/>
              <a:gd name="connsiteY1457" fmla="*/ 1981451 h 3047670"/>
              <a:gd name="connsiteX1458" fmla="*/ 2692808 w 3044273"/>
              <a:gd name="connsiteY1458" fmla="*/ 1961854 h 3047670"/>
              <a:gd name="connsiteX1459" fmla="*/ 762357 w 3044273"/>
              <a:gd name="connsiteY1459" fmla="*/ 1957834 h 3047670"/>
              <a:gd name="connsiteX1460" fmla="*/ 785219 w 3044273"/>
              <a:gd name="connsiteY1460" fmla="*/ 1980570 h 3047670"/>
              <a:gd name="connsiteX1461" fmla="*/ 762482 w 3044273"/>
              <a:gd name="connsiteY1461" fmla="*/ 2003432 h 3047670"/>
              <a:gd name="connsiteX1462" fmla="*/ 739621 w 3044273"/>
              <a:gd name="connsiteY1462" fmla="*/ 1980695 h 3047670"/>
              <a:gd name="connsiteX1463" fmla="*/ 762357 w 3044273"/>
              <a:gd name="connsiteY1463" fmla="*/ 1957834 h 3047670"/>
              <a:gd name="connsiteX1464" fmla="*/ 143954 w 3044273"/>
              <a:gd name="connsiteY1464" fmla="*/ 1950172 h 3047670"/>
              <a:gd name="connsiteX1465" fmla="*/ 145085 w 3044273"/>
              <a:gd name="connsiteY1465" fmla="*/ 1951302 h 3047670"/>
              <a:gd name="connsiteX1466" fmla="*/ 143954 w 3044273"/>
              <a:gd name="connsiteY1466" fmla="*/ 1952432 h 3047670"/>
              <a:gd name="connsiteX1467" fmla="*/ 142824 w 3044273"/>
              <a:gd name="connsiteY1467" fmla="*/ 1951302 h 3047670"/>
              <a:gd name="connsiteX1468" fmla="*/ 143954 w 3044273"/>
              <a:gd name="connsiteY1468" fmla="*/ 1950172 h 3047670"/>
              <a:gd name="connsiteX1469" fmla="*/ 2284306 w 3044273"/>
              <a:gd name="connsiteY1469" fmla="*/ 1948162 h 3047670"/>
              <a:gd name="connsiteX1470" fmla="*/ 2311439 w 3044273"/>
              <a:gd name="connsiteY1470" fmla="*/ 1975043 h 3047670"/>
              <a:gd name="connsiteX1471" fmla="*/ 2284558 w 3044273"/>
              <a:gd name="connsiteY1471" fmla="*/ 2002176 h 3047670"/>
              <a:gd name="connsiteX1472" fmla="*/ 2257426 w 3044273"/>
              <a:gd name="connsiteY1472" fmla="*/ 1975295 h 3047670"/>
              <a:gd name="connsiteX1473" fmla="*/ 2284306 w 3044273"/>
              <a:gd name="connsiteY1473" fmla="*/ 1948162 h 3047670"/>
              <a:gd name="connsiteX1474" fmla="*/ 1210801 w 3044273"/>
              <a:gd name="connsiteY1474" fmla="*/ 1946403 h 3047670"/>
              <a:gd name="connsiteX1475" fmla="*/ 1211052 w 3044273"/>
              <a:gd name="connsiteY1475" fmla="*/ 1946655 h 3047670"/>
              <a:gd name="connsiteX1476" fmla="*/ 1210801 w 3044273"/>
              <a:gd name="connsiteY1476" fmla="*/ 1946906 h 3047670"/>
              <a:gd name="connsiteX1477" fmla="*/ 1210550 w 3044273"/>
              <a:gd name="connsiteY1477" fmla="*/ 1946655 h 3047670"/>
              <a:gd name="connsiteX1478" fmla="*/ 1210801 w 3044273"/>
              <a:gd name="connsiteY1478" fmla="*/ 1946403 h 3047670"/>
              <a:gd name="connsiteX1479" fmla="*/ 2798574 w 3044273"/>
              <a:gd name="connsiteY1479" fmla="*/ 1945022 h 3047670"/>
              <a:gd name="connsiteX1480" fmla="*/ 2815280 w 3044273"/>
              <a:gd name="connsiteY1480" fmla="*/ 1961603 h 3047670"/>
              <a:gd name="connsiteX1481" fmla="*/ 2798699 w 3044273"/>
              <a:gd name="connsiteY1481" fmla="*/ 1978310 h 3047670"/>
              <a:gd name="connsiteX1482" fmla="*/ 2781992 w 3044273"/>
              <a:gd name="connsiteY1482" fmla="*/ 1961729 h 3047670"/>
              <a:gd name="connsiteX1483" fmla="*/ 2798574 w 3044273"/>
              <a:gd name="connsiteY1483" fmla="*/ 1945022 h 3047670"/>
              <a:gd name="connsiteX1484" fmla="*/ 1835861 w 3044273"/>
              <a:gd name="connsiteY1484" fmla="*/ 1944143 h 3047670"/>
              <a:gd name="connsiteX1485" fmla="*/ 1836113 w 3044273"/>
              <a:gd name="connsiteY1485" fmla="*/ 1944394 h 3047670"/>
              <a:gd name="connsiteX1486" fmla="*/ 1835861 w 3044273"/>
              <a:gd name="connsiteY1486" fmla="*/ 1944645 h 3047670"/>
              <a:gd name="connsiteX1487" fmla="*/ 1835610 w 3044273"/>
              <a:gd name="connsiteY1487" fmla="*/ 1944394 h 3047670"/>
              <a:gd name="connsiteX1488" fmla="*/ 1835861 w 3044273"/>
              <a:gd name="connsiteY1488" fmla="*/ 1944143 h 3047670"/>
              <a:gd name="connsiteX1489" fmla="*/ 649680 w 3044273"/>
              <a:gd name="connsiteY1489" fmla="*/ 1943388 h 3047670"/>
              <a:gd name="connsiteX1490" fmla="*/ 670783 w 3044273"/>
              <a:gd name="connsiteY1490" fmla="*/ 1964366 h 3047670"/>
              <a:gd name="connsiteX1491" fmla="*/ 649805 w 3044273"/>
              <a:gd name="connsiteY1491" fmla="*/ 1985468 h 3047670"/>
              <a:gd name="connsiteX1492" fmla="*/ 628702 w 3044273"/>
              <a:gd name="connsiteY1492" fmla="*/ 1964491 h 3047670"/>
              <a:gd name="connsiteX1493" fmla="*/ 649680 w 3044273"/>
              <a:gd name="connsiteY1493" fmla="*/ 1943388 h 3047670"/>
              <a:gd name="connsiteX1494" fmla="*/ 1077523 w 3044273"/>
              <a:gd name="connsiteY1494" fmla="*/ 1939871 h 3047670"/>
              <a:gd name="connsiteX1495" fmla="*/ 1082422 w 3044273"/>
              <a:gd name="connsiteY1495" fmla="*/ 1944771 h 3047670"/>
              <a:gd name="connsiteX1496" fmla="*/ 1077650 w 3044273"/>
              <a:gd name="connsiteY1496" fmla="*/ 1949671 h 3047670"/>
              <a:gd name="connsiteX1497" fmla="*/ 1072751 w 3044273"/>
              <a:gd name="connsiteY1497" fmla="*/ 1944896 h 3047670"/>
              <a:gd name="connsiteX1498" fmla="*/ 1077523 w 3044273"/>
              <a:gd name="connsiteY1498" fmla="*/ 1939871 h 3047670"/>
              <a:gd name="connsiteX1499" fmla="*/ 1969012 w 3044273"/>
              <a:gd name="connsiteY1499" fmla="*/ 1936229 h 3047670"/>
              <a:gd name="connsiteX1500" fmla="*/ 1974289 w 3044273"/>
              <a:gd name="connsiteY1500" fmla="*/ 1941504 h 3047670"/>
              <a:gd name="connsiteX1501" fmla="*/ 1969012 w 3044273"/>
              <a:gd name="connsiteY1501" fmla="*/ 1946906 h 3047670"/>
              <a:gd name="connsiteX1502" fmla="*/ 1963737 w 3044273"/>
              <a:gd name="connsiteY1502" fmla="*/ 1941631 h 3047670"/>
              <a:gd name="connsiteX1503" fmla="*/ 1969012 w 3044273"/>
              <a:gd name="connsiteY1503" fmla="*/ 1936229 h 3047670"/>
              <a:gd name="connsiteX1504" fmla="*/ 2396984 w 3044273"/>
              <a:gd name="connsiteY1504" fmla="*/ 1931456 h 3047670"/>
              <a:gd name="connsiteX1505" fmla="*/ 2423615 w 3044273"/>
              <a:gd name="connsiteY1505" fmla="*/ 1957961 h 3047670"/>
              <a:gd name="connsiteX1506" fmla="*/ 2397109 w 3044273"/>
              <a:gd name="connsiteY1506" fmla="*/ 1984591 h 3047670"/>
              <a:gd name="connsiteX1507" fmla="*/ 2370478 w 3044273"/>
              <a:gd name="connsiteY1507" fmla="*/ 1958086 h 3047670"/>
              <a:gd name="connsiteX1508" fmla="*/ 2396984 w 3044273"/>
              <a:gd name="connsiteY1508" fmla="*/ 1931456 h 3047670"/>
              <a:gd name="connsiteX1509" fmla="*/ 2902584 w 3044273"/>
              <a:gd name="connsiteY1509" fmla="*/ 1930953 h 3047670"/>
              <a:gd name="connsiteX1510" fmla="*/ 2913010 w 3044273"/>
              <a:gd name="connsiteY1510" fmla="*/ 1941379 h 3047670"/>
              <a:gd name="connsiteX1511" fmla="*/ 2902710 w 3044273"/>
              <a:gd name="connsiteY1511" fmla="*/ 1951805 h 3047670"/>
              <a:gd name="connsiteX1512" fmla="*/ 2892283 w 3044273"/>
              <a:gd name="connsiteY1512" fmla="*/ 1941379 h 3047670"/>
              <a:gd name="connsiteX1513" fmla="*/ 2902584 w 3044273"/>
              <a:gd name="connsiteY1513" fmla="*/ 1930953 h 3047670"/>
              <a:gd name="connsiteX1514" fmla="*/ 540395 w 3044273"/>
              <a:gd name="connsiteY1514" fmla="*/ 1930701 h 3047670"/>
              <a:gd name="connsiteX1515" fmla="*/ 556349 w 3044273"/>
              <a:gd name="connsiteY1515" fmla="*/ 1946530 h 3047670"/>
              <a:gd name="connsiteX1516" fmla="*/ 540395 w 3044273"/>
              <a:gd name="connsiteY1516" fmla="*/ 1962482 h 3047670"/>
              <a:gd name="connsiteX1517" fmla="*/ 524441 w 3044273"/>
              <a:gd name="connsiteY1517" fmla="*/ 1946655 h 3047670"/>
              <a:gd name="connsiteX1518" fmla="*/ 540395 w 3044273"/>
              <a:gd name="connsiteY1518" fmla="*/ 1930701 h 3047670"/>
              <a:gd name="connsiteX1519" fmla="*/ 954546 w 3044273"/>
              <a:gd name="connsiteY1519" fmla="*/ 1922661 h 3047670"/>
              <a:gd name="connsiteX1520" fmla="*/ 966731 w 3044273"/>
              <a:gd name="connsiteY1520" fmla="*/ 1934720 h 3047670"/>
              <a:gd name="connsiteX1521" fmla="*/ 954546 w 3044273"/>
              <a:gd name="connsiteY1521" fmla="*/ 1946905 h 3047670"/>
              <a:gd name="connsiteX1522" fmla="*/ 942362 w 3044273"/>
              <a:gd name="connsiteY1522" fmla="*/ 1934720 h 3047670"/>
              <a:gd name="connsiteX1523" fmla="*/ 954546 w 3044273"/>
              <a:gd name="connsiteY1523" fmla="*/ 1922661 h 3047670"/>
              <a:gd name="connsiteX1524" fmla="*/ 433747 w 3044273"/>
              <a:gd name="connsiteY1524" fmla="*/ 1921657 h 3047670"/>
              <a:gd name="connsiteX1525" fmla="*/ 439902 w 3044273"/>
              <a:gd name="connsiteY1525" fmla="*/ 1927812 h 3047670"/>
              <a:gd name="connsiteX1526" fmla="*/ 433747 w 3044273"/>
              <a:gd name="connsiteY1526" fmla="*/ 1933968 h 3047670"/>
              <a:gd name="connsiteX1527" fmla="*/ 427466 w 3044273"/>
              <a:gd name="connsiteY1527" fmla="*/ 1927812 h 3047670"/>
              <a:gd name="connsiteX1528" fmla="*/ 433747 w 3044273"/>
              <a:gd name="connsiteY1528" fmla="*/ 1921657 h 3047670"/>
              <a:gd name="connsiteX1529" fmla="*/ 3005208 w 3044273"/>
              <a:gd name="connsiteY1529" fmla="*/ 1917512 h 3047670"/>
              <a:gd name="connsiteX1530" fmla="*/ 3008601 w 3044273"/>
              <a:gd name="connsiteY1530" fmla="*/ 1920778 h 3047670"/>
              <a:gd name="connsiteX1531" fmla="*/ 3005334 w 3044273"/>
              <a:gd name="connsiteY1531" fmla="*/ 1924045 h 3047670"/>
              <a:gd name="connsiteX1532" fmla="*/ 3002068 w 3044273"/>
              <a:gd name="connsiteY1532" fmla="*/ 1920778 h 3047670"/>
              <a:gd name="connsiteX1533" fmla="*/ 3005208 w 3044273"/>
              <a:gd name="connsiteY1533" fmla="*/ 1917512 h 3047670"/>
              <a:gd name="connsiteX1534" fmla="*/ 2091990 w 3044273"/>
              <a:gd name="connsiteY1534" fmla="*/ 1916381 h 3047670"/>
              <a:gd name="connsiteX1535" fmla="*/ 2106186 w 3044273"/>
              <a:gd name="connsiteY1535" fmla="*/ 1930450 h 3047670"/>
              <a:gd name="connsiteX1536" fmla="*/ 2092117 w 3044273"/>
              <a:gd name="connsiteY1536" fmla="*/ 1944646 h 3047670"/>
              <a:gd name="connsiteX1537" fmla="*/ 2077922 w 3044273"/>
              <a:gd name="connsiteY1537" fmla="*/ 1930577 h 3047670"/>
              <a:gd name="connsiteX1538" fmla="*/ 2091990 w 3044273"/>
              <a:gd name="connsiteY1538" fmla="*/ 1916381 h 3047670"/>
              <a:gd name="connsiteX1539" fmla="*/ 2506142 w 3044273"/>
              <a:gd name="connsiteY1539" fmla="*/ 1915754 h 3047670"/>
              <a:gd name="connsiteX1540" fmla="*/ 2529883 w 3044273"/>
              <a:gd name="connsiteY1540" fmla="*/ 1939370 h 3047670"/>
              <a:gd name="connsiteX1541" fmla="*/ 2506267 w 3044273"/>
              <a:gd name="connsiteY1541" fmla="*/ 1963111 h 3047670"/>
              <a:gd name="connsiteX1542" fmla="*/ 2482526 w 3044273"/>
              <a:gd name="connsiteY1542" fmla="*/ 1939495 h 3047670"/>
              <a:gd name="connsiteX1543" fmla="*/ 2506142 w 3044273"/>
              <a:gd name="connsiteY1543" fmla="*/ 1915754 h 3047670"/>
              <a:gd name="connsiteX1544" fmla="*/ 329111 w 3044273"/>
              <a:gd name="connsiteY1544" fmla="*/ 1904574 h 3047670"/>
              <a:gd name="connsiteX1545" fmla="*/ 332879 w 3044273"/>
              <a:gd name="connsiteY1545" fmla="*/ 1908343 h 3047670"/>
              <a:gd name="connsiteX1546" fmla="*/ 329111 w 3044273"/>
              <a:gd name="connsiteY1546" fmla="*/ 1912111 h 3047670"/>
              <a:gd name="connsiteX1547" fmla="*/ 325342 w 3044273"/>
              <a:gd name="connsiteY1547" fmla="*/ 1908343 h 3047670"/>
              <a:gd name="connsiteX1548" fmla="*/ 329111 w 3044273"/>
              <a:gd name="connsiteY1548" fmla="*/ 1904574 h 3047670"/>
              <a:gd name="connsiteX1549" fmla="*/ 838352 w 3044273"/>
              <a:gd name="connsiteY1549" fmla="*/ 1900177 h 3047670"/>
              <a:gd name="connsiteX1550" fmla="*/ 858325 w 3044273"/>
              <a:gd name="connsiteY1550" fmla="*/ 1920025 h 3047670"/>
              <a:gd name="connsiteX1551" fmla="*/ 838478 w 3044273"/>
              <a:gd name="connsiteY1551" fmla="*/ 1939997 h 3047670"/>
              <a:gd name="connsiteX1552" fmla="*/ 818505 w 3044273"/>
              <a:gd name="connsiteY1552" fmla="*/ 1920150 h 3047670"/>
              <a:gd name="connsiteX1553" fmla="*/ 838352 w 3044273"/>
              <a:gd name="connsiteY1553" fmla="*/ 1900177 h 3047670"/>
              <a:gd name="connsiteX1554" fmla="*/ 2612664 w 3044273"/>
              <a:gd name="connsiteY1554" fmla="*/ 1899172 h 3047670"/>
              <a:gd name="connsiteX1555" fmla="*/ 2633518 w 3044273"/>
              <a:gd name="connsiteY1555" fmla="*/ 1919898 h 3047670"/>
              <a:gd name="connsiteX1556" fmla="*/ 2612791 w 3044273"/>
              <a:gd name="connsiteY1556" fmla="*/ 1940751 h 3047670"/>
              <a:gd name="connsiteX1557" fmla="*/ 2591937 w 3044273"/>
              <a:gd name="connsiteY1557" fmla="*/ 1920025 h 3047670"/>
              <a:gd name="connsiteX1558" fmla="*/ 2612664 w 3044273"/>
              <a:gd name="connsiteY1558" fmla="*/ 1899172 h 3047670"/>
              <a:gd name="connsiteX1559" fmla="*/ 2207933 w 3044273"/>
              <a:gd name="connsiteY1559" fmla="*/ 1893520 h 3047670"/>
              <a:gd name="connsiteX1560" fmla="*/ 2229664 w 3044273"/>
              <a:gd name="connsiteY1560" fmla="*/ 1915126 h 3047670"/>
              <a:gd name="connsiteX1561" fmla="*/ 2208058 w 3044273"/>
              <a:gd name="connsiteY1561" fmla="*/ 1936857 h 3047670"/>
              <a:gd name="connsiteX1562" fmla="*/ 2186327 w 3044273"/>
              <a:gd name="connsiteY1562" fmla="*/ 1915251 h 3047670"/>
              <a:gd name="connsiteX1563" fmla="*/ 2207933 w 3044273"/>
              <a:gd name="connsiteY1563" fmla="*/ 1893520 h 3047670"/>
              <a:gd name="connsiteX1564" fmla="*/ 1151635 w 3044273"/>
              <a:gd name="connsiteY1564" fmla="*/ 1885103 h 3047670"/>
              <a:gd name="connsiteX1565" fmla="*/ 1151887 w 3044273"/>
              <a:gd name="connsiteY1565" fmla="*/ 1885354 h 3047670"/>
              <a:gd name="connsiteX1566" fmla="*/ 1151635 w 3044273"/>
              <a:gd name="connsiteY1566" fmla="*/ 1885605 h 3047670"/>
              <a:gd name="connsiteX1567" fmla="*/ 1151385 w 3044273"/>
              <a:gd name="connsiteY1567" fmla="*/ 1885354 h 3047670"/>
              <a:gd name="connsiteX1568" fmla="*/ 1151635 w 3044273"/>
              <a:gd name="connsiteY1568" fmla="*/ 1885103 h 3047670"/>
              <a:gd name="connsiteX1569" fmla="*/ 226232 w 3044273"/>
              <a:gd name="connsiteY1569" fmla="*/ 1885103 h 3047670"/>
              <a:gd name="connsiteX1570" fmla="*/ 229497 w 3044273"/>
              <a:gd name="connsiteY1570" fmla="*/ 1888368 h 3047670"/>
              <a:gd name="connsiteX1571" fmla="*/ 226232 w 3044273"/>
              <a:gd name="connsiteY1571" fmla="*/ 1891760 h 3047670"/>
              <a:gd name="connsiteX1572" fmla="*/ 222965 w 3044273"/>
              <a:gd name="connsiteY1572" fmla="*/ 1888495 h 3047670"/>
              <a:gd name="connsiteX1573" fmla="*/ 226232 w 3044273"/>
              <a:gd name="connsiteY1573" fmla="*/ 1885103 h 3047670"/>
              <a:gd name="connsiteX1574" fmla="*/ 1894525 w 3044273"/>
              <a:gd name="connsiteY1574" fmla="*/ 1882340 h 3047670"/>
              <a:gd name="connsiteX1575" fmla="*/ 1894776 w 3044273"/>
              <a:gd name="connsiteY1575" fmla="*/ 1882591 h 3047670"/>
              <a:gd name="connsiteX1576" fmla="*/ 1894525 w 3044273"/>
              <a:gd name="connsiteY1576" fmla="*/ 1882842 h 3047670"/>
              <a:gd name="connsiteX1577" fmla="*/ 1894273 w 3044273"/>
              <a:gd name="connsiteY1577" fmla="*/ 1882591 h 3047670"/>
              <a:gd name="connsiteX1578" fmla="*/ 1894525 w 3044273"/>
              <a:gd name="connsiteY1578" fmla="*/ 1882340 h 3047670"/>
              <a:gd name="connsiteX1579" fmla="*/ 2717175 w 3044273"/>
              <a:gd name="connsiteY1579" fmla="*/ 1880330 h 3047670"/>
              <a:gd name="connsiteX1580" fmla="*/ 2736645 w 3044273"/>
              <a:gd name="connsiteY1580" fmla="*/ 1899674 h 3047670"/>
              <a:gd name="connsiteX1581" fmla="*/ 2717300 w 3044273"/>
              <a:gd name="connsiteY1581" fmla="*/ 1919270 h 3047670"/>
              <a:gd name="connsiteX1582" fmla="*/ 2697704 w 3044273"/>
              <a:gd name="connsiteY1582" fmla="*/ 1899801 h 3047670"/>
              <a:gd name="connsiteX1583" fmla="*/ 2717175 w 3044273"/>
              <a:gd name="connsiteY1583" fmla="*/ 1880330 h 3047670"/>
              <a:gd name="connsiteX1584" fmla="*/ 726931 w 3044273"/>
              <a:gd name="connsiteY1584" fmla="*/ 1878195 h 3047670"/>
              <a:gd name="connsiteX1585" fmla="*/ 752053 w 3044273"/>
              <a:gd name="connsiteY1585" fmla="*/ 1903066 h 3047670"/>
              <a:gd name="connsiteX1586" fmla="*/ 727183 w 3044273"/>
              <a:gd name="connsiteY1586" fmla="*/ 1928189 h 3047670"/>
              <a:gd name="connsiteX1587" fmla="*/ 702061 w 3044273"/>
              <a:gd name="connsiteY1587" fmla="*/ 1903192 h 3047670"/>
              <a:gd name="connsiteX1588" fmla="*/ 726931 w 3044273"/>
              <a:gd name="connsiteY1588" fmla="*/ 1878195 h 3047670"/>
              <a:gd name="connsiteX1589" fmla="*/ 2319226 w 3044273"/>
              <a:gd name="connsiteY1589" fmla="*/ 1872039 h 3047670"/>
              <a:gd name="connsiteX1590" fmla="*/ 2344474 w 3044273"/>
              <a:gd name="connsiteY1590" fmla="*/ 1897162 h 3047670"/>
              <a:gd name="connsiteX1591" fmla="*/ 2319351 w 3044273"/>
              <a:gd name="connsiteY1591" fmla="*/ 1922536 h 3047670"/>
              <a:gd name="connsiteX1592" fmla="*/ 2293978 w 3044273"/>
              <a:gd name="connsiteY1592" fmla="*/ 1897413 h 3047670"/>
              <a:gd name="connsiteX1593" fmla="*/ 2319226 w 3044273"/>
              <a:gd name="connsiteY1593" fmla="*/ 1872039 h 3047670"/>
              <a:gd name="connsiteX1594" fmla="*/ 1029413 w 3044273"/>
              <a:gd name="connsiteY1594" fmla="*/ 1871412 h 3047670"/>
              <a:gd name="connsiteX1595" fmla="*/ 1032554 w 3044273"/>
              <a:gd name="connsiteY1595" fmla="*/ 1874552 h 3047670"/>
              <a:gd name="connsiteX1596" fmla="*/ 1029413 w 3044273"/>
              <a:gd name="connsiteY1596" fmla="*/ 1877694 h 3047670"/>
              <a:gd name="connsiteX1597" fmla="*/ 1026273 w 3044273"/>
              <a:gd name="connsiteY1597" fmla="*/ 1874679 h 3047670"/>
              <a:gd name="connsiteX1598" fmla="*/ 1029413 w 3044273"/>
              <a:gd name="connsiteY1598" fmla="*/ 1871412 h 3047670"/>
              <a:gd name="connsiteX1599" fmla="*/ 2016745 w 3044273"/>
              <a:gd name="connsiteY1599" fmla="*/ 1869276 h 3047670"/>
              <a:gd name="connsiteX1600" fmla="*/ 2018505 w 3044273"/>
              <a:gd name="connsiteY1600" fmla="*/ 1871034 h 3047670"/>
              <a:gd name="connsiteX1601" fmla="*/ 2016745 w 3044273"/>
              <a:gd name="connsiteY1601" fmla="*/ 1872793 h 3047670"/>
              <a:gd name="connsiteX1602" fmla="*/ 2014987 w 3044273"/>
              <a:gd name="connsiteY1602" fmla="*/ 1871034 h 3047670"/>
              <a:gd name="connsiteX1603" fmla="*/ 2016745 w 3044273"/>
              <a:gd name="connsiteY1603" fmla="*/ 1869276 h 3047670"/>
              <a:gd name="connsiteX1604" fmla="*/ 124610 w 3044273"/>
              <a:gd name="connsiteY1604" fmla="*/ 1866512 h 3047670"/>
              <a:gd name="connsiteX1605" fmla="*/ 126368 w 3044273"/>
              <a:gd name="connsiteY1605" fmla="*/ 1868270 h 3047670"/>
              <a:gd name="connsiteX1606" fmla="*/ 124610 w 3044273"/>
              <a:gd name="connsiteY1606" fmla="*/ 1870029 h 3047670"/>
              <a:gd name="connsiteX1607" fmla="*/ 122851 w 3044273"/>
              <a:gd name="connsiteY1607" fmla="*/ 1868270 h 3047670"/>
              <a:gd name="connsiteX1608" fmla="*/ 124610 w 3044273"/>
              <a:gd name="connsiteY1608" fmla="*/ 1866512 h 3047670"/>
              <a:gd name="connsiteX1609" fmla="*/ 619406 w 3044273"/>
              <a:gd name="connsiteY1609" fmla="*/ 1865382 h 3047670"/>
              <a:gd name="connsiteX1610" fmla="*/ 638752 w 3044273"/>
              <a:gd name="connsiteY1610" fmla="*/ 1884601 h 3047670"/>
              <a:gd name="connsiteX1611" fmla="*/ 619533 w 3044273"/>
              <a:gd name="connsiteY1611" fmla="*/ 1903947 h 3047670"/>
              <a:gd name="connsiteX1612" fmla="*/ 600187 w 3044273"/>
              <a:gd name="connsiteY1612" fmla="*/ 1884727 h 3047670"/>
              <a:gd name="connsiteX1613" fmla="*/ 619406 w 3044273"/>
              <a:gd name="connsiteY1613" fmla="*/ 1865382 h 3047670"/>
              <a:gd name="connsiteX1614" fmla="*/ 2819803 w 3044273"/>
              <a:gd name="connsiteY1614" fmla="*/ 1865004 h 3047670"/>
              <a:gd name="connsiteX1615" fmla="*/ 2833997 w 3044273"/>
              <a:gd name="connsiteY1615" fmla="*/ 1879073 h 3047670"/>
              <a:gd name="connsiteX1616" fmla="*/ 2819928 w 3044273"/>
              <a:gd name="connsiteY1616" fmla="*/ 1893269 h 3047670"/>
              <a:gd name="connsiteX1617" fmla="*/ 2805734 w 3044273"/>
              <a:gd name="connsiteY1617" fmla="*/ 1879200 h 3047670"/>
              <a:gd name="connsiteX1618" fmla="*/ 2819803 w 3044273"/>
              <a:gd name="connsiteY1618" fmla="*/ 1865004 h 3047670"/>
              <a:gd name="connsiteX1619" fmla="*/ 2921300 w 3044273"/>
              <a:gd name="connsiteY1619" fmla="*/ 1853072 h 3047670"/>
              <a:gd name="connsiteX1620" fmla="*/ 2926449 w 3044273"/>
              <a:gd name="connsiteY1620" fmla="*/ 1858097 h 3047670"/>
              <a:gd name="connsiteX1621" fmla="*/ 2921300 w 3044273"/>
              <a:gd name="connsiteY1621" fmla="*/ 1863246 h 3047670"/>
              <a:gd name="connsiteX1622" fmla="*/ 2916275 w 3044273"/>
              <a:gd name="connsiteY1622" fmla="*/ 1858222 h 3047670"/>
              <a:gd name="connsiteX1623" fmla="*/ 2921300 w 3044273"/>
              <a:gd name="connsiteY1623" fmla="*/ 1853072 h 3047670"/>
              <a:gd name="connsiteX1624" fmla="*/ 514268 w 3044273"/>
              <a:gd name="connsiteY1624" fmla="*/ 1851815 h 3047670"/>
              <a:gd name="connsiteX1625" fmla="*/ 527834 w 3044273"/>
              <a:gd name="connsiteY1625" fmla="*/ 1865256 h 3047670"/>
              <a:gd name="connsiteX1626" fmla="*/ 514393 w 3044273"/>
              <a:gd name="connsiteY1626" fmla="*/ 1878821 h 3047670"/>
              <a:gd name="connsiteX1627" fmla="*/ 500827 w 3044273"/>
              <a:gd name="connsiteY1627" fmla="*/ 1865381 h 3047670"/>
              <a:gd name="connsiteX1628" fmla="*/ 514268 w 3044273"/>
              <a:gd name="connsiteY1628" fmla="*/ 1851815 h 3047670"/>
              <a:gd name="connsiteX1629" fmla="*/ 2426754 w 3044273"/>
              <a:gd name="connsiteY1629" fmla="*/ 1849931 h 3047670"/>
              <a:gd name="connsiteX1630" fmla="*/ 2454892 w 3044273"/>
              <a:gd name="connsiteY1630" fmla="*/ 1877944 h 3047670"/>
              <a:gd name="connsiteX1631" fmla="*/ 2426879 w 3044273"/>
              <a:gd name="connsiteY1631" fmla="*/ 1906206 h 3047670"/>
              <a:gd name="connsiteX1632" fmla="*/ 2398617 w 3044273"/>
              <a:gd name="connsiteY1632" fmla="*/ 1878194 h 3047670"/>
              <a:gd name="connsiteX1633" fmla="*/ 2426754 w 3044273"/>
              <a:gd name="connsiteY1633" fmla="*/ 1849931 h 3047670"/>
              <a:gd name="connsiteX1634" fmla="*/ 2131057 w 3044273"/>
              <a:gd name="connsiteY1634" fmla="*/ 1846917 h 3047670"/>
              <a:gd name="connsiteX1635" fmla="*/ 2138846 w 3044273"/>
              <a:gd name="connsiteY1635" fmla="*/ 1854705 h 3047670"/>
              <a:gd name="connsiteX1636" fmla="*/ 2131183 w 3044273"/>
              <a:gd name="connsiteY1636" fmla="*/ 1862493 h 3047670"/>
              <a:gd name="connsiteX1637" fmla="*/ 2123394 w 3044273"/>
              <a:gd name="connsiteY1637" fmla="*/ 1854831 h 3047670"/>
              <a:gd name="connsiteX1638" fmla="*/ 2131057 w 3044273"/>
              <a:gd name="connsiteY1638" fmla="*/ 1846917 h 3047670"/>
              <a:gd name="connsiteX1639" fmla="*/ 24117 w 3044273"/>
              <a:gd name="connsiteY1639" fmla="*/ 1846539 h 3047670"/>
              <a:gd name="connsiteX1640" fmla="*/ 25500 w 3044273"/>
              <a:gd name="connsiteY1640" fmla="*/ 1847921 h 3047670"/>
              <a:gd name="connsiteX1641" fmla="*/ 24117 w 3044273"/>
              <a:gd name="connsiteY1641" fmla="*/ 1849303 h 3047670"/>
              <a:gd name="connsiteX1642" fmla="*/ 22862 w 3044273"/>
              <a:gd name="connsiteY1642" fmla="*/ 1847921 h 3047670"/>
              <a:gd name="connsiteX1643" fmla="*/ 24117 w 3044273"/>
              <a:gd name="connsiteY1643" fmla="*/ 1846539 h 3047670"/>
              <a:gd name="connsiteX1644" fmla="*/ 914727 w 3044273"/>
              <a:gd name="connsiteY1644" fmla="*/ 1839254 h 3047670"/>
              <a:gd name="connsiteX1645" fmla="*/ 934699 w 3044273"/>
              <a:gd name="connsiteY1645" fmla="*/ 1859102 h 3047670"/>
              <a:gd name="connsiteX1646" fmla="*/ 914852 w 3044273"/>
              <a:gd name="connsiteY1646" fmla="*/ 1879074 h 3047670"/>
              <a:gd name="connsiteX1647" fmla="*/ 894879 w 3044273"/>
              <a:gd name="connsiteY1647" fmla="*/ 1859227 h 3047670"/>
              <a:gd name="connsiteX1648" fmla="*/ 914727 w 3044273"/>
              <a:gd name="connsiteY1648" fmla="*/ 1839254 h 3047670"/>
              <a:gd name="connsiteX1649" fmla="*/ 411263 w 3044273"/>
              <a:gd name="connsiteY1649" fmla="*/ 1837369 h 3047670"/>
              <a:gd name="connsiteX1650" fmla="*/ 419428 w 3044273"/>
              <a:gd name="connsiteY1650" fmla="*/ 1845534 h 3047670"/>
              <a:gd name="connsiteX1651" fmla="*/ 411263 w 3044273"/>
              <a:gd name="connsiteY1651" fmla="*/ 1853699 h 3047670"/>
              <a:gd name="connsiteX1652" fmla="*/ 403098 w 3044273"/>
              <a:gd name="connsiteY1652" fmla="*/ 1845534 h 3047670"/>
              <a:gd name="connsiteX1653" fmla="*/ 411263 w 3044273"/>
              <a:gd name="connsiteY1653" fmla="*/ 1837369 h 3047670"/>
              <a:gd name="connsiteX1654" fmla="*/ 3021790 w 3044273"/>
              <a:gd name="connsiteY1654" fmla="*/ 1835737 h 3047670"/>
              <a:gd name="connsiteX1655" fmla="*/ 3023173 w 3044273"/>
              <a:gd name="connsiteY1655" fmla="*/ 1836994 h 3047670"/>
              <a:gd name="connsiteX1656" fmla="*/ 3021790 w 3044273"/>
              <a:gd name="connsiteY1656" fmla="*/ 1838375 h 3047670"/>
              <a:gd name="connsiteX1657" fmla="*/ 3020408 w 3044273"/>
              <a:gd name="connsiteY1657" fmla="*/ 1836994 h 3047670"/>
              <a:gd name="connsiteX1658" fmla="*/ 3021790 w 3044273"/>
              <a:gd name="connsiteY1658" fmla="*/ 1835737 h 3047670"/>
              <a:gd name="connsiteX1659" fmla="*/ 2531517 w 3044273"/>
              <a:gd name="connsiteY1659" fmla="*/ 1835235 h 3047670"/>
              <a:gd name="connsiteX1660" fmla="*/ 2554380 w 3044273"/>
              <a:gd name="connsiteY1660" fmla="*/ 1857971 h 3047670"/>
              <a:gd name="connsiteX1661" fmla="*/ 2531642 w 3044273"/>
              <a:gd name="connsiteY1661" fmla="*/ 1880833 h 3047670"/>
              <a:gd name="connsiteX1662" fmla="*/ 2508781 w 3044273"/>
              <a:gd name="connsiteY1662" fmla="*/ 1858096 h 3047670"/>
              <a:gd name="connsiteX1663" fmla="*/ 2531517 w 3044273"/>
              <a:gd name="connsiteY1663" fmla="*/ 1835235 h 3047670"/>
              <a:gd name="connsiteX1664" fmla="*/ 309892 w 3044273"/>
              <a:gd name="connsiteY1664" fmla="*/ 1819783 h 3047670"/>
              <a:gd name="connsiteX1665" fmla="*/ 315419 w 3044273"/>
              <a:gd name="connsiteY1665" fmla="*/ 1825310 h 3047670"/>
              <a:gd name="connsiteX1666" fmla="*/ 309892 w 3044273"/>
              <a:gd name="connsiteY1666" fmla="*/ 1830837 h 3047670"/>
              <a:gd name="connsiteX1667" fmla="*/ 304365 w 3044273"/>
              <a:gd name="connsiteY1667" fmla="*/ 1825310 h 3047670"/>
              <a:gd name="connsiteX1668" fmla="*/ 309892 w 3044273"/>
              <a:gd name="connsiteY1668" fmla="*/ 1819783 h 3047670"/>
              <a:gd name="connsiteX1669" fmla="*/ 2240216 w 3044273"/>
              <a:gd name="connsiteY1669" fmla="*/ 1819532 h 3047670"/>
              <a:gd name="connsiteX1670" fmla="*/ 2257049 w 3044273"/>
              <a:gd name="connsiteY1670" fmla="*/ 1836239 h 3047670"/>
              <a:gd name="connsiteX1671" fmla="*/ 2240343 w 3044273"/>
              <a:gd name="connsiteY1671" fmla="*/ 1853072 h 3047670"/>
              <a:gd name="connsiteX1672" fmla="*/ 2223509 w 3044273"/>
              <a:gd name="connsiteY1672" fmla="*/ 1836365 h 3047670"/>
              <a:gd name="connsiteX1673" fmla="*/ 2240216 w 3044273"/>
              <a:gd name="connsiteY1673" fmla="*/ 1819532 h 3047670"/>
              <a:gd name="connsiteX1674" fmla="*/ 805316 w 3044273"/>
              <a:gd name="connsiteY1674" fmla="*/ 1816392 h 3047670"/>
              <a:gd name="connsiteX1675" fmla="*/ 830438 w 3044273"/>
              <a:gd name="connsiteY1675" fmla="*/ 1841263 h 3047670"/>
              <a:gd name="connsiteX1676" fmla="*/ 805568 w 3044273"/>
              <a:gd name="connsiteY1676" fmla="*/ 1866386 h 3047670"/>
              <a:gd name="connsiteX1677" fmla="*/ 780446 w 3044273"/>
              <a:gd name="connsiteY1677" fmla="*/ 1841515 h 3047670"/>
              <a:gd name="connsiteX1678" fmla="*/ 805316 w 3044273"/>
              <a:gd name="connsiteY1678" fmla="*/ 1816392 h 3047670"/>
              <a:gd name="connsiteX1679" fmla="*/ 2634397 w 3044273"/>
              <a:gd name="connsiteY1679" fmla="*/ 1815890 h 3047670"/>
              <a:gd name="connsiteX1680" fmla="*/ 2656128 w 3044273"/>
              <a:gd name="connsiteY1680" fmla="*/ 1837496 h 3047670"/>
              <a:gd name="connsiteX1681" fmla="*/ 2634522 w 3044273"/>
              <a:gd name="connsiteY1681" fmla="*/ 1859227 h 3047670"/>
              <a:gd name="connsiteX1682" fmla="*/ 2612791 w 3044273"/>
              <a:gd name="connsiteY1682" fmla="*/ 1837621 h 3047670"/>
              <a:gd name="connsiteX1683" fmla="*/ 2634397 w 3044273"/>
              <a:gd name="connsiteY1683" fmla="*/ 1815890 h 3047670"/>
              <a:gd name="connsiteX1684" fmla="*/ 1104532 w 3044273"/>
              <a:gd name="connsiteY1684" fmla="*/ 1811241 h 3047670"/>
              <a:gd name="connsiteX1685" fmla="*/ 1107673 w 3044273"/>
              <a:gd name="connsiteY1685" fmla="*/ 1814381 h 3047670"/>
              <a:gd name="connsiteX1686" fmla="*/ 1104532 w 3044273"/>
              <a:gd name="connsiteY1686" fmla="*/ 1817522 h 3047670"/>
              <a:gd name="connsiteX1687" fmla="*/ 1101392 w 3044273"/>
              <a:gd name="connsiteY1687" fmla="*/ 1814381 h 3047670"/>
              <a:gd name="connsiteX1688" fmla="*/ 1104532 w 3044273"/>
              <a:gd name="connsiteY1688" fmla="*/ 1811241 h 3047670"/>
              <a:gd name="connsiteX1689" fmla="*/ 1941253 w 3044273"/>
              <a:gd name="connsiteY1689" fmla="*/ 1811116 h 3047670"/>
              <a:gd name="connsiteX1690" fmla="*/ 1941505 w 3044273"/>
              <a:gd name="connsiteY1690" fmla="*/ 1811368 h 3047670"/>
              <a:gd name="connsiteX1691" fmla="*/ 1941253 w 3044273"/>
              <a:gd name="connsiteY1691" fmla="*/ 1811619 h 3047670"/>
              <a:gd name="connsiteX1692" fmla="*/ 1941002 w 3044273"/>
              <a:gd name="connsiteY1692" fmla="*/ 1811368 h 3047670"/>
              <a:gd name="connsiteX1693" fmla="*/ 1941253 w 3044273"/>
              <a:gd name="connsiteY1693" fmla="*/ 1811116 h 3047670"/>
              <a:gd name="connsiteX1694" fmla="*/ 209652 w 3044273"/>
              <a:gd name="connsiteY1694" fmla="*/ 1799937 h 3047670"/>
              <a:gd name="connsiteX1695" fmla="*/ 214551 w 3044273"/>
              <a:gd name="connsiteY1695" fmla="*/ 1804836 h 3047670"/>
              <a:gd name="connsiteX1696" fmla="*/ 209652 w 3044273"/>
              <a:gd name="connsiteY1696" fmla="*/ 1809735 h 3047670"/>
              <a:gd name="connsiteX1697" fmla="*/ 204753 w 3044273"/>
              <a:gd name="connsiteY1697" fmla="*/ 1804836 h 3047670"/>
              <a:gd name="connsiteX1698" fmla="*/ 209652 w 3044273"/>
              <a:gd name="connsiteY1698" fmla="*/ 1799937 h 3047670"/>
              <a:gd name="connsiteX1699" fmla="*/ 699547 w 3044273"/>
              <a:gd name="connsiteY1699" fmla="*/ 1798177 h 3047670"/>
              <a:gd name="connsiteX1700" fmla="*/ 723791 w 3044273"/>
              <a:gd name="connsiteY1700" fmla="*/ 1822170 h 3047670"/>
              <a:gd name="connsiteX1701" fmla="*/ 699798 w 3044273"/>
              <a:gd name="connsiteY1701" fmla="*/ 1846413 h 3047670"/>
              <a:gd name="connsiteX1702" fmla="*/ 675555 w 3044273"/>
              <a:gd name="connsiteY1702" fmla="*/ 1822421 h 3047670"/>
              <a:gd name="connsiteX1703" fmla="*/ 699547 w 3044273"/>
              <a:gd name="connsiteY1703" fmla="*/ 1798177 h 3047670"/>
              <a:gd name="connsiteX1704" fmla="*/ 2735641 w 3044273"/>
              <a:gd name="connsiteY1704" fmla="*/ 1796923 h 3047670"/>
              <a:gd name="connsiteX1705" fmla="*/ 2755487 w 3044273"/>
              <a:gd name="connsiteY1705" fmla="*/ 1816519 h 3047670"/>
              <a:gd name="connsiteX1706" fmla="*/ 2735892 w 3044273"/>
              <a:gd name="connsiteY1706" fmla="*/ 1836241 h 3047670"/>
              <a:gd name="connsiteX1707" fmla="*/ 2716171 w 3044273"/>
              <a:gd name="connsiteY1707" fmla="*/ 1816645 h 3047670"/>
              <a:gd name="connsiteX1708" fmla="*/ 2735641 w 3044273"/>
              <a:gd name="connsiteY1708" fmla="*/ 1796923 h 3047670"/>
              <a:gd name="connsiteX1709" fmla="*/ 2053553 w 3044273"/>
              <a:gd name="connsiteY1709" fmla="*/ 1793655 h 3047670"/>
              <a:gd name="connsiteX1710" fmla="*/ 2053930 w 3044273"/>
              <a:gd name="connsiteY1710" fmla="*/ 1794158 h 3047670"/>
              <a:gd name="connsiteX1711" fmla="*/ 2053553 w 3044273"/>
              <a:gd name="connsiteY1711" fmla="*/ 1794660 h 3047670"/>
              <a:gd name="connsiteX1712" fmla="*/ 2053050 w 3044273"/>
              <a:gd name="connsiteY1712" fmla="*/ 1794158 h 3047670"/>
              <a:gd name="connsiteX1713" fmla="*/ 2053553 w 3044273"/>
              <a:gd name="connsiteY1713" fmla="*/ 1793655 h 3047670"/>
              <a:gd name="connsiteX1714" fmla="*/ 2345982 w 3044273"/>
              <a:gd name="connsiteY1714" fmla="*/ 1788255 h 3047670"/>
              <a:gd name="connsiteX1715" fmla="*/ 2374247 w 3044273"/>
              <a:gd name="connsiteY1715" fmla="*/ 1816268 h 3047670"/>
              <a:gd name="connsiteX1716" fmla="*/ 2346234 w 3044273"/>
              <a:gd name="connsiteY1716" fmla="*/ 1844530 h 3047670"/>
              <a:gd name="connsiteX1717" fmla="*/ 2317972 w 3044273"/>
              <a:gd name="connsiteY1717" fmla="*/ 1816518 h 3047670"/>
              <a:gd name="connsiteX1718" fmla="*/ 2345982 w 3044273"/>
              <a:gd name="connsiteY1718" fmla="*/ 1788255 h 3047670"/>
              <a:gd name="connsiteX1719" fmla="*/ 991978 w 3044273"/>
              <a:gd name="connsiteY1719" fmla="*/ 1788255 h 3047670"/>
              <a:gd name="connsiteX1720" fmla="*/ 1001776 w 3044273"/>
              <a:gd name="connsiteY1720" fmla="*/ 1797927 h 3047670"/>
              <a:gd name="connsiteX1721" fmla="*/ 992105 w 3044273"/>
              <a:gd name="connsiteY1721" fmla="*/ 1807726 h 3047670"/>
              <a:gd name="connsiteX1722" fmla="*/ 982307 w 3044273"/>
              <a:gd name="connsiteY1722" fmla="*/ 1798052 h 3047670"/>
              <a:gd name="connsiteX1723" fmla="*/ 991978 w 3044273"/>
              <a:gd name="connsiteY1723" fmla="*/ 1788255 h 3047670"/>
              <a:gd name="connsiteX1724" fmla="*/ 110414 w 3044273"/>
              <a:gd name="connsiteY1724" fmla="*/ 1781596 h 3047670"/>
              <a:gd name="connsiteX1725" fmla="*/ 113052 w 3044273"/>
              <a:gd name="connsiteY1725" fmla="*/ 1784233 h 3047670"/>
              <a:gd name="connsiteX1726" fmla="*/ 110414 w 3044273"/>
              <a:gd name="connsiteY1726" fmla="*/ 1786870 h 3047670"/>
              <a:gd name="connsiteX1727" fmla="*/ 107777 w 3044273"/>
              <a:gd name="connsiteY1727" fmla="*/ 1784233 h 3047670"/>
              <a:gd name="connsiteX1728" fmla="*/ 110414 w 3044273"/>
              <a:gd name="connsiteY1728" fmla="*/ 1781596 h 3047670"/>
              <a:gd name="connsiteX1729" fmla="*/ 596293 w 3044273"/>
              <a:gd name="connsiteY1729" fmla="*/ 1780466 h 3047670"/>
              <a:gd name="connsiteX1730" fmla="*/ 618527 w 3044273"/>
              <a:gd name="connsiteY1730" fmla="*/ 1802449 h 3047670"/>
              <a:gd name="connsiteX1731" fmla="*/ 596544 w 3044273"/>
              <a:gd name="connsiteY1731" fmla="*/ 1824683 h 3047670"/>
              <a:gd name="connsiteX1732" fmla="*/ 574311 w 3044273"/>
              <a:gd name="connsiteY1732" fmla="*/ 1802700 h 3047670"/>
              <a:gd name="connsiteX1733" fmla="*/ 596293 w 3044273"/>
              <a:gd name="connsiteY1733" fmla="*/ 1780466 h 3047670"/>
              <a:gd name="connsiteX1734" fmla="*/ 2835757 w 3044273"/>
              <a:gd name="connsiteY1734" fmla="*/ 1778708 h 3047670"/>
              <a:gd name="connsiteX1735" fmla="*/ 2852464 w 3044273"/>
              <a:gd name="connsiteY1735" fmla="*/ 1795289 h 3047670"/>
              <a:gd name="connsiteX1736" fmla="*/ 2835882 w 3044273"/>
              <a:gd name="connsiteY1736" fmla="*/ 1811996 h 3047670"/>
              <a:gd name="connsiteX1737" fmla="*/ 2819301 w 3044273"/>
              <a:gd name="connsiteY1737" fmla="*/ 1795415 h 3047670"/>
              <a:gd name="connsiteX1738" fmla="*/ 2835757 w 3044273"/>
              <a:gd name="connsiteY1738" fmla="*/ 1778708 h 3047670"/>
              <a:gd name="connsiteX1739" fmla="*/ 2448988 w 3044273"/>
              <a:gd name="connsiteY1739" fmla="*/ 1767905 h 3047670"/>
              <a:gd name="connsiteX1740" fmla="*/ 2477000 w 3044273"/>
              <a:gd name="connsiteY1740" fmla="*/ 1795666 h 3047670"/>
              <a:gd name="connsiteX1741" fmla="*/ 2449239 w 3044273"/>
              <a:gd name="connsiteY1741" fmla="*/ 1823679 h 3047670"/>
              <a:gd name="connsiteX1742" fmla="*/ 2421228 w 3044273"/>
              <a:gd name="connsiteY1742" fmla="*/ 1795918 h 3047670"/>
              <a:gd name="connsiteX1743" fmla="*/ 2448988 w 3044273"/>
              <a:gd name="connsiteY1743" fmla="*/ 1767905 h 3047670"/>
              <a:gd name="connsiteX1744" fmla="*/ 2934991 w 3044273"/>
              <a:gd name="connsiteY1744" fmla="*/ 1767150 h 3047670"/>
              <a:gd name="connsiteX1745" fmla="*/ 2941900 w 3044273"/>
              <a:gd name="connsiteY1745" fmla="*/ 1773934 h 3047670"/>
              <a:gd name="connsiteX1746" fmla="*/ 2935118 w 3044273"/>
              <a:gd name="connsiteY1746" fmla="*/ 1780841 h 3047670"/>
              <a:gd name="connsiteX1747" fmla="*/ 2928208 w 3044273"/>
              <a:gd name="connsiteY1747" fmla="*/ 1774059 h 3047670"/>
              <a:gd name="connsiteX1748" fmla="*/ 2934991 w 3044273"/>
              <a:gd name="connsiteY1748" fmla="*/ 1767150 h 3047670"/>
              <a:gd name="connsiteX1749" fmla="*/ 495047 w 3044273"/>
              <a:gd name="connsiteY1749" fmla="*/ 1765517 h 3047670"/>
              <a:gd name="connsiteX1750" fmla="*/ 511880 w 3044273"/>
              <a:gd name="connsiteY1750" fmla="*/ 1782224 h 3047670"/>
              <a:gd name="connsiteX1751" fmla="*/ 495173 w 3044273"/>
              <a:gd name="connsiteY1751" fmla="*/ 1799057 h 3047670"/>
              <a:gd name="connsiteX1752" fmla="*/ 478340 w 3044273"/>
              <a:gd name="connsiteY1752" fmla="*/ 1782350 h 3047670"/>
              <a:gd name="connsiteX1753" fmla="*/ 495047 w 3044273"/>
              <a:gd name="connsiteY1753" fmla="*/ 1765517 h 3047670"/>
              <a:gd name="connsiteX1754" fmla="*/ 11932 w 3044273"/>
              <a:gd name="connsiteY1754" fmla="*/ 1762126 h 3047670"/>
              <a:gd name="connsiteX1755" fmla="*/ 13313 w 3044273"/>
              <a:gd name="connsiteY1755" fmla="*/ 1763508 h 3047670"/>
              <a:gd name="connsiteX1756" fmla="*/ 11932 w 3044273"/>
              <a:gd name="connsiteY1756" fmla="*/ 1764890 h 3047670"/>
              <a:gd name="connsiteX1757" fmla="*/ 10550 w 3044273"/>
              <a:gd name="connsiteY1757" fmla="*/ 1763508 h 3047670"/>
              <a:gd name="connsiteX1758" fmla="*/ 11932 w 3044273"/>
              <a:gd name="connsiteY1758" fmla="*/ 1762126 h 3047670"/>
              <a:gd name="connsiteX1759" fmla="*/ 2160324 w 3044273"/>
              <a:gd name="connsiteY1759" fmla="*/ 1761750 h 3047670"/>
              <a:gd name="connsiteX1760" fmla="*/ 2173388 w 3044273"/>
              <a:gd name="connsiteY1760" fmla="*/ 1774814 h 3047670"/>
              <a:gd name="connsiteX1761" fmla="*/ 2160324 w 3044273"/>
              <a:gd name="connsiteY1761" fmla="*/ 1787878 h 3047670"/>
              <a:gd name="connsiteX1762" fmla="*/ 2147260 w 3044273"/>
              <a:gd name="connsiteY1762" fmla="*/ 1774814 h 3047670"/>
              <a:gd name="connsiteX1763" fmla="*/ 2160324 w 3044273"/>
              <a:gd name="connsiteY1763" fmla="*/ 1761750 h 3047670"/>
              <a:gd name="connsiteX1764" fmla="*/ 884955 w 3044273"/>
              <a:gd name="connsiteY1764" fmla="*/ 1759866 h 3047670"/>
              <a:gd name="connsiteX1765" fmla="*/ 904550 w 3044273"/>
              <a:gd name="connsiteY1765" fmla="*/ 1779211 h 3047670"/>
              <a:gd name="connsiteX1766" fmla="*/ 885207 w 3044273"/>
              <a:gd name="connsiteY1766" fmla="*/ 1798808 h 3047670"/>
              <a:gd name="connsiteX1767" fmla="*/ 865611 w 3044273"/>
              <a:gd name="connsiteY1767" fmla="*/ 1779463 h 3047670"/>
              <a:gd name="connsiteX1768" fmla="*/ 884955 w 3044273"/>
              <a:gd name="connsiteY1768" fmla="*/ 1759866 h 3047670"/>
              <a:gd name="connsiteX1769" fmla="*/ 1180277 w 3044273"/>
              <a:gd name="connsiteY1769" fmla="*/ 1753710 h 3047670"/>
              <a:gd name="connsiteX1770" fmla="*/ 1180528 w 3044273"/>
              <a:gd name="connsiteY1770" fmla="*/ 1753962 h 3047670"/>
              <a:gd name="connsiteX1771" fmla="*/ 1180277 w 3044273"/>
              <a:gd name="connsiteY1771" fmla="*/ 1754212 h 3047670"/>
              <a:gd name="connsiteX1772" fmla="*/ 1180026 w 3044273"/>
              <a:gd name="connsiteY1772" fmla="*/ 1753962 h 3047670"/>
              <a:gd name="connsiteX1773" fmla="*/ 1180277 w 3044273"/>
              <a:gd name="connsiteY1773" fmla="*/ 1753710 h 3047670"/>
              <a:gd name="connsiteX1774" fmla="*/ 395184 w 3044273"/>
              <a:gd name="connsiteY1774" fmla="*/ 1750821 h 3047670"/>
              <a:gd name="connsiteX1775" fmla="*/ 406238 w 3044273"/>
              <a:gd name="connsiteY1775" fmla="*/ 1761875 h 3047670"/>
              <a:gd name="connsiteX1776" fmla="*/ 395184 w 3044273"/>
              <a:gd name="connsiteY1776" fmla="*/ 1772929 h 3047670"/>
              <a:gd name="connsiteX1777" fmla="*/ 384130 w 3044273"/>
              <a:gd name="connsiteY1777" fmla="*/ 1761875 h 3047670"/>
              <a:gd name="connsiteX1778" fmla="*/ 395184 w 3044273"/>
              <a:gd name="connsiteY1778" fmla="*/ 1750821 h 3047670"/>
              <a:gd name="connsiteX1779" fmla="*/ 2550108 w 3044273"/>
              <a:gd name="connsiteY1779" fmla="*/ 1750695 h 3047670"/>
              <a:gd name="connsiteX1780" fmla="*/ 2574351 w 3044273"/>
              <a:gd name="connsiteY1780" fmla="*/ 1774688 h 3047670"/>
              <a:gd name="connsiteX1781" fmla="*/ 2550359 w 3044273"/>
              <a:gd name="connsiteY1781" fmla="*/ 1798931 h 3047670"/>
              <a:gd name="connsiteX1782" fmla="*/ 2526115 w 3044273"/>
              <a:gd name="connsiteY1782" fmla="*/ 1774939 h 3047670"/>
              <a:gd name="connsiteX1783" fmla="*/ 2550108 w 3044273"/>
              <a:gd name="connsiteY1783" fmla="*/ 1750695 h 3047670"/>
              <a:gd name="connsiteX1784" fmla="*/ 3033348 w 3044273"/>
              <a:gd name="connsiteY1784" fmla="*/ 1750570 h 3047670"/>
              <a:gd name="connsiteX1785" fmla="*/ 3035358 w 3044273"/>
              <a:gd name="connsiteY1785" fmla="*/ 1752580 h 3047670"/>
              <a:gd name="connsiteX1786" fmla="*/ 3033348 w 3044273"/>
              <a:gd name="connsiteY1786" fmla="*/ 1754590 h 3047670"/>
              <a:gd name="connsiteX1787" fmla="*/ 3031338 w 3044273"/>
              <a:gd name="connsiteY1787" fmla="*/ 1752580 h 3047670"/>
              <a:gd name="connsiteX1788" fmla="*/ 3033348 w 3044273"/>
              <a:gd name="connsiteY1788" fmla="*/ 1750570 h 3047670"/>
              <a:gd name="connsiteX1789" fmla="*/ 781324 w 3044273"/>
              <a:gd name="connsiteY1789" fmla="*/ 1734366 h 3047670"/>
              <a:gd name="connsiteX1790" fmla="*/ 806697 w 3044273"/>
              <a:gd name="connsiteY1790" fmla="*/ 1759489 h 3047670"/>
              <a:gd name="connsiteX1791" fmla="*/ 781574 w 3044273"/>
              <a:gd name="connsiteY1791" fmla="*/ 1784862 h 3047670"/>
              <a:gd name="connsiteX1792" fmla="*/ 756326 w 3044273"/>
              <a:gd name="connsiteY1792" fmla="*/ 1759739 h 3047670"/>
              <a:gd name="connsiteX1793" fmla="*/ 781324 w 3044273"/>
              <a:gd name="connsiteY1793" fmla="*/ 1734366 h 3047670"/>
              <a:gd name="connsiteX1794" fmla="*/ 1070741 w 3044273"/>
              <a:gd name="connsiteY1794" fmla="*/ 1733360 h 3047670"/>
              <a:gd name="connsiteX1795" fmla="*/ 1073630 w 3044273"/>
              <a:gd name="connsiteY1795" fmla="*/ 1736250 h 3047670"/>
              <a:gd name="connsiteX1796" fmla="*/ 1070741 w 3044273"/>
              <a:gd name="connsiteY1796" fmla="*/ 1739138 h 3047670"/>
              <a:gd name="connsiteX1797" fmla="*/ 1067852 w 3044273"/>
              <a:gd name="connsiteY1797" fmla="*/ 1736250 h 3047670"/>
              <a:gd name="connsiteX1798" fmla="*/ 1070741 w 3044273"/>
              <a:gd name="connsiteY1798" fmla="*/ 1733360 h 3047670"/>
              <a:gd name="connsiteX1799" fmla="*/ 296325 w 3044273"/>
              <a:gd name="connsiteY1799" fmla="*/ 1733235 h 3047670"/>
              <a:gd name="connsiteX1800" fmla="*/ 304114 w 3044273"/>
              <a:gd name="connsiteY1800" fmla="*/ 1741024 h 3047670"/>
              <a:gd name="connsiteX1801" fmla="*/ 296452 w 3044273"/>
              <a:gd name="connsiteY1801" fmla="*/ 1748811 h 3047670"/>
              <a:gd name="connsiteX1802" fmla="*/ 288663 w 3044273"/>
              <a:gd name="connsiteY1802" fmla="*/ 1741149 h 3047670"/>
              <a:gd name="connsiteX1803" fmla="*/ 296325 w 3044273"/>
              <a:gd name="connsiteY1803" fmla="*/ 1733235 h 3047670"/>
              <a:gd name="connsiteX1804" fmla="*/ 1974415 w 3044273"/>
              <a:gd name="connsiteY1804" fmla="*/ 1732606 h 3047670"/>
              <a:gd name="connsiteX1805" fmla="*/ 1974917 w 3044273"/>
              <a:gd name="connsiteY1805" fmla="*/ 1732983 h 3047670"/>
              <a:gd name="connsiteX1806" fmla="*/ 1974415 w 3044273"/>
              <a:gd name="connsiteY1806" fmla="*/ 1733486 h 3047670"/>
              <a:gd name="connsiteX1807" fmla="*/ 1973912 w 3044273"/>
              <a:gd name="connsiteY1807" fmla="*/ 1732983 h 3047670"/>
              <a:gd name="connsiteX1808" fmla="*/ 1974415 w 3044273"/>
              <a:gd name="connsiteY1808" fmla="*/ 1732606 h 3047670"/>
              <a:gd name="connsiteX1809" fmla="*/ 2263580 w 3044273"/>
              <a:gd name="connsiteY1809" fmla="*/ 1730973 h 3047670"/>
              <a:gd name="connsiteX1810" fmla="*/ 2286944 w 3044273"/>
              <a:gd name="connsiteY1810" fmla="*/ 1754087 h 3047670"/>
              <a:gd name="connsiteX1811" fmla="*/ 2263831 w 3044273"/>
              <a:gd name="connsiteY1811" fmla="*/ 1777452 h 3047670"/>
              <a:gd name="connsiteX1812" fmla="*/ 2240468 w 3044273"/>
              <a:gd name="connsiteY1812" fmla="*/ 1754338 h 3047670"/>
              <a:gd name="connsiteX1813" fmla="*/ 2263580 w 3044273"/>
              <a:gd name="connsiteY1813" fmla="*/ 1730973 h 3047670"/>
              <a:gd name="connsiteX1814" fmla="*/ 2649971 w 3044273"/>
              <a:gd name="connsiteY1814" fmla="*/ 1730848 h 3047670"/>
              <a:gd name="connsiteX1815" fmla="*/ 2672834 w 3044273"/>
              <a:gd name="connsiteY1815" fmla="*/ 1753584 h 3047670"/>
              <a:gd name="connsiteX1816" fmla="*/ 2650098 w 3044273"/>
              <a:gd name="connsiteY1816" fmla="*/ 1776446 h 3047670"/>
              <a:gd name="connsiteX1817" fmla="*/ 2627235 w 3044273"/>
              <a:gd name="connsiteY1817" fmla="*/ 1753711 h 3047670"/>
              <a:gd name="connsiteX1818" fmla="*/ 2649971 w 3044273"/>
              <a:gd name="connsiteY1818" fmla="*/ 1730848 h 3047670"/>
              <a:gd name="connsiteX1819" fmla="*/ 198346 w 3044273"/>
              <a:gd name="connsiteY1819" fmla="*/ 1715397 h 3047670"/>
              <a:gd name="connsiteX1820" fmla="*/ 203244 w 3044273"/>
              <a:gd name="connsiteY1820" fmla="*/ 1720296 h 3047670"/>
              <a:gd name="connsiteX1821" fmla="*/ 198471 w 3044273"/>
              <a:gd name="connsiteY1821" fmla="*/ 1725194 h 3047670"/>
              <a:gd name="connsiteX1822" fmla="*/ 193572 w 3044273"/>
              <a:gd name="connsiteY1822" fmla="*/ 1720296 h 3047670"/>
              <a:gd name="connsiteX1823" fmla="*/ 198346 w 3044273"/>
              <a:gd name="connsiteY1823" fmla="*/ 1715397 h 3047670"/>
              <a:gd name="connsiteX1824" fmla="*/ 680330 w 3044273"/>
              <a:gd name="connsiteY1824" fmla="*/ 1713136 h 3047670"/>
              <a:gd name="connsiteX1825" fmla="*/ 706583 w 3044273"/>
              <a:gd name="connsiteY1825" fmla="*/ 1739137 h 3047670"/>
              <a:gd name="connsiteX1826" fmla="*/ 680580 w 3044273"/>
              <a:gd name="connsiteY1826" fmla="*/ 1765391 h 3047670"/>
              <a:gd name="connsiteX1827" fmla="*/ 654327 w 3044273"/>
              <a:gd name="connsiteY1827" fmla="*/ 1739389 h 3047670"/>
              <a:gd name="connsiteX1828" fmla="*/ 680330 w 3044273"/>
              <a:gd name="connsiteY1828" fmla="*/ 1713136 h 3047670"/>
              <a:gd name="connsiteX1829" fmla="*/ 2748578 w 3044273"/>
              <a:gd name="connsiteY1829" fmla="*/ 1710876 h 3047670"/>
              <a:gd name="connsiteX1830" fmla="*/ 2770184 w 3044273"/>
              <a:gd name="connsiteY1830" fmla="*/ 1732230 h 3047670"/>
              <a:gd name="connsiteX1831" fmla="*/ 2748830 w 3044273"/>
              <a:gd name="connsiteY1831" fmla="*/ 1753711 h 3047670"/>
              <a:gd name="connsiteX1832" fmla="*/ 2727224 w 3044273"/>
              <a:gd name="connsiteY1832" fmla="*/ 1732357 h 3047670"/>
              <a:gd name="connsiteX1833" fmla="*/ 2748578 w 3044273"/>
              <a:gd name="connsiteY1833" fmla="*/ 1710876 h 3047670"/>
              <a:gd name="connsiteX1834" fmla="*/ 2078046 w 3044273"/>
              <a:gd name="connsiteY1834" fmla="*/ 1708364 h 3047670"/>
              <a:gd name="connsiteX1835" fmla="*/ 2082318 w 3044273"/>
              <a:gd name="connsiteY1835" fmla="*/ 1712509 h 3047670"/>
              <a:gd name="connsiteX1836" fmla="*/ 2078172 w 3044273"/>
              <a:gd name="connsiteY1836" fmla="*/ 1716781 h 3047670"/>
              <a:gd name="connsiteX1837" fmla="*/ 2074027 w 3044273"/>
              <a:gd name="connsiteY1837" fmla="*/ 1712635 h 3047670"/>
              <a:gd name="connsiteX1838" fmla="*/ 2078046 w 3044273"/>
              <a:gd name="connsiteY1838" fmla="*/ 1708364 h 3047670"/>
              <a:gd name="connsiteX1839" fmla="*/ 966606 w 3044273"/>
              <a:gd name="connsiteY1839" fmla="*/ 1706856 h 3047670"/>
              <a:gd name="connsiteX1840" fmla="*/ 976404 w 3044273"/>
              <a:gd name="connsiteY1840" fmla="*/ 1716527 h 3047670"/>
              <a:gd name="connsiteX1841" fmla="*/ 966731 w 3044273"/>
              <a:gd name="connsiteY1841" fmla="*/ 1726325 h 3047670"/>
              <a:gd name="connsiteX1842" fmla="*/ 956934 w 3044273"/>
              <a:gd name="connsiteY1842" fmla="*/ 1716653 h 3047670"/>
              <a:gd name="connsiteX1843" fmla="*/ 966606 w 3044273"/>
              <a:gd name="connsiteY1843" fmla="*/ 1706856 h 3047670"/>
              <a:gd name="connsiteX1844" fmla="*/ 2364575 w 3044273"/>
              <a:gd name="connsiteY1844" fmla="*/ 1704469 h 3047670"/>
              <a:gd name="connsiteX1845" fmla="*/ 2393465 w 3044273"/>
              <a:gd name="connsiteY1845" fmla="*/ 1733109 h 3047670"/>
              <a:gd name="connsiteX1846" fmla="*/ 2364825 w 3044273"/>
              <a:gd name="connsiteY1846" fmla="*/ 1762000 h 3047670"/>
              <a:gd name="connsiteX1847" fmla="*/ 2335935 w 3044273"/>
              <a:gd name="connsiteY1847" fmla="*/ 1733360 h 3047670"/>
              <a:gd name="connsiteX1848" fmla="*/ 2364575 w 3044273"/>
              <a:gd name="connsiteY1848" fmla="*/ 1704469 h 3047670"/>
              <a:gd name="connsiteX1849" fmla="*/ 580843 w 3044273"/>
              <a:gd name="connsiteY1849" fmla="*/ 1696680 h 3047670"/>
              <a:gd name="connsiteX1850" fmla="*/ 603077 w 3044273"/>
              <a:gd name="connsiteY1850" fmla="*/ 1718662 h 3047670"/>
              <a:gd name="connsiteX1851" fmla="*/ 580968 w 3044273"/>
              <a:gd name="connsiteY1851" fmla="*/ 1740895 h 3047670"/>
              <a:gd name="connsiteX1852" fmla="*/ 558735 w 3044273"/>
              <a:gd name="connsiteY1852" fmla="*/ 1718788 h 3047670"/>
              <a:gd name="connsiteX1853" fmla="*/ 580843 w 3044273"/>
              <a:gd name="connsiteY1853" fmla="*/ 1696680 h 3047670"/>
              <a:gd name="connsiteX1854" fmla="*/ 101243 w 3044273"/>
              <a:gd name="connsiteY1854" fmla="*/ 1695425 h 3047670"/>
              <a:gd name="connsiteX1855" fmla="*/ 105263 w 3044273"/>
              <a:gd name="connsiteY1855" fmla="*/ 1699445 h 3047670"/>
              <a:gd name="connsiteX1856" fmla="*/ 101243 w 3044273"/>
              <a:gd name="connsiteY1856" fmla="*/ 1703464 h 3047670"/>
              <a:gd name="connsiteX1857" fmla="*/ 97224 w 3044273"/>
              <a:gd name="connsiteY1857" fmla="*/ 1699445 h 3047670"/>
              <a:gd name="connsiteX1858" fmla="*/ 101243 w 3044273"/>
              <a:gd name="connsiteY1858" fmla="*/ 1695425 h 3047670"/>
              <a:gd name="connsiteX1859" fmla="*/ 2846435 w 3044273"/>
              <a:gd name="connsiteY1859" fmla="*/ 1694043 h 3047670"/>
              <a:gd name="connsiteX1860" fmla="*/ 2863142 w 3044273"/>
              <a:gd name="connsiteY1860" fmla="*/ 1710624 h 3047670"/>
              <a:gd name="connsiteX1861" fmla="*/ 2846560 w 3044273"/>
              <a:gd name="connsiteY1861" fmla="*/ 1727331 h 3047670"/>
              <a:gd name="connsiteX1862" fmla="*/ 2829979 w 3044273"/>
              <a:gd name="connsiteY1862" fmla="*/ 1710750 h 3047670"/>
              <a:gd name="connsiteX1863" fmla="*/ 2846435 w 3044273"/>
              <a:gd name="connsiteY1863" fmla="*/ 1694043 h 3047670"/>
              <a:gd name="connsiteX1864" fmla="*/ 2463935 w 3044273"/>
              <a:gd name="connsiteY1864" fmla="*/ 1683993 h 3047670"/>
              <a:gd name="connsiteX1865" fmla="*/ 2491947 w 3044273"/>
              <a:gd name="connsiteY1865" fmla="*/ 1711754 h 3047670"/>
              <a:gd name="connsiteX1866" fmla="*/ 2464186 w 3044273"/>
              <a:gd name="connsiteY1866" fmla="*/ 1739766 h 3047670"/>
              <a:gd name="connsiteX1867" fmla="*/ 2436175 w 3044273"/>
              <a:gd name="connsiteY1867" fmla="*/ 1712004 h 3047670"/>
              <a:gd name="connsiteX1868" fmla="*/ 2463935 w 3044273"/>
              <a:gd name="connsiteY1868" fmla="*/ 1683993 h 3047670"/>
              <a:gd name="connsiteX1869" fmla="*/ 2178916 w 3044273"/>
              <a:gd name="connsiteY1869" fmla="*/ 1681482 h 3047670"/>
              <a:gd name="connsiteX1870" fmla="*/ 2189092 w 3044273"/>
              <a:gd name="connsiteY1870" fmla="*/ 1691656 h 3047670"/>
              <a:gd name="connsiteX1871" fmla="*/ 2178916 w 3044273"/>
              <a:gd name="connsiteY1871" fmla="*/ 1701831 h 3047670"/>
              <a:gd name="connsiteX1872" fmla="*/ 2168741 w 3044273"/>
              <a:gd name="connsiteY1872" fmla="*/ 1691656 h 3047670"/>
              <a:gd name="connsiteX1873" fmla="*/ 2178916 w 3044273"/>
              <a:gd name="connsiteY1873" fmla="*/ 1681482 h 3047670"/>
              <a:gd name="connsiteX1874" fmla="*/ 2943534 w 3044273"/>
              <a:gd name="connsiteY1874" fmla="*/ 1681356 h 3047670"/>
              <a:gd name="connsiteX1875" fmla="*/ 2951323 w 3044273"/>
              <a:gd name="connsiteY1875" fmla="*/ 1689143 h 3047670"/>
              <a:gd name="connsiteX1876" fmla="*/ 2943659 w 3044273"/>
              <a:gd name="connsiteY1876" fmla="*/ 1696932 h 3047670"/>
              <a:gd name="connsiteX1877" fmla="*/ 2935871 w 3044273"/>
              <a:gd name="connsiteY1877" fmla="*/ 1689143 h 3047670"/>
              <a:gd name="connsiteX1878" fmla="*/ 2943534 w 3044273"/>
              <a:gd name="connsiteY1878" fmla="*/ 1681356 h 3047670"/>
              <a:gd name="connsiteX1879" fmla="*/ 865736 w 3044273"/>
              <a:gd name="connsiteY1879" fmla="*/ 1677964 h 3047670"/>
              <a:gd name="connsiteX1880" fmla="*/ 884202 w 3044273"/>
              <a:gd name="connsiteY1880" fmla="*/ 1696303 h 3047670"/>
              <a:gd name="connsiteX1881" fmla="*/ 865863 w 3044273"/>
              <a:gd name="connsiteY1881" fmla="*/ 1714769 h 3047670"/>
              <a:gd name="connsiteX1882" fmla="*/ 847397 w 3044273"/>
              <a:gd name="connsiteY1882" fmla="*/ 1696430 h 3047670"/>
              <a:gd name="connsiteX1883" fmla="*/ 865736 w 3044273"/>
              <a:gd name="connsiteY1883" fmla="*/ 1677964 h 3047670"/>
              <a:gd name="connsiteX1884" fmla="*/ 482611 w 3044273"/>
              <a:gd name="connsiteY1884" fmla="*/ 1677839 h 3047670"/>
              <a:gd name="connsiteX1885" fmla="*/ 502835 w 3044273"/>
              <a:gd name="connsiteY1885" fmla="*/ 1697937 h 3047670"/>
              <a:gd name="connsiteX1886" fmla="*/ 482736 w 3044273"/>
              <a:gd name="connsiteY1886" fmla="*/ 1718161 h 3047670"/>
              <a:gd name="connsiteX1887" fmla="*/ 462513 w 3044273"/>
              <a:gd name="connsiteY1887" fmla="*/ 1698063 h 3047670"/>
              <a:gd name="connsiteX1888" fmla="*/ 482611 w 3044273"/>
              <a:gd name="connsiteY1888" fmla="*/ 1677839 h 3047670"/>
              <a:gd name="connsiteX1889" fmla="*/ 4520 w 3044273"/>
              <a:gd name="connsiteY1889" fmla="*/ 1677084 h 3047670"/>
              <a:gd name="connsiteX1890" fmla="*/ 6028 w 3044273"/>
              <a:gd name="connsiteY1890" fmla="*/ 1678593 h 3047670"/>
              <a:gd name="connsiteX1891" fmla="*/ 4395 w 3044273"/>
              <a:gd name="connsiteY1891" fmla="*/ 1680099 h 3047670"/>
              <a:gd name="connsiteX1892" fmla="*/ 2888 w 3044273"/>
              <a:gd name="connsiteY1892" fmla="*/ 1678593 h 3047670"/>
              <a:gd name="connsiteX1893" fmla="*/ 4520 w 3044273"/>
              <a:gd name="connsiteY1893" fmla="*/ 1677084 h 3047670"/>
              <a:gd name="connsiteX1894" fmla="*/ 1151762 w 3044273"/>
              <a:gd name="connsiteY1894" fmla="*/ 1673442 h 3047670"/>
              <a:gd name="connsiteX1895" fmla="*/ 1152013 w 3044273"/>
              <a:gd name="connsiteY1895" fmla="*/ 1673694 h 3047670"/>
              <a:gd name="connsiteX1896" fmla="*/ 1151762 w 3044273"/>
              <a:gd name="connsiteY1896" fmla="*/ 1673944 h 3047670"/>
              <a:gd name="connsiteX1897" fmla="*/ 1151511 w 3044273"/>
              <a:gd name="connsiteY1897" fmla="*/ 1673694 h 3047670"/>
              <a:gd name="connsiteX1898" fmla="*/ 1151762 w 3044273"/>
              <a:gd name="connsiteY1898" fmla="*/ 1673442 h 3047670"/>
              <a:gd name="connsiteX1899" fmla="*/ 3040131 w 3044273"/>
              <a:gd name="connsiteY1899" fmla="*/ 1665527 h 3047670"/>
              <a:gd name="connsiteX1900" fmla="*/ 3042141 w 3044273"/>
              <a:gd name="connsiteY1900" fmla="*/ 1667537 h 3047670"/>
              <a:gd name="connsiteX1901" fmla="*/ 3040131 w 3044273"/>
              <a:gd name="connsiteY1901" fmla="*/ 1669547 h 3047670"/>
              <a:gd name="connsiteX1902" fmla="*/ 3038121 w 3044273"/>
              <a:gd name="connsiteY1902" fmla="*/ 1667537 h 3047670"/>
              <a:gd name="connsiteX1903" fmla="*/ 3040131 w 3044273"/>
              <a:gd name="connsiteY1903" fmla="*/ 1665527 h 3047670"/>
              <a:gd name="connsiteX1904" fmla="*/ 2562042 w 3044273"/>
              <a:gd name="connsiteY1904" fmla="*/ 1665026 h 3047670"/>
              <a:gd name="connsiteX1905" fmla="*/ 2587541 w 3044273"/>
              <a:gd name="connsiteY1905" fmla="*/ 1690401 h 3047670"/>
              <a:gd name="connsiteX1906" fmla="*/ 2562168 w 3044273"/>
              <a:gd name="connsiteY1906" fmla="*/ 1715900 h 3047670"/>
              <a:gd name="connsiteX1907" fmla="*/ 2536667 w 3044273"/>
              <a:gd name="connsiteY1907" fmla="*/ 1690526 h 3047670"/>
              <a:gd name="connsiteX1908" fmla="*/ 2562042 w 3044273"/>
              <a:gd name="connsiteY1908" fmla="*/ 1665026 h 3047670"/>
              <a:gd name="connsiteX1909" fmla="*/ 385259 w 3044273"/>
              <a:gd name="connsiteY1909" fmla="*/ 1663015 h 3047670"/>
              <a:gd name="connsiteX1910" fmla="*/ 399453 w 3044273"/>
              <a:gd name="connsiteY1910" fmla="*/ 1677084 h 3047670"/>
              <a:gd name="connsiteX1911" fmla="*/ 385385 w 3044273"/>
              <a:gd name="connsiteY1911" fmla="*/ 1691280 h 3047670"/>
              <a:gd name="connsiteX1912" fmla="*/ 371191 w 3044273"/>
              <a:gd name="connsiteY1912" fmla="*/ 1677211 h 3047670"/>
              <a:gd name="connsiteX1913" fmla="*/ 385259 w 3044273"/>
              <a:gd name="connsiteY1913" fmla="*/ 1663015 h 3047670"/>
              <a:gd name="connsiteX1914" fmla="*/ 1051394 w 3044273"/>
              <a:gd name="connsiteY1914" fmla="*/ 1650831 h 3047670"/>
              <a:gd name="connsiteX1915" fmla="*/ 1053906 w 3044273"/>
              <a:gd name="connsiteY1915" fmla="*/ 1653218 h 3047670"/>
              <a:gd name="connsiteX1916" fmla="*/ 1051520 w 3044273"/>
              <a:gd name="connsiteY1916" fmla="*/ 1655605 h 3047670"/>
              <a:gd name="connsiteX1917" fmla="*/ 1049008 w 3044273"/>
              <a:gd name="connsiteY1917" fmla="*/ 1653218 h 3047670"/>
              <a:gd name="connsiteX1918" fmla="*/ 1051394 w 3044273"/>
              <a:gd name="connsiteY1918" fmla="*/ 1650831 h 3047670"/>
              <a:gd name="connsiteX1919" fmla="*/ 767002 w 3044273"/>
              <a:gd name="connsiteY1919" fmla="*/ 1650831 h 3047670"/>
              <a:gd name="connsiteX1920" fmla="*/ 791874 w 3044273"/>
              <a:gd name="connsiteY1920" fmla="*/ 1675576 h 3047670"/>
              <a:gd name="connsiteX1921" fmla="*/ 767128 w 3044273"/>
              <a:gd name="connsiteY1921" fmla="*/ 1700448 h 3047670"/>
              <a:gd name="connsiteX1922" fmla="*/ 742257 w 3044273"/>
              <a:gd name="connsiteY1922" fmla="*/ 1675702 h 3047670"/>
              <a:gd name="connsiteX1923" fmla="*/ 767002 w 3044273"/>
              <a:gd name="connsiteY1923" fmla="*/ 1650831 h 3047670"/>
              <a:gd name="connsiteX1924" fmla="*/ 1992878 w 3044273"/>
              <a:gd name="connsiteY1924" fmla="*/ 1649576 h 3047670"/>
              <a:gd name="connsiteX1925" fmla="*/ 1993130 w 3044273"/>
              <a:gd name="connsiteY1925" fmla="*/ 1649826 h 3047670"/>
              <a:gd name="connsiteX1926" fmla="*/ 1993005 w 3044273"/>
              <a:gd name="connsiteY1926" fmla="*/ 1650078 h 3047670"/>
              <a:gd name="connsiteX1927" fmla="*/ 1992753 w 3044273"/>
              <a:gd name="connsiteY1927" fmla="*/ 1649826 h 3047670"/>
              <a:gd name="connsiteX1928" fmla="*/ 1992878 w 3044273"/>
              <a:gd name="connsiteY1928" fmla="*/ 1649576 h 3047670"/>
              <a:gd name="connsiteX1929" fmla="*/ 2277398 w 3044273"/>
              <a:gd name="connsiteY1929" fmla="*/ 1648696 h 3047670"/>
              <a:gd name="connsiteX1930" fmla="*/ 2299004 w 3044273"/>
              <a:gd name="connsiteY1930" fmla="*/ 1670050 h 3047670"/>
              <a:gd name="connsiteX1931" fmla="*/ 2277650 w 3044273"/>
              <a:gd name="connsiteY1931" fmla="*/ 1691531 h 3047670"/>
              <a:gd name="connsiteX1932" fmla="*/ 2256169 w 3044273"/>
              <a:gd name="connsiteY1932" fmla="*/ 1670177 h 3047670"/>
              <a:gd name="connsiteX1933" fmla="*/ 2277398 w 3044273"/>
              <a:gd name="connsiteY1933" fmla="*/ 1648696 h 3047670"/>
              <a:gd name="connsiteX1934" fmla="*/ 288789 w 3044273"/>
              <a:gd name="connsiteY1934" fmla="*/ 1645807 h 3047670"/>
              <a:gd name="connsiteX1935" fmla="*/ 299214 w 3044273"/>
              <a:gd name="connsiteY1935" fmla="*/ 1656233 h 3047670"/>
              <a:gd name="connsiteX1936" fmla="*/ 288789 w 3044273"/>
              <a:gd name="connsiteY1936" fmla="*/ 1666658 h 3047670"/>
              <a:gd name="connsiteX1937" fmla="*/ 278362 w 3044273"/>
              <a:gd name="connsiteY1937" fmla="*/ 1656233 h 3047670"/>
              <a:gd name="connsiteX1938" fmla="*/ 288789 w 3044273"/>
              <a:gd name="connsiteY1938" fmla="*/ 1645807 h 3047670"/>
              <a:gd name="connsiteX1939" fmla="*/ 2659266 w 3044273"/>
              <a:gd name="connsiteY1939" fmla="*/ 1644927 h 3047670"/>
              <a:gd name="connsiteX1940" fmla="*/ 2683259 w 3044273"/>
              <a:gd name="connsiteY1940" fmla="*/ 1668794 h 3047670"/>
              <a:gd name="connsiteX1941" fmla="*/ 2659393 w 3044273"/>
              <a:gd name="connsiteY1941" fmla="*/ 1692786 h 3047670"/>
              <a:gd name="connsiteX1942" fmla="*/ 2635400 w 3044273"/>
              <a:gd name="connsiteY1942" fmla="*/ 1668920 h 3047670"/>
              <a:gd name="connsiteX1943" fmla="*/ 2659266 w 3044273"/>
              <a:gd name="connsiteY1943" fmla="*/ 1644927 h 3047670"/>
              <a:gd name="connsiteX1944" fmla="*/ 192694 w 3044273"/>
              <a:gd name="connsiteY1944" fmla="*/ 1627970 h 3047670"/>
              <a:gd name="connsiteX1945" fmla="*/ 199980 w 3044273"/>
              <a:gd name="connsiteY1945" fmla="*/ 1635255 h 3047670"/>
              <a:gd name="connsiteX1946" fmla="*/ 192694 w 3044273"/>
              <a:gd name="connsiteY1946" fmla="*/ 1642541 h 3047670"/>
              <a:gd name="connsiteX1947" fmla="*/ 185282 w 3044273"/>
              <a:gd name="connsiteY1947" fmla="*/ 1635255 h 3047670"/>
              <a:gd name="connsiteX1948" fmla="*/ 192694 w 3044273"/>
              <a:gd name="connsiteY1948" fmla="*/ 1627970 h 3047670"/>
              <a:gd name="connsiteX1949" fmla="*/ 669401 w 3044273"/>
              <a:gd name="connsiteY1949" fmla="*/ 1627718 h 3047670"/>
              <a:gd name="connsiteX1950" fmla="*/ 696534 w 3044273"/>
              <a:gd name="connsiteY1950" fmla="*/ 1654599 h 3047670"/>
              <a:gd name="connsiteX1951" fmla="*/ 669653 w 3044273"/>
              <a:gd name="connsiteY1951" fmla="*/ 1681732 h 3047670"/>
              <a:gd name="connsiteX1952" fmla="*/ 642520 w 3044273"/>
              <a:gd name="connsiteY1952" fmla="*/ 1654851 h 3047670"/>
              <a:gd name="connsiteX1953" fmla="*/ 669401 w 3044273"/>
              <a:gd name="connsiteY1953" fmla="*/ 1627718 h 3047670"/>
              <a:gd name="connsiteX1954" fmla="*/ 2090607 w 3044273"/>
              <a:gd name="connsiteY1954" fmla="*/ 1625708 h 3047670"/>
              <a:gd name="connsiteX1955" fmla="*/ 2093244 w 3044273"/>
              <a:gd name="connsiteY1955" fmla="*/ 1628345 h 3047670"/>
              <a:gd name="connsiteX1956" fmla="*/ 2090607 w 3044273"/>
              <a:gd name="connsiteY1956" fmla="*/ 1630982 h 3047670"/>
              <a:gd name="connsiteX1957" fmla="*/ 2087970 w 3044273"/>
              <a:gd name="connsiteY1957" fmla="*/ 1628345 h 3047670"/>
              <a:gd name="connsiteX1958" fmla="*/ 2090607 w 3044273"/>
              <a:gd name="connsiteY1958" fmla="*/ 1625708 h 3047670"/>
              <a:gd name="connsiteX1959" fmla="*/ 2755740 w 3044273"/>
              <a:gd name="connsiteY1959" fmla="*/ 1624453 h 3047670"/>
              <a:gd name="connsiteX1960" fmla="*/ 2778603 w 3044273"/>
              <a:gd name="connsiteY1960" fmla="*/ 1647189 h 3047670"/>
              <a:gd name="connsiteX1961" fmla="*/ 2755865 w 3044273"/>
              <a:gd name="connsiteY1961" fmla="*/ 1670051 h 3047670"/>
              <a:gd name="connsiteX1962" fmla="*/ 2733004 w 3044273"/>
              <a:gd name="connsiteY1962" fmla="*/ 1647314 h 3047670"/>
              <a:gd name="connsiteX1963" fmla="*/ 2755740 w 3044273"/>
              <a:gd name="connsiteY1963" fmla="*/ 1624453 h 3047670"/>
              <a:gd name="connsiteX1964" fmla="*/ 953541 w 3044273"/>
              <a:gd name="connsiteY1964" fmla="*/ 1623824 h 3047670"/>
              <a:gd name="connsiteX1965" fmla="*/ 962208 w 3044273"/>
              <a:gd name="connsiteY1965" fmla="*/ 1632365 h 3047670"/>
              <a:gd name="connsiteX1966" fmla="*/ 953667 w 3044273"/>
              <a:gd name="connsiteY1966" fmla="*/ 1641032 h 3047670"/>
              <a:gd name="connsiteX1967" fmla="*/ 945000 w 3044273"/>
              <a:gd name="connsiteY1967" fmla="*/ 1632492 h 3047670"/>
              <a:gd name="connsiteX1968" fmla="*/ 953541 w 3044273"/>
              <a:gd name="connsiteY1968" fmla="*/ 1623824 h 3047670"/>
              <a:gd name="connsiteX1969" fmla="*/ 2374875 w 3044273"/>
              <a:gd name="connsiteY1969" fmla="*/ 1619427 h 3047670"/>
              <a:gd name="connsiteX1970" fmla="*/ 2404142 w 3044273"/>
              <a:gd name="connsiteY1970" fmla="*/ 1648570 h 3047670"/>
              <a:gd name="connsiteX1971" fmla="*/ 2375000 w 3044273"/>
              <a:gd name="connsiteY1971" fmla="*/ 1677838 h 3047670"/>
              <a:gd name="connsiteX1972" fmla="*/ 2345732 w 3044273"/>
              <a:gd name="connsiteY1972" fmla="*/ 1648695 h 3047670"/>
              <a:gd name="connsiteX1973" fmla="*/ 2374875 w 3044273"/>
              <a:gd name="connsiteY1973" fmla="*/ 1619427 h 3047670"/>
              <a:gd name="connsiteX1974" fmla="*/ 96973 w 3044273"/>
              <a:gd name="connsiteY1974" fmla="*/ 1609630 h 3047670"/>
              <a:gd name="connsiteX1975" fmla="*/ 101622 w 3044273"/>
              <a:gd name="connsiteY1975" fmla="*/ 1614278 h 3047670"/>
              <a:gd name="connsiteX1976" fmla="*/ 96973 w 3044273"/>
              <a:gd name="connsiteY1976" fmla="*/ 1618927 h 3047670"/>
              <a:gd name="connsiteX1977" fmla="*/ 92326 w 3044273"/>
              <a:gd name="connsiteY1977" fmla="*/ 1614278 h 3047670"/>
              <a:gd name="connsiteX1978" fmla="*/ 96973 w 3044273"/>
              <a:gd name="connsiteY1978" fmla="*/ 1609630 h 3047670"/>
              <a:gd name="connsiteX1979" fmla="*/ 572928 w 3044273"/>
              <a:gd name="connsiteY1979" fmla="*/ 1609127 h 3047670"/>
              <a:gd name="connsiteX1980" fmla="*/ 597800 w 3044273"/>
              <a:gd name="connsiteY1980" fmla="*/ 1633872 h 3047670"/>
              <a:gd name="connsiteX1981" fmla="*/ 573053 w 3044273"/>
              <a:gd name="connsiteY1981" fmla="*/ 1658744 h 3047670"/>
              <a:gd name="connsiteX1982" fmla="*/ 548182 w 3044273"/>
              <a:gd name="connsiteY1982" fmla="*/ 1633998 h 3047670"/>
              <a:gd name="connsiteX1983" fmla="*/ 572928 w 3044273"/>
              <a:gd name="connsiteY1983" fmla="*/ 1609127 h 3047670"/>
              <a:gd name="connsiteX1984" fmla="*/ 2851582 w 3044273"/>
              <a:gd name="connsiteY1984" fmla="*/ 1607495 h 3047670"/>
              <a:gd name="connsiteX1985" fmla="*/ 2869795 w 3044273"/>
              <a:gd name="connsiteY1985" fmla="*/ 1625583 h 3047670"/>
              <a:gd name="connsiteX1986" fmla="*/ 2851707 w 3044273"/>
              <a:gd name="connsiteY1986" fmla="*/ 1643797 h 3047670"/>
              <a:gd name="connsiteX1987" fmla="*/ 2833494 w 3044273"/>
              <a:gd name="connsiteY1987" fmla="*/ 1625709 h 3047670"/>
              <a:gd name="connsiteX1988" fmla="*/ 2851582 w 3044273"/>
              <a:gd name="connsiteY1988" fmla="*/ 1607495 h 3047670"/>
              <a:gd name="connsiteX1989" fmla="*/ 2186829 w 3044273"/>
              <a:gd name="connsiteY1989" fmla="*/ 1597696 h 3047670"/>
              <a:gd name="connsiteX1990" fmla="*/ 2195998 w 3044273"/>
              <a:gd name="connsiteY1990" fmla="*/ 1606740 h 3047670"/>
              <a:gd name="connsiteX1991" fmla="*/ 2186954 w 3044273"/>
              <a:gd name="connsiteY1991" fmla="*/ 1615785 h 3047670"/>
              <a:gd name="connsiteX1992" fmla="*/ 2177785 w 3044273"/>
              <a:gd name="connsiteY1992" fmla="*/ 1606740 h 3047670"/>
              <a:gd name="connsiteX1993" fmla="*/ 2186829 w 3044273"/>
              <a:gd name="connsiteY1993" fmla="*/ 1597696 h 3047670"/>
              <a:gd name="connsiteX1994" fmla="*/ 2471347 w 3044273"/>
              <a:gd name="connsiteY1994" fmla="*/ 1597445 h 3047670"/>
              <a:gd name="connsiteX1995" fmla="*/ 2500867 w 3044273"/>
              <a:gd name="connsiteY1995" fmla="*/ 1626838 h 3047670"/>
              <a:gd name="connsiteX1996" fmla="*/ 2471472 w 3044273"/>
              <a:gd name="connsiteY1996" fmla="*/ 1656358 h 3047670"/>
              <a:gd name="connsiteX1997" fmla="*/ 2441954 w 3044273"/>
              <a:gd name="connsiteY1997" fmla="*/ 1627090 h 3047670"/>
              <a:gd name="connsiteX1998" fmla="*/ 2471347 w 3044273"/>
              <a:gd name="connsiteY1998" fmla="*/ 1597445 h 3047670"/>
              <a:gd name="connsiteX1999" fmla="*/ 2947175 w 3044273"/>
              <a:gd name="connsiteY1999" fmla="*/ 1596440 h 3047670"/>
              <a:gd name="connsiteX2000" fmla="*/ 2954712 w 3044273"/>
              <a:gd name="connsiteY2000" fmla="*/ 1603976 h 3047670"/>
              <a:gd name="connsiteX2001" fmla="*/ 2947175 w 3044273"/>
              <a:gd name="connsiteY2001" fmla="*/ 1611512 h 3047670"/>
              <a:gd name="connsiteX2002" fmla="*/ 2939638 w 3044273"/>
              <a:gd name="connsiteY2002" fmla="*/ 1603976 h 3047670"/>
              <a:gd name="connsiteX2003" fmla="*/ 2947175 w 3044273"/>
              <a:gd name="connsiteY2003" fmla="*/ 1596440 h 3047670"/>
              <a:gd name="connsiteX2004" fmla="*/ 857196 w 3044273"/>
              <a:gd name="connsiteY2004" fmla="*/ 1594556 h 3047670"/>
              <a:gd name="connsiteX2005" fmla="*/ 874280 w 3044273"/>
              <a:gd name="connsiteY2005" fmla="*/ 1611515 h 3047670"/>
              <a:gd name="connsiteX2006" fmla="*/ 857322 w 3044273"/>
              <a:gd name="connsiteY2006" fmla="*/ 1628598 h 3047670"/>
              <a:gd name="connsiteX2007" fmla="*/ 840238 w 3044273"/>
              <a:gd name="connsiteY2007" fmla="*/ 1611640 h 3047670"/>
              <a:gd name="connsiteX2008" fmla="*/ 857196 w 3044273"/>
              <a:gd name="connsiteY2008" fmla="*/ 1594556 h 3047670"/>
              <a:gd name="connsiteX2009" fmla="*/ 477084 w 3044273"/>
              <a:gd name="connsiteY2009" fmla="*/ 1591541 h 3047670"/>
              <a:gd name="connsiteX2010" fmla="*/ 498565 w 3044273"/>
              <a:gd name="connsiteY2010" fmla="*/ 1612895 h 3047670"/>
              <a:gd name="connsiteX2011" fmla="*/ 477211 w 3044273"/>
              <a:gd name="connsiteY2011" fmla="*/ 1634376 h 3047670"/>
              <a:gd name="connsiteX2012" fmla="*/ 455730 w 3044273"/>
              <a:gd name="connsiteY2012" fmla="*/ 1613022 h 3047670"/>
              <a:gd name="connsiteX2013" fmla="*/ 477084 w 3044273"/>
              <a:gd name="connsiteY2013" fmla="*/ 1591541 h 3047670"/>
              <a:gd name="connsiteX2014" fmla="*/ 1759 w 3044273"/>
              <a:gd name="connsiteY2014" fmla="*/ 1591541 h 3047670"/>
              <a:gd name="connsiteX2015" fmla="*/ 3517 w 3044273"/>
              <a:gd name="connsiteY2015" fmla="*/ 1593299 h 3047670"/>
              <a:gd name="connsiteX2016" fmla="*/ 1759 w 3044273"/>
              <a:gd name="connsiteY2016" fmla="*/ 1595058 h 3047670"/>
              <a:gd name="connsiteX2017" fmla="*/ 0 w 3044273"/>
              <a:gd name="connsiteY2017" fmla="*/ 1593299 h 3047670"/>
              <a:gd name="connsiteX2018" fmla="*/ 1759 w 3044273"/>
              <a:gd name="connsiteY2018" fmla="*/ 1591541 h 3047670"/>
              <a:gd name="connsiteX2019" fmla="*/ 3042264 w 3044273"/>
              <a:gd name="connsiteY2019" fmla="*/ 1580236 h 3047670"/>
              <a:gd name="connsiteX2020" fmla="*/ 3044273 w 3044273"/>
              <a:gd name="connsiteY2020" fmla="*/ 1582246 h 3047670"/>
              <a:gd name="connsiteX2021" fmla="*/ 3042264 w 3044273"/>
              <a:gd name="connsiteY2021" fmla="*/ 1584256 h 3047670"/>
              <a:gd name="connsiteX2022" fmla="*/ 3040254 w 3044273"/>
              <a:gd name="connsiteY2022" fmla="*/ 1582246 h 3047670"/>
              <a:gd name="connsiteX2023" fmla="*/ 3042264 w 3044273"/>
              <a:gd name="connsiteY2023" fmla="*/ 1580236 h 3047670"/>
              <a:gd name="connsiteX2024" fmla="*/ 2566942 w 3044273"/>
              <a:gd name="connsiteY2024" fmla="*/ 1578729 h 3047670"/>
              <a:gd name="connsiteX2025" fmla="*/ 2593573 w 3044273"/>
              <a:gd name="connsiteY2025" fmla="*/ 1605234 h 3047670"/>
              <a:gd name="connsiteX2026" fmla="*/ 2567067 w 3044273"/>
              <a:gd name="connsiteY2026" fmla="*/ 1631864 h 3047670"/>
              <a:gd name="connsiteX2027" fmla="*/ 2540436 w 3044273"/>
              <a:gd name="connsiteY2027" fmla="*/ 1605359 h 3047670"/>
              <a:gd name="connsiteX2028" fmla="*/ 2566942 w 3044273"/>
              <a:gd name="connsiteY2028" fmla="*/ 1578729 h 3047670"/>
              <a:gd name="connsiteX2029" fmla="*/ 381618 w 3044273"/>
              <a:gd name="connsiteY2029" fmla="*/ 1575964 h 3047670"/>
              <a:gd name="connsiteX2030" fmla="*/ 397696 w 3044273"/>
              <a:gd name="connsiteY2030" fmla="*/ 1591792 h 3047670"/>
              <a:gd name="connsiteX2031" fmla="*/ 381869 w 3044273"/>
              <a:gd name="connsiteY2031" fmla="*/ 1607745 h 3047670"/>
              <a:gd name="connsiteX2032" fmla="*/ 365916 w 3044273"/>
              <a:gd name="connsiteY2032" fmla="*/ 1591918 h 3047670"/>
              <a:gd name="connsiteX2033" fmla="*/ 381618 w 3044273"/>
              <a:gd name="connsiteY2033" fmla="*/ 1575964 h 3047670"/>
              <a:gd name="connsiteX2034" fmla="*/ 1047251 w 3044273"/>
              <a:gd name="connsiteY2034" fmla="*/ 1566670 h 3047670"/>
              <a:gd name="connsiteX2035" fmla="*/ 1048759 w 3044273"/>
              <a:gd name="connsiteY2035" fmla="*/ 1568177 h 3047670"/>
              <a:gd name="connsiteX2036" fmla="*/ 1047251 w 3044273"/>
              <a:gd name="connsiteY2036" fmla="*/ 1569684 h 3047670"/>
              <a:gd name="connsiteX2037" fmla="*/ 1045744 w 3044273"/>
              <a:gd name="connsiteY2037" fmla="*/ 1568177 h 3047670"/>
              <a:gd name="connsiteX2038" fmla="*/ 1047251 w 3044273"/>
              <a:gd name="connsiteY2038" fmla="*/ 1566670 h 3047670"/>
              <a:gd name="connsiteX2039" fmla="*/ 761728 w 3044273"/>
              <a:gd name="connsiteY2039" fmla="*/ 1566418 h 3047670"/>
              <a:gd name="connsiteX2040" fmla="*/ 785972 w 3044273"/>
              <a:gd name="connsiteY2040" fmla="*/ 1590411 h 3047670"/>
              <a:gd name="connsiteX2041" fmla="*/ 761979 w 3044273"/>
              <a:gd name="connsiteY2041" fmla="*/ 1614654 h 3047670"/>
              <a:gd name="connsiteX2042" fmla="*/ 737736 w 3044273"/>
              <a:gd name="connsiteY2042" fmla="*/ 1590661 h 3047670"/>
              <a:gd name="connsiteX2043" fmla="*/ 761728 w 3044273"/>
              <a:gd name="connsiteY2043" fmla="*/ 1566418 h 3047670"/>
              <a:gd name="connsiteX2044" fmla="*/ 2282046 w 3044273"/>
              <a:gd name="connsiteY2044" fmla="*/ 1564283 h 3047670"/>
              <a:gd name="connsiteX2045" fmla="*/ 2302900 w 3044273"/>
              <a:gd name="connsiteY2045" fmla="*/ 1585009 h 3047670"/>
              <a:gd name="connsiteX2046" fmla="*/ 2282171 w 3044273"/>
              <a:gd name="connsiteY2046" fmla="*/ 1605862 h 3047670"/>
              <a:gd name="connsiteX2047" fmla="*/ 2261319 w 3044273"/>
              <a:gd name="connsiteY2047" fmla="*/ 1585136 h 3047670"/>
              <a:gd name="connsiteX2048" fmla="*/ 2282046 w 3044273"/>
              <a:gd name="connsiteY2048" fmla="*/ 1564283 h 3047670"/>
              <a:gd name="connsiteX2049" fmla="*/ 286904 w 3044273"/>
              <a:gd name="connsiteY2049" fmla="*/ 1559007 h 3047670"/>
              <a:gd name="connsiteX2050" fmla="*/ 298838 w 3044273"/>
              <a:gd name="connsiteY2050" fmla="*/ 1570941 h 3047670"/>
              <a:gd name="connsiteX2051" fmla="*/ 286904 w 3044273"/>
              <a:gd name="connsiteY2051" fmla="*/ 1582874 h 3047670"/>
              <a:gd name="connsiteX2052" fmla="*/ 274971 w 3044273"/>
              <a:gd name="connsiteY2052" fmla="*/ 1570941 h 3047670"/>
              <a:gd name="connsiteX2053" fmla="*/ 286904 w 3044273"/>
              <a:gd name="connsiteY2053" fmla="*/ 1559007 h 3047670"/>
              <a:gd name="connsiteX2054" fmla="*/ 2662031 w 3044273"/>
              <a:gd name="connsiteY2054" fmla="*/ 1558881 h 3047670"/>
              <a:gd name="connsiteX2055" fmla="*/ 2686903 w 3044273"/>
              <a:gd name="connsiteY2055" fmla="*/ 1583626 h 3047670"/>
              <a:gd name="connsiteX2056" fmla="*/ 2662282 w 3044273"/>
              <a:gd name="connsiteY2056" fmla="*/ 1608498 h 3047670"/>
              <a:gd name="connsiteX2057" fmla="*/ 2637410 w 3044273"/>
              <a:gd name="connsiteY2057" fmla="*/ 1583753 h 3047670"/>
              <a:gd name="connsiteX2058" fmla="*/ 2662031 w 3044273"/>
              <a:gd name="connsiteY2058" fmla="*/ 1558881 h 3047670"/>
              <a:gd name="connsiteX2059" fmla="*/ 667014 w 3044273"/>
              <a:gd name="connsiteY2059" fmla="*/ 1542426 h 3047670"/>
              <a:gd name="connsiteX2060" fmla="*/ 694272 w 3044273"/>
              <a:gd name="connsiteY2060" fmla="*/ 1569559 h 3047670"/>
              <a:gd name="connsiteX2061" fmla="*/ 667139 w 3044273"/>
              <a:gd name="connsiteY2061" fmla="*/ 1596817 h 3047670"/>
              <a:gd name="connsiteX2062" fmla="*/ 639881 w 3044273"/>
              <a:gd name="connsiteY2062" fmla="*/ 1569684 h 3047670"/>
              <a:gd name="connsiteX2063" fmla="*/ 667014 w 3044273"/>
              <a:gd name="connsiteY2063" fmla="*/ 1542426 h 3047670"/>
              <a:gd name="connsiteX2064" fmla="*/ 192316 w 3044273"/>
              <a:gd name="connsiteY2064" fmla="*/ 1541672 h 3047670"/>
              <a:gd name="connsiteX2065" fmla="*/ 200482 w 3044273"/>
              <a:gd name="connsiteY2065" fmla="*/ 1549837 h 3047670"/>
              <a:gd name="connsiteX2066" fmla="*/ 192316 w 3044273"/>
              <a:gd name="connsiteY2066" fmla="*/ 1558128 h 3047670"/>
              <a:gd name="connsiteX2067" fmla="*/ 184151 w 3044273"/>
              <a:gd name="connsiteY2067" fmla="*/ 1549962 h 3047670"/>
              <a:gd name="connsiteX2068" fmla="*/ 192316 w 3044273"/>
              <a:gd name="connsiteY2068" fmla="*/ 1541672 h 3047670"/>
              <a:gd name="connsiteX2069" fmla="*/ 2090357 w 3044273"/>
              <a:gd name="connsiteY2069" fmla="*/ 1540918 h 3047670"/>
              <a:gd name="connsiteX2070" fmla="*/ 2092617 w 3044273"/>
              <a:gd name="connsiteY2070" fmla="*/ 1543180 h 3047670"/>
              <a:gd name="connsiteX2071" fmla="*/ 2090357 w 3044273"/>
              <a:gd name="connsiteY2071" fmla="*/ 1545440 h 3047670"/>
              <a:gd name="connsiteX2072" fmla="*/ 2088095 w 3044273"/>
              <a:gd name="connsiteY2072" fmla="*/ 1543180 h 3047670"/>
              <a:gd name="connsiteX2073" fmla="*/ 2090357 w 3044273"/>
              <a:gd name="connsiteY2073" fmla="*/ 1540918 h 3047670"/>
              <a:gd name="connsiteX2074" fmla="*/ 953292 w 3044273"/>
              <a:gd name="connsiteY2074" fmla="*/ 1540290 h 3047670"/>
              <a:gd name="connsiteX2075" fmla="*/ 960452 w 3044273"/>
              <a:gd name="connsiteY2075" fmla="*/ 1547324 h 3047670"/>
              <a:gd name="connsiteX2076" fmla="*/ 953417 w 3044273"/>
              <a:gd name="connsiteY2076" fmla="*/ 1554358 h 3047670"/>
              <a:gd name="connsiteX2077" fmla="*/ 946258 w 3044273"/>
              <a:gd name="connsiteY2077" fmla="*/ 1547324 h 3047670"/>
              <a:gd name="connsiteX2078" fmla="*/ 953292 w 3044273"/>
              <a:gd name="connsiteY2078" fmla="*/ 1540290 h 3047670"/>
              <a:gd name="connsiteX2079" fmla="*/ 2756996 w 3044273"/>
              <a:gd name="connsiteY2079" fmla="*/ 1538657 h 3047670"/>
              <a:gd name="connsiteX2080" fmla="*/ 2780485 w 3044273"/>
              <a:gd name="connsiteY2080" fmla="*/ 1562021 h 3047670"/>
              <a:gd name="connsiteX2081" fmla="*/ 2757121 w 3044273"/>
              <a:gd name="connsiteY2081" fmla="*/ 1585511 h 3047670"/>
              <a:gd name="connsiteX2082" fmla="*/ 2733506 w 3044273"/>
              <a:gd name="connsiteY2082" fmla="*/ 1562147 h 3047670"/>
              <a:gd name="connsiteX2083" fmla="*/ 2756996 w 3044273"/>
              <a:gd name="connsiteY2083" fmla="*/ 1538657 h 3047670"/>
              <a:gd name="connsiteX2084" fmla="*/ 2376632 w 3044273"/>
              <a:gd name="connsiteY2084" fmla="*/ 1534261 h 3047670"/>
              <a:gd name="connsiteX2085" fmla="*/ 2406027 w 3044273"/>
              <a:gd name="connsiteY2085" fmla="*/ 1563404 h 3047670"/>
              <a:gd name="connsiteX2086" fmla="*/ 2376884 w 3044273"/>
              <a:gd name="connsiteY2086" fmla="*/ 1592672 h 3047670"/>
              <a:gd name="connsiteX2087" fmla="*/ 2347617 w 3044273"/>
              <a:gd name="connsiteY2087" fmla="*/ 1563529 h 3047670"/>
              <a:gd name="connsiteX2088" fmla="*/ 2376632 w 3044273"/>
              <a:gd name="connsiteY2088" fmla="*/ 1534261 h 3047670"/>
              <a:gd name="connsiteX2089" fmla="*/ 97979 w 3044273"/>
              <a:gd name="connsiteY2089" fmla="*/ 1524338 h 3047670"/>
              <a:gd name="connsiteX2090" fmla="*/ 102628 w 3044273"/>
              <a:gd name="connsiteY2090" fmla="*/ 1528986 h 3047670"/>
              <a:gd name="connsiteX2091" fmla="*/ 97979 w 3044273"/>
              <a:gd name="connsiteY2091" fmla="*/ 1533634 h 3047670"/>
              <a:gd name="connsiteX2092" fmla="*/ 93332 w 3044273"/>
              <a:gd name="connsiteY2092" fmla="*/ 1528986 h 3047670"/>
              <a:gd name="connsiteX2093" fmla="*/ 97979 w 3044273"/>
              <a:gd name="connsiteY2093" fmla="*/ 1524338 h 3047670"/>
              <a:gd name="connsiteX2094" fmla="*/ 572677 w 3044273"/>
              <a:gd name="connsiteY2094" fmla="*/ 1522955 h 3047670"/>
              <a:gd name="connsiteX2095" fmla="*/ 598428 w 3044273"/>
              <a:gd name="connsiteY2095" fmla="*/ 1548580 h 3047670"/>
              <a:gd name="connsiteX2096" fmla="*/ 572803 w 3044273"/>
              <a:gd name="connsiteY2096" fmla="*/ 1574331 h 3047670"/>
              <a:gd name="connsiteX2097" fmla="*/ 547052 w 3044273"/>
              <a:gd name="connsiteY2097" fmla="*/ 1548706 h 3047670"/>
              <a:gd name="connsiteX2098" fmla="*/ 572677 w 3044273"/>
              <a:gd name="connsiteY2098" fmla="*/ 1522955 h 3047670"/>
              <a:gd name="connsiteX2099" fmla="*/ 2851331 w 3044273"/>
              <a:gd name="connsiteY2099" fmla="*/ 1522202 h 3047670"/>
              <a:gd name="connsiteX2100" fmla="*/ 2869544 w 3044273"/>
              <a:gd name="connsiteY2100" fmla="*/ 1540290 h 3047670"/>
              <a:gd name="connsiteX2101" fmla="*/ 2851456 w 3044273"/>
              <a:gd name="connsiteY2101" fmla="*/ 1558504 h 3047670"/>
              <a:gd name="connsiteX2102" fmla="*/ 2833243 w 3044273"/>
              <a:gd name="connsiteY2102" fmla="*/ 1540416 h 3047670"/>
              <a:gd name="connsiteX2103" fmla="*/ 2851331 w 3044273"/>
              <a:gd name="connsiteY2103" fmla="*/ 1522202 h 3047670"/>
              <a:gd name="connsiteX2104" fmla="*/ 2183939 w 3044273"/>
              <a:gd name="connsiteY2104" fmla="*/ 1512530 h 3047670"/>
              <a:gd name="connsiteX2105" fmla="*/ 2192983 w 3044273"/>
              <a:gd name="connsiteY2105" fmla="*/ 1521574 h 3047670"/>
              <a:gd name="connsiteX2106" fmla="*/ 2183939 w 3044273"/>
              <a:gd name="connsiteY2106" fmla="*/ 1530618 h 3047670"/>
              <a:gd name="connsiteX2107" fmla="*/ 2174770 w 3044273"/>
              <a:gd name="connsiteY2107" fmla="*/ 1521574 h 3047670"/>
              <a:gd name="connsiteX2108" fmla="*/ 2183939 w 3044273"/>
              <a:gd name="connsiteY2108" fmla="*/ 1512530 h 3047670"/>
              <a:gd name="connsiteX2109" fmla="*/ 2470970 w 3044273"/>
              <a:gd name="connsiteY2109" fmla="*/ 1511398 h 3047670"/>
              <a:gd name="connsiteX2110" fmla="*/ 2501370 w 3044273"/>
              <a:gd name="connsiteY2110" fmla="*/ 1541671 h 3047670"/>
              <a:gd name="connsiteX2111" fmla="*/ 2471095 w 3044273"/>
              <a:gd name="connsiteY2111" fmla="*/ 1572070 h 3047670"/>
              <a:gd name="connsiteX2112" fmla="*/ 2440697 w 3044273"/>
              <a:gd name="connsiteY2112" fmla="*/ 1541796 h 3047670"/>
              <a:gd name="connsiteX2113" fmla="*/ 2470970 w 3044273"/>
              <a:gd name="connsiteY2113" fmla="*/ 1511398 h 3047670"/>
              <a:gd name="connsiteX2114" fmla="*/ 2945543 w 3044273"/>
              <a:gd name="connsiteY2114" fmla="*/ 1511148 h 3047670"/>
              <a:gd name="connsiteX2115" fmla="*/ 2953080 w 3044273"/>
              <a:gd name="connsiteY2115" fmla="*/ 1518684 h 3047670"/>
              <a:gd name="connsiteX2116" fmla="*/ 2945543 w 3044273"/>
              <a:gd name="connsiteY2116" fmla="*/ 1526220 h 3047670"/>
              <a:gd name="connsiteX2117" fmla="*/ 2938006 w 3044273"/>
              <a:gd name="connsiteY2117" fmla="*/ 1518684 h 3047670"/>
              <a:gd name="connsiteX2118" fmla="*/ 2945543 w 3044273"/>
              <a:gd name="connsiteY2118" fmla="*/ 1511148 h 3047670"/>
              <a:gd name="connsiteX2119" fmla="*/ 859709 w 3044273"/>
              <a:gd name="connsiteY2119" fmla="*/ 1509263 h 3047670"/>
              <a:gd name="connsiteX2120" fmla="*/ 876792 w 3044273"/>
              <a:gd name="connsiteY2120" fmla="*/ 1526222 h 3047670"/>
              <a:gd name="connsiteX2121" fmla="*/ 859834 w 3044273"/>
              <a:gd name="connsiteY2121" fmla="*/ 1543305 h 3047670"/>
              <a:gd name="connsiteX2122" fmla="*/ 842750 w 3044273"/>
              <a:gd name="connsiteY2122" fmla="*/ 1526347 h 3047670"/>
              <a:gd name="connsiteX2123" fmla="*/ 859709 w 3044273"/>
              <a:gd name="connsiteY2123" fmla="*/ 1509263 h 3047670"/>
              <a:gd name="connsiteX2124" fmla="*/ 3895 w 3044273"/>
              <a:gd name="connsiteY2124" fmla="*/ 1506248 h 3047670"/>
              <a:gd name="connsiteX2125" fmla="*/ 5653 w 3044273"/>
              <a:gd name="connsiteY2125" fmla="*/ 1508006 h 3047670"/>
              <a:gd name="connsiteX2126" fmla="*/ 3895 w 3044273"/>
              <a:gd name="connsiteY2126" fmla="*/ 1509765 h 3047670"/>
              <a:gd name="connsiteX2127" fmla="*/ 2136 w 3044273"/>
              <a:gd name="connsiteY2127" fmla="*/ 1508006 h 3047670"/>
              <a:gd name="connsiteX2128" fmla="*/ 3895 w 3044273"/>
              <a:gd name="connsiteY2128" fmla="*/ 1506248 h 3047670"/>
              <a:gd name="connsiteX2129" fmla="*/ 478467 w 3044273"/>
              <a:gd name="connsiteY2129" fmla="*/ 1506247 h 3047670"/>
              <a:gd name="connsiteX2130" fmla="*/ 500073 w 3044273"/>
              <a:gd name="connsiteY2130" fmla="*/ 1527601 h 3047670"/>
              <a:gd name="connsiteX2131" fmla="*/ 478718 w 3044273"/>
              <a:gd name="connsiteY2131" fmla="*/ 1549082 h 3047670"/>
              <a:gd name="connsiteX2132" fmla="*/ 457112 w 3044273"/>
              <a:gd name="connsiteY2132" fmla="*/ 1527728 h 3047670"/>
              <a:gd name="connsiteX2133" fmla="*/ 478467 w 3044273"/>
              <a:gd name="connsiteY2133" fmla="*/ 1506247 h 3047670"/>
              <a:gd name="connsiteX2134" fmla="*/ 3039502 w 3044273"/>
              <a:gd name="connsiteY2134" fmla="*/ 1495322 h 3047670"/>
              <a:gd name="connsiteX2135" fmla="*/ 3041262 w 3044273"/>
              <a:gd name="connsiteY2135" fmla="*/ 1497080 h 3047670"/>
              <a:gd name="connsiteX2136" fmla="*/ 3039502 w 3044273"/>
              <a:gd name="connsiteY2136" fmla="*/ 1498839 h 3047670"/>
              <a:gd name="connsiteX2137" fmla="*/ 3037744 w 3044273"/>
              <a:gd name="connsiteY2137" fmla="*/ 1497080 h 3047670"/>
              <a:gd name="connsiteX2138" fmla="*/ 3039502 w 3044273"/>
              <a:gd name="connsiteY2138" fmla="*/ 1495322 h 3047670"/>
              <a:gd name="connsiteX2139" fmla="*/ 2564930 w 3044273"/>
              <a:gd name="connsiteY2139" fmla="*/ 1493560 h 3047670"/>
              <a:gd name="connsiteX2140" fmla="*/ 2591559 w 3044273"/>
              <a:gd name="connsiteY2140" fmla="*/ 1520065 h 3047670"/>
              <a:gd name="connsiteX2141" fmla="*/ 2565056 w 3044273"/>
              <a:gd name="connsiteY2141" fmla="*/ 1546695 h 3047670"/>
              <a:gd name="connsiteX2142" fmla="*/ 2538426 w 3044273"/>
              <a:gd name="connsiteY2142" fmla="*/ 1520190 h 3047670"/>
              <a:gd name="connsiteX2143" fmla="*/ 2564930 w 3044273"/>
              <a:gd name="connsiteY2143" fmla="*/ 1493560 h 3047670"/>
              <a:gd name="connsiteX2144" fmla="*/ 384632 w 3044273"/>
              <a:gd name="connsiteY2144" fmla="*/ 1490547 h 3047670"/>
              <a:gd name="connsiteX2145" fmla="*/ 400836 w 3044273"/>
              <a:gd name="connsiteY2145" fmla="*/ 1506626 h 3047670"/>
              <a:gd name="connsiteX2146" fmla="*/ 384757 w 3044273"/>
              <a:gd name="connsiteY2146" fmla="*/ 1522830 h 3047670"/>
              <a:gd name="connsiteX2147" fmla="*/ 368553 w 3044273"/>
              <a:gd name="connsiteY2147" fmla="*/ 1506751 h 3047670"/>
              <a:gd name="connsiteX2148" fmla="*/ 384632 w 3044273"/>
              <a:gd name="connsiteY2148" fmla="*/ 1490547 h 3047670"/>
              <a:gd name="connsiteX2149" fmla="*/ 1058430 w 3044273"/>
              <a:gd name="connsiteY2149" fmla="*/ 1482633 h 3047670"/>
              <a:gd name="connsiteX2150" fmla="*/ 1059561 w 3044273"/>
              <a:gd name="connsiteY2150" fmla="*/ 1483763 h 3047670"/>
              <a:gd name="connsiteX2151" fmla="*/ 1058430 w 3044273"/>
              <a:gd name="connsiteY2151" fmla="*/ 1484894 h 3047670"/>
              <a:gd name="connsiteX2152" fmla="*/ 1057300 w 3044273"/>
              <a:gd name="connsiteY2152" fmla="*/ 1483763 h 3047670"/>
              <a:gd name="connsiteX2153" fmla="*/ 1058430 w 3044273"/>
              <a:gd name="connsiteY2153" fmla="*/ 1482633 h 3047670"/>
              <a:gd name="connsiteX2154" fmla="*/ 766249 w 3044273"/>
              <a:gd name="connsiteY2154" fmla="*/ 1481001 h 3047670"/>
              <a:gd name="connsiteX2155" fmla="*/ 790745 w 3044273"/>
              <a:gd name="connsiteY2155" fmla="*/ 1505245 h 3047670"/>
              <a:gd name="connsiteX2156" fmla="*/ 766501 w 3044273"/>
              <a:gd name="connsiteY2156" fmla="*/ 1529740 h 3047670"/>
              <a:gd name="connsiteX2157" fmla="*/ 742006 w 3044273"/>
              <a:gd name="connsiteY2157" fmla="*/ 1505496 h 3047670"/>
              <a:gd name="connsiteX2158" fmla="*/ 766249 w 3044273"/>
              <a:gd name="connsiteY2158" fmla="*/ 1481001 h 3047670"/>
              <a:gd name="connsiteX2159" fmla="*/ 1984840 w 3044273"/>
              <a:gd name="connsiteY2159" fmla="*/ 1480120 h 3047670"/>
              <a:gd name="connsiteX2160" fmla="*/ 1985092 w 3044273"/>
              <a:gd name="connsiteY2160" fmla="*/ 1480371 h 3047670"/>
              <a:gd name="connsiteX2161" fmla="*/ 1984840 w 3044273"/>
              <a:gd name="connsiteY2161" fmla="*/ 1480623 h 3047670"/>
              <a:gd name="connsiteX2162" fmla="*/ 1984589 w 3044273"/>
              <a:gd name="connsiteY2162" fmla="*/ 1480371 h 3047670"/>
              <a:gd name="connsiteX2163" fmla="*/ 1984840 w 3044273"/>
              <a:gd name="connsiteY2163" fmla="*/ 1480120 h 3047670"/>
              <a:gd name="connsiteX2164" fmla="*/ 2277022 w 3044273"/>
              <a:gd name="connsiteY2164" fmla="*/ 1478487 h 3047670"/>
              <a:gd name="connsiteX2165" fmla="*/ 2298501 w 3044273"/>
              <a:gd name="connsiteY2165" fmla="*/ 1499841 h 3047670"/>
              <a:gd name="connsiteX2166" fmla="*/ 2277147 w 3044273"/>
              <a:gd name="connsiteY2166" fmla="*/ 1521322 h 3047670"/>
              <a:gd name="connsiteX2167" fmla="*/ 2255541 w 3044273"/>
              <a:gd name="connsiteY2167" fmla="*/ 1499968 h 3047670"/>
              <a:gd name="connsiteX2168" fmla="*/ 2277022 w 3044273"/>
              <a:gd name="connsiteY2168" fmla="*/ 1478487 h 3047670"/>
              <a:gd name="connsiteX2169" fmla="*/ 291049 w 3044273"/>
              <a:gd name="connsiteY2169" fmla="*/ 1473087 h 3047670"/>
              <a:gd name="connsiteX2170" fmla="*/ 303736 w 3044273"/>
              <a:gd name="connsiteY2170" fmla="*/ 1485648 h 3047670"/>
              <a:gd name="connsiteX2171" fmla="*/ 291174 w 3044273"/>
              <a:gd name="connsiteY2171" fmla="*/ 1498335 h 3047670"/>
              <a:gd name="connsiteX2172" fmla="*/ 278487 w 3044273"/>
              <a:gd name="connsiteY2172" fmla="*/ 1485774 h 3047670"/>
              <a:gd name="connsiteX2173" fmla="*/ 291049 w 3044273"/>
              <a:gd name="connsiteY2173" fmla="*/ 1473087 h 3047670"/>
              <a:gd name="connsiteX2174" fmla="*/ 2658514 w 3044273"/>
              <a:gd name="connsiteY2174" fmla="*/ 1472584 h 3047670"/>
              <a:gd name="connsiteX2175" fmla="*/ 2684516 w 3044273"/>
              <a:gd name="connsiteY2175" fmla="*/ 1498335 h 3047670"/>
              <a:gd name="connsiteX2176" fmla="*/ 2658766 w 3044273"/>
              <a:gd name="connsiteY2176" fmla="*/ 1524338 h 3047670"/>
              <a:gd name="connsiteX2177" fmla="*/ 2632763 w 3044273"/>
              <a:gd name="connsiteY2177" fmla="*/ 1498587 h 3047670"/>
              <a:gd name="connsiteX2178" fmla="*/ 2658514 w 3044273"/>
              <a:gd name="connsiteY2178" fmla="*/ 1472584 h 3047670"/>
              <a:gd name="connsiteX2179" fmla="*/ 673169 w 3044273"/>
              <a:gd name="connsiteY2179" fmla="*/ 1457259 h 3047670"/>
              <a:gd name="connsiteX2180" fmla="*/ 700427 w 3044273"/>
              <a:gd name="connsiteY2180" fmla="*/ 1484392 h 3047670"/>
              <a:gd name="connsiteX2181" fmla="*/ 673294 w 3044273"/>
              <a:gd name="connsiteY2181" fmla="*/ 1511775 h 3047670"/>
              <a:gd name="connsiteX2182" fmla="*/ 645911 w 3044273"/>
              <a:gd name="connsiteY2182" fmla="*/ 1484643 h 3047670"/>
              <a:gd name="connsiteX2183" fmla="*/ 673169 w 3044273"/>
              <a:gd name="connsiteY2183" fmla="*/ 1457259 h 3047670"/>
              <a:gd name="connsiteX2184" fmla="*/ 965600 w 3044273"/>
              <a:gd name="connsiteY2184" fmla="*/ 1456630 h 3047670"/>
              <a:gd name="connsiteX2185" fmla="*/ 971882 w 3044273"/>
              <a:gd name="connsiteY2185" fmla="*/ 1462785 h 3047670"/>
              <a:gd name="connsiteX2186" fmla="*/ 965726 w 3044273"/>
              <a:gd name="connsiteY2186" fmla="*/ 1469066 h 3047670"/>
              <a:gd name="connsiteX2187" fmla="*/ 959571 w 3044273"/>
              <a:gd name="connsiteY2187" fmla="*/ 1462911 h 3047670"/>
              <a:gd name="connsiteX2188" fmla="*/ 965600 w 3044273"/>
              <a:gd name="connsiteY2188" fmla="*/ 1456630 h 3047670"/>
              <a:gd name="connsiteX2189" fmla="*/ 2077293 w 3044273"/>
              <a:gd name="connsiteY2189" fmla="*/ 1456379 h 3047670"/>
              <a:gd name="connsiteX2190" fmla="*/ 2079805 w 3044273"/>
              <a:gd name="connsiteY2190" fmla="*/ 1458766 h 3047670"/>
              <a:gd name="connsiteX2191" fmla="*/ 2077418 w 3044273"/>
              <a:gd name="connsiteY2191" fmla="*/ 1461278 h 3047670"/>
              <a:gd name="connsiteX2192" fmla="*/ 2074906 w 3044273"/>
              <a:gd name="connsiteY2192" fmla="*/ 1458891 h 3047670"/>
              <a:gd name="connsiteX2193" fmla="*/ 2077293 w 3044273"/>
              <a:gd name="connsiteY2193" fmla="*/ 1456379 h 3047670"/>
              <a:gd name="connsiteX2194" fmla="*/ 197465 w 3044273"/>
              <a:gd name="connsiteY2194" fmla="*/ 1456254 h 3047670"/>
              <a:gd name="connsiteX2195" fmla="*/ 206132 w 3044273"/>
              <a:gd name="connsiteY2195" fmla="*/ 1464795 h 3047670"/>
              <a:gd name="connsiteX2196" fmla="*/ 197590 w 3044273"/>
              <a:gd name="connsiteY2196" fmla="*/ 1473464 h 3047670"/>
              <a:gd name="connsiteX2197" fmla="*/ 188923 w 3044273"/>
              <a:gd name="connsiteY2197" fmla="*/ 1464922 h 3047670"/>
              <a:gd name="connsiteX2198" fmla="*/ 197465 w 3044273"/>
              <a:gd name="connsiteY2198" fmla="*/ 1456254 h 3047670"/>
              <a:gd name="connsiteX2199" fmla="*/ 2752222 w 3044273"/>
              <a:gd name="connsiteY2199" fmla="*/ 1452987 h 3047670"/>
              <a:gd name="connsiteX2200" fmla="*/ 2776214 w 3044273"/>
              <a:gd name="connsiteY2200" fmla="*/ 1476854 h 3047670"/>
              <a:gd name="connsiteX2201" fmla="*/ 2752348 w 3044273"/>
              <a:gd name="connsiteY2201" fmla="*/ 1500846 h 3047670"/>
              <a:gd name="connsiteX2202" fmla="*/ 2728356 w 3044273"/>
              <a:gd name="connsiteY2202" fmla="*/ 1476980 h 3047670"/>
              <a:gd name="connsiteX2203" fmla="*/ 2752222 w 3044273"/>
              <a:gd name="connsiteY2203" fmla="*/ 1452987 h 3047670"/>
              <a:gd name="connsiteX2204" fmla="*/ 2369976 w 3044273"/>
              <a:gd name="connsiteY2204" fmla="*/ 1448717 h 3047670"/>
              <a:gd name="connsiteX2205" fmla="*/ 2399746 w 3044273"/>
              <a:gd name="connsiteY2205" fmla="*/ 1478236 h 3047670"/>
              <a:gd name="connsiteX2206" fmla="*/ 2370227 w 3044273"/>
              <a:gd name="connsiteY2206" fmla="*/ 1508008 h 3047670"/>
              <a:gd name="connsiteX2207" fmla="*/ 2340456 w 3044273"/>
              <a:gd name="connsiteY2207" fmla="*/ 1478488 h 3047670"/>
              <a:gd name="connsiteX2208" fmla="*/ 2369976 w 3044273"/>
              <a:gd name="connsiteY2208" fmla="*/ 1448717 h 3047670"/>
              <a:gd name="connsiteX2209" fmla="*/ 104134 w 3044273"/>
              <a:gd name="connsiteY2209" fmla="*/ 1439044 h 3047670"/>
              <a:gd name="connsiteX2210" fmla="*/ 109033 w 3044273"/>
              <a:gd name="connsiteY2210" fmla="*/ 1443943 h 3047670"/>
              <a:gd name="connsiteX2211" fmla="*/ 104134 w 3044273"/>
              <a:gd name="connsiteY2211" fmla="*/ 1448841 h 3047670"/>
              <a:gd name="connsiteX2212" fmla="*/ 99235 w 3044273"/>
              <a:gd name="connsiteY2212" fmla="*/ 1443943 h 3047670"/>
              <a:gd name="connsiteX2213" fmla="*/ 104134 w 3044273"/>
              <a:gd name="connsiteY2213" fmla="*/ 1439044 h 3047670"/>
              <a:gd name="connsiteX2214" fmla="*/ 579963 w 3044273"/>
              <a:gd name="connsiteY2214" fmla="*/ 1438040 h 3047670"/>
              <a:gd name="connsiteX2215" fmla="*/ 605714 w 3044273"/>
              <a:gd name="connsiteY2215" fmla="*/ 1463665 h 3047670"/>
              <a:gd name="connsiteX2216" fmla="*/ 580088 w 3044273"/>
              <a:gd name="connsiteY2216" fmla="*/ 1489416 h 3047670"/>
              <a:gd name="connsiteX2217" fmla="*/ 554338 w 3044273"/>
              <a:gd name="connsiteY2217" fmla="*/ 1463791 h 3047670"/>
              <a:gd name="connsiteX2218" fmla="*/ 579963 w 3044273"/>
              <a:gd name="connsiteY2218" fmla="*/ 1438040 h 3047670"/>
              <a:gd name="connsiteX2219" fmla="*/ 2845551 w 3044273"/>
              <a:gd name="connsiteY2219" fmla="*/ 1437663 h 3047670"/>
              <a:gd name="connsiteX2220" fmla="*/ 2863389 w 3044273"/>
              <a:gd name="connsiteY2220" fmla="*/ 1455249 h 3047670"/>
              <a:gd name="connsiteX2221" fmla="*/ 2845676 w 3044273"/>
              <a:gd name="connsiteY2221" fmla="*/ 1473087 h 3047670"/>
              <a:gd name="connsiteX2222" fmla="*/ 2827840 w 3044273"/>
              <a:gd name="connsiteY2222" fmla="*/ 1455375 h 3047670"/>
              <a:gd name="connsiteX2223" fmla="*/ 2845551 w 3044273"/>
              <a:gd name="connsiteY2223" fmla="*/ 1437663 h 3047670"/>
              <a:gd name="connsiteX2224" fmla="*/ 2169871 w 3044273"/>
              <a:gd name="connsiteY2224" fmla="*/ 1427614 h 3047670"/>
              <a:gd name="connsiteX2225" fmla="*/ 2179670 w 3044273"/>
              <a:gd name="connsiteY2225" fmla="*/ 1437285 h 3047670"/>
              <a:gd name="connsiteX2226" fmla="*/ 2169996 w 3044273"/>
              <a:gd name="connsiteY2226" fmla="*/ 1447083 h 3047670"/>
              <a:gd name="connsiteX2227" fmla="*/ 2160199 w 3044273"/>
              <a:gd name="connsiteY2227" fmla="*/ 1437411 h 3047670"/>
              <a:gd name="connsiteX2228" fmla="*/ 2169871 w 3044273"/>
              <a:gd name="connsiteY2228" fmla="*/ 1427614 h 3047670"/>
              <a:gd name="connsiteX2229" fmla="*/ 2938760 w 3044273"/>
              <a:gd name="connsiteY2229" fmla="*/ 1426861 h 3047670"/>
              <a:gd name="connsiteX2230" fmla="*/ 2945669 w 3044273"/>
              <a:gd name="connsiteY2230" fmla="*/ 1433644 h 3047670"/>
              <a:gd name="connsiteX2231" fmla="*/ 2938886 w 3044273"/>
              <a:gd name="connsiteY2231" fmla="*/ 1440552 h 3047670"/>
              <a:gd name="connsiteX2232" fmla="*/ 2931977 w 3044273"/>
              <a:gd name="connsiteY2232" fmla="*/ 1433770 h 3047670"/>
              <a:gd name="connsiteX2233" fmla="*/ 2938760 w 3044273"/>
              <a:gd name="connsiteY2233" fmla="*/ 1426861 h 3047670"/>
              <a:gd name="connsiteX2234" fmla="*/ 2462930 w 3044273"/>
              <a:gd name="connsiteY2234" fmla="*/ 1426106 h 3047670"/>
              <a:gd name="connsiteX2235" fmla="*/ 2493831 w 3044273"/>
              <a:gd name="connsiteY2235" fmla="*/ 1456756 h 3047670"/>
              <a:gd name="connsiteX2236" fmla="*/ 2463181 w 3044273"/>
              <a:gd name="connsiteY2236" fmla="*/ 1487657 h 3047670"/>
              <a:gd name="connsiteX2237" fmla="*/ 2432280 w 3044273"/>
              <a:gd name="connsiteY2237" fmla="*/ 1457007 h 3047670"/>
              <a:gd name="connsiteX2238" fmla="*/ 2462930 w 3044273"/>
              <a:gd name="connsiteY2238" fmla="*/ 1426106 h 3047670"/>
              <a:gd name="connsiteX2239" fmla="*/ 872898 w 3044273"/>
              <a:gd name="connsiteY2239" fmla="*/ 1425479 h 3047670"/>
              <a:gd name="connsiteX2240" fmla="*/ 889604 w 3044273"/>
              <a:gd name="connsiteY2240" fmla="*/ 1442060 h 3047670"/>
              <a:gd name="connsiteX2241" fmla="*/ 873023 w 3044273"/>
              <a:gd name="connsiteY2241" fmla="*/ 1458767 h 3047670"/>
              <a:gd name="connsiteX2242" fmla="*/ 856442 w 3044273"/>
              <a:gd name="connsiteY2242" fmla="*/ 1442186 h 3047670"/>
              <a:gd name="connsiteX2243" fmla="*/ 872898 w 3044273"/>
              <a:gd name="connsiteY2243" fmla="*/ 1425479 h 3047670"/>
              <a:gd name="connsiteX2244" fmla="*/ 486882 w 3044273"/>
              <a:gd name="connsiteY2244" fmla="*/ 1421333 h 3047670"/>
              <a:gd name="connsiteX2245" fmla="*/ 508363 w 3044273"/>
              <a:gd name="connsiteY2245" fmla="*/ 1442687 h 3047670"/>
              <a:gd name="connsiteX2246" fmla="*/ 487009 w 3044273"/>
              <a:gd name="connsiteY2246" fmla="*/ 1464168 h 3047670"/>
              <a:gd name="connsiteX2247" fmla="*/ 465528 w 3044273"/>
              <a:gd name="connsiteY2247" fmla="*/ 1442814 h 3047670"/>
              <a:gd name="connsiteX2248" fmla="*/ 486882 w 3044273"/>
              <a:gd name="connsiteY2248" fmla="*/ 1421333 h 3047670"/>
              <a:gd name="connsiteX2249" fmla="*/ 10677 w 3044273"/>
              <a:gd name="connsiteY2249" fmla="*/ 1421333 h 3047670"/>
              <a:gd name="connsiteX2250" fmla="*/ 12435 w 3044273"/>
              <a:gd name="connsiteY2250" fmla="*/ 1423092 h 3047670"/>
              <a:gd name="connsiteX2251" fmla="*/ 10677 w 3044273"/>
              <a:gd name="connsiteY2251" fmla="*/ 1424850 h 3047670"/>
              <a:gd name="connsiteX2252" fmla="*/ 8918 w 3044273"/>
              <a:gd name="connsiteY2252" fmla="*/ 1423092 h 3047670"/>
              <a:gd name="connsiteX2253" fmla="*/ 10677 w 3044273"/>
              <a:gd name="connsiteY2253" fmla="*/ 1421333 h 3047670"/>
              <a:gd name="connsiteX2254" fmla="*/ 3032090 w 3044273"/>
              <a:gd name="connsiteY2254" fmla="*/ 1410153 h 3047670"/>
              <a:gd name="connsiteX2255" fmla="*/ 3034100 w 3044273"/>
              <a:gd name="connsiteY2255" fmla="*/ 1412163 h 3047670"/>
              <a:gd name="connsiteX2256" fmla="*/ 3032090 w 3044273"/>
              <a:gd name="connsiteY2256" fmla="*/ 1414173 h 3047670"/>
              <a:gd name="connsiteX2257" fmla="*/ 3030080 w 3044273"/>
              <a:gd name="connsiteY2257" fmla="*/ 1412163 h 3047670"/>
              <a:gd name="connsiteX2258" fmla="*/ 3032090 w 3044273"/>
              <a:gd name="connsiteY2258" fmla="*/ 1410153 h 3047670"/>
              <a:gd name="connsiteX2259" fmla="*/ 2555760 w 3044273"/>
              <a:gd name="connsiteY2259" fmla="*/ 1408017 h 3047670"/>
              <a:gd name="connsiteX2260" fmla="*/ 2583143 w 3044273"/>
              <a:gd name="connsiteY2260" fmla="*/ 1435150 h 3047670"/>
              <a:gd name="connsiteX2261" fmla="*/ 2556010 w 3044273"/>
              <a:gd name="connsiteY2261" fmla="*/ 1462534 h 3047670"/>
              <a:gd name="connsiteX2262" fmla="*/ 2528752 w 3044273"/>
              <a:gd name="connsiteY2262" fmla="*/ 1435401 h 3047670"/>
              <a:gd name="connsiteX2263" fmla="*/ 2555760 w 3044273"/>
              <a:gd name="connsiteY2263" fmla="*/ 1408017 h 3047670"/>
              <a:gd name="connsiteX2264" fmla="*/ 393803 w 3044273"/>
              <a:gd name="connsiteY2264" fmla="*/ 1406008 h 3047670"/>
              <a:gd name="connsiteX2265" fmla="*/ 409755 w 3044273"/>
              <a:gd name="connsiteY2265" fmla="*/ 1421836 h 3047670"/>
              <a:gd name="connsiteX2266" fmla="*/ 393928 w 3044273"/>
              <a:gd name="connsiteY2266" fmla="*/ 1437789 h 3047670"/>
              <a:gd name="connsiteX2267" fmla="*/ 377975 w 3044273"/>
              <a:gd name="connsiteY2267" fmla="*/ 1421962 h 3047670"/>
              <a:gd name="connsiteX2268" fmla="*/ 393803 w 3044273"/>
              <a:gd name="connsiteY2268" fmla="*/ 1406008 h 3047670"/>
              <a:gd name="connsiteX2269" fmla="*/ 1084559 w 3044273"/>
              <a:gd name="connsiteY2269" fmla="*/ 1401486 h 3047670"/>
              <a:gd name="connsiteX2270" fmla="*/ 1085690 w 3044273"/>
              <a:gd name="connsiteY2270" fmla="*/ 1402616 h 3047670"/>
              <a:gd name="connsiteX2271" fmla="*/ 1084559 w 3044273"/>
              <a:gd name="connsiteY2271" fmla="*/ 1403747 h 3047670"/>
              <a:gd name="connsiteX2272" fmla="*/ 1083429 w 3044273"/>
              <a:gd name="connsiteY2272" fmla="*/ 1402616 h 3047670"/>
              <a:gd name="connsiteX2273" fmla="*/ 1084559 w 3044273"/>
              <a:gd name="connsiteY2273" fmla="*/ 1401486 h 3047670"/>
              <a:gd name="connsiteX2274" fmla="*/ 780192 w 3044273"/>
              <a:gd name="connsiteY2274" fmla="*/ 1396336 h 3047670"/>
              <a:gd name="connsiteX2275" fmla="*/ 805314 w 3044273"/>
              <a:gd name="connsiteY2275" fmla="*/ 1421207 h 3047670"/>
              <a:gd name="connsiteX2276" fmla="*/ 780444 w 3044273"/>
              <a:gd name="connsiteY2276" fmla="*/ 1446330 h 3047670"/>
              <a:gd name="connsiteX2277" fmla="*/ 755322 w 3044273"/>
              <a:gd name="connsiteY2277" fmla="*/ 1421459 h 3047670"/>
              <a:gd name="connsiteX2278" fmla="*/ 780192 w 3044273"/>
              <a:gd name="connsiteY2278" fmla="*/ 1396336 h 3047670"/>
              <a:gd name="connsiteX2279" fmla="*/ 2262323 w 3044273"/>
              <a:gd name="connsiteY2279" fmla="*/ 1392693 h 3047670"/>
              <a:gd name="connsiteX2280" fmla="*/ 2285689 w 3044273"/>
              <a:gd name="connsiteY2280" fmla="*/ 1415807 h 3047670"/>
              <a:gd name="connsiteX2281" fmla="*/ 2262449 w 3044273"/>
              <a:gd name="connsiteY2281" fmla="*/ 1439172 h 3047670"/>
              <a:gd name="connsiteX2282" fmla="*/ 2239210 w 3044273"/>
              <a:gd name="connsiteY2282" fmla="*/ 1416058 h 3047670"/>
              <a:gd name="connsiteX2283" fmla="*/ 2262323 w 3044273"/>
              <a:gd name="connsiteY2283" fmla="*/ 1392693 h 3047670"/>
              <a:gd name="connsiteX2284" fmla="*/ 300970 w 3044273"/>
              <a:gd name="connsiteY2284" fmla="*/ 1388422 h 3047670"/>
              <a:gd name="connsiteX2285" fmla="*/ 313657 w 3044273"/>
              <a:gd name="connsiteY2285" fmla="*/ 1400983 h 3047670"/>
              <a:gd name="connsiteX2286" fmla="*/ 301095 w 3044273"/>
              <a:gd name="connsiteY2286" fmla="*/ 1413670 h 3047670"/>
              <a:gd name="connsiteX2287" fmla="*/ 288409 w 3044273"/>
              <a:gd name="connsiteY2287" fmla="*/ 1401109 h 3047670"/>
              <a:gd name="connsiteX2288" fmla="*/ 300970 w 3044273"/>
              <a:gd name="connsiteY2288" fmla="*/ 1388422 h 3047670"/>
              <a:gd name="connsiteX2289" fmla="*/ 2648840 w 3044273"/>
              <a:gd name="connsiteY2289" fmla="*/ 1386914 h 3047670"/>
              <a:gd name="connsiteX2290" fmla="*/ 2675721 w 3044273"/>
              <a:gd name="connsiteY2290" fmla="*/ 1413670 h 3047670"/>
              <a:gd name="connsiteX2291" fmla="*/ 2648966 w 3044273"/>
              <a:gd name="connsiteY2291" fmla="*/ 1440552 h 3047670"/>
              <a:gd name="connsiteX2292" fmla="*/ 2622085 w 3044273"/>
              <a:gd name="connsiteY2292" fmla="*/ 1413921 h 3047670"/>
              <a:gd name="connsiteX2293" fmla="*/ 2648840 w 3044273"/>
              <a:gd name="connsiteY2293" fmla="*/ 1386914 h 3047670"/>
              <a:gd name="connsiteX2294" fmla="*/ 2052045 w 3044273"/>
              <a:gd name="connsiteY2294" fmla="*/ 1377116 h 3047670"/>
              <a:gd name="connsiteX2295" fmla="*/ 2052422 w 3044273"/>
              <a:gd name="connsiteY2295" fmla="*/ 1377618 h 3047670"/>
              <a:gd name="connsiteX2296" fmla="*/ 2052045 w 3044273"/>
              <a:gd name="connsiteY2296" fmla="*/ 1378121 h 3047670"/>
              <a:gd name="connsiteX2297" fmla="*/ 2051542 w 3044273"/>
              <a:gd name="connsiteY2297" fmla="*/ 1377618 h 3047670"/>
              <a:gd name="connsiteX2298" fmla="*/ 2052045 w 3044273"/>
              <a:gd name="connsiteY2298" fmla="*/ 1377116 h 3047670"/>
              <a:gd name="connsiteX2299" fmla="*/ 990598 w 3044273"/>
              <a:gd name="connsiteY2299" fmla="*/ 1375106 h 3047670"/>
              <a:gd name="connsiteX2300" fmla="*/ 997005 w 3044273"/>
              <a:gd name="connsiteY2300" fmla="*/ 1381512 h 3047670"/>
              <a:gd name="connsiteX2301" fmla="*/ 990598 w 3044273"/>
              <a:gd name="connsiteY2301" fmla="*/ 1387917 h 3047670"/>
              <a:gd name="connsiteX2302" fmla="*/ 984192 w 3044273"/>
              <a:gd name="connsiteY2302" fmla="*/ 1381512 h 3047670"/>
              <a:gd name="connsiteX2303" fmla="*/ 990598 w 3044273"/>
              <a:gd name="connsiteY2303" fmla="*/ 1375106 h 3047670"/>
              <a:gd name="connsiteX2304" fmla="*/ 687614 w 3044273"/>
              <a:gd name="connsiteY2304" fmla="*/ 1373096 h 3047670"/>
              <a:gd name="connsiteX2305" fmla="*/ 715124 w 3044273"/>
              <a:gd name="connsiteY2305" fmla="*/ 1400481 h 3047670"/>
              <a:gd name="connsiteX2306" fmla="*/ 687740 w 3044273"/>
              <a:gd name="connsiteY2306" fmla="*/ 1427990 h 3047670"/>
              <a:gd name="connsiteX2307" fmla="*/ 660231 w 3044273"/>
              <a:gd name="connsiteY2307" fmla="*/ 1400606 h 3047670"/>
              <a:gd name="connsiteX2308" fmla="*/ 687614 w 3044273"/>
              <a:gd name="connsiteY2308" fmla="*/ 1373096 h 3047670"/>
              <a:gd name="connsiteX2309" fmla="*/ 208017 w 3044273"/>
              <a:gd name="connsiteY2309" fmla="*/ 1371338 h 3047670"/>
              <a:gd name="connsiteX2310" fmla="*/ 216936 w 3044273"/>
              <a:gd name="connsiteY2310" fmla="*/ 1380131 h 3047670"/>
              <a:gd name="connsiteX2311" fmla="*/ 208144 w 3044273"/>
              <a:gd name="connsiteY2311" fmla="*/ 1389049 h 3047670"/>
              <a:gd name="connsiteX2312" fmla="*/ 199225 w 3044273"/>
              <a:gd name="connsiteY2312" fmla="*/ 1380257 h 3047670"/>
              <a:gd name="connsiteX2313" fmla="*/ 208017 w 3044273"/>
              <a:gd name="connsiteY2313" fmla="*/ 1371338 h 3047670"/>
              <a:gd name="connsiteX2314" fmla="*/ 2741544 w 3044273"/>
              <a:gd name="connsiteY2314" fmla="*/ 1367695 h 3047670"/>
              <a:gd name="connsiteX2315" fmla="*/ 2766165 w 3044273"/>
              <a:gd name="connsiteY2315" fmla="*/ 1392190 h 3047670"/>
              <a:gd name="connsiteX2316" fmla="*/ 2741670 w 3044273"/>
              <a:gd name="connsiteY2316" fmla="*/ 1416810 h 3047670"/>
              <a:gd name="connsiteX2317" fmla="*/ 2717049 w 3044273"/>
              <a:gd name="connsiteY2317" fmla="*/ 1392315 h 3047670"/>
              <a:gd name="connsiteX2318" fmla="*/ 2741544 w 3044273"/>
              <a:gd name="connsiteY2318" fmla="*/ 1367695 h 3047670"/>
              <a:gd name="connsiteX2319" fmla="*/ 2355028 w 3044273"/>
              <a:gd name="connsiteY2319" fmla="*/ 1364303 h 3047670"/>
              <a:gd name="connsiteX2320" fmla="*/ 2385176 w 3044273"/>
              <a:gd name="connsiteY2320" fmla="*/ 1394325 h 3047670"/>
              <a:gd name="connsiteX2321" fmla="*/ 2355154 w 3044273"/>
              <a:gd name="connsiteY2321" fmla="*/ 1424598 h 3047670"/>
              <a:gd name="connsiteX2322" fmla="*/ 2324880 w 3044273"/>
              <a:gd name="connsiteY2322" fmla="*/ 1394576 h 3047670"/>
              <a:gd name="connsiteX2323" fmla="*/ 2355028 w 3044273"/>
              <a:gd name="connsiteY2323" fmla="*/ 1364303 h 3047670"/>
              <a:gd name="connsiteX2324" fmla="*/ 594784 w 3044273"/>
              <a:gd name="connsiteY2324" fmla="*/ 1354632 h 3047670"/>
              <a:gd name="connsiteX2325" fmla="*/ 619906 w 3044273"/>
              <a:gd name="connsiteY2325" fmla="*/ 1379503 h 3047670"/>
              <a:gd name="connsiteX2326" fmla="*/ 595036 w 3044273"/>
              <a:gd name="connsiteY2326" fmla="*/ 1404626 h 3047670"/>
              <a:gd name="connsiteX2327" fmla="*/ 569914 w 3044273"/>
              <a:gd name="connsiteY2327" fmla="*/ 1379755 h 3047670"/>
              <a:gd name="connsiteX2328" fmla="*/ 594784 w 3044273"/>
              <a:gd name="connsiteY2328" fmla="*/ 1354632 h 3047670"/>
              <a:gd name="connsiteX2329" fmla="*/ 115188 w 3044273"/>
              <a:gd name="connsiteY2329" fmla="*/ 1354380 h 3047670"/>
              <a:gd name="connsiteX2330" fmla="*/ 120338 w 3044273"/>
              <a:gd name="connsiteY2330" fmla="*/ 1359404 h 3047670"/>
              <a:gd name="connsiteX2331" fmla="*/ 115188 w 3044273"/>
              <a:gd name="connsiteY2331" fmla="*/ 1364554 h 3047670"/>
              <a:gd name="connsiteX2332" fmla="*/ 110164 w 3044273"/>
              <a:gd name="connsiteY2332" fmla="*/ 1359404 h 3047670"/>
              <a:gd name="connsiteX2333" fmla="*/ 115188 w 3044273"/>
              <a:gd name="connsiteY2333" fmla="*/ 1354380 h 3047670"/>
              <a:gd name="connsiteX2334" fmla="*/ 2834248 w 3044273"/>
              <a:gd name="connsiteY2334" fmla="*/ 1352872 h 3047670"/>
              <a:gd name="connsiteX2335" fmla="*/ 2852211 w 3044273"/>
              <a:gd name="connsiteY2335" fmla="*/ 1370710 h 3047670"/>
              <a:gd name="connsiteX2336" fmla="*/ 2834374 w 3044273"/>
              <a:gd name="connsiteY2336" fmla="*/ 1388672 h 3047670"/>
              <a:gd name="connsiteX2337" fmla="*/ 2816411 w 3044273"/>
              <a:gd name="connsiteY2337" fmla="*/ 1370835 h 3047670"/>
              <a:gd name="connsiteX2338" fmla="*/ 2834248 w 3044273"/>
              <a:gd name="connsiteY2338" fmla="*/ 1352872 h 3047670"/>
              <a:gd name="connsiteX2339" fmla="*/ 2145377 w 3044273"/>
              <a:gd name="connsiteY2339" fmla="*/ 1352119 h 3047670"/>
              <a:gd name="connsiteX2340" fmla="*/ 2149147 w 3044273"/>
              <a:gd name="connsiteY2340" fmla="*/ 1355888 h 3047670"/>
              <a:gd name="connsiteX2341" fmla="*/ 2145377 w 3044273"/>
              <a:gd name="connsiteY2341" fmla="*/ 1359656 h 3047670"/>
              <a:gd name="connsiteX2342" fmla="*/ 2141608 w 3044273"/>
              <a:gd name="connsiteY2342" fmla="*/ 1355888 h 3047670"/>
              <a:gd name="connsiteX2343" fmla="*/ 2145377 w 3044273"/>
              <a:gd name="connsiteY2343" fmla="*/ 1352119 h 3047670"/>
              <a:gd name="connsiteX2344" fmla="*/ 897014 w 3044273"/>
              <a:gd name="connsiteY2344" fmla="*/ 1343074 h 3047670"/>
              <a:gd name="connsiteX2345" fmla="*/ 914349 w 3044273"/>
              <a:gd name="connsiteY2345" fmla="*/ 1360282 h 3047670"/>
              <a:gd name="connsiteX2346" fmla="*/ 897140 w 3044273"/>
              <a:gd name="connsiteY2346" fmla="*/ 1377617 h 3047670"/>
              <a:gd name="connsiteX2347" fmla="*/ 879805 w 3044273"/>
              <a:gd name="connsiteY2347" fmla="*/ 1360409 h 3047670"/>
              <a:gd name="connsiteX2348" fmla="*/ 897014 w 3044273"/>
              <a:gd name="connsiteY2348" fmla="*/ 1343074 h 3047670"/>
              <a:gd name="connsiteX2349" fmla="*/ 2447606 w 3044273"/>
              <a:gd name="connsiteY2349" fmla="*/ 1342948 h 3047670"/>
              <a:gd name="connsiteX2350" fmla="*/ 2477754 w 3044273"/>
              <a:gd name="connsiteY2350" fmla="*/ 1372970 h 3047670"/>
              <a:gd name="connsiteX2351" fmla="*/ 2447732 w 3044273"/>
              <a:gd name="connsiteY2351" fmla="*/ 1403118 h 3047670"/>
              <a:gd name="connsiteX2352" fmla="*/ 2417458 w 3044273"/>
              <a:gd name="connsiteY2352" fmla="*/ 1373096 h 3047670"/>
              <a:gd name="connsiteX2353" fmla="*/ 2447606 w 3044273"/>
              <a:gd name="connsiteY2353" fmla="*/ 1342948 h 3047670"/>
              <a:gd name="connsiteX2354" fmla="*/ 2927079 w 3044273"/>
              <a:gd name="connsiteY2354" fmla="*/ 1341944 h 3047670"/>
              <a:gd name="connsiteX2355" fmla="*/ 2934364 w 3044273"/>
              <a:gd name="connsiteY2355" fmla="*/ 1349230 h 3047670"/>
              <a:gd name="connsiteX2356" fmla="*/ 2927079 w 3044273"/>
              <a:gd name="connsiteY2356" fmla="*/ 1356515 h 3047670"/>
              <a:gd name="connsiteX2357" fmla="*/ 2919793 w 3044273"/>
              <a:gd name="connsiteY2357" fmla="*/ 1349230 h 3047670"/>
              <a:gd name="connsiteX2358" fmla="*/ 2927079 w 3044273"/>
              <a:gd name="connsiteY2358" fmla="*/ 1341944 h 3047670"/>
              <a:gd name="connsiteX2359" fmla="*/ 502083 w 3044273"/>
              <a:gd name="connsiteY2359" fmla="*/ 1338177 h 3047670"/>
              <a:gd name="connsiteX2360" fmla="*/ 522936 w 3044273"/>
              <a:gd name="connsiteY2360" fmla="*/ 1358903 h 3047670"/>
              <a:gd name="connsiteX2361" fmla="*/ 502208 w 3044273"/>
              <a:gd name="connsiteY2361" fmla="*/ 1379756 h 3047670"/>
              <a:gd name="connsiteX2362" fmla="*/ 481356 w 3044273"/>
              <a:gd name="connsiteY2362" fmla="*/ 1359030 h 3047670"/>
              <a:gd name="connsiteX2363" fmla="*/ 502083 w 3044273"/>
              <a:gd name="connsiteY2363" fmla="*/ 1338177 h 3047670"/>
              <a:gd name="connsiteX2364" fmla="*/ 22357 w 3044273"/>
              <a:gd name="connsiteY2364" fmla="*/ 1336794 h 3047670"/>
              <a:gd name="connsiteX2365" fmla="*/ 24116 w 3044273"/>
              <a:gd name="connsiteY2365" fmla="*/ 1338552 h 3047670"/>
              <a:gd name="connsiteX2366" fmla="*/ 22357 w 3044273"/>
              <a:gd name="connsiteY2366" fmla="*/ 1340311 h 3047670"/>
              <a:gd name="connsiteX2367" fmla="*/ 20599 w 3044273"/>
              <a:gd name="connsiteY2367" fmla="*/ 1338552 h 3047670"/>
              <a:gd name="connsiteX2368" fmla="*/ 22357 w 3044273"/>
              <a:gd name="connsiteY2368" fmla="*/ 1336794 h 3047670"/>
              <a:gd name="connsiteX2369" fmla="*/ 3019907 w 3044273"/>
              <a:gd name="connsiteY2369" fmla="*/ 1325740 h 3047670"/>
              <a:gd name="connsiteX2370" fmla="*/ 3021916 w 3044273"/>
              <a:gd name="connsiteY2370" fmla="*/ 1327750 h 3047670"/>
              <a:gd name="connsiteX2371" fmla="*/ 3019907 w 3044273"/>
              <a:gd name="connsiteY2371" fmla="*/ 1329760 h 3047670"/>
              <a:gd name="connsiteX2372" fmla="*/ 3017897 w 3044273"/>
              <a:gd name="connsiteY2372" fmla="*/ 1327750 h 3047670"/>
              <a:gd name="connsiteX2373" fmla="*/ 3019907 w 3044273"/>
              <a:gd name="connsiteY2373" fmla="*/ 1325740 h 3047670"/>
              <a:gd name="connsiteX2374" fmla="*/ 1917510 w 3044273"/>
              <a:gd name="connsiteY2374" fmla="*/ 1324359 h 3047670"/>
              <a:gd name="connsiteX2375" fmla="*/ 1917762 w 3044273"/>
              <a:gd name="connsiteY2375" fmla="*/ 1324610 h 3047670"/>
              <a:gd name="connsiteX2376" fmla="*/ 1917510 w 3044273"/>
              <a:gd name="connsiteY2376" fmla="*/ 1324862 h 3047670"/>
              <a:gd name="connsiteX2377" fmla="*/ 1917259 w 3044273"/>
              <a:gd name="connsiteY2377" fmla="*/ 1324610 h 3047670"/>
              <a:gd name="connsiteX2378" fmla="*/ 1917510 w 3044273"/>
              <a:gd name="connsiteY2378" fmla="*/ 1324359 h 3047670"/>
              <a:gd name="connsiteX2379" fmla="*/ 2540058 w 3044273"/>
              <a:gd name="connsiteY2379" fmla="*/ 1323731 h 3047670"/>
              <a:gd name="connsiteX2380" fmla="*/ 2567818 w 3044273"/>
              <a:gd name="connsiteY2380" fmla="*/ 1351367 h 3047670"/>
              <a:gd name="connsiteX2381" fmla="*/ 2540183 w 3044273"/>
              <a:gd name="connsiteY2381" fmla="*/ 1379128 h 3047670"/>
              <a:gd name="connsiteX2382" fmla="*/ 2512423 w 3044273"/>
              <a:gd name="connsiteY2382" fmla="*/ 1351618 h 3047670"/>
              <a:gd name="connsiteX2383" fmla="*/ 2540058 w 3044273"/>
              <a:gd name="connsiteY2383" fmla="*/ 1323731 h 3047670"/>
              <a:gd name="connsiteX2384" fmla="*/ 409379 w 3044273"/>
              <a:gd name="connsiteY2384" fmla="*/ 1322222 h 3047670"/>
              <a:gd name="connsiteX2385" fmla="*/ 425331 w 3044273"/>
              <a:gd name="connsiteY2385" fmla="*/ 1338050 h 3047670"/>
              <a:gd name="connsiteX2386" fmla="*/ 409504 w 3044273"/>
              <a:gd name="connsiteY2386" fmla="*/ 1354003 h 3047670"/>
              <a:gd name="connsiteX2387" fmla="*/ 393551 w 3044273"/>
              <a:gd name="connsiteY2387" fmla="*/ 1338176 h 3047670"/>
              <a:gd name="connsiteX2388" fmla="*/ 409379 w 3044273"/>
              <a:gd name="connsiteY2388" fmla="*/ 1322222 h 3047670"/>
              <a:gd name="connsiteX2389" fmla="*/ 2238458 w 3044273"/>
              <a:gd name="connsiteY2389" fmla="*/ 1322097 h 3047670"/>
              <a:gd name="connsiteX2390" fmla="*/ 2250517 w 3044273"/>
              <a:gd name="connsiteY2390" fmla="*/ 1334030 h 3047670"/>
              <a:gd name="connsiteX2391" fmla="*/ 2238583 w 3044273"/>
              <a:gd name="connsiteY2391" fmla="*/ 1346089 h 3047670"/>
              <a:gd name="connsiteX2392" fmla="*/ 2226649 w 3044273"/>
              <a:gd name="connsiteY2392" fmla="*/ 1334156 h 3047670"/>
              <a:gd name="connsiteX2393" fmla="*/ 2238458 w 3044273"/>
              <a:gd name="connsiteY2393" fmla="*/ 1322097 h 3047670"/>
              <a:gd name="connsiteX2394" fmla="*/ 803556 w 3044273"/>
              <a:gd name="connsiteY2394" fmla="*/ 1314308 h 3047670"/>
              <a:gd name="connsiteX2395" fmla="*/ 828679 w 3044273"/>
              <a:gd name="connsiteY2395" fmla="*/ 1339179 h 3047670"/>
              <a:gd name="connsiteX2396" fmla="*/ 803808 w 3044273"/>
              <a:gd name="connsiteY2396" fmla="*/ 1364302 h 3047670"/>
              <a:gd name="connsiteX2397" fmla="*/ 778685 w 3044273"/>
              <a:gd name="connsiteY2397" fmla="*/ 1339431 h 3047670"/>
              <a:gd name="connsiteX2398" fmla="*/ 803556 w 3044273"/>
              <a:gd name="connsiteY2398" fmla="*/ 1314308 h 3047670"/>
              <a:gd name="connsiteX2399" fmla="*/ 316674 w 3044273"/>
              <a:gd name="connsiteY2399" fmla="*/ 1304637 h 3047670"/>
              <a:gd name="connsiteX2400" fmla="*/ 329361 w 3044273"/>
              <a:gd name="connsiteY2400" fmla="*/ 1317198 h 3047670"/>
              <a:gd name="connsiteX2401" fmla="*/ 316799 w 3044273"/>
              <a:gd name="connsiteY2401" fmla="*/ 1329885 h 3047670"/>
              <a:gd name="connsiteX2402" fmla="*/ 304113 w 3044273"/>
              <a:gd name="connsiteY2402" fmla="*/ 1317324 h 3047670"/>
              <a:gd name="connsiteX2403" fmla="*/ 316674 w 3044273"/>
              <a:gd name="connsiteY2403" fmla="*/ 1304637 h 3047670"/>
              <a:gd name="connsiteX2404" fmla="*/ 2632638 w 3044273"/>
              <a:gd name="connsiteY2404" fmla="*/ 1303380 h 3047670"/>
              <a:gd name="connsiteX2405" fmla="*/ 2659521 w 3044273"/>
              <a:gd name="connsiteY2405" fmla="*/ 1330011 h 3047670"/>
              <a:gd name="connsiteX2406" fmla="*/ 2632763 w 3044273"/>
              <a:gd name="connsiteY2406" fmla="*/ 1356893 h 3047670"/>
              <a:gd name="connsiteX2407" fmla="*/ 2605882 w 3044273"/>
              <a:gd name="connsiteY2407" fmla="*/ 1330137 h 3047670"/>
              <a:gd name="connsiteX2408" fmla="*/ 2632638 w 3044273"/>
              <a:gd name="connsiteY2408" fmla="*/ 1303380 h 3047670"/>
              <a:gd name="connsiteX2409" fmla="*/ 1027277 w 3044273"/>
              <a:gd name="connsiteY2409" fmla="*/ 1302751 h 3047670"/>
              <a:gd name="connsiteX2410" fmla="*/ 1029036 w 3044273"/>
              <a:gd name="connsiteY2410" fmla="*/ 1304509 h 3047670"/>
              <a:gd name="connsiteX2411" fmla="*/ 1027277 w 3044273"/>
              <a:gd name="connsiteY2411" fmla="*/ 1306268 h 3047670"/>
              <a:gd name="connsiteX2412" fmla="*/ 1025519 w 3044273"/>
              <a:gd name="connsiteY2412" fmla="*/ 1304509 h 3047670"/>
              <a:gd name="connsiteX2413" fmla="*/ 1027277 w 3044273"/>
              <a:gd name="connsiteY2413" fmla="*/ 1302751 h 3047670"/>
              <a:gd name="connsiteX2414" fmla="*/ 2014486 w 3044273"/>
              <a:gd name="connsiteY2414" fmla="*/ 1299485 h 3047670"/>
              <a:gd name="connsiteX2415" fmla="*/ 2016119 w 3044273"/>
              <a:gd name="connsiteY2415" fmla="*/ 1300992 h 3047670"/>
              <a:gd name="connsiteX2416" fmla="*/ 2014612 w 3044273"/>
              <a:gd name="connsiteY2416" fmla="*/ 1302500 h 3047670"/>
              <a:gd name="connsiteX2417" fmla="*/ 2013104 w 3044273"/>
              <a:gd name="connsiteY2417" fmla="*/ 1300992 h 3047670"/>
              <a:gd name="connsiteX2418" fmla="*/ 2014486 w 3044273"/>
              <a:gd name="connsiteY2418" fmla="*/ 1299485 h 3047670"/>
              <a:gd name="connsiteX2419" fmla="*/ 710349 w 3044273"/>
              <a:gd name="connsiteY2419" fmla="*/ 1290442 h 3047670"/>
              <a:gd name="connsiteX2420" fmla="*/ 738362 w 3044273"/>
              <a:gd name="connsiteY2420" fmla="*/ 1318203 h 3047670"/>
              <a:gd name="connsiteX2421" fmla="*/ 710600 w 3044273"/>
              <a:gd name="connsiteY2421" fmla="*/ 1346216 h 3047670"/>
              <a:gd name="connsiteX2422" fmla="*/ 682589 w 3044273"/>
              <a:gd name="connsiteY2422" fmla="*/ 1318454 h 3047670"/>
              <a:gd name="connsiteX2423" fmla="*/ 710349 w 3044273"/>
              <a:gd name="connsiteY2423" fmla="*/ 1290442 h 3047670"/>
              <a:gd name="connsiteX2424" fmla="*/ 223971 w 3044273"/>
              <a:gd name="connsiteY2424" fmla="*/ 1287553 h 3047670"/>
              <a:gd name="connsiteX2425" fmla="*/ 232889 w 3044273"/>
              <a:gd name="connsiteY2425" fmla="*/ 1296346 h 3047670"/>
              <a:gd name="connsiteX2426" fmla="*/ 224097 w 3044273"/>
              <a:gd name="connsiteY2426" fmla="*/ 1305263 h 3047670"/>
              <a:gd name="connsiteX2427" fmla="*/ 215178 w 3044273"/>
              <a:gd name="connsiteY2427" fmla="*/ 1296471 h 3047670"/>
              <a:gd name="connsiteX2428" fmla="*/ 223971 w 3044273"/>
              <a:gd name="connsiteY2428" fmla="*/ 1287553 h 3047670"/>
              <a:gd name="connsiteX2429" fmla="*/ 2331539 w 3044273"/>
              <a:gd name="connsiteY2429" fmla="*/ 1286297 h 3047670"/>
              <a:gd name="connsiteX2430" fmla="*/ 2357793 w 3044273"/>
              <a:gd name="connsiteY2430" fmla="*/ 1312299 h 3047670"/>
              <a:gd name="connsiteX2431" fmla="*/ 2331789 w 3044273"/>
              <a:gd name="connsiteY2431" fmla="*/ 1338552 h 3047670"/>
              <a:gd name="connsiteX2432" fmla="*/ 2305536 w 3044273"/>
              <a:gd name="connsiteY2432" fmla="*/ 1312550 h 3047670"/>
              <a:gd name="connsiteX2433" fmla="*/ 2331539 w 3044273"/>
              <a:gd name="connsiteY2433" fmla="*/ 1286297 h 3047670"/>
              <a:gd name="connsiteX2434" fmla="*/ 2725090 w 3044273"/>
              <a:gd name="connsiteY2434" fmla="*/ 1285292 h 3047670"/>
              <a:gd name="connsiteX2435" fmla="*/ 2748454 w 3044273"/>
              <a:gd name="connsiteY2435" fmla="*/ 1308406 h 3047670"/>
              <a:gd name="connsiteX2436" fmla="*/ 2725342 w 3044273"/>
              <a:gd name="connsiteY2436" fmla="*/ 1331771 h 3047670"/>
              <a:gd name="connsiteX2437" fmla="*/ 2701976 w 3044273"/>
              <a:gd name="connsiteY2437" fmla="*/ 1308657 h 3047670"/>
              <a:gd name="connsiteX2438" fmla="*/ 2725090 w 3044273"/>
              <a:gd name="connsiteY2438" fmla="*/ 1285292 h 3047670"/>
              <a:gd name="connsiteX2439" fmla="*/ 931183 w 3044273"/>
              <a:gd name="connsiteY2439" fmla="*/ 1274489 h 3047670"/>
              <a:gd name="connsiteX2440" fmla="*/ 938970 w 3044273"/>
              <a:gd name="connsiteY2440" fmla="*/ 1282278 h 3047670"/>
              <a:gd name="connsiteX2441" fmla="*/ 931308 w 3044273"/>
              <a:gd name="connsiteY2441" fmla="*/ 1290065 h 3047670"/>
              <a:gd name="connsiteX2442" fmla="*/ 923519 w 3044273"/>
              <a:gd name="connsiteY2442" fmla="*/ 1282278 h 3047670"/>
              <a:gd name="connsiteX2443" fmla="*/ 931183 w 3044273"/>
              <a:gd name="connsiteY2443" fmla="*/ 1274489 h 3047670"/>
              <a:gd name="connsiteX2444" fmla="*/ 617271 w 3044273"/>
              <a:gd name="connsiteY2444" fmla="*/ 1273483 h 3047670"/>
              <a:gd name="connsiteX2445" fmla="*/ 641264 w 3044273"/>
              <a:gd name="connsiteY2445" fmla="*/ 1297350 h 3047670"/>
              <a:gd name="connsiteX2446" fmla="*/ 617398 w 3044273"/>
              <a:gd name="connsiteY2446" fmla="*/ 1321342 h 3047670"/>
              <a:gd name="connsiteX2447" fmla="*/ 593405 w 3044273"/>
              <a:gd name="connsiteY2447" fmla="*/ 1297476 h 3047670"/>
              <a:gd name="connsiteX2448" fmla="*/ 617271 w 3044273"/>
              <a:gd name="connsiteY2448" fmla="*/ 1273483 h 3047670"/>
              <a:gd name="connsiteX2449" fmla="*/ 131392 w 3044273"/>
              <a:gd name="connsiteY2449" fmla="*/ 1271097 h 3047670"/>
              <a:gd name="connsiteX2450" fmla="*/ 136040 w 3044273"/>
              <a:gd name="connsiteY2450" fmla="*/ 1275745 h 3047670"/>
              <a:gd name="connsiteX2451" fmla="*/ 131392 w 3044273"/>
              <a:gd name="connsiteY2451" fmla="*/ 1280393 h 3047670"/>
              <a:gd name="connsiteX2452" fmla="*/ 126745 w 3044273"/>
              <a:gd name="connsiteY2452" fmla="*/ 1275745 h 3047670"/>
              <a:gd name="connsiteX2453" fmla="*/ 131392 w 3044273"/>
              <a:gd name="connsiteY2453" fmla="*/ 1271097 h 3047670"/>
              <a:gd name="connsiteX2454" fmla="*/ 2110582 w 3044273"/>
              <a:gd name="connsiteY2454" fmla="*/ 1270469 h 3047670"/>
              <a:gd name="connsiteX2455" fmla="*/ 2118119 w 3044273"/>
              <a:gd name="connsiteY2455" fmla="*/ 1278005 h 3047670"/>
              <a:gd name="connsiteX2456" fmla="*/ 2110582 w 3044273"/>
              <a:gd name="connsiteY2456" fmla="*/ 1285541 h 3047670"/>
              <a:gd name="connsiteX2457" fmla="*/ 2103045 w 3044273"/>
              <a:gd name="connsiteY2457" fmla="*/ 1278005 h 3047670"/>
              <a:gd name="connsiteX2458" fmla="*/ 2110582 w 3044273"/>
              <a:gd name="connsiteY2458" fmla="*/ 1270469 h 3047670"/>
              <a:gd name="connsiteX2459" fmla="*/ 2817669 w 3044273"/>
              <a:gd name="connsiteY2459" fmla="*/ 1270092 h 3047670"/>
              <a:gd name="connsiteX2460" fmla="*/ 2834752 w 3044273"/>
              <a:gd name="connsiteY2460" fmla="*/ 1287050 h 3047670"/>
              <a:gd name="connsiteX2461" fmla="*/ 2817794 w 3044273"/>
              <a:gd name="connsiteY2461" fmla="*/ 1304134 h 3047670"/>
              <a:gd name="connsiteX2462" fmla="*/ 2800710 w 3044273"/>
              <a:gd name="connsiteY2462" fmla="*/ 1287176 h 3047670"/>
              <a:gd name="connsiteX2463" fmla="*/ 2817669 w 3044273"/>
              <a:gd name="connsiteY2463" fmla="*/ 1270092 h 3047670"/>
              <a:gd name="connsiteX2464" fmla="*/ 2424493 w 3044273"/>
              <a:gd name="connsiteY2464" fmla="*/ 1260169 h 3047670"/>
              <a:gd name="connsiteX2465" fmla="*/ 2455393 w 3044273"/>
              <a:gd name="connsiteY2465" fmla="*/ 1290819 h 3047670"/>
              <a:gd name="connsiteX2466" fmla="*/ 2424743 w 3044273"/>
              <a:gd name="connsiteY2466" fmla="*/ 1321720 h 3047670"/>
              <a:gd name="connsiteX2467" fmla="*/ 2393843 w 3044273"/>
              <a:gd name="connsiteY2467" fmla="*/ 1291070 h 3047670"/>
              <a:gd name="connsiteX2468" fmla="*/ 2424493 w 3044273"/>
              <a:gd name="connsiteY2468" fmla="*/ 1260169 h 3047670"/>
              <a:gd name="connsiteX2469" fmla="*/ 2910245 w 3044273"/>
              <a:gd name="connsiteY2469" fmla="*/ 1258285 h 3047670"/>
              <a:gd name="connsiteX2470" fmla="*/ 2917656 w 3044273"/>
              <a:gd name="connsiteY2470" fmla="*/ 1265571 h 3047670"/>
              <a:gd name="connsiteX2471" fmla="*/ 2910371 w 3044273"/>
              <a:gd name="connsiteY2471" fmla="*/ 1272856 h 3047670"/>
              <a:gd name="connsiteX2472" fmla="*/ 2903085 w 3044273"/>
              <a:gd name="connsiteY2472" fmla="*/ 1265571 h 3047670"/>
              <a:gd name="connsiteX2473" fmla="*/ 2910245 w 3044273"/>
              <a:gd name="connsiteY2473" fmla="*/ 1258285 h 3047670"/>
              <a:gd name="connsiteX2474" fmla="*/ 1864250 w 3044273"/>
              <a:gd name="connsiteY2474" fmla="*/ 1258033 h 3047670"/>
              <a:gd name="connsiteX2475" fmla="*/ 1864501 w 3044273"/>
              <a:gd name="connsiteY2475" fmla="*/ 1258284 h 3047670"/>
              <a:gd name="connsiteX2476" fmla="*/ 1864250 w 3044273"/>
              <a:gd name="connsiteY2476" fmla="*/ 1258536 h 3047670"/>
              <a:gd name="connsiteX2477" fmla="*/ 1863998 w 3044273"/>
              <a:gd name="connsiteY2477" fmla="*/ 1258284 h 3047670"/>
              <a:gd name="connsiteX2478" fmla="*/ 1864250 w 3044273"/>
              <a:gd name="connsiteY2478" fmla="*/ 1258033 h 3047670"/>
              <a:gd name="connsiteX2479" fmla="*/ 524189 w 3044273"/>
              <a:gd name="connsiteY2479" fmla="*/ 1257028 h 3047670"/>
              <a:gd name="connsiteX2480" fmla="*/ 543785 w 3044273"/>
              <a:gd name="connsiteY2480" fmla="*/ 1276498 h 3047670"/>
              <a:gd name="connsiteX2481" fmla="*/ 524315 w 3044273"/>
              <a:gd name="connsiteY2481" fmla="*/ 1295968 h 3047670"/>
              <a:gd name="connsiteX2482" fmla="*/ 504719 w 3044273"/>
              <a:gd name="connsiteY2482" fmla="*/ 1276624 h 3047670"/>
              <a:gd name="connsiteX2483" fmla="*/ 524189 w 3044273"/>
              <a:gd name="connsiteY2483" fmla="*/ 1257028 h 3047670"/>
              <a:gd name="connsiteX2484" fmla="*/ 38688 w 3044273"/>
              <a:gd name="connsiteY2484" fmla="*/ 1253386 h 3047670"/>
              <a:gd name="connsiteX2485" fmla="*/ 40196 w 3044273"/>
              <a:gd name="connsiteY2485" fmla="*/ 1254893 h 3047670"/>
              <a:gd name="connsiteX2486" fmla="*/ 38688 w 3044273"/>
              <a:gd name="connsiteY2486" fmla="*/ 1256400 h 3047670"/>
              <a:gd name="connsiteX2487" fmla="*/ 37181 w 3044273"/>
              <a:gd name="connsiteY2487" fmla="*/ 1254893 h 3047670"/>
              <a:gd name="connsiteX2488" fmla="*/ 38688 w 3044273"/>
              <a:gd name="connsiteY2488" fmla="*/ 1253386 h 3047670"/>
              <a:gd name="connsiteX2489" fmla="*/ 835966 w 3044273"/>
              <a:gd name="connsiteY2489" fmla="*/ 1242080 h 3047670"/>
              <a:gd name="connsiteX2490" fmla="*/ 854431 w 3044273"/>
              <a:gd name="connsiteY2490" fmla="*/ 1260419 h 3047670"/>
              <a:gd name="connsiteX2491" fmla="*/ 836092 w 3044273"/>
              <a:gd name="connsiteY2491" fmla="*/ 1278885 h 3047670"/>
              <a:gd name="connsiteX2492" fmla="*/ 817626 w 3044273"/>
              <a:gd name="connsiteY2492" fmla="*/ 1260546 h 3047670"/>
              <a:gd name="connsiteX2493" fmla="*/ 835966 w 3044273"/>
              <a:gd name="connsiteY2493" fmla="*/ 1242080 h 3047670"/>
              <a:gd name="connsiteX2494" fmla="*/ 431234 w 3044273"/>
              <a:gd name="connsiteY2494" fmla="*/ 1240322 h 3047670"/>
              <a:gd name="connsiteX2495" fmla="*/ 446559 w 3044273"/>
              <a:gd name="connsiteY2495" fmla="*/ 1255521 h 3047670"/>
              <a:gd name="connsiteX2496" fmla="*/ 431360 w 3044273"/>
              <a:gd name="connsiteY2496" fmla="*/ 1270846 h 3047670"/>
              <a:gd name="connsiteX2497" fmla="*/ 416035 w 3044273"/>
              <a:gd name="connsiteY2497" fmla="*/ 1255647 h 3047670"/>
              <a:gd name="connsiteX2498" fmla="*/ 431234 w 3044273"/>
              <a:gd name="connsiteY2498" fmla="*/ 1240322 h 3047670"/>
              <a:gd name="connsiteX2499" fmla="*/ 2517322 w 3044273"/>
              <a:gd name="connsiteY2499" fmla="*/ 1239443 h 3047670"/>
              <a:gd name="connsiteX2500" fmla="*/ 2547344 w 3044273"/>
              <a:gd name="connsiteY2500" fmla="*/ 1269214 h 3047670"/>
              <a:gd name="connsiteX2501" fmla="*/ 2517574 w 3044273"/>
              <a:gd name="connsiteY2501" fmla="*/ 1299236 h 3047670"/>
              <a:gd name="connsiteX2502" fmla="*/ 2487551 w 3044273"/>
              <a:gd name="connsiteY2502" fmla="*/ 1269464 h 3047670"/>
              <a:gd name="connsiteX2503" fmla="*/ 2517322 w 3044273"/>
              <a:gd name="connsiteY2503" fmla="*/ 1239443 h 3047670"/>
              <a:gd name="connsiteX2504" fmla="*/ 2205670 w 3044273"/>
              <a:gd name="connsiteY2504" fmla="*/ 1238814 h 3047670"/>
              <a:gd name="connsiteX2505" fmla="*/ 2222376 w 3044273"/>
              <a:gd name="connsiteY2505" fmla="*/ 1255395 h 3047670"/>
              <a:gd name="connsiteX2506" fmla="*/ 2205795 w 3044273"/>
              <a:gd name="connsiteY2506" fmla="*/ 1272102 h 3047670"/>
              <a:gd name="connsiteX2507" fmla="*/ 2189089 w 3044273"/>
              <a:gd name="connsiteY2507" fmla="*/ 1255521 h 3047670"/>
              <a:gd name="connsiteX2508" fmla="*/ 2205670 w 3044273"/>
              <a:gd name="connsiteY2508" fmla="*/ 1238814 h 3047670"/>
              <a:gd name="connsiteX2509" fmla="*/ 3002822 w 3044273"/>
              <a:gd name="connsiteY2509" fmla="*/ 1236930 h 3047670"/>
              <a:gd name="connsiteX2510" fmla="*/ 3010107 w 3044273"/>
              <a:gd name="connsiteY2510" fmla="*/ 1244215 h 3047670"/>
              <a:gd name="connsiteX2511" fmla="*/ 3002822 w 3044273"/>
              <a:gd name="connsiteY2511" fmla="*/ 1251501 h 3047670"/>
              <a:gd name="connsiteX2512" fmla="*/ 2995536 w 3044273"/>
              <a:gd name="connsiteY2512" fmla="*/ 1244215 h 3047670"/>
              <a:gd name="connsiteX2513" fmla="*/ 3002822 w 3044273"/>
              <a:gd name="connsiteY2513" fmla="*/ 1236930 h 3047670"/>
              <a:gd name="connsiteX2514" fmla="*/ 1075011 w 3044273"/>
              <a:gd name="connsiteY2514" fmla="*/ 1230397 h 3047670"/>
              <a:gd name="connsiteX2515" fmla="*/ 1078528 w 3044273"/>
              <a:gd name="connsiteY2515" fmla="*/ 1233914 h 3047670"/>
              <a:gd name="connsiteX2516" fmla="*/ 1075011 w 3044273"/>
              <a:gd name="connsiteY2516" fmla="*/ 1237431 h 3047670"/>
              <a:gd name="connsiteX2517" fmla="*/ 1071494 w 3044273"/>
              <a:gd name="connsiteY2517" fmla="*/ 1233914 h 3047670"/>
              <a:gd name="connsiteX2518" fmla="*/ 1075011 w 3044273"/>
              <a:gd name="connsiteY2518" fmla="*/ 1230397 h 3047670"/>
              <a:gd name="connsiteX2519" fmla="*/ 1966375 w 3044273"/>
              <a:gd name="connsiteY2519" fmla="*/ 1226629 h 3047670"/>
              <a:gd name="connsiteX2520" fmla="*/ 1970647 w 3044273"/>
              <a:gd name="connsiteY2520" fmla="*/ 1230775 h 3047670"/>
              <a:gd name="connsiteX2521" fmla="*/ 1966501 w 3044273"/>
              <a:gd name="connsiteY2521" fmla="*/ 1234920 h 3047670"/>
              <a:gd name="connsiteX2522" fmla="*/ 1962230 w 3044273"/>
              <a:gd name="connsiteY2522" fmla="*/ 1230775 h 3047670"/>
              <a:gd name="connsiteX2523" fmla="*/ 1966375 w 3044273"/>
              <a:gd name="connsiteY2523" fmla="*/ 1226629 h 3047670"/>
              <a:gd name="connsiteX2524" fmla="*/ 338280 w 3044273"/>
              <a:gd name="connsiteY2524" fmla="*/ 1222108 h 3047670"/>
              <a:gd name="connsiteX2525" fmla="*/ 350967 w 3044273"/>
              <a:gd name="connsiteY2525" fmla="*/ 1234669 h 3047670"/>
              <a:gd name="connsiteX2526" fmla="*/ 338405 w 3044273"/>
              <a:gd name="connsiteY2526" fmla="*/ 1247356 h 3047670"/>
              <a:gd name="connsiteX2527" fmla="*/ 325719 w 3044273"/>
              <a:gd name="connsiteY2527" fmla="*/ 1234795 h 3047670"/>
              <a:gd name="connsiteX2528" fmla="*/ 338280 w 3044273"/>
              <a:gd name="connsiteY2528" fmla="*/ 1222108 h 3047670"/>
              <a:gd name="connsiteX2529" fmla="*/ 2610278 w 3044273"/>
              <a:gd name="connsiteY2529" fmla="*/ 1219470 h 3047670"/>
              <a:gd name="connsiteX2530" fmla="*/ 2638666 w 3044273"/>
              <a:gd name="connsiteY2530" fmla="*/ 1247733 h 3047670"/>
              <a:gd name="connsiteX2531" fmla="*/ 2610403 w 3044273"/>
              <a:gd name="connsiteY2531" fmla="*/ 1276122 h 3047670"/>
              <a:gd name="connsiteX2532" fmla="*/ 2582015 w 3044273"/>
              <a:gd name="connsiteY2532" fmla="*/ 1247858 h 3047670"/>
              <a:gd name="connsiteX2533" fmla="*/ 2610278 w 3044273"/>
              <a:gd name="connsiteY2533" fmla="*/ 1219470 h 3047670"/>
              <a:gd name="connsiteX2534" fmla="*/ 741126 w 3044273"/>
              <a:gd name="connsiteY2534" fmla="*/ 1211053 h 3047670"/>
              <a:gd name="connsiteX2535" fmla="*/ 769138 w 3044273"/>
              <a:gd name="connsiteY2535" fmla="*/ 1238814 h 3047670"/>
              <a:gd name="connsiteX2536" fmla="*/ 741378 w 3044273"/>
              <a:gd name="connsiteY2536" fmla="*/ 1266827 h 3047670"/>
              <a:gd name="connsiteX2537" fmla="*/ 713366 w 3044273"/>
              <a:gd name="connsiteY2537" fmla="*/ 1239065 h 3047670"/>
              <a:gd name="connsiteX2538" fmla="*/ 741126 w 3044273"/>
              <a:gd name="connsiteY2538" fmla="*/ 1211053 h 3047670"/>
              <a:gd name="connsiteX2539" fmla="*/ 245199 w 3044273"/>
              <a:gd name="connsiteY2539" fmla="*/ 1205777 h 3047670"/>
              <a:gd name="connsiteX2540" fmla="*/ 253491 w 3044273"/>
              <a:gd name="connsiteY2540" fmla="*/ 1213941 h 3047670"/>
              <a:gd name="connsiteX2541" fmla="*/ 245325 w 3044273"/>
              <a:gd name="connsiteY2541" fmla="*/ 1222107 h 3047670"/>
              <a:gd name="connsiteX2542" fmla="*/ 237160 w 3044273"/>
              <a:gd name="connsiteY2542" fmla="*/ 1213941 h 3047670"/>
              <a:gd name="connsiteX2543" fmla="*/ 245199 w 3044273"/>
              <a:gd name="connsiteY2543" fmla="*/ 1205777 h 3047670"/>
              <a:gd name="connsiteX2544" fmla="*/ 2300134 w 3044273"/>
              <a:gd name="connsiteY2544" fmla="*/ 1204145 h 3047670"/>
              <a:gd name="connsiteX2545" fmla="*/ 2329401 w 3044273"/>
              <a:gd name="connsiteY2545" fmla="*/ 1233288 h 3047670"/>
              <a:gd name="connsiteX2546" fmla="*/ 2300259 w 3044273"/>
              <a:gd name="connsiteY2546" fmla="*/ 1262556 h 3047670"/>
              <a:gd name="connsiteX2547" fmla="*/ 2270991 w 3044273"/>
              <a:gd name="connsiteY2547" fmla="*/ 1233413 h 3047670"/>
              <a:gd name="connsiteX2548" fmla="*/ 2300134 w 3044273"/>
              <a:gd name="connsiteY2548" fmla="*/ 1204145 h 3047670"/>
              <a:gd name="connsiteX2549" fmla="*/ 1799936 w 3044273"/>
              <a:gd name="connsiteY2549" fmla="*/ 1202135 h 3047670"/>
              <a:gd name="connsiteX2550" fmla="*/ 1800188 w 3044273"/>
              <a:gd name="connsiteY2550" fmla="*/ 1202387 h 3047670"/>
              <a:gd name="connsiteX2551" fmla="*/ 1799936 w 3044273"/>
              <a:gd name="connsiteY2551" fmla="*/ 1202638 h 3047670"/>
              <a:gd name="connsiteX2552" fmla="*/ 1799685 w 3044273"/>
              <a:gd name="connsiteY2552" fmla="*/ 1202387 h 3047670"/>
              <a:gd name="connsiteX2553" fmla="*/ 1799936 w 3044273"/>
              <a:gd name="connsiteY2553" fmla="*/ 1202135 h 3047670"/>
              <a:gd name="connsiteX2554" fmla="*/ 2702978 w 3044273"/>
              <a:gd name="connsiteY2554" fmla="*/ 1201254 h 3047670"/>
              <a:gd name="connsiteX2555" fmla="*/ 2728100 w 3044273"/>
              <a:gd name="connsiteY2555" fmla="*/ 1226125 h 3047670"/>
              <a:gd name="connsiteX2556" fmla="*/ 2703230 w 3044273"/>
              <a:gd name="connsiteY2556" fmla="*/ 1251248 h 3047670"/>
              <a:gd name="connsiteX2557" fmla="*/ 2678107 w 3044273"/>
              <a:gd name="connsiteY2557" fmla="*/ 1226377 h 3047670"/>
              <a:gd name="connsiteX2558" fmla="*/ 2702978 w 3044273"/>
              <a:gd name="connsiteY2558" fmla="*/ 1201254 h 3047670"/>
              <a:gd name="connsiteX2559" fmla="*/ 975148 w 3044273"/>
              <a:gd name="connsiteY2559" fmla="*/ 1198367 h 3047670"/>
              <a:gd name="connsiteX2560" fmla="*/ 986077 w 3044273"/>
              <a:gd name="connsiteY2560" fmla="*/ 1209170 h 3047670"/>
              <a:gd name="connsiteX2561" fmla="*/ 975274 w 3044273"/>
              <a:gd name="connsiteY2561" fmla="*/ 1220098 h 3047670"/>
              <a:gd name="connsiteX2562" fmla="*/ 964345 w 3044273"/>
              <a:gd name="connsiteY2562" fmla="*/ 1209296 h 3047670"/>
              <a:gd name="connsiteX2563" fmla="*/ 975148 w 3044273"/>
              <a:gd name="connsiteY2563" fmla="*/ 1198367 h 3047670"/>
              <a:gd name="connsiteX2564" fmla="*/ 2066240 w 3044273"/>
              <a:gd name="connsiteY2564" fmla="*/ 1192587 h 3047670"/>
              <a:gd name="connsiteX2565" fmla="*/ 2079052 w 3044273"/>
              <a:gd name="connsiteY2565" fmla="*/ 1205399 h 3047670"/>
              <a:gd name="connsiteX2566" fmla="*/ 2066240 w 3044273"/>
              <a:gd name="connsiteY2566" fmla="*/ 1218212 h 3047670"/>
              <a:gd name="connsiteX2567" fmla="*/ 2053301 w 3044273"/>
              <a:gd name="connsiteY2567" fmla="*/ 1205399 h 3047670"/>
              <a:gd name="connsiteX2568" fmla="*/ 2066240 w 3044273"/>
              <a:gd name="connsiteY2568" fmla="*/ 1192587 h 3047670"/>
              <a:gd name="connsiteX2569" fmla="*/ 646915 w 3044273"/>
              <a:gd name="connsiteY2569" fmla="*/ 1190076 h 3047670"/>
              <a:gd name="connsiteX2570" fmla="*/ 674424 w 3044273"/>
              <a:gd name="connsiteY2570" fmla="*/ 1217461 h 3047670"/>
              <a:gd name="connsiteX2571" fmla="*/ 647041 w 3044273"/>
              <a:gd name="connsiteY2571" fmla="*/ 1244970 h 3047670"/>
              <a:gd name="connsiteX2572" fmla="*/ 619531 w 3044273"/>
              <a:gd name="connsiteY2572" fmla="*/ 1217586 h 3047670"/>
              <a:gd name="connsiteX2573" fmla="*/ 646915 w 3044273"/>
              <a:gd name="connsiteY2573" fmla="*/ 1190076 h 3047670"/>
              <a:gd name="connsiteX2574" fmla="*/ 152623 w 3044273"/>
              <a:gd name="connsiteY2574" fmla="*/ 1188945 h 3047670"/>
              <a:gd name="connsiteX2575" fmla="*/ 156643 w 3044273"/>
              <a:gd name="connsiteY2575" fmla="*/ 1192965 h 3047670"/>
              <a:gd name="connsiteX2576" fmla="*/ 152623 w 3044273"/>
              <a:gd name="connsiteY2576" fmla="*/ 1196985 h 3047670"/>
              <a:gd name="connsiteX2577" fmla="*/ 148603 w 3044273"/>
              <a:gd name="connsiteY2577" fmla="*/ 1193090 h 3047670"/>
              <a:gd name="connsiteX2578" fmla="*/ 152623 w 3044273"/>
              <a:gd name="connsiteY2578" fmla="*/ 1188945 h 3047670"/>
              <a:gd name="connsiteX2579" fmla="*/ 2795684 w 3044273"/>
              <a:gd name="connsiteY2579" fmla="*/ 1185176 h 3047670"/>
              <a:gd name="connsiteX2580" fmla="*/ 2815280 w 3044273"/>
              <a:gd name="connsiteY2580" fmla="*/ 1204522 h 3047670"/>
              <a:gd name="connsiteX2581" fmla="*/ 2795936 w 3044273"/>
              <a:gd name="connsiteY2581" fmla="*/ 1224119 h 3047670"/>
              <a:gd name="connsiteX2582" fmla="*/ 2776340 w 3044273"/>
              <a:gd name="connsiteY2582" fmla="*/ 1204773 h 3047670"/>
              <a:gd name="connsiteX2583" fmla="*/ 2795684 w 3044273"/>
              <a:gd name="connsiteY2583" fmla="*/ 1185176 h 3047670"/>
              <a:gd name="connsiteX2584" fmla="*/ 2394220 w 3044273"/>
              <a:gd name="connsiteY2584" fmla="*/ 1178645 h 3047670"/>
              <a:gd name="connsiteX2585" fmla="*/ 2426879 w 3044273"/>
              <a:gd name="connsiteY2585" fmla="*/ 1211053 h 3047670"/>
              <a:gd name="connsiteX2586" fmla="*/ 2394471 w 3044273"/>
              <a:gd name="connsiteY2586" fmla="*/ 1243713 h 3047670"/>
              <a:gd name="connsiteX2587" fmla="*/ 2361811 w 3044273"/>
              <a:gd name="connsiteY2587" fmla="*/ 1211305 h 3047670"/>
              <a:gd name="connsiteX2588" fmla="*/ 2394220 w 3044273"/>
              <a:gd name="connsiteY2588" fmla="*/ 1178645 h 3047670"/>
              <a:gd name="connsiteX2589" fmla="*/ 552830 w 3044273"/>
              <a:gd name="connsiteY2589" fmla="*/ 1173747 h 3047670"/>
              <a:gd name="connsiteX2590" fmla="*/ 575440 w 3044273"/>
              <a:gd name="connsiteY2590" fmla="*/ 1196232 h 3047670"/>
              <a:gd name="connsiteX2591" fmla="*/ 552955 w 3044273"/>
              <a:gd name="connsiteY2591" fmla="*/ 1218843 h 3047670"/>
              <a:gd name="connsiteX2592" fmla="*/ 530345 w 3044273"/>
              <a:gd name="connsiteY2592" fmla="*/ 1196358 h 3047670"/>
              <a:gd name="connsiteX2593" fmla="*/ 552830 w 3044273"/>
              <a:gd name="connsiteY2593" fmla="*/ 1173747 h 3047670"/>
              <a:gd name="connsiteX2594" fmla="*/ 1132794 w 3044273"/>
              <a:gd name="connsiteY2594" fmla="*/ 1170729 h 3047670"/>
              <a:gd name="connsiteX2595" fmla="*/ 1133297 w 3044273"/>
              <a:gd name="connsiteY2595" fmla="*/ 1171231 h 3047670"/>
              <a:gd name="connsiteX2596" fmla="*/ 1132794 w 3044273"/>
              <a:gd name="connsiteY2596" fmla="*/ 1171734 h 3047670"/>
              <a:gd name="connsiteX2597" fmla="*/ 1132292 w 3044273"/>
              <a:gd name="connsiteY2597" fmla="*/ 1171357 h 3047670"/>
              <a:gd name="connsiteX2598" fmla="*/ 1132794 w 3044273"/>
              <a:gd name="connsiteY2598" fmla="*/ 1170729 h 3047670"/>
              <a:gd name="connsiteX2599" fmla="*/ 2888514 w 3044273"/>
              <a:gd name="connsiteY2599" fmla="*/ 1169852 h 3047670"/>
              <a:gd name="connsiteX2600" fmla="*/ 2901830 w 3044273"/>
              <a:gd name="connsiteY2600" fmla="*/ 1183040 h 3047670"/>
              <a:gd name="connsiteX2601" fmla="*/ 2888640 w 3044273"/>
              <a:gd name="connsiteY2601" fmla="*/ 1196356 h 3047670"/>
              <a:gd name="connsiteX2602" fmla="*/ 2875324 w 3044273"/>
              <a:gd name="connsiteY2602" fmla="*/ 1183167 h 3047670"/>
              <a:gd name="connsiteX2603" fmla="*/ 2888514 w 3044273"/>
              <a:gd name="connsiteY2603" fmla="*/ 1169852 h 3047670"/>
              <a:gd name="connsiteX2604" fmla="*/ 59664 w 3044273"/>
              <a:gd name="connsiteY2604" fmla="*/ 1168219 h 3047670"/>
              <a:gd name="connsiteX2605" fmla="*/ 63684 w 3044273"/>
              <a:gd name="connsiteY2605" fmla="*/ 1172239 h 3047670"/>
              <a:gd name="connsiteX2606" fmla="*/ 59664 w 3044273"/>
              <a:gd name="connsiteY2606" fmla="*/ 1176258 h 3047670"/>
              <a:gd name="connsiteX2607" fmla="*/ 55645 w 3044273"/>
              <a:gd name="connsiteY2607" fmla="*/ 1172239 h 3047670"/>
              <a:gd name="connsiteX2608" fmla="*/ 59664 w 3044273"/>
              <a:gd name="connsiteY2608" fmla="*/ 1168219 h 3047670"/>
              <a:gd name="connsiteX2609" fmla="*/ 1908215 w 3044273"/>
              <a:gd name="connsiteY2609" fmla="*/ 1167340 h 3047670"/>
              <a:gd name="connsiteX2610" fmla="*/ 1909345 w 3044273"/>
              <a:gd name="connsiteY2610" fmla="*/ 1168470 h 3047670"/>
              <a:gd name="connsiteX2611" fmla="*/ 1908215 w 3044273"/>
              <a:gd name="connsiteY2611" fmla="*/ 1169601 h 3047670"/>
              <a:gd name="connsiteX2612" fmla="*/ 1907085 w 3044273"/>
              <a:gd name="connsiteY2612" fmla="*/ 1168470 h 3047670"/>
              <a:gd name="connsiteX2613" fmla="*/ 1908215 w 3044273"/>
              <a:gd name="connsiteY2613" fmla="*/ 1167340 h 3047670"/>
              <a:gd name="connsiteX2614" fmla="*/ 876666 w 3044273"/>
              <a:gd name="connsiteY2614" fmla="*/ 1164199 h 3047670"/>
              <a:gd name="connsiteX2615" fmla="*/ 898271 w 3044273"/>
              <a:gd name="connsiteY2615" fmla="*/ 1185553 h 3047670"/>
              <a:gd name="connsiteX2616" fmla="*/ 876917 w 3044273"/>
              <a:gd name="connsiteY2616" fmla="*/ 1207159 h 3047670"/>
              <a:gd name="connsiteX2617" fmla="*/ 855437 w 3044273"/>
              <a:gd name="connsiteY2617" fmla="*/ 1185805 h 3047670"/>
              <a:gd name="connsiteX2618" fmla="*/ 876666 w 3044273"/>
              <a:gd name="connsiteY2618" fmla="*/ 1164199 h 3047670"/>
              <a:gd name="connsiteX2619" fmla="*/ 2164093 w 3044273"/>
              <a:gd name="connsiteY2619" fmla="*/ 1160053 h 3047670"/>
              <a:gd name="connsiteX2620" fmla="*/ 2185197 w 3044273"/>
              <a:gd name="connsiteY2620" fmla="*/ 1181030 h 3047670"/>
              <a:gd name="connsiteX2621" fmla="*/ 2164219 w 3044273"/>
              <a:gd name="connsiteY2621" fmla="*/ 1202133 h 3047670"/>
              <a:gd name="connsiteX2622" fmla="*/ 2143115 w 3044273"/>
              <a:gd name="connsiteY2622" fmla="*/ 1181156 h 3047670"/>
              <a:gd name="connsiteX2623" fmla="*/ 2164093 w 3044273"/>
              <a:gd name="connsiteY2623" fmla="*/ 1160053 h 3047670"/>
              <a:gd name="connsiteX2624" fmla="*/ 2488179 w 3044273"/>
              <a:gd name="connsiteY2624" fmla="*/ 1158169 h 3047670"/>
              <a:gd name="connsiteX2625" fmla="*/ 2519207 w 3044273"/>
              <a:gd name="connsiteY2625" fmla="*/ 1189071 h 3047670"/>
              <a:gd name="connsiteX2626" fmla="*/ 2488305 w 3044273"/>
              <a:gd name="connsiteY2626" fmla="*/ 1220223 h 3047670"/>
              <a:gd name="connsiteX2627" fmla="*/ 2457279 w 3044273"/>
              <a:gd name="connsiteY2627" fmla="*/ 1189321 h 3047670"/>
              <a:gd name="connsiteX2628" fmla="*/ 2488179 w 3044273"/>
              <a:gd name="connsiteY2628" fmla="*/ 1158169 h 3047670"/>
              <a:gd name="connsiteX2629" fmla="*/ 459121 w 3044273"/>
              <a:gd name="connsiteY2629" fmla="*/ 1156663 h 3047670"/>
              <a:gd name="connsiteX2630" fmla="*/ 477587 w 3044273"/>
              <a:gd name="connsiteY2630" fmla="*/ 1175002 h 3047670"/>
              <a:gd name="connsiteX2631" fmla="*/ 459248 w 3044273"/>
              <a:gd name="connsiteY2631" fmla="*/ 1193468 h 3047670"/>
              <a:gd name="connsiteX2632" fmla="*/ 440782 w 3044273"/>
              <a:gd name="connsiteY2632" fmla="*/ 1175129 h 3047670"/>
              <a:gd name="connsiteX2633" fmla="*/ 459121 w 3044273"/>
              <a:gd name="connsiteY2633" fmla="*/ 1156663 h 3047670"/>
              <a:gd name="connsiteX2634" fmla="*/ 2981342 w 3044273"/>
              <a:gd name="connsiteY2634" fmla="*/ 1156161 h 3047670"/>
              <a:gd name="connsiteX2635" fmla="*/ 2986869 w 3044273"/>
              <a:gd name="connsiteY2635" fmla="*/ 1161688 h 3047670"/>
              <a:gd name="connsiteX2636" fmla="*/ 2981342 w 3044273"/>
              <a:gd name="connsiteY2636" fmla="*/ 1167215 h 3047670"/>
              <a:gd name="connsiteX2637" fmla="*/ 2975815 w 3044273"/>
              <a:gd name="connsiteY2637" fmla="*/ 1161688 h 3047670"/>
              <a:gd name="connsiteX2638" fmla="*/ 2981342 w 3044273"/>
              <a:gd name="connsiteY2638" fmla="*/ 1156161 h 3047670"/>
              <a:gd name="connsiteX2639" fmla="*/ 2581762 w 3044273"/>
              <a:gd name="connsiteY2639" fmla="*/ 1139201 h 3047670"/>
              <a:gd name="connsiteX2640" fmla="*/ 2610025 w 3044273"/>
              <a:gd name="connsiteY2640" fmla="*/ 1167213 h 3047670"/>
              <a:gd name="connsiteX2641" fmla="*/ 2582013 w 3044273"/>
              <a:gd name="connsiteY2641" fmla="*/ 1195476 h 3047670"/>
              <a:gd name="connsiteX2642" fmla="*/ 2553750 w 3044273"/>
              <a:gd name="connsiteY2642" fmla="*/ 1167464 h 3047670"/>
              <a:gd name="connsiteX2643" fmla="*/ 2581762 w 3044273"/>
              <a:gd name="connsiteY2643" fmla="*/ 1139201 h 3047670"/>
              <a:gd name="connsiteX2644" fmla="*/ 365413 w 3044273"/>
              <a:gd name="connsiteY2644" fmla="*/ 1139074 h 3047670"/>
              <a:gd name="connsiteX2645" fmla="*/ 380487 w 3044273"/>
              <a:gd name="connsiteY2645" fmla="*/ 1154023 h 3047670"/>
              <a:gd name="connsiteX2646" fmla="*/ 365539 w 3044273"/>
              <a:gd name="connsiteY2646" fmla="*/ 1169097 h 3047670"/>
              <a:gd name="connsiteX2647" fmla="*/ 350465 w 3044273"/>
              <a:gd name="connsiteY2647" fmla="*/ 1154023 h 3047670"/>
              <a:gd name="connsiteX2648" fmla="*/ 365413 w 3044273"/>
              <a:gd name="connsiteY2648" fmla="*/ 1139074 h 3047670"/>
              <a:gd name="connsiteX2649" fmla="*/ 779816 w 3044273"/>
              <a:gd name="connsiteY2649" fmla="*/ 1134930 h 3047670"/>
              <a:gd name="connsiteX2650" fmla="*/ 807829 w 3044273"/>
              <a:gd name="connsiteY2650" fmla="*/ 1162691 h 3047670"/>
              <a:gd name="connsiteX2651" fmla="*/ 780067 w 3044273"/>
              <a:gd name="connsiteY2651" fmla="*/ 1190704 h 3047670"/>
              <a:gd name="connsiteX2652" fmla="*/ 752056 w 3044273"/>
              <a:gd name="connsiteY2652" fmla="*/ 1162943 h 3047670"/>
              <a:gd name="connsiteX2653" fmla="*/ 779816 w 3044273"/>
              <a:gd name="connsiteY2653" fmla="*/ 1134930 h 3047670"/>
              <a:gd name="connsiteX2654" fmla="*/ 1028029 w 3044273"/>
              <a:gd name="connsiteY2654" fmla="*/ 1133172 h 3047670"/>
              <a:gd name="connsiteX2655" fmla="*/ 1037325 w 3044273"/>
              <a:gd name="connsiteY2655" fmla="*/ 1142467 h 3047670"/>
              <a:gd name="connsiteX2656" fmla="*/ 1028029 w 3044273"/>
              <a:gd name="connsiteY2656" fmla="*/ 1151763 h 3047670"/>
              <a:gd name="connsiteX2657" fmla="*/ 1018735 w 3044273"/>
              <a:gd name="connsiteY2657" fmla="*/ 1142467 h 3047670"/>
              <a:gd name="connsiteX2658" fmla="*/ 1028029 w 3044273"/>
              <a:gd name="connsiteY2658" fmla="*/ 1133172 h 3047670"/>
              <a:gd name="connsiteX2659" fmla="*/ 2261066 w 3044273"/>
              <a:gd name="connsiteY2659" fmla="*/ 1128398 h 3047670"/>
              <a:gd name="connsiteX2660" fmla="*/ 2290336 w 3044273"/>
              <a:gd name="connsiteY2660" fmla="*/ 1157541 h 3047670"/>
              <a:gd name="connsiteX2661" fmla="*/ 2261192 w 3044273"/>
              <a:gd name="connsiteY2661" fmla="*/ 1186809 h 3047670"/>
              <a:gd name="connsiteX2662" fmla="*/ 2231798 w 3044273"/>
              <a:gd name="connsiteY2662" fmla="*/ 1157666 h 3047670"/>
              <a:gd name="connsiteX2663" fmla="*/ 2261066 w 3044273"/>
              <a:gd name="connsiteY2663" fmla="*/ 1128398 h 3047670"/>
              <a:gd name="connsiteX2664" fmla="*/ 2012727 w 3044273"/>
              <a:gd name="connsiteY2664" fmla="*/ 1127396 h 3047670"/>
              <a:gd name="connsiteX2665" fmla="*/ 2024283 w 3044273"/>
              <a:gd name="connsiteY2665" fmla="*/ 1138826 h 3047670"/>
              <a:gd name="connsiteX2666" fmla="*/ 2012853 w 3044273"/>
              <a:gd name="connsiteY2666" fmla="*/ 1150383 h 3047670"/>
              <a:gd name="connsiteX2667" fmla="*/ 2001297 w 3044273"/>
              <a:gd name="connsiteY2667" fmla="*/ 1138952 h 3047670"/>
              <a:gd name="connsiteX2668" fmla="*/ 2012727 w 3044273"/>
              <a:gd name="connsiteY2668" fmla="*/ 1127396 h 3047670"/>
              <a:gd name="connsiteX2669" fmla="*/ 271955 w 3044273"/>
              <a:gd name="connsiteY2669" fmla="*/ 1121113 h 3047670"/>
              <a:gd name="connsiteX2670" fmla="*/ 283763 w 3044273"/>
              <a:gd name="connsiteY2670" fmla="*/ 1132795 h 3047670"/>
              <a:gd name="connsiteX2671" fmla="*/ 272081 w 3044273"/>
              <a:gd name="connsiteY2671" fmla="*/ 1144604 h 3047670"/>
              <a:gd name="connsiteX2672" fmla="*/ 260273 w 3044273"/>
              <a:gd name="connsiteY2672" fmla="*/ 1132922 h 3047670"/>
              <a:gd name="connsiteX2673" fmla="*/ 271955 w 3044273"/>
              <a:gd name="connsiteY2673" fmla="*/ 1121113 h 3047670"/>
              <a:gd name="connsiteX2674" fmla="*/ 2675219 w 3044273"/>
              <a:gd name="connsiteY2674" fmla="*/ 1120737 h 3047670"/>
              <a:gd name="connsiteX2675" fmla="*/ 2700341 w 3044273"/>
              <a:gd name="connsiteY2675" fmla="*/ 1145608 h 3047670"/>
              <a:gd name="connsiteX2676" fmla="*/ 2675471 w 3044273"/>
              <a:gd name="connsiteY2676" fmla="*/ 1170731 h 3047670"/>
              <a:gd name="connsiteX2677" fmla="*/ 2650348 w 3044273"/>
              <a:gd name="connsiteY2677" fmla="*/ 1145735 h 3047670"/>
              <a:gd name="connsiteX2678" fmla="*/ 2675219 w 3044273"/>
              <a:gd name="connsiteY2678" fmla="*/ 1120737 h 3047670"/>
              <a:gd name="connsiteX2679" fmla="*/ 1199119 w 3044273"/>
              <a:gd name="connsiteY2679" fmla="*/ 1117094 h 3047670"/>
              <a:gd name="connsiteX2680" fmla="*/ 1199998 w 3044273"/>
              <a:gd name="connsiteY2680" fmla="*/ 1117974 h 3047670"/>
              <a:gd name="connsiteX2681" fmla="*/ 1199119 w 3044273"/>
              <a:gd name="connsiteY2681" fmla="*/ 1118853 h 3047670"/>
              <a:gd name="connsiteX2682" fmla="*/ 1198239 w 3044273"/>
              <a:gd name="connsiteY2682" fmla="*/ 1117974 h 3047670"/>
              <a:gd name="connsiteX2683" fmla="*/ 1199119 w 3044273"/>
              <a:gd name="connsiteY2683" fmla="*/ 1117094 h 3047670"/>
              <a:gd name="connsiteX2684" fmla="*/ 683595 w 3044273"/>
              <a:gd name="connsiteY2684" fmla="*/ 1114204 h 3047670"/>
              <a:gd name="connsiteX2685" fmla="*/ 710101 w 3044273"/>
              <a:gd name="connsiteY2685" fmla="*/ 1140457 h 3047670"/>
              <a:gd name="connsiteX2686" fmla="*/ 683847 w 3044273"/>
              <a:gd name="connsiteY2686" fmla="*/ 1166962 h 3047670"/>
              <a:gd name="connsiteX2687" fmla="*/ 657342 w 3044273"/>
              <a:gd name="connsiteY2687" fmla="*/ 1140709 h 3047670"/>
              <a:gd name="connsiteX2688" fmla="*/ 683595 w 3044273"/>
              <a:gd name="connsiteY2688" fmla="*/ 1114204 h 3047670"/>
              <a:gd name="connsiteX2689" fmla="*/ 1841388 w 3044273"/>
              <a:gd name="connsiteY2689" fmla="*/ 1114079 h 3047670"/>
              <a:gd name="connsiteX2690" fmla="*/ 1843020 w 3044273"/>
              <a:gd name="connsiteY2690" fmla="*/ 1115586 h 3047670"/>
              <a:gd name="connsiteX2691" fmla="*/ 1841388 w 3044273"/>
              <a:gd name="connsiteY2691" fmla="*/ 1117093 h 3047670"/>
              <a:gd name="connsiteX2692" fmla="*/ 1839880 w 3044273"/>
              <a:gd name="connsiteY2692" fmla="*/ 1115586 h 3047670"/>
              <a:gd name="connsiteX2693" fmla="*/ 1841388 w 3044273"/>
              <a:gd name="connsiteY2693" fmla="*/ 1114079 h 3047670"/>
              <a:gd name="connsiteX2694" fmla="*/ 2768678 w 3044273"/>
              <a:gd name="connsiteY2694" fmla="*/ 1110812 h 3047670"/>
              <a:gd name="connsiteX2695" fmla="*/ 2781742 w 3044273"/>
              <a:gd name="connsiteY2695" fmla="*/ 1123876 h 3047670"/>
              <a:gd name="connsiteX2696" fmla="*/ 2768678 w 3044273"/>
              <a:gd name="connsiteY2696" fmla="*/ 1136940 h 3047670"/>
              <a:gd name="connsiteX2697" fmla="*/ 2755614 w 3044273"/>
              <a:gd name="connsiteY2697" fmla="*/ 1123876 h 3047670"/>
              <a:gd name="connsiteX2698" fmla="*/ 2768678 w 3044273"/>
              <a:gd name="connsiteY2698" fmla="*/ 1110812 h 3047670"/>
              <a:gd name="connsiteX2699" fmla="*/ 178497 w 3044273"/>
              <a:gd name="connsiteY2699" fmla="*/ 1104783 h 3047670"/>
              <a:gd name="connsiteX2700" fmla="*/ 185657 w 3044273"/>
              <a:gd name="connsiteY2700" fmla="*/ 1111817 h 3047670"/>
              <a:gd name="connsiteX2701" fmla="*/ 178622 w 3044273"/>
              <a:gd name="connsiteY2701" fmla="*/ 1118977 h 3047670"/>
              <a:gd name="connsiteX2702" fmla="*/ 171463 w 3044273"/>
              <a:gd name="connsiteY2702" fmla="*/ 1111943 h 3047670"/>
              <a:gd name="connsiteX2703" fmla="*/ 178497 w 3044273"/>
              <a:gd name="connsiteY2703" fmla="*/ 1104783 h 3047670"/>
              <a:gd name="connsiteX2704" fmla="*/ 2356911 w 3044273"/>
              <a:gd name="connsiteY2704" fmla="*/ 1099634 h 3047670"/>
              <a:gd name="connsiteX2705" fmla="*/ 2391957 w 3044273"/>
              <a:gd name="connsiteY2705" fmla="*/ 1134430 h 3047670"/>
              <a:gd name="connsiteX2706" fmla="*/ 2357162 w 3044273"/>
              <a:gd name="connsiteY2706" fmla="*/ 1169477 h 3047670"/>
              <a:gd name="connsiteX2707" fmla="*/ 2322117 w 3044273"/>
              <a:gd name="connsiteY2707" fmla="*/ 1134680 h 3047670"/>
              <a:gd name="connsiteX2708" fmla="*/ 2356911 w 3044273"/>
              <a:gd name="connsiteY2708" fmla="*/ 1099634 h 3047670"/>
              <a:gd name="connsiteX2709" fmla="*/ 926031 w 3044273"/>
              <a:gd name="connsiteY2709" fmla="*/ 1098251 h 3047670"/>
              <a:gd name="connsiteX2710" fmla="*/ 943742 w 3044273"/>
              <a:gd name="connsiteY2710" fmla="*/ 1115962 h 3047670"/>
              <a:gd name="connsiteX2711" fmla="*/ 926158 w 3044273"/>
              <a:gd name="connsiteY2711" fmla="*/ 1133674 h 3047670"/>
              <a:gd name="connsiteX2712" fmla="*/ 908320 w 3044273"/>
              <a:gd name="connsiteY2712" fmla="*/ 1116087 h 3047670"/>
              <a:gd name="connsiteX2713" fmla="*/ 926031 w 3044273"/>
              <a:gd name="connsiteY2713" fmla="*/ 1098251 h 3047670"/>
              <a:gd name="connsiteX2714" fmla="*/ 588003 w 3044273"/>
              <a:gd name="connsiteY2714" fmla="*/ 1097749 h 3047670"/>
              <a:gd name="connsiteX2715" fmla="*/ 608856 w 3044273"/>
              <a:gd name="connsiteY2715" fmla="*/ 1118475 h 3047670"/>
              <a:gd name="connsiteX2716" fmla="*/ 588128 w 3044273"/>
              <a:gd name="connsiteY2716" fmla="*/ 1139328 h 3047670"/>
              <a:gd name="connsiteX2717" fmla="*/ 567276 w 3044273"/>
              <a:gd name="connsiteY2717" fmla="*/ 1118602 h 3047670"/>
              <a:gd name="connsiteX2718" fmla="*/ 588003 w 3044273"/>
              <a:gd name="connsiteY2718" fmla="*/ 1097749 h 3047670"/>
              <a:gd name="connsiteX2719" fmla="*/ 2861884 w 3044273"/>
              <a:gd name="connsiteY2719" fmla="*/ 1094859 h 3047670"/>
              <a:gd name="connsiteX2720" fmla="*/ 2869169 w 3044273"/>
              <a:gd name="connsiteY2720" fmla="*/ 1102144 h 3047670"/>
              <a:gd name="connsiteX2721" fmla="*/ 2861884 w 3044273"/>
              <a:gd name="connsiteY2721" fmla="*/ 1109430 h 3047670"/>
              <a:gd name="connsiteX2722" fmla="*/ 2854598 w 3044273"/>
              <a:gd name="connsiteY2722" fmla="*/ 1102144 h 3047670"/>
              <a:gd name="connsiteX2723" fmla="*/ 2861884 w 3044273"/>
              <a:gd name="connsiteY2723" fmla="*/ 1094859 h 3047670"/>
              <a:gd name="connsiteX2724" fmla="*/ 2114601 w 3044273"/>
              <a:gd name="connsiteY2724" fmla="*/ 1091594 h 3047670"/>
              <a:gd name="connsiteX2725" fmla="*/ 2134825 w 3044273"/>
              <a:gd name="connsiteY2725" fmla="*/ 1111692 h 3047670"/>
              <a:gd name="connsiteX2726" fmla="*/ 2114727 w 3044273"/>
              <a:gd name="connsiteY2726" fmla="*/ 1131916 h 3047670"/>
              <a:gd name="connsiteX2727" fmla="*/ 2094503 w 3044273"/>
              <a:gd name="connsiteY2727" fmla="*/ 1111818 h 3047670"/>
              <a:gd name="connsiteX2728" fmla="*/ 2114601 w 3044273"/>
              <a:gd name="connsiteY2728" fmla="*/ 1091594 h 3047670"/>
              <a:gd name="connsiteX2729" fmla="*/ 85165 w 3044273"/>
              <a:gd name="connsiteY2729" fmla="*/ 1087574 h 3047670"/>
              <a:gd name="connsiteX2730" fmla="*/ 88556 w 3044273"/>
              <a:gd name="connsiteY2730" fmla="*/ 1090840 h 3047670"/>
              <a:gd name="connsiteX2731" fmla="*/ 85291 w 3044273"/>
              <a:gd name="connsiteY2731" fmla="*/ 1094107 h 3047670"/>
              <a:gd name="connsiteX2732" fmla="*/ 81899 w 3044273"/>
              <a:gd name="connsiteY2732" fmla="*/ 1090840 h 3047670"/>
              <a:gd name="connsiteX2733" fmla="*/ 85165 w 3044273"/>
              <a:gd name="connsiteY2733" fmla="*/ 1087574 h 3047670"/>
              <a:gd name="connsiteX2734" fmla="*/ 2452379 w 3044273"/>
              <a:gd name="connsiteY2734" fmla="*/ 1080791 h 3047670"/>
              <a:gd name="connsiteX2735" fmla="*/ 2483532 w 3044273"/>
              <a:gd name="connsiteY2735" fmla="*/ 1111691 h 3047670"/>
              <a:gd name="connsiteX2736" fmla="*/ 2452630 w 3044273"/>
              <a:gd name="connsiteY2736" fmla="*/ 1142845 h 3047670"/>
              <a:gd name="connsiteX2737" fmla="*/ 2421604 w 3044273"/>
              <a:gd name="connsiteY2737" fmla="*/ 1111943 h 3047670"/>
              <a:gd name="connsiteX2738" fmla="*/ 2452379 w 3044273"/>
              <a:gd name="connsiteY2738" fmla="*/ 1080791 h 3047670"/>
              <a:gd name="connsiteX2739" fmla="*/ 492912 w 3044273"/>
              <a:gd name="connsiteY2739" fmla="*/ 1079533 h 3047670"/>
              <a:gd name="connsiteX2740" fmla="*/ 510247 w 3044273"/>
              <a:gd name="connsiteY2740" fmla="*/ 1096741 h 3047670"/>
              <a:gd name="connsiteX2741" fmla="*/ 493038 w 3044273"/>
              <a:gd name="connsiteY2741" fmla="*/ 1114076 h 3047670"/>
              <a:gd name="connsiteX2742" fmla="*/ 475703 w 3044273"/>
              <a:gd name="connsiteY2742" fmla="*/ 1096867 h 3047670"/>
              <a:gd name="connsiteX2743" fmla="*/ 492912 w 3044273"/>
              <a:gd name="connsiteY2743" fmla="*/ 1079533 h 3047670"/>
              <a:gd name="connsiteX2744" fmla="*/ 2955090 w 3044273"/>
              <a:gd name="connsiteY2744" fmla="*/ 1077649 h 3047670"/>
              <a:gd name="connsiteX2745" fmla="*/ 2957978 w 3044273"/>
              <a:gd name="connsiteY2745" fmla="*/ 1080539 h 3047670"/>
              <a:gd name="connsiteX2746" fmla="*/ 2955090 w 3044273"/>
              <a:gd name="connsiteY2746" fmla="*/ 1083427 h 3047670"/>
              <a:gd name="connsiteX2747" fmla="*/ 2952200 w 3044273"/>
              <a:gd name="connsiteY2747" fmla="*/ 1080539 h 3047670"/>
              <a:gd name="connsiteX2748" fmla="*/ 2955090 w 3044273"/>
              <a:gd name="connsiteY2748" fmla="*/ 1077649 h 3047670"/>
              <a:gd name="connsiteX2749" fmla="*/ 1951427 w 3044273"/>
              <a:gd name="connsiteY2749" fmla="*/ 1074635 h 3047670"/>
              <a:gd name="connsiteX2750" fmla="*/ 1956577 w 3044273"/>
              <a:gd name="connsiteY2750" fmla="*/ 1079659 h 3047670"/>
              <a:gd name="connsiteX2751" fmla="*/ 1951427 w 3044273"/>
              <a:gd name="connsiteY2751" fmla="*/ 1084809 h 3047670"/>
              <a:gd name="connsiteX2752" fmla="*/ 1946277 w 3044273"/>
              <a:gd name="connsiteY2752" fmla="*/ 1079785 h 3047670"/>
              <a:gd name="connsiteX2753" fmla="*/ 1951427 w 3044273"/>
              <a:gd name="connsiteY2753" fmla="*/ 1074635 h 3047670"/>
              <a:gd name="connsiteX2754" fmla="*/ 1272730 w 3044273"/>
              <a:gd name="connsiteY2754" fmla="*/ 1074134 h 3047670"/>
              <a:gd name="connsiteX2755" fmla="*/ 1273609 w 3044273"/>
              <a:gd name="connsiteY2755" fmla="*/ 1075014 h 3047670"/>
              <a:gd name="connsiteX2756" fmla="*/ 1272730 w 3044273"/>
              <a:gd name="connsiteY2756" fmla="*/ 1075893 h 3047670"/>
              <a:gd name="connsiteX2757" fmla="*/ 1271850 w 3044273"/>
              <a:gd name="connsiteY2757" fmla="*/ 1075014 h 3047670"/>
              <a:gd name="connsiteX2758" fmla="*/ 1272730 w 3044273"/>
              <a:gd name="connsiteY2758" fmla="*/ 1074134 h 3047670"/>
              <a:gd name="connsiteX2759" fmla="*/ 1088953 w 3044273"/>
              <a:gd name="connsiteY2759" fmla="*/ 1073630 h 3047670"/>
              <a:gd name="connsiteX2760" fmla="*/ 1098374 w 3044273"/>
              <a:gd name="connsiteY2760" fmla="*/ 1082925 h 3047670"/>
              <a:gd name="connsiteX2761" fmla="*/ 1089078 w 3044273"/>
              <a:gd name="connsiteY2761" fmla="*/ 1092221 h 3047670"/>
              <a:gd name="connsiteX2762" fmla="*/ 1079784 w 3044273"/>
              <a:gd name="connsiteY2762" fmla="*/ 1082925 h 3047670"/>
              <a:gd name="connsiteX2763" fmla="*/ 1088953 w 3044273"/>
              <a:gd name="connsiteY2763" fmla="*/ 1073630 h 3047670"/>
              <a:gd name="connsiteX2764" fmla="*/ 1767401 w 3044273"/>
              <a:gd name="connsiteY2764" fmla="*/ 1072751 h 3047670"/>
              <a:gd name="connsiteX2765" fmla="*/ 1767904 w 3044273"/>
              <a:gd name="connsiteY2765" fmla="*/ 1073128 h 3047670"/>
              <a:gd name="connsiteX2766" fmla="*/ 1767527 w 3044273"/>
              <a:gd name="connsiteY2766" fmla="*/ 1073631 h 3047670"/>
              <a:gd name="connsiteX2767" fmla="*/ 1767024 w 3044273"/>
              <a:gd name="connsiteY2767" fmla="*/ 1073254 h 3047670"/>
              <a:gd name="connsiteX2768" fmla="*/ 1767401 w 3044273"/>
              <a:gd name="connsiteY2768" fmla="*/ 1072751 h 3047670"/>
              <a:gd name="connsiteX2769" fmla="*/ 825917 w 3044273"/>
              <a:gd name="connsiteY2769" fmla="*/ 1064838 h 3047670"/>
              <a:gd name="connsiteX2770" fmla="*/ 852297 w 3044273"/>
              <a:gd name="connsiteY2770" fmla="*/ 1091091 h 3047670"/>
              <a:gd name="connsiteX2771" fmla="*/ 826043 w 3044273"/>
              <a:gd name="connsiteY2771" fmla="*/ 1117471 h 3047670"/>
              <a:gd name="connsiteX2772" fmla="*/ 799538 w 3044273"/>
              <a:gd name="connsiteY2772" fmla="*/ 1091218 h 3047670"/>
              <a:gd name="connsiteX2773" fmla="*/ 825917 w 3044273"/>
              <a:gd name="connsiteY2773" fmla="*/ 1064838 h 3047670"/>
              <a:gd name="connsiteX2774" fmla="*/ 2547470 w 3044273"/>
              <a:gd name="connsiteY2774" fmla="*/ 1064335 h 3047670"/>
              <a:gd name="connsiteX2775" fmla="*/ 2572593 w 3044273"/>
              <a:gd name="connsiteY2775" fmla="*/ 1089206 h 3047670"/>
              <a:gd name="connsiteX2776" fmla="*/ 2547596 w 3044273"/>
              <a:gd name="connsiteY2776" fmla="*/ 1114329 h 3047670"/>
              <a:gd name="connsiteX2777" fmla="*/ 2522473 w 3044273"/>
              <a:gd name="connsiteY2777" fmla="*/ 1089458 h 3047670"/>
              <a:gd name="connsiteX2778" fmla="*/ 2547470 w 3044273"/>
              <a:gd name="connsiteY2778" fmla="*/ 1064335 h 3047670"/>
              <a:gd name="connsiteX2779" fmla="*/ 398073 w 3044273"/>
              <a:gd name="connsiteY2779" fmla="*/ 1060566 h 3047670"/>
              <a:gd name="connsiteX2780" fmla="*/ 412769 w 3044273"/>
              <a:gd name="connsiteY2780" fmla="*/ 1075137 h 3047670"/>
              <a:gd name="connsiteX2781" fmla="*/ 398198 w 3044273"/>
              <a:gd name="connsiteY2781" fmla="*/ 1089834 h 3047670"/>
              <a:gd name="connsiteX2782" fmla="*/ 383627 w 3044273"/>
              <a:gd name="connsiteY2782" fmla="*/ 1075263 h 3047670"/>
              <a:gd name="connsiteX2783" fmla="*/ 398073 w 3044273"/>
              <a:gd name="connsiteY2783" fmla="*/ 1060566 h 3047670"/>
              <a:gd name="connsiteX2784" fmla="*/ 2214465 w 3044273"/>
              <a:gd name="connsiteY2784" fmla="*/ 1059184 h 3047670"/>
              <a:gd name="connsiteX2785" fmla="*/ 2241348 w 3044273"/>
              <a:gd name="connsiteY2785" fmla="*/ 1085940 h 3047670"/>
              <a:gd name="connsiteX2786" fmla="*/ 2214590 w 3044273"/>
              <a:gd name="connsiteY2786" fmla="*/ 1112822 h 3047670"/>
              <a:gd name="connsiteX2787" fmla="*/ 2187709 w 3044273"/>
              <a:gd name="connsiteY2787" fmla="*/ 1086191 h 3047670"/>
              <a:gd name="connsiteX2788" fmla="*/ 2214465 w 3044273"/>
              <a:gd name="connsiteY2788" fmla="*/ 1059184 h 3047670"/>
              <a:gd name="connsiteX2789" fmla="*/ 2642057 w 3044273"/>
              <a:gd name="connsiteY2789" fmla="*/ 1047126 h 3047670"/>
              <a:gd name="connsiteX2790" fmla="*/ 2662029 w 3044273"/>
              <a:gd name="connsiteY2790" fmla="*/ 1066974 h 3047670"/>
              <a:gd name="connsiteX2791" fmla="*/ 2642183 w 3044273"/>
              <a:gd name="connsiteY2791" fmla="*/ 1086946 h 3047670"/>
              <a:gd name="connsiteX2792" fmla="*/ 2622210 w 3044273"/>
              <a:gd name="connsiteY2792" fmla="*/ 1067099 h 3047670"/>
              <a:gd name="connsiteX2793" fmla="*/ 2642057 w 3044273"/>
              <a:gd name="connsiteY2793" fmla="*/ 1047126 h 3047670"/>
              <a:gd name="connsiteX2794" fmla="*/ 303610 w 3044273"/>
              <a:gd name="connsiteY2794" fmla="*/ 1041975 h 3047670"/>
              <a:gd name="connsiteX2795" fmla="*/ 315418 w 3044273"/>
              <a:gd name="connsiteY2795" fmla="*/ 1053657 h 3047670"/>
              <a:gd name="connsiteX2796" fmla="*/ 303736 w 3044273"/>
              <a:gd name="connsiteY2796" fmla="*/ 1065466 h 3047670"/>
              <a:gd name="connsiteX2797" fmla="*/ 291928 w 3044273"/>
              <a:gd name="connsiteY2797" fmla="*/ 1053784 h 3047670"/>
              <a:gd name="connsiteX2798" fmla="*/ 303610 w 3044273"/>
              <a:gd name="connsiteY2798" fmla="*/ 1041975 h 3047670"/>
              <a:gd name="connsiteX2799" fmla="*/ 1351993 w 3044273"/>
              <a:gd name="connsiteY2799" fmla="*/ 1041348 h 3047670"/>
              <a:gd name="connsiteX2800" fmla="*/ 1354255 w 3044273"/>
              <a:gd name="connsiteY2800" fmla="*/ 1043610 h 3047670"/>
              <a:gd name="connsiteX2801" fmla="*/ 1352119 w 3044273"/>
              <a:gd name="connsiteY2801" fmla="*/ 1045870 h 3047670"/>
              <a:gd name="connsiteX2802" fmla="*/ 1349857 w 3044273"/>
              <a:gd name="connsiteY2802" fmla="*/ 1043610 h 3047670"/>
              <a:gd name="connsiteX2803" fmla="*/ 1351993 w 3044273"/>
              <a:gd name="connsiteY2803" fmla="*/ 1041348 h 3047670"/>
              <a:gd name="connsiteX2804" fmla="*/ 1688012 w 3044273"/>
              <a:gd name="connsiteY2804" fmla="*/ 1039840 h 3047670"/>
              <a:gd name="connsiteX2805" fmla="*/ 1690649 w 3044273"/>
              <a:gd name="connsiteY2805" fmla="*/ 1042477 h 3047670"/>
              <a:gd name="connsiteX2806" fmla="*/ 1688012 w 3044273"/>
              <a:gd name="connsiteY2806" fmla="*/ 1045115 h 3047670"/>
              <a:gd name="connsiteX2807" fmla="*/ 1685375 w 3044273"/>
              <a:gd name="connsiteY2807" fmla="*/ 1042477 h 3047670"/>
              <a:gd name="connsiteX2808" fmla="*/ 1688012 w 3044273"/>
              <a:gd name="connsiteY2808" fmla="*/ 1039840 h 3047670"/>
              <a:gd name="connsiteX2809" fmla="*/ 727058 w 3044273"/>
              <a:gd name="connsiteY2809" fmla="*/ 1037579 h 3047670"/>
              <a:gd name="connsiteX2810" fmla="*/ 756830 w 3044273"/>
              <a:gd name="connsiteY2810" fmla="*/ 1067098 h 3047670"/>
              <a:gd name="connsiteX2811" fmla="*/ 727310 w 3044273"/>
              <a:gd name="connsiteY2811" fmla="*/ 1096870 h 3047670"/>
              <a:gd name="connsiteX2812" fmla="*/ 697539 w 3044273"/>
              <a:gd name="connsiteY2812" fmla="*/ 1067350 h 3047670"/>
              <a:gd name="connsiteX2813" fmla="*/ 727058 w 3044273"/>
              <a:gd name="connsiteY2813" fmla="*/ 1037579 h 3047670"/>
              <a:gd name="connsiteX2814" fmla="*/ 982559 w 3044273"/>
              <a:gd name="connsiteY2814" fmla="*/ 1034565 h 3047670"/>
              <a:gd name="connsiteX2815" fmla="*/ 1000270 w 3044273"/>
              <a:gd name="connsiteY2815" fmla="*/ 1052276 h 3047670"/>
              <a:gd name="connsiteX2816" fmla="*/ 982686 w 3044273"/>
              <a:gd name="connsiteY2816" fmla="*/ 1069987 h 3047670"/>
              <a:gd name="connsiteX2817" fmla="*/ 964848 w 3044273"/>
              <a:gd name="connsiteY2817" fmla="*/ 1052276 h 3047670"/>
              <a:gd name="connsiteX2818" fmla="*/ 982559 w 3044273"/>
              <a:gd name="connsiteY2818" fmla="*/ 1034565 h 3047670"/>
              <a:gd name="connsiteX2819" fmla="*/ 2736395 w 3044273"/>
              <a:gd name="connsiteY2819" fmla="*/ 1031926 h 3047670"/>
              <a:gd name="connsiteX2820" fmla="*/ 2749459 w 3044273"/>
              <a:gd name="connsiteY2820" fmla="*/ 1044990 h 3047670"/>
              <a:gd name="connsiteX2821" fmla="*/ 2736395 w 3044273"/>
              <a:gd name="connsiteY2821" fmla="*/ 1058054 h 3047670"/>
              <a:gd name="connsiteX2822" fmla="*/ 2723331 w 3044273"/>
              <a:gd name="connsiteY2822" fmla="*/ 1044990 h 3047670"/>
              <a:gd name="connsiteX2823" fmla="*/ 2736395 w 3044273"/>
              <a:gd name="connsiteY2823" fmla="*/ 1031926 h 3047670"/>
              <a:gd name="connsiteX2824" fmla="*/ 2057571 w 3044273"/>
              <a:gd name="connsiteY2824" fmla="*/ 1028158 h 3047670"/>
              <a:gd name="connsiteX2825" fmla="*/ 2077795 w 3044273"/>
              <a:gd name="connsiteY2825" fmla="*/ 1048256 h 3047670"/>
              <a:gd name="connsiteX2826" fmla="*/ 2057697 w 3044273"/>
              <a:gd name="connsiteY2826" fmla="*/ 1068480 h 3047670"/>
              <a:gd name="connsiteX2827" fmla="*/ 2037473 w 3044273"/>
              <a:gd name="connsiteY2827" fmla="*/ 1048382 h 3047670"/>
              <a:gd name="connsiteX2828" fmla="*/ 2057571 w 3044273"/>
              <a:gd name="connsiteY2828" fmla="*/ 1028158 h 3047670"/>
              <a:gd name="connsiteX2829" fmla="*/ 2312948 w 3044273"/>
              <a:gd name="connsiteY2829" fmla="*/ 1028033 h 3047670"/>
              <a:gd name="connsiteX2830" fmla="*/ 2346487 w 3044273"/>
              <a:gd name="connsiteY2830" fmla="*/ 1061320 h 3047670"/>
              <a:gd name="connsiteX2831" fmla="*/ 2313199 w 3044273"/>
              <a:gd name="connsiteY2831" fmla="*/ 1094859 h 3047670"/>
              <a:gd name="connsiteX2832" fmla="*/ 2279661 w 3044273"/>
              <a:gd name="connsiteY2832" fmla="*/ 1061571 h 3047670"/>
              <a:gd name="connsiteX2833" fmla="*/ 2312948 w 3044273"/>
              <a:gd name="connsiteY2833" fmla="*/ 1028033 h 3047670"/>
              <a:gd name="connsiteX2834" fmla="*/ 209399 w 3044273"/>
              <a:gd name="connsiteY2834" fmla="*/ 1026901 h 3047670"/>
              <a:gd name="connsiteX2835" fmla="*/ 214926 w 3044273"/>
              <a:gd name="connsiteY2835" fmla="*/ 1032428 h 3047670"/>
              <a:gd name="connsiteX2836" fmla="*/ 209399 w 3044273"/>
              <a:gd name="connsiteY2836" fmla="*/ 1037955 h 3047670"/>
              <a:gd name="connsiteX2837" fmla="*/ 203872 w 3044273"/>
              <a:gd name="connsiteY2837" fmla="*/ 1032428 h 3047670"/>
              <a:gd name="connsiteX2838" fmla="*/ 209399 w 3044273"/>
              <a:gd name="connsiteY2838" fmla="*/ 1026901 h 3047670"/>
              <a:gd name="connsiteX2839" fmla="*/ 1435023 w 3044273"/>
              <a:gd name="connsiteY2839" fmla="*/ 1023259 h 3047670"/>
              <a:gd name="connsiteX2840" fmla="*/ 1436155 w 3044273"/>
              <a:gd name="connsiteY2840" fmla="*/ 1024389 h 3047670"/>
              <a:gd name="connsiteX2841" fmla="*/ 1435023 w 3044273"/>
              <a:gd name="connsiteY2841" fmla="*/ 1025520 h 3047670"/>
              <a:gd name="connsiteX2842" fmla="*/ 1433893 w 3044273"/>
              <a:gd name="connsiteY2842" fmla="*/ 1024389 h 3047670"/>
              <a:gd name="connsiteX2843" fmla="*/ 1435023 w 3044273"/>
              <a:gd name="connsiteY2843" fmla="*/ 1023259 h 3047670"/>
              <a:gd name="connsiteX2844" fmla="*/ 1604981 w 3044273"/>
              <a:gd name="connsiteY2844" fmla="*/ 1022631 h 3047670"/>
              <a:gd name="connsiteX2845" fmla="*/ 1606113 w 3044273"/>
              <a:gd name="connsiteY2845" fmla="*/ 1023761 h 3047670"/>
              <a:gd name="connsiteX2846" fmla="*/ 1604981 w 3044273"/>
              <a:gd name="connsiteY2846" fmla="*/ 1024891 h 3047670"/>
              <a:gd name="connsiteX2847" fmla="*/ 1603851 w 3044273"/>
              <a:gd name="connsiteY2847" fmla="*/ 1023761 h 3047670"/>
              <a:gd name="connsiteX2848" fmla="*/ 1604981 w 3044273"/>
              <a:gd name="connsiteY2848" fmla="*/ 1022631 h 3047670"/>
              <a:gd name="connsiteX2849" fmla="*/ 1157039 w 3044273"/>
              <a:gd name="connsiteY2849" fmla="*/ 1022003 h 3047670"/>
              <a:gd name="connsiteX2850" fmla="*/ 1166585 w 3044273"/>
              <a:gd name="connsiteY2850" fmla="*/ 1031550 h 3047670"/>
              <a:gd name="connsiteX2851" fmla="*/ 1157164 w 3044273"/>
              <a:gd name="connsiteY2851" fmla="*/ 1041096 h 3047670"/>
              <a:gd name="connsiteX2852" fmla="*/ 1147618 w 3044273"/>
              <a:gd name="connsiteY2852" fmla="*/ 1031675 h 3047670"/>
              <a:gd name="connsiteX2853" fmla="*/ 1157039 w 3044273"/>
              <a:gd name="connsiteY2853" fmla="*/ 1022003 h 3047670"/>
              <a:gd name="connsiteX2854" fmla="*/ 629330 w 3044273"/>
              <a:gd name="connsiteY2854" fmla="*/ 1019491 h 3047670"/>
              <a:gd name="connsiteX2855" fmla="*/ 653950 w 3044273"/>
              <a:gd name="connsiteY2855" fmla="*/ 1043986 h 3047670"/>
              <a:gd name="connsiteX2856" fmla="*/ 629455 w 3044273"/>
              <a:gd name="connsiteY2856" fmla="*/ 1068606 h 3047670"/>
              <a:gd name="connsiteX2857" fmla="*/ 604835 w 3044273"/>
              <a:gd name="connsiteY2857" fmla="*/ 1044111 h 3047670"/>
              <a:gd name="connsiteX2858" fmla="*/ 629330 w 3044273"/>
              <a:gd name="connsiteY2858" fmla="*/ 1019491 h 3047670"/>
              <a:gd name="connsiteX2859" fmla="*/ 2830480 w 3044273"/>
              <a:gd name="connsiteY2859" fmla="*/ 1019113 h 3047670"/>
              <a:gd name="connsiteX2860" fmla="*/ 2834248 w 3044273"/>
              <a:gd name="connsiteY2860" fmla="*/ 1022882 h 3047670"/>
              <a:gd name="connsiteX2861" fmla="*/ 2830480 w 3044273"/>
              <a:gd name="connsiteY2861" fmla="*/ 1026650 h 3047670"/>
              <a:gd name="connsiteX2862" fmla="*/ 2826711 w 3044273"/>
              <a:gd name="connsiteY2862" fmla="*/ 1022882 h 3047670"/>
              <a:gd name="connsiteX2863" fmla="*/ 2830480 w 3044273"/>
              <a:gd name="connsiteY2863" fmla="*/ 1019113 h 3047670"/>
              <a:gd name="connsiteX2864" fmla="*/ 1519941 w 3044273"/>
              <a:gd name="connsiteY2864" fmla="*/ 1016852 h 3047670"/>
              <a:gd name="connsiteX2865" fmla="*/ 1520820 w 3044273"/>
              <a:gd name="connsiteY2865" fmla="*/ 1017732 h 3047670"/>
              <a:gd name="connsiteX2866" fmla="*/ 1519941 w 3044273"/>
              <a:gd name="connsiteY2866" fmla="*/ 1018611 h 3047670"/>
              <a:gd name="connsiteX2867" fmla="*/ 1519061 w 3044273"/>
              <a:gd name="connsiteY2867" fmla="*/ 1017732 h 3047670"/>
              <a:gd name="connsiteX2868" fmla="*/ 1519941 w 3044273"/>
              <a:gd name="connsiteY2868" fmla="*/ 1016852 h 3047670"/>
              <a:gd name="connsiteX2869" fmla="*/ 1882967 w 3044273"/>
              <a:gd name="connsiteY2869" fmla="*/ 1016226 h 3047670"/>
              <a:gd name="connsiteX2870" fmla="*/ 1895779 w 3044273"/>
              <a:gd name="connsiteY2870" fmla="*/ 1029038 h 3047670"/>
              <a:gd name="connsiteX2871" fmla="*/ 1882967 w 3044273"/>
              <a:gd name="connsiteY2871" fmla="*/ 1041977 h 3047670"/>
              <a:gd name="connsiteX2872" fmla="*/ 1870028 w 3044273"/>
              <a:gd name="connsiteY2872" fmla="*/ 1029165 h 3047670"/>
              <a:gd name="connsiteX2873" fmla="*/ 1882967 w 3044273"/>
              <a:gd name="connsiteY2873" fmla="*/ 1016226 h 3047670"/>
              <a:gd name="connsiteX2874" fmla="*/ 115313 w 3044273"/>
              <a:gd name="connsiteY2874" fmla="*/ 1008562 h 3047670"/>
              <a:gd name="connsiteX2875" fmla="*/ 117825 w 3044273"/>
              <a:gd name="connsiteY2875" fmla="*/ 1010949 h 3047670"/>
              <a:gd name="connsiteX2876" fmla="*/ 115439 w 3044273"/>
              <a:gd name="connsiteY2876" fmla="*/ 1013461 h 3047670"/>
              <a:gd name="connsiteX2877" fmla="*/ 112927 w 3044273"/>
              <a:gd name="connsiteY2877" fmla="*/ 1011074 h 3047670"/>
              <a:gd name="connsiteX2878" fmla="*/ 115313 w 3044273"/>
              <a:gd name="connsiteY2878" fmla="*/ 1008562 h 3047670"/>
              <a:gd name="connsiteX2879" fmla="*/ 532479 w 3044273"/>
              <a:gd name="connsiteY2879" fmla="*/ 1004667 h 3047670"/>
              <a:gd name="connsiteX2880" fmla="*/ 549186 w 3044273"/>
              <a:gd name="connsiteY2880" fmla="*/ 1021248 h 3047670"/>
              <a:gd name="connsiteX2881" fmla="*/ 532604 w 3044273"/>
              <a:gd name="connsiteY2881" fmla="*/ 1037955 h 3047670"/>
              <a:gd name="connsiteX2882" fmla="*/ 515898 w 3044273"/>
              <a:gd name="connsiteY2882" fmla="*/ 1021374 h 3047670"/>
              <a:gd name="connsiteX2883" fmla="*/ 532479 w 3044273"/>
              <a:gd name="connsiteY2883" fmla="*/ 1004667 h 3047670"/>
              <a:gd name="connsiteX2884" fmla="*/ 2410549 w 3044273"/>
              <a:gd name="connsiteY2884" fmla="*/ 1004165 h 3047670"/>
              <a:gd name="connsiteX2885" fmla="*/ 2444088 w 3044273"/>
              <a:gd name="connsiteY2885" fmla="*/ 1037452 h 3047670"/>
              <a:gd name="connsiteX2886" fmla="*/ 2410800 w 3044273"/>
              <a:gd name="connsiteY2886" fmla="*/ 1070991 h 3047670"/>
              <a:gd name="connsiteX2887" fmla="*/ 2377262 w 3044273"/>
              <a:gd name="connsiteY2887" fmla="*/ 1037704 h 3047670"/>
              <a:gd name="connsiteX2888" fmla="*/ 2410549 w 3044273"/>
              <a:gd name="connsiteY2888" fmla="*/ 1004165 h 3047670"/>
              <a:gd name="connsiteX2889" fmla="*/ 2924439 w 3044273"/>
              <a:gd name="connsiteY2889" fmla="*/ 999644 h 3047670"/>
              <a:gd name="connsiteX2890" fmla="*/ 2925822 w 3044273"/>
              <a:gd name="connsiteY2890" fmla="*/ 1000900 h 3047670"/>
              <a:gd name="connsiteX2891" fmla="*/ 2924439 w 3044273"/>
              <a:gd name="connsiteY2891" fmla="*/ 1002156 h 3047670"/>
              <a:gd name="connsiteX2892" fmla="*/ 2923057 w 3044273"/>
              <a:gd name="connsiteY2892" fmla="*/ 1000900 h 3047670"/>
              <a:gd name="connsiteX2893" fmla="*/ 2924439 w 3044273"/>
              <a:gd name="connsiteY2893" fmla="*/ 999644 h 3047670"/>
              <a:gd name="connsiteX2894" fmla="*/ 878675 w 3044273"/>
              <a:gd name="connsiteY2894" fmla="*/ 993740 h 3047670"/>
              <a:gd name="connsiteX2895" fmla="*/ 909326 w 3044273"/>
              <a:gd name="connsiteY2895" fmla="*/ 1024139 h 3047670"/>
              <a:gd name="connsiteX2896" fmla="*/ 878927 w 3044273"/>
              <a:gd name="connsiteY2896" fmla="*/ 1054790 h 3047670"/>
              <a:gd name="connsiteX2897" fmla="*/ 848277 w 3044273"/>
              <a:gd name="connsiteY2897" fmla="*/ 1024391 h 3047670"/>
              <a:gd name="connsiteX2898" fmla="*/ 878675 w 3044273"/>
              <a:gd name="connsiteY2898" fmla="*/ 993740 h 3047670"/>
              <a:gd name="connsiteX2899" fmla="*/ 2160953 w 3044273"/>
              <a:gd name="connsiteY2899" fmla="*/ 989090 h 3047670"/>
              <a:gd name="connsiteX2900" fmla="*/ 2191604 w 3044273"/>
              <a:gd name="connsiteY2900" fmla="*/ 1019489 h 3047670"/>
              <a:gd name="connsiteX2901" fmla="*/ 2161205 w 3044273"/>
              <a:gd name="connsiteY2901" fmla="*/ 1050140 h 3047670"/>
              <a:gd name="connsiteX2902" fmla="*/ 2130554 w 3044273"/>
              <a:gd name="connsiteY2902" fmla="*/ 1019741 h 3047670"/>
              <a:gd name="connsiteX2903" fmla="*/ 2160953 w 3044273"/>
              <a:gd name="connsiteY2903" fmla="*/ 989090 h 3047670"/>
              <a:gd name="connsiteX2904" fmla="*/ 2507272 w 3044273"/>
              <a:gd name="connsiteY2904" fmla="*/ 985826 h 3047670"/>
              <a:gd name="connsiteX2905" fmla="*/ 2535661 w 3044273"/>
              <a:gd name="connsiteY2905" fmla="*/ 1014089 h 3047670"/>
              <a:gd name="connsiteX2906" fmla="*/ 2507397 w 3044273"/>
              <a:gd name="connsiteY2906" fmla="*/ 1042478 h 3047670"/>
              <a:gd name="connsiteX2907" fmla="*/ 2479009 w 3044273"/>
              <a:gd name="connsiteY2907" fmla="*/ 1014214 h 3047670"/>
              <a:gd name="connsiteX2908" fmla="*/ 2507272 w 3044273"/>
              <a:gd name="connsiteY2908" fmla="*/ 985826 h 3047670"/>
              <a:gd name="connsiteX2909" fmla="*/ 1231277 w 3044273"/>
              <a:gd name="connsiteY2909" fmla="*/ 984947 h 3047670"/>
              <a:gd name="connsiteX2910" fmla="*/ 1235924 w 3044273"/>
              <a:gd name="connsiteY2910" fmla="*/ 989595 h 3047670"/>
              <a:gd name="connsiteX2911" fmla="*/ 1231277 w 3044273"/>
              <a:gd name="connsiteY2911" fmla="*/ 994243 h 3047670"/>
              <a:gd name="connsiteX2912" fmla="*/ 1226629 w 3044273"/>
              <a:gd name="connsiteY2912" fmla="*/ 989595 h 3047670"/>
              <a:gd name="connsiteX2913" fmla="*/ 1231277 w 3044273"/>
              <a:gd name="connsiteY2913" fmla="*/ 984947 h 3047670"/>
              <a:gd name="connsiteX2914" fmla="*/ 436259 w 3044273"/>
              <a:gd name="connsiteY2914" fmla="*/ 984947 h 3047670"/>
              <a:gd name="connsiteX2915" fmla="*/ 450203 w 3044273"/>
              <a:gd name="connsiteY2915" fmla="*/ 998890 h 3047670"/>
              <a:gd name="connsiteX2916" fmla="*/ 436259 w 3044273"/>
              <a:gd name="connsiteY2916" fmla="*/ 1012959 h 3047670"/>
              <a:gd name="connsiteX2917" fmla="*/ 422316 w 3044273"/>
              <a:gd name="connsiteY2917" fmla="*/ 999016 h 3047670"/>
              <a:gd name="connsiteX2918" fmla="*/ 436259 w 3044273"/>
              <a:gd name="connsiteY2918" fmla="*/ 984947 h 3047670"/>
              <a:gd name="connsiteX2919" fmla="*/ 1808352 w 3044273"/>
              <a:gd name="connsiteY2919" fmla="*/ 981555 h 3047670"/>
              <a:gd name="connsiteX2920" fmla="*/ 1814382 w 3044273"/>
              <a:gd name="connsiteY2920" fmla="*/ 987458 h 3047670"/>
              <a:gd name="connsiteX2921" fmla="*/ 1808478 w 3044273"/>
              <a:gd name="connsiteY2921" fmla="*/ 993487 h 3047670"/>
              <a:gd name="connsiteX2922" fmla="*/ 1802448 w 3044273"/>
              <a:gd name="connsiteY2922" fmla="*/ 987584 h 3047670"/>
              <a:gd name="connsiteX2923" fmla="*/ 1808352 w 3044273"/>
              <a:gd name="connsiteY2923" fmla="*/ 981555 h 3047670"/>
              <a:gd name="connsiteX2924" fmla="*/ 1045869 w 3044273"/>
              <a:gd name="connsiteY2924" fmla="*/ 977661 h 3047670"/>
              <a:gd name="connsiteX2925" fmla="*/ 1063455 w 3044273"/>
              <a:gd name="connsiteY2925" fmla="*/ 995122 h 3047670"/>
              <a:gd name="connsiteX2926" fmla="*/ 1045994 w 3044273"/>
              <a:gd name="connsiteY2926" fmla="*/ 1012708 h 3047670"/>
              <a:gd name="connsiteX2927" fmla="*/ 1028408 w 3044273"/>
              <a:gd name="connsiteY2927" fmla="*/ 995247 h 3047670"/>
              <a:gd name="connsiteX2928" fmla="*/ 1045869 w 3044273"/>
              <a:gd name="connsiteY2928" fmla="*/ 977661 h 3047670"/>
              <a:gd name="connsiteX2929" fmla="*/ 1993759 w 3044273"/>
              <a:gd name="connsiteY2929" fmla="*/ 972762 h 3047670"/>
              <a:gd name="connsiteX2930" fmla="*/ 2012853 w 3044273"/>
              <a:gd name="connsiteY2930" fmla="*/ 991730 h 3047670"/>
              <a:gd name="connsiteX2931" fmla="*/ 1993885 w 3044273"/>
              <a:gd name="connsiteY2931" fmla="*/ 1010823 h 3047670"/>
              <a:gd name="connsiteX2932" fmla="*/ 1974792 w 3044273"/>
              <a:gd name="connsiteY2932" fmla="*/ 991855 h 3047670"/>
              <a:gd name="connsiteX2933" fmla="*/ 1993759 w 3044273"/>
              <a:gd name="connsiteY2933" fmla="*/ 972762 h 3047670"/>
              <a:gd name="connsiteX2934" fmla="*/ 2603370 w 3044273"/>
              <a:gd name="connsiteY2934" fmla="*/ 969370 h 3047670"/>
              <a:gd name="connsiteX2935" fmla="*/ 2625101 w 3044273"/>
              <a:gd name="connsiteY2935" fmla="*/ 990976 h 3047670"/>
              <a:gd name="connsiteX2936" fmla="*/ 2603495 w 3044273"/>
              <a:gd name="connsiteY2936" fmla="*/ 1012707 h 3047670"/>
              <a:gd name="connsiteX2937" fmla="*/ 2581764 w 3044273"/>
              <a:gd name="connsiteY2937" fmla="*/ 991101 h 3047670"/>
              <a:gd name="connsiteX2938" fmla="*/ 2603370 w 3044273"/>
              <a:gd name="connsiteY2938" fmla="*/ 969370 h 3047670"/>
              <a:gd name="connsiteX2939" fmla="*/ 776927 w 3044273"/>
              <a:gd name="connsiteY2939" fmla="*/ 968868 h 3047670"/>
              <a:gd name="connsiteX2940" fmla="*/ 806322 w 3044273"/>
              <a:gd name="connsiteY2940" fmla="*/ 998011 h 3047670"/>
              <a:gd name="connsiteX2941" fmla="*/ 777179 w 3044273"/>
              <a:gd name="connsiteY2941" fmla="*/ 1027279 h 3047670"/>
              <a:gd name="connsiteX2942" fmla="*/ 747785 w 3044273"/>
              <a:gd name="connsiteY2942" fmla="*/ 998136 h 3047670"/>
              <a:gd name="connsiteX2943" fmla="*/ 776927 w 3044273"/>
              <a:gd name="connsiteY2943" fmla="*/ 968868 h 3047670"/>
              <a:gd name="connsiteX2944" fmla="*/ 340291 w 3044273"/>
              <a:gd name="connsiteY2944" fmla="*/ 966104 h 3047670"/>
              <a:gd name="connsiteX2945" fmla="*/ 350969 w 3044273"/>
              <a:gd name="connsiteY2945" fmla="*/ 976655 h 3047670"/>
              <a:gd name="connsiteX2946" fmla="*/ 340416 w 3044273"/>
              <a:gd name="connsiteY2946" fmla="*/ 987332 h 3047670"/>
              <a:gd name="connsiteX2947" fmla="*/ 329739 w 3044273"/>
              <a:gd name="connsiteY2947" fmla="*/ 976781 h 3047670"/>
              <a:gd name="connsiteX2948" fmla="*/ 340291 w 3044273"/>
              <a:gd name="connsiteY2948" fmla="*/ 966104 h 3047670"/>
              <a:gd name="connsiteX2949" fmla="*/ 2262574 w 3044273"/>
              <a:gd name="connsiteY2949" fmla="*/ 958190 h 3047670"/>
              <a:gd name="connsiteX2950" fmla="*/ 2297246 w 3044273"/>
              <a:gd name="connsiteY2950" fmla="*/ 992608 h 3047670"/>
              <a:gd name="connsiteX2951" fmla="*/ 2262826 w 3044273"/>
              <a:gd name="connsiteY2951" fmla="*/ 1027278 h 3047670"/>
              <a:gd name="connsiteX2952" fmla="*/ 2228156 w 3044273"/>
              <a:gd name="connsiteY2952" fmla="*/ 992860 h 3047670"/>
              <a:gd name="connsiteX2953" fmla="*/ 2262574 w 3044273"/>
              <a:gd name="connsiteY2953" fmla="*/ 958190 h 3047670"/>
              <a:gd name="connsiteX2954" fmla="*/ 1310163 w 3044273"/>
              <a:gd name="connsiteY2954" fmla="*/ 954924 h 3047670"/>
              <a:gd name="connsiteX2955" fmla="*/ 1312423 w 3044273"/>
              <a:gd name="connsiteY2955" fmla="*/ 957186 h 3047670"/>
              <a:gd name="connsiteX2956" fmla="*/ 1310163 w 3044273"/>
              <a:gd name="connsiteY2956" fmla="*/ 959446 h 3047670"/>
              <a:gd name="connsiteX2957" fmla="*/ 1307901 w 3044273"/>
              <a:gd name="connsiteY2957" fmla="*/ 957311 h 3047670"/>
              <a:gd name="connsiteX2958" fmla="*/ 1310163 w 3044273"/>
              <a:gd name="connsiteY2958" fmla="*/ 954924 h 3047670"/>
              <a:gd name="connsiteX2959" fmla="*/ 1729339 w 3044273"/>
              <a:gd name="connsiteY2959" fmla="*/ 953164 h 3047670"/>
              <a:gd name="connsiteX2960" fmla="*/ 1731976 w 3044273"/>
              <a:gd name="connsiteY2960" fmla="*/ 955801 h 3047670"/>
              <a:gd name="connsiteX2961" fmla="*/ 1729339 w 3044273"/>
              <a:gd name="connsiteY2961" fmla="*/ 958439 h 3047670"/>
              <a:gd name="connsiteX2962" fmla="*/ 1726702 w 3044273"/>
              <a:gd name="connsiteY2962" fmla="*/ 955801 h 3047670"/>
              <a:gd name="connsiteX2963" fmla="*/ 1729339 w 3044273"/>
              <a:gd name="connsiteY2963" fmla="*/ 953164 h 3047670"/>
              <a:gd name="connsiteX2964" fmla="*/ 2699087 w 3044273"/>
              <a:gd name="connsiteY2964" fmla="*/ 951784 h 3047670"/>
              <a:gd name="connsiteX2965" fmla="*/ 2715543 w 3044273"/>
              <a:gd name="connsiteY2965" fmla="*/ 968114 h 3047670"/>
              <a:gd name="connsiteX2966" fmla="*/ 2699214 w 3044273"/>
              <a:gd name="connsiteY2966" fmla="*/ 984569 h 3047670"/>
              <a:gd name="connsiteX2967" fmla="*/ 2682757 w 3044273"/>
              <a:gd name="connsiteY2967" fmla="*/ 968240 h 3047670"/>
              <a:gd name="connsiteX2968" fmla="*/ 2699087 w 3044273"/>
              <a:gd name="connsiteY2968" fmla="*/ 951784 h 3047670"/>
              <a:gd name="connsiteX2969" fmla="*/ 244947 w 3044273"/>
              <a:gd name="connsiteY2969" fmla="*/ 950654 h 3047670"/>
              <a:gd name="connsiteX2970" fmla="*/ 249218 w 3044273"/>
              <a:gd name="connsiteY2970" fmla="*/ 954799 h 3047670"/>
              <a:gd name="connsiteX2971" fmla="*/ 245073 w 3044273"/>
              <a:gd name="connsiteY2971" fmla="*/ 959071 h 3047670"/>
              <a:gd name="connsiteX2972" fmla="*/ 240802 w 3044273"/>
              <a:gd name="connsiteY2972" fmla="*/ 954925 h 3047670"/>
              <a:gd name="connsiteX2973" fmla="*/ 244947 w 3044273"/>
              <a:gd name="connsiteY2973" fmla="*/ 950654 h 3047670"/>
              <a:gd name="connsiteX2974" fmla="*/ 676687 w 3044273"/>
              <a:gd name="connsiteY2974" fmla="*/ 948518 h 3047670"/>
              <a:gd name="connsiteX2975" fmla="*/ 701308 w 3044273"/>
              <a:gd name="connsiteY2975" fmla="*/ 973013 h 3047670"/>
              <a:gd name="connsiteX2976" fmla="*/ 676813 w 3044273"/>
              <a:gd name="connsiteY2976" fmla="*/ 997633 h 3047670"/>
              <a:gd name="connsiteX2977" fmla="*/ 652192 w 3044273"/>
              <a:gd name="connsiteY2977" fmla="*/ 973138 h 3047670"/>
              <a:gd name="connsiteX2978" fmla="*/ 676687 w 3044273"/>
              <a:gd name="connsiteY2978" fmla="*/ 948518 h 3047670"/>
              <a:gd name="connsiteX2979" fmla="*/ 2794429 w 3044273"/>
              <a:gd name="connsiteY2979" fmla="*/ 939224 h 3047670"/>
              <a:gd name="connsiteX2980" fmla="*/ 2800836 w 3044273"/>
              <a:gd name="connsiteY2980" fmla="*/ 945630 h 3047670"/>
              <a:gd name="connsiteX2981" fmla="*/ 2794429 w 3044273"/>
              <a:gd name="connsiteY2981" fmla="*/ 952036 h 3047670"/>
              <a:gd name="connsiteX2982" fmla="*/ 2788022 w 3044273"/>
              <a:gd name="connsiteY2982" fmla="*/ 945630 h 3047670"/>
              <a:gd name="connsiteX2983" fmla="*/ 2794429 w 3044273"/>
              <a:gd name="connsiteY2983" fmla="*/ 939224 h 3047670"/>
              <a:gd name="connsiteX2984" fmla="*/ 938092 w 3044273"/>
              <a:gd name="connsiteY2984" fmla="*/ 938720 h 3047670"/>
              <a:gd name="connsiteX2985" fmla="*/ 962461 w 3044273"/>
              <a:gd name="connsiteY2985" fmla="*/ 962964 h 3047670"/>
              <a:gd name="connsiteX2986" fmla="*/ 938217 w 3044273"/>
              <a:gd name="connsiteY2986" fmla="*/ 987334 h 3047670"/>
              <a:gd name="connsiteX2987" fmla="*/ 913722 w 3044273"/>
              <a:gd name="connsiteY2987" fmla="*/ 963089 h 3047670"/>
              <a:gd name="connsiteX2988" fmla="*/ 938092 w 3044273"/>
              <a:gd name="connsiteY2988" fmla="*/ 938720 h 3047670"/>
              <a:gd name="connsiteX2989" fmla="*/ 2362690 w 3044273"/>
              <a:gd name="connsiteY2989" fmla="*/ 933570 h 3047670"/>
              <a:gd name="connsiteX2990" fmla="*/ 2396229 w 3044273"/>
              <a:gd name="connsiteY2990" fmla="*/ 966858 h 3047670"/>
              <a:gd name="connsiteX2991" fmla="*/ 2362941 w 3044273"/>
              <a:gd name="connsiteY2991" fmla="*/ 1000397 h 3047670"/>
              <a:gd name="connsiteX2992" fmla="*/ 2329403 w 3044273"/>
              <a:gd name="connsiteY2992" fmla="*/ 967108 h 3047670"/>
              <a:gd name="connsiteX2993" fmla="*/ 2362690 w 3044273"/>
              <a:gd name="connsiteY2993" fmla="*/ 933570 h 3047670"/>
              <a:gd name="connsiteX2994" fmla="*/ 2101287 w 3044273"/>
              <a:gd name="connsiteY2994" fmla="*/ 933193 h 3047670"/>
              <a:gd name="connsiteX2995" fmla="*/ 2127037 w 3044273"/>
              <a:gd name="connsiteY2995" fmla="*/ 958818 h 3047670"/>
              <a:gd name="connsiteX2996" fmla="*/ 2101412 w 3044273"/>
              <a:gd name="connsiteY2996" fmla="*/ 984569 h 3047670"/>
              <a:gd name="connsiteX2997" fmla="*/ 2075661 w 3044273"/>
              <a:gd name="connsiteY2997" fmla="*/ 958944 h 3047670"/>
              <a:gd name="connsiteX2998" fmla="*/ 2101287 w 3044273"/>
              <a:gd name="connsiteY2998" fmla="*/ 933193 h 3047670"/>
              <a:gd name="connsiteX2999" fmla="*/ 149982 w 3044273"/>
              <a:gd name="connsiteY2999" fmla="*/ 931684 h 3047670"/>
              <a:gd name="connsiteX3000" fmla="*/ 151490 w 3044273"/>
              <a:gd name="connsiteY3000" fmla="*/ 933191 h 3047670"/>
              <a:gd name="connsiteX3001" fmla="*/ 149982 w 3044273"/>
              <a:gd name="connsiteY3001" fmla="*/ 934699 h 3047670"/>
              <a:gd name="connsiteX3002" fmla="*/ 148350 w 3044273"/>
              <a:gd name="connsiteY3002" fmla="*/ 933191 h 3047670"/>
              <a:gd name="connsiteX3003" fmla="*/ 149982 w 3044273"/>
              <a:gd name="connsiteY3003" fmla="*/ 931684 h 3047670"/>
              <a:gd name="connsiteX3004" fmla="*/ 577577 w 3044273"/>
              <a:gd name="connsiteY3004" fmla="*/ 929676 h 3047670"/>
              <a:gd name="connsiteX3005" fmla="*/ 596923 w 3044273"/>
              <a:gd name="connsiteY3005" fmla="*/ 948895 h 3047670"/>
              <a:gd name="connsiteX3006" fmla="*/ 577704 w 3044273"/>
              <a:gd name="connsiteY3006" fmla="*/ 968241 h 3047670"/>
              <a:gd name="connsiteX3007" fmla="*/ 558358 w 3044273"/>
              <a:gd name="connsiteY3007" fmla="*/ 949022 h 3047670"/>
              <a:gd name="connsiteX3008" fmla="*/ 577577 w 3044273"/>
              <a:gd name="connsiteY3008" fmla="*/ 929676 h 3047670"/>
              <a:gd name="connsiteX3009" fmla="*/ 1392439 w 3044273"/>
              <a:gd name="connsiteY3009" fmla="*/ 926535 h 3047670"/>
              <a:gd name="connsiteX3010" fmla="*/ 1401358 w 3044273"/>
              <a:gd name="connsiteY3010" fmla="*/ 935328 h 3047670"/>
              <a:gd name="connsiteX3011" fmla="*/ 1392566 w 3044273"/>
              <a:gd name="connsiteY3011" fmla="*/ 944246 h 3047670"/>
              <a:gd name="connsiteX3012" fmla="*/ 1383647 w 3044273"/>
              <a:gd name="connsiteY3012" fmla="*/ 935453 h 3047670"/>
              <a:gd name="connsiteX3013" fmla="*/ 1392439 w 3044273"/>
              <a:gd name="connsiteY3013" fmla="*/ 926535 h 3047670"/>
              <a:gd name="connsiteX3014" fmla="*/ 1646811 w 3044273"/>
              <a:gd name="connsiteY3014" fmla="*/ 925782 h 3047670"/>
              <a:gd name="connsiteX3015" fmla="*/ 1655478 w 3044273"/>
              <a:gd name="connsiteY3015" fmla="*/ 934449 h 3047670"/>
              <a:gd name="connsiteX3016" fmla="*/ 1646811 w 3044273"/>
              <a:gd name="connsiteY3016" fmla="*/ 943117 h 3047670"/>
              <a:gd name="connsiteX3017" fmla="*/ 1638144 w 3044273"/>
              <a:gd name="connsiteY3017" fmla="*/ 934575 h 3047670"/>
              <a:gd name="connsiteX3018" fmla="*/ 1646811 w 3044273"/>
              <a:gd name="connsiteY3018" fmla="*/ 925782 h 3047670"/>
              <a:gd name="connsiteX3019" fmla="*/ 1115209 w 3044273"/>
              <a:gd name="connsiteY3019" fmla="*/ 925155 h 3047670"/>
              <a:gd name="connsiteX3020" fmla="*/ 1135810 w 3044273"/>
              <a:gd name="connsiteY3020" fmla="*/ 945631 h 3047670"/>
              <a:gd name="connsiteX3021" fmla="*/ 1115334 w 3044273"/>
              <a:gd name="connsiteY3021" fmla="*/ 966232 h 3047670"/>
              <a:gd name="connsiteX3022" fmla="*/ 1094733 w 3044273"/>
              <a:gd name="connsiteY3022" fmla="*/ 945756 h 3047670"/>
              <a:gd name="connsiteX3023" fmla="*/ 1115209 w 3044273"/>
              <a:gd name="connsiteY3023" fmla="*/ 925155 h 3047670"/>
              <a:gd name="connsiteX3024" fmla="*/ 2889140 w 3044273"/>
              <a:gd name="connsiteY3024" fmla="*/ 920882 h 3047670"/>
              <a:gd name="connsiteX3025" fmla="*/ 2891652 w 3044273"/>
              <a:gd name="connsiteY3025" fmla="*/ 923269 h 3047670"/>
              <a:gd name="connsiteX3026" fmla="*/ 2889267 w 3044273"/>
              <a:gd name="connsiteY3026" fmla="*/ 925656 h 3047670"/>
              <a:gd name="connsiteX3027" fmla="*/ 2886880 w 3044273"/>
              <a:gd name="connsiteY3027" fmla="*/ 923269 h 3047670"/>
              <a:gd name="connsiteX3028" fmla="*/ 2889140 w 3044273"/>
              <a:gd name="connsiteY3028" fmla="*/ 920882 h 3047670"/>
              <a:gd name="connsiteX3029" fmla="*/ 1923917 w 3044273"/>
              <a:gd name="connsiteY3029" fmla="*/ 920253 h 3047670"/>
              <a:gd name="connsiteX3030" fmla="*/ 1946402 w 3044273"/>
              <a:gd name="connsiteY3030" fmla="*/ 942486 h 3047670"/>
              <a:gd name="connsiteX3031" fmla="*/ 1924169 w 3044273"/>
              <a:gd name="connsiteY3031" fmla="*/ 964971 h 3047670"/>
              <a:gd name="connsiteX3032" fmla="*/ 1901683 w 3044273"/>
              <a:gd name="connsiteY3032" fmla="*/ 942738 h 3047670"/>
              <a:gd name="connsiteX3033" fmla="*/ 1923917 w 3044273"/>
              <a:gd name="connsiteY3033" fmla="*/ 920253 h 3047670"/>
              <a:gd name="connsiteX3034" fmla="*/ 2461800 w 3044273"/>
              <a:gd name="connsiteY3034" fmla="*/ 918622 h 3047670"/>
              <a:gd name="connsiteX3035" fmla="*/ 2485289 w 3044273"/>
              <a:gd name="connsiteY3035" fmla="*/ 941986 h 3047670"/>
              <a:gd name="connsiteX3036" fmla="*/ 2461925 w 3044273"/>
              <a:gd name="connsiteY3036" fmla="*/ 965476 h 3047670"/>
              <a:gd name="connsiteX3037" fmla="*/ 2438310 w 3044273"/>
              <a:gd name="connsiteY3037" fmla="*/ 942112 h 3047670"/>
              <a:gd name="connsiteX3038" fmla="*/ 2461800 w 3044273"/>
              <a:gd name="connsiteY3038" fmla="*/ 918622 h 3047670"/>
              <a:gd name="connsiteX3039" fmla="*/ 1562272 w 3044273"/>
              <a:gd name="connsiteY3039" fmla="*/ 916234 h 3047670"/>
              <a:gd name="connsiteX3040" fmla="*/ 1570060 w 3044273"/>
              <a:gd name="connsiteY3040" fmla="*/ 923897 h 3047670"/>
              <a:gd name="connsiteX3041" fmla="*/ 1562272 w 3044273"/>
              <a:gd name="connsiteY3041" fmla="*/ 931685 h 3047670"/>
              <a:gd name="connsiteX3042" fmla="*/ 1554483 w 3044273"/>
              <a:gd name="connsiteY3042" fmla="*/ 923897 h 3047670"/>
              <a:gd name="connsiteX3043" fmla="*/ 1562272 w 3044273"/>
              <a:gd name="connsiteY3043" fmla="*/ 916234 h 3047670"/>
              <a:gd name="connsiteX3044" fmla="*/ 1476980 w 3044273"/>
              <a:gd name="connsiteY3044" fmla="*/ 915356 h 3047670"/>
              <a:gd name="connsiteX3045" fmla="*/ 1485897 w 3044273"/>
              <a:gd name="connsiteY3045" fmla="*/ 924149 h 3047670"/>
              <a:gd name="connsiteX3046" fmla="*/ 1477105 w 3044273"/>
              <a:gd name="connsiteY3046" fmla="*/ 933066 h 3047670"/>
              <a:gd name="connsiteX3047" fmla="*/ 1468186 w 3044273"/>
              <a:gd name="connsiteY3047" fmla="*/ 924274 h 3047670"/>
              <a:gd name="connsiteX3048" fmla="*/ 1476980 w 3044273"/>
              <a:gd name="connsiteY3048" fmla="*/ 915356 h 3047670"/>
              <a:gd name="connsiteX3049" fmla="*/ 55143 w 3044273"/>
              <a:gd name="connsiteY3049" fmla="*/ 910959 h 3047670"/>
              <a:gd name="connsiteX3050" fmla="*/ 55771 w 3044273"/>
              <a:gd name="connsiteY3050" fmla="*/ 911587 h 3047670"/>
              <a:gd name="connsiteX3051" fmla="*/ 55143 w 3044273"/>
              <a:gd name="connsiteY3051" fmla="*/ 912215 h 3047670"/>
              <a:gd name="connsiteX3052" fmla="*/ 54516 w 3044273"/>
              <a:gd name="connsiteY3052" fmla="*/ 911587 h 3047670"/>
              <a:gd name="connsiteX3053" fmla="*/ 55143 w 3044273"/>
              <a:gd name="connsiteY3053" fmla="*/ 910959 h 3047670"/>
              <a:gd name="connsiteX3054" fmla="*/ 479471 w 3044273"/>
              <a:gd name="connsiteY3054" fmla="*/ 908698 h 3047670"/>
              <a:gd name="connsiteX3055" fmla="*/ 496178 w 3044273"/>
              <a:gd name="connsiteY3055" fmla="*/ 925279 h 3047670"/>
              <a:gd name="connsiteX3056" fmla="*/ 479597 w 3044273"/>
              <a:gd name="connsiteY3056" fmla="*/ 941986 h 3047670"/>
              <a:gd name="connsiteX3057" fmla="*/ 462890 w 3044273"/>
              <a:gd name="connsiteY3057" fmla="*/ 925405 h 3047670"/>
              <a:gd name="connsiteX3058" fmla="*/ 479471 w 3044273"/>
              <a:gd name="connsiteY3058" fmla="*/ 908698 h 3047670"/>
              <a:gd name="connsiteX3059" fmla="*/ 832826 w 3044273"/>
              <a:gd name="connsiteY3059" fmla="*/ 902543 h 3047670"/>
              <a:gd name="connsiteX3060" fmla="*/ 864104 w 3044273"/>
              <a:gd name="connsiteY3060" fmla="*/ 933696 h 3047670"/>
              <a:gd name="connsiteX3061" fmla="*/ 832951 w 3044273"/>
              <a:gd name="connsiteY3061" fmla="*/ 964974 h 3047670"/>
              <a:gd name="connsiteX3062" fmla="*/ 801674 w 3044273"/>
              <a:gd name="connsiteY3062" fmla="*/ 933821 h 3047670"/>
              <a:gd name="connsiteX3063" fmla="*/ 832826 w 3044273"/>
              <a:gd name="connsiteY3063" fmla="*/ 902543 h 3047670"/>
              <a:gd name="connsiteX3064" fmla="*/ 2559654 w 3044273"/>
              <a:gd name="connsiteY3064" fmla="*/ 900533 h 3047670"/>
              <a:gd name="connsiteX3065" fmla="*/ 2576990 w 3044273"/>
              <a:gd name="connsiteY3065" fmla="*/ 917741 h 3047670"/>
              <a:gd name="connsiteX3066" fmla="*/ 2559781 w 3044273"/>
              <a:gd name="connsiteY3066" fmla="*/ 935076 h 3047670"/>
              <a:gd name="connsiteX3067" fmla="*/ 2542445 w 3044273"/>
              <a:gd name="connsiteY3067" fmla="*/ 917867 h 3047670"/>
              <a:gd name="connsiteX3068" fmla="*/ 2559654 w 3044273"/>
              <a:gd name="connsiteY3068" fmla="*/ 900533 h 3047670"/>
              <a:gd name="connsiteX3069" fmla="*/ 2206301 w 3044273"/>
              <a:gd name="connsiteY3069" fmla="*/ 897896 h 3047670"/>
              <a:gd name="connsiteX3070" fmla="*/ 2237201 w 3044273"/>
              <a:gd name="connsiteY3070" fmla="*/ 928546 h 3047670"/>
              <a:gd name="connsiteX3071" fmla="*/ 2206551 w 3044273"/>
              <a:gd name="connsiteY3071" fmla="*/ 959447 h 3047670"/>
              <a:gd name="connsiteX3072" fmla="*/ 2175651 w 3044273"/>
              <a:gd name="connsiteY3072" fmla="*/ 928797 h 3047670"/>
              <a:gd name="connsiteX3073" fmla="*/ 2206301 w 3044273"/>
              <a:gd name="connsiteY3073" fmla="*/ 897896 h 3047670"/>
              <a:gd name="connsiteX3074" fmla="*/ 381870 w 3044273"/>
              <a:gd name="connsiteY3074" fmla="*/ 889352 h 3047670"/>
              <a:gd name="connsiteX3075" fmla="*/ 395059 w 3044273"/>
              <a:gd name="connsiteY3075" fmla="*/ 902416 h 3047670"/>
              <a:gd name="connsiteX3076" fmla="*/ 381995 w 3044273"/>
              <a:gd name="connsiteY3076" fmla="*/ 915480 h 3047670"/>
              <a:gd name="connsiteX3077" fmla="*/ 368931 w 3044273"/>
              <a:gd name="connsiteY3077" fmla="*/ 902416 h 3047670"/>
              <a:gd name="connsiteX3078" fmla="*/ 381870 w 3044273"/>
              <a:gd name="connsiteY3078" fmla="*/ 889352 h 3047670"/>
              <a:gd name="connsiteX3079" fmla="*/ 1849303 w 3044273"/>
              <a:gd name="connsiteY3079" fmla="*/ 885082 h 3047670"/>
              <a:gd name="connsiteX3080" fmla="*/ 1866009 w 3044273"/>
              <a:gd name="connsiteY3080" fmla="*/ 901663 h 3047670"/>
              <a:gd name="connsiteX3081" fmla="*/ 1849428 w 3044273"/>
              <a:gd name="connsiteY3081" fmla="*/ 918370 h 3047670"/>
              <a:gd name="connsiteX3082" fmla="*/ 1832721 w 3044273"/>
              <a:gd name="connsiteY3082" fmla="*/ 901789 h 3047670"/>
              <a:gd name="connsiteX3083" fmla="*/ 1849303 w 3044273"/>
              <a:gd name="connsiteY3083" fmla="*/ 885082 h 3047670"/>
              <a:gd name="connsiteX3084" fmla="*/ 1189572 w 3044273"/>
              <a:gd name="connsiteY3084" fmla="*/ 883575 h 3047670"/>
              <a:gd name="connsiteX3085" fmla="*/ 1210300 w 3044273"/>
              <a:gd name="connsiteY3085" fmla="*/ 904051 h 3047670"/>
              <a:gd name="connsiteX3086" fmla="*/ 1189824 w 3044273"/>
              <a:gd name="connsiteY3086" fmla="*/ 924652 h 3047670"/>
              <a:gd name="connsiteX3087" fmla="*/ 1169223 w 3044273"/>
              <a:gd name="connsiteY3087" fmla="*/ 904176 h 3047670"/>
              <a:gd name="connsiteX3088" fmla="*/ 1189572 w 3044273"/>
              <a:gd name="connsiteY3088" fmla="*/ 883575 h 3047670"/>
              <a:gd name="connsiteX3089" fmla="*/ 2657007 w 3044273"/>
              <a:gd name="connsiteY3089" fmla="*/ 881440 h 3047670"/>
              <a:gd name="connsiteX3090" fmla="*/ 2669693 w 3044273"/>
              <a:gd name="connsiteY3090" fmla="*/ 894001 h 3047670"/>
              <a:gd name="connsiteX3091" fmla="*/ 2657132 w 3044273"/>
              <a:gd name="connsiteY3091" fmla="*/ 906688 h 3047670"/>
              <a:gd name="connsiteX3092" fmla="*/ 2644445 w 3044273"/>
              <a:gd name="connsiteY3092" fmla="*/ 894127 h 3047670"/>
              <a:gd name="connsiteX3093" fmla="*/ 2657007 w 3044273"/>
              <a:gd name="connsiteY3093" fmla="*/ 881440 h 3047670"/>
              <a:gd name="connsiteX3094" fmla="*/ 729570 w 3044273"/>
              <a:gd name="connsiteY3094" fmla="*/ 879178 h 3047670"/>
              <a:gd name="connsiteX3095" fmla="*/ 756703 w 3044273"/>
              <a:gd name="connsiteY3095" fmla="*/ 906059 h 3047670"/>
              <a:gd name="connsiteX3096" fmla="*/ 729822 w 3044273"/>
              <a:gd name="connsiteY3096" fmla="*/ 933192 h 3047670"/>
              <a:gd name="connsiteX3097" fmla="*/ 702689 w 3044273"/>
              <a:gd name="connsiteY3097" fmla="*/ 906311 h 3047670"/>
              <a:gd name="connsiteX3098" fmla="*/ 729570 w 3044273"/>
              <a:gd name="connsiteY3098" fmla="*/ 879178 h 3047670"/>
              <a:gd name="connsiteX3099" fmla="*/ 2035842 w 3044273"/>
              <a:gd name="connsiteY3099" fmla="*/ 877922 h 3047670"/>
              <a:gd name="connsiteX3100" fmla="*/ 2062221 w 3044273"/>
              <a:gd name="connsiteY3100" fmla="*/ 904175 h 3047670"/>
              <a:gd name="connsiteX3101" fmla="*/ 2035967 w 3044273"/>
              <a:gd name="connsiteY3101" fmla="*/ 930555 h 3047670"/>
              <a:gd name="connsiteX3102" fmla="*/ 2009461 w 3044273"/>
              <a:gd name="connsiteY3102" fmla="*/ 904301 h 3047670"/>
              <a:gd name="connsiteX3103" fmla="*/ 2035842 w 3044273"/>
              <a:gd name="connsiteY3103" fmla="*/ 877922 h 3047670"/>
              <a:gd name="connsiteX3104" fmla="*/ 1003160 w 3044273"/>
              <a:gd name="connsiteY3104" fmla="*/ 877168 h 3047670"/>
              <a:gd name="connsiteX3105" fmla="*/ 1034061 w 3044273"/>
              <a:gd name="connsiteY3105" fmla="*/ 907818 h 3047670"/>
              <a:gd name="connsiteX3106" fmla="*/ 1003411 w 3044273"/>
              <a:gd name="connsiteY3106" fmla="*/ 938720 h 3047670"/>
              <a:gd name="connsiteX3107" fmla="*/ 972510 w 3044273"/>
              <a:gd name="connsiteY3107" fmla="*/ 908068 h 3047670"/>
              <a:gd name="connsiteX3108" fmla="*/ 1003160 w 3044273"/>
              <a:gd name="connsiteY3108" fmla="*/ 877168 h 3047670"/>
              <a:gd name="connsiteX3109" fmla="*/ 285145 w 3044273"/>
              <a:gd name="connsiteY3109" fmla="*/ 870134 h 3047670"/>
              <a:gd name="connsiteX3110" fmla="*/ 294692 w 3044273"/>
              <a:gd name="connsiteY3110" fmla="*/ 879555 h 3047670"/>
              <a:gd name="connsiteX3111" fmla="*/ 285145 w 3044273"/>
              <a:gd name="connsiteY3111" fmla="*/ 889102 h 3047670"/>
              <a:gd name="connsiteX3112" fmla="*/ 275598 w 3044273"/>
              <a:gd name="connsiteY3112" fmla="*/ 879680 h 3047670"/>
              <a:gd name="connsiteX3113" fmla="*/ 285145 w 3044273"/>
              <a:gd name="connsiteY3113" fmla="*/ 870134 h 3047670"/>
              <a:gd name="connsiteX3114" fmla="*/ 2309304 w 3044273"/>
              <a:gd name="connsiteY3114" fmla="*/ 869130 h 3047670"/>
              <a:gd name="connsiteX3115" fmla="*/ 2340834 w 3044273"/>
              <a:gd name="connsiteY3115" fmla="*/ 900408 h 3047670"/>
              <a:gd name="connsiteX3116" fmla="*/ 2309555 w 3044273"/>
              <a:gd name="connsiteY3116" fmla="*/ 931938 h 3047670"/>
              <a:gd name="connsiteX3117" fmla="*/ 2278027 w 3044273"/>
              <a:gd name="connsiteY3117" fmla="*/ 900659 h 3047670"/>
              <a:gd name="connsiteX3118" fmla="*/ 2309304 w 3044273"/>
              <a:gd name="connsiteY3118" fmla="*/ 869130 h 3047670"/>
              <a:gd name="connsiteX3119" fmla="*/ 2753729 w 3044273"/>
              <a:gd name="connsiteY3119" fmla="*/ 864356 h 3047670"/>
              <a:gd name="connsiteX3120" fmla="*/ 2760134 w 3044273"/>
              <a:gd name="connsiteY3120" fmla="*/ 870762 h 3047670"/>
              <a:gd name="connsiteX3121" fmla="*/ 2753729 w 3044273"/>
              <a:gd name="connsiteY3121" fmla="*/ 877168 h 3047670"/>
              <a:gd name="connsiteX3122" fmla="*/ 2747322 w 3044273"/>
              <a:gd name="connsiteY3122" fmla="*/ 870762 h 3047670"/>
              <a:gd name="connsiteX3123" fmla="*/ 2753729 w 3044273"/>
              <a:gd name="connsiteY3123" fmla="*/ 864356 h 3047670"/>
              <a:gd name="connsiteX3124" fmla="*/ 627948 w 3044273"/>
              <a:gd name="connsiteY3124" fmla="*/ 857070 h 3047670"/>
              <a:gd name="connsiteX3125" fmla="*/ 651061 w 3044273"/>
              <a:gd name="connsiteY3125" fmla="*/ 880058 h 3047670"/>
              <a:gd name="connsiteX3126" fmla="*/ 628073 w 3044273"/>
              <a:gd name="connsiteY3126" fmla="*/ 903172 h 3047670"/>
              <a:gd name="connsiteX3127" fmla="*/ 604960 w 3044273"/>
              <a:gd name="connsiteY3127" fmla="*/ 880184 h 3047670"/>
              <a:gd name="connsiteX3128" fmla="*/ 627948 w 3044273"/>
              <a:gd name="connsiteY3128" fmla="*/ 857070 h 3047670"/>
              <a:gd name="connsiteX3129" fmla="*/ 1268208 w 3044273"/>
              <a:gd name="connsiteY3129" fmla="*/ 855310 h 3047670"/>
              <a:gd name="connsiteX3130" fmla="*/ 1284160 w 3044273"/>
              <a:gd name="connsiteY3130" fmla="*/ 871138 h 3047670"/>
              <a:gd name="connsiteX3131" fmla="*/ 1268333 w 3044273"/>
              <a:gd name="connsiteY3131" fmla="*/ 887092 h 3047670"/>
              <a:gd name="connsiteX3132" fmla="*/ 1252379 w 3044273"/>
              <a:gd name="connsiteY3132" fmla="*/ 871264 h 3047670"/>
              <a:gd name="connsiteX3133" fmla="*/ 1268208 w 3044273"/>
              <a:gd name="connsiteY3133" fmla="*/ 855310 h 3047670"/>
              <a:gd name="connsiteX3134" fmla="*/ 188798 w 3044273"/>
              <a:gd name="connsiteY3134" fmla="*/ 853427 h 3047670"/>
              <a:gd name="connsiteX3135" fmla="*/ 192566 w 3044273"/>
              <a:gd name="connsiteY3135" fmla="*/ 857195 h 3047670"/>
              <a:gd name="connsiteX3136" fmla="*/ 188798 w 3044273"/>
              <a:gd name="connsiteY3136" fmla="*/ 860964 h 3047670"/>
              <a:gd name="connsiteX3137" fmla="*/ 185029 w 3044273"/>
              <a:gd name="connsiteY3137" fmla="*/ 857195 h 3047670"/>
              <a:gd name="connsiteX3138" fmla="*/ 188798 w 3044273"/>
              <a:gd name="connsiteY3138" fmla="*/ 853427 h 3047670"/>
              <a:gd name="connsiteX3139" fmla="*/ 1770417 w 3044273"/>
              <a:gd name="connsiteY3139" fmla="*/ 852799 h 3047670"/>
              <a:gd name="connsiteX3140" fmla="*/ 1787123 w 3044273"/>
              <a:gd name="connsiteY3140" fmla="*/ 869380 h 3047670"/>
              <a:gd name="connsiteX3141" fmla="*/ 1770542 w 3044273"/>
              <a:gd name="connsiteY3141" fmla="*/ 886087 h 3047670"/>
              <a:gd name="connsiteX3142" fmla="*/ 1753835 w 3044273"/>
              <a:gd name="connsiteY3142" fmla="*/ 869506 h 3047670"/>
              <a:gd name="connsiteX3143" fmla="*/ 1770417 w 3044273"/>
              <a:gd name="connsiteY3143" fmla="*/ 852799 h 3047670"/>
              <a:gd name="connsiteX3144" fmla="*/ 2849949 w 3044273"/>
              <a:gd name="connsiteY3144" fmla="*/ 846141 h 3047670"/>
              <a:gd name="connsiteX3145" fmla="*/ 2851456 w 3044273"/>
              <a:gd name="connsiteY3145" fmla="*/ 847648 h 3047670"/>
              <a:gd name="connsiteX3146" fmla="*/ 2849949 w 3044273"/>
              <a:gd name="connsiteY3146" fmla="*/ 849156 h 3047670"/>
              <a:gd name="connsiteX3147" fmla="*/ 2848316 w 3044273"/>
              <a:gd name="connsiteY3147" fmla="*/ 847648 h 3047670"/>
              <a:gd name="connsiteX3148" fmla="*/ 2849949 w 3044273"/>
              <a:gd name="connsiteY3148" fmla="*/ 846141 h 3047670"/>
              <a:gd name="connsiteX3149" fmla="*/ 2410674 w 3044273"/>
              <a:gd name="connsiteY3149" fmla="*/ 844885 h 3047670"/>
              <a:gd name="connsiteX3150" fmla="*/ 2439566 w 3044273"/>
              <a:gd name="connsiteY3150" fmla="*/ 873525 h 3047670"/>
              <a:gd name="connsiteX3151" fmla="*/ 2410925 w 3044273"/>
              <a:gd name="connsiteY3151" fmla="*/ 902416 h 3047670"/>
              <a:gd name="connsiteX3152" fmla="*/ 2382034 w 3044273"/>
              <a:gd name="connsiteY3152" fmla="*/ 873776 h 3047670"/>
              <a:gd name="connsiteX3153" fmla="*/ 2410674 w 3044273"/>
              <a:gd name="connsiteY3153" fmla="*/ 844885 h 3047670"/>
              <a:gd name="connsiteX3154" fmla="*/ 894126 w 3044273"/>
              <a:gd name="connsiteY3154" fmla="*/ 843378 h 3047670"/>
              <a:gd name="connsiteX3155" fmla="*/ 925405 w 3044273"/>
              <a:gd name="connsiteY3155" fmla="*/ 874404 h 3047670"/>
              <a:gd name="connsiteX3156" fmla="*/ 894378 w 3044273"/>
              <a:gd name="connsiteY3156" fmla="*/ 905684 h 3047670"/>
              <a:gd name="connsiteX3157" fmla="*/ 863100 w 3044273"/>
              <a:gd name="connsiteY3157" fmla="*/ 874656 h 3047670"/>
              <a:gd name="connsiteX3158" fmla="*/ 894126 w 3044273"/>
              <a:gd name="connsiteY3158" fmla="*/ 843378 h 3047670"/>
              <a:gd name="connsiteX3159" fmla="*/ 2144497 w 3044273"/>
              <a:gd name="connsiteY3159" fmla="*/ 840867 h 3047670"/>
              <a:gd name="connsiteX3160" fmla="*/ 2173765 w 3044273"/>
              <a:gd name="connsiteY3160" fmla="*/ 870010 h 3047670"/>
              <a:gd name="connsiteX3161" fmla="*/ 2144623 w 3044273"/>
              <a:gd name="connsiteY3161" fmla="*/ 899278 h 3047670"/>
              <a:gd name="connsiteX3162" fmla="*/ 2115355 w 3044273"/>
              <a:gd name="connsiteY3162" fmla="*/ 870135 h 3047670"/>
              <a:gd name="connsiteX3163" fmla="*/ 2144497 w 3044273"/>
              <a:gd name="connsiteY3163" fmla="*/ 840867 h 3047670"/>
              <a:gd name="connsiteX3164" fmla="*/ 527582 w 3044273"/>
              <a:gd name="connsiteY3164" fmla="*/ 838353 h 3047670"/>
              <a:gd name="connsiteX3165" fmla="*/ 544289 w 3044273"/>
              <a:gd name="connsiteY3165" fmla="*/ 854934 h 3047670"/>
              <a:gd name="connsiteX3166" fmla="*/ 527707 w 3044273"/>
              <a:gd name="connsiteY3166" fmla="*/ 871641 h 3047670"/>
              <a:gd name="connsiteX3167" fmla="*/ 511001 w 3044273"/>
              <a:gd name="connsiteY3167" fmla="*/ 855060 h 3047670"/>
              <a:gd name="connsiteX3168" fmla="*/ 527582 w 3044273"/>
              <a:gd name="connsiteY3168" fmla="*/ 838353 h 3047670"/>
              <a:gd name="connsiteX3169" fmla="*/ 92827 w 3044273"/>
              <a:gd name="connsiteY3169" fmla="*/ 833706 h 3047670"/>
              <a:gd name="connsiteX3170" fmla="*/ 94210 w 3044273"/>
              <a:gd name="connsiteY3170" fmla="*/ 835088 h 3047670"/>
              <a:gd name="connsiteX3171" fmla="*/ 92954 w 3044273"/>
              <a:gd name="connsiteY3171" fmla="*/ 836343 h 3047670"/>
              <a:gd name="connsiteX3172" fmla="*/ 91572 w 3044273"/>
              <a:gd name="connsiteY3172" fmla="*/ 835088 h 3047670"/>
              <a:gd name="connsiteX3173" fmla="*/ 92827 w 3044273"/>
              <a:gd name="connsiteY3173" fmla="*/ 833706 h 3047670"/>
              <a:gd name="connsiteX3174" fmla="*/ 1073379 w 3044273"/>
              <a:gd name="connsiteY3174" fmla="*/ 833204 h 3047670"/>
              <a:gd name="connsiteX3175" fmla="*/ 1100010 w 3044273"/>
              <a:gd name="connsiteY3175" fmla="*/ 859709 h 3047670"/>
              <a:gd name="connsiteX3176" fmla="*/ 1073505 w 3044273"/>
              <a:gd name="connsiteY3176" fmla="*/ 886339 h 3047670"/>
              <a:gd name="connsiteX3177" fmla="*/ 1046874 w 3044273"/>
              <a:gd name="connsiteY3177" fmla="*/ 859834 h 3047670"/>
              <a:gd name="connsiteX3178" fmla="*/ 1073379 w 3044273"/>
              <a:gd name="connsiteY3178" fmla="*/ 833204 h 3047670"/>
              <a:gd name="connsiteX3179" fmla="*/ 1965119 w 3044273"/>
              <a:gd name="connsiteY3179" fmla="*/ 830064 h 3047670"/>
              <a:gd name="connsiteX3180" fmla="*/ 1991625 w 3044273"/>
              <a:gd name="connsiteY3180" fmla="*/ 856317 h 3047670"/>
              <a:gd name="connsiteX3181" fmla="*/ 1965371 w 3044273"/>
              <a:gd name="connsiteY3181" fmla="*/ 882821 h 3047670"/>
              <a:gd name="connsiteX3182" fmla="*/ 1938865 w 3044273"/>
              <a:gd name="connsiteY3182" fmla="*/ 856568 h 3047670"/>
              <a:gd name="connsiteX3183" fmla="*/ 1965119 w 3044273"/>
              <a:gd name="connsiteY3183" fmla="*/ 830064 h 3047670"/>
              <a:gd name="connsiteX3184" fmla="*/ 2510914 w 3044273"/>
              <a:gd name="connsiteY3184" fmla="*/ 829059 h 3047670"/>
              <a:gd name="connsiteX3185" fmla="*/ 2529757 w 3044273"/>
              <a:gd name="connsiteY3185" fmla="*/ 847776 h 3047670"/>
              <a:gd name="connsiteX3186" fmla="*/ 2511041 w 3044273"/>
              <a:gd name="connsiteY3186" fmla="*/ 866619 h 3047670"/>
              <a:gd name="connsiteX3187" fmla="*/ 2492198 w 3044273"/>
              <a:gd name="connsiteY3187" fmla="*/ 847902 h 3047670"/>
              <a:gd name="connsiteX3188" fmla="*/ 2510914 w 3044273"/>
              <a:gd name="connsiteY3188" fmla="*/ 829059 h 3047670"/>
              <a:gd name="connsiteX3189" fmla="*/ 1350108 w 3044273"/>
              <a:gd name="connsiteY3189" fmla="*/ 825415 h 3047670"/>
              <a:gd name="connsiteX3190" fmla="*/ 1372089 w 3044273"/>
              <a:gd name="connsiteY3190" fmla="*/ 847271 h 3047670"/>
              <a:gd name="connsiteX3191" fmla="*/ 1350233 w 3044273"/>
              <a:gd name="connsiteY3191" fmla="*/ 869254 h 3047670"/>
              <a:gd name="connsiteX3192" fmla="*/ 1328250 w 3044273"/>
              <a:gd name="connsiteY3192" fmla="*/ 847398 h 3047670"/>
              <a:gd name="connsiteX3193" fmla="*/ 1350108 w 3044273"/>
              <a:gd name="connsiteY3193" fmla="*/ 825415 h 3047670"/>
              <a:gd name="connsiteX3194" fmla="*/ 1688390 w 3044273"/>
              <a:gd name="connsiteY3194" fmla="*/ 823656 h 3047670"/>
              <a:gd name="connsiteX3195" fmla="*/ 1710875 w 3044273"/>
              <a:gd name="connsiteY3195" fmla="*/ 845889 h 3047670"/>
              <a:gd name="connsiteX3196" fmla="*/ 1688642 w 3044273"/>
              <a:gd name="connsiteY3196" fmla="*/ 868374 h 3047670"/>
              <a:gd name="connsiteX3197" fmla="*/ 1666157 w 3044273"/>
              <a:gd name="connsiteY3197" fmla="*/ 846141 h 3047670"/>
              <a:gd name="connsiteX3198" fmla="*/ 1688390 w 3044273"/>
              <a:gd name="connsiteY3198" fmla="*/ 823656 h 3047670"/>
              <a:gd name="connsiteX3199" fmla="*/ 787730 w 3044273"/>
              <a:gd name="connsiteY3199" fmla="*/ 818883 h 3047670"/>
              <a:gd name="connsiteX3200" fmla="*/ 812853 w 3044273"/>
              <a:gd name="connsiteY3200" fmla="*/ 843754 h 3047670"/>
              <a:gd name="connsiteX3201" fmla="*/ 787982 w 3044273"/>
              <a:gd name="connsiteY3201" fmla="*/ 868877 h 3047670"/>
              <a:gd name="connsiteX3202" fmla="*/ 762859 w 3044273"/>
              <a:gd name="connsiteY3202" fmla="*/ 844006 h 3047670"/>
              <a:gd name="connsiteX3203" fmla="*/ 787730 w 3044273"/>
              <a:gd name="connsiteY3203" fmla="*/ 818883 h 3047670"/>
              <a:gd name="connsiteX3204" fmla="*/ 428093 w 3044273"/>
              <a:gd name="connsiteY3204" fmla="*/ 817753 h 3047670"/>
              <a:gd name="connsiteX3205" fmla="*/ 441032 w 3044273"/>
              <a:gd name="connsiteY3205" fmla="*/ 830566 h 3047670"/>
              <a:gd name="connsiteX3206" fmla="*/ 428220 w 3044273"/>
              <a:gd name="connsiteY3206" fmla="*/ 843504 h 3047670"/>
              <a:gd name="connsiteX3207" fmla="*/ 415407 w 3044273"/>
              <a:gd name="connsiteY3207" fmla="*/ 830692 h 3047670"/>
              <a:gd name="connsiteX3208" fmla="*/ 428093 w 3044273"/>
              <a:gd name="connsiteY3208" fmla="*/ 817753 h 3047670"/>
              <a:gd name="connsiteX3209" fmla="*/ 1434145 w 3044273"/>
              <a:gd name="connsiteY3209" fmla="*/ 812855 h 3047670"/>
              <a:gd name="connsiteX3210" fmla="*/ 1454117 w 3044273"/>
              <a:gd name="connsiteY3210" fmla="*/ 832703 h 3047670"/>
              <a:gd name="connsiteX3211" fmla="*/ 1434271 w 3044273"/>
              <a:gd name="connsiteY3211" fmla="*/ 852675 h 3047670"/>
              <a:gd name="connsiteX3212" fmla="*/ 1414298 w 3044273"/>
              <a:gd name="connsiteY3212" fmla="*/ 832828 h 3047670"/>
              <a:gd name="connsiteX3213" fmla="*/ 1434145 w 3044273"/>
              <a:gd name="connsiteY3213" fmla="*/ 812855 h 3047670"/>
              <a:gd name="connsiteX3214" fmla="*/ 1604353 w 3044273"/>
              <a:gd name="connsiteY3214" fmla="*/ 812225 h 3047670"/>
              <a:gd name="connsiteX3215" fmla="*/ 1624325 w 3044273"/>
              <a:gd name="connsiteY3215" fmla="*/ 832072 h 3047670"/>
              <a:gd name="connsiteX3216" fmla="*/ 1604479 w 3044273"/>
              <a:gd name="connsiteY3216" fmla="*/ 852045 h 3047670"/>
              <a:gd name="connsiteX3217" fmla="*/ 1584506 w 3044273"/>
              <a:gd name="connsiteY3217" fmla="*/ 832198 h 3047670"/>
              <a:gd name="connsiteX3218" fmla="*/ 1604353 w 3044273"/>
              <a:gd name="connsiteY3218" fmla="*/ 812225 h 3047670"/>
              <a:gd name="connsiteX3219" fmla="*/ 2250768 w 3044273"/>
              <a:gd name="connsiteY3219" fmla="*/ 811221 h 3047670"/>
              <a:gd name="connsiteX3220" fmla="*/ 2278278 w 3044273"/>
              <a:gd name="connsiteY3220" fmla="*/ 838606 h 3047670"/>
              <a:gd name="connsiteX3221" fmla="*/ 2250894 w 3044273"/>
              <a:gd name="connsiteY3221" fmla="*/ 866115 h 3047670"/>
              <a:gd name="connsiteX3222" fmla="*/ 2223385 w 3044273"/>
              <a:gd name="connsiteY3222" fmla="*/ 838731 h 3047670"/>
              <a:gd name="connsiteX3223" fmla="*/ 2250768 w 3044273"/>
              <a:gd name="connsiteY3223" fmla="*/ 811221 h 3047670"/>
              <a:gd name="connsiteX3224" fmla="*/ 2610152 w 3044273"/>
              <a:gd name="connsiteY3224" fmla="*/ 810216 h 3047670"/>
              <a:gd name="connsiteX3225" fmla="*/ 2622838 w 3044273"/>
              <a:gd name="connsiteY3225" fmla="*/ 822777 h 3047670"/>
              <a:gd name="connsiteX3226" fmla="*/ 2610277 w 3044273"/>
              <a:gd name="connsiteY3226" fmla="*/ 835464 h 3047670"/>
              <a:gd name="connsiteX3227" fmla="*/ 2597590 w 3044273"/>
              <a:gd name="connsiteY3227" fmla="*/ 822903 h 3047670"/>
              <a:gd name="connsiteX3228" fmla="*/ 2610152 w 3044273"/>
              <a:gd name="connsiteY3228" fmla="*/ 810216 h 3047670"/>
              <a:gd name="connsiteX3229" fmla="*/ 1519186 w 3044273"/>
              <a:gd name="connsiteY3229" fmla="*/ 808958 h 3047670"/>
              <a:gd name="connsiteX3230" fmla="*/ 1538028 w 3044273"/>
              <a:gd name="connsiteY3230" fmla="*/ 827675 h 3047670"/>
              <a:gd name="connsiteX3231" fmla="*/ 1519312 w 3044273"/>
              <a:gd name="connsiteY3231" fmla="*/ 846518 h 3047670"/>
              <a:gd name="connsiteX3232" fmla="*/ 1500470 w 3044273"/>
              <a:gd name="connsiteY3232" fmla="*/ 827801 h 3047670"/>
              <a:gd name="connsiteX3233" fmla="*/ 1519186 w 3044273"/>
              <a:gd name="connsiteY3233" fmla="*/ 808958 h 3047670"/>
              <a:gd name="connsiteX3234" fmla="*/ 329611 w 3044273"/>
              <a:gd name="connsiteY3234" fmla="*/ 798157 h 3047670"/>
              <a:gd name="connsiteX3235" fmla="*/ 338278 w 3044273"/>
              <a:gd name="connsiteY3235" fmla="*/ 806824 h 3047670"/>
              <a:gd name="connsiteX3236" fmla="*/ 329737 w 3044273"/>
              <a:gd name="connsiteY3236" fmla="*/ 815491 h 3047670"/>
              <a:gd name="connsiteX3237" fmla="*/ 321070 w 3044273"/>
              <a:gd name="connsiteY3237" fmla="*/ 806949 h 3047670"/>
              <a:gd name="connsiteX3238" fmla="*/ 329611 w 3044273"/>
              <a:gd name="connsiteY3238" fmla="*/ 798157 h 3047670"/>
              <a:gd name="connsiteX3239" fmla="*/ 683343 w 3044273"/>
              <a:gd name="connsiteY3239" fmla="*/ 792505 h 3047670"/>
              <a:gd name="connsiteX3240" fmla="*/ 706205 w 3044273"/>
              <a:gd name="connsiteY3240" fmla="*/ 815241 h 3047670"/>
              <a:gd name="connsiteX3241" fmla="*/ 683468 w 3044273"/>
              <a:gd name="connsiteY3241" fmla="*/ 838103 h 3047670"/>
              <a:gd name="connsiteX3242" fmla="*/ 660607 w 3044273"/>
              <a:gd name="connsiteY3242" fmla="*/ 815367 h 3047670"/>
              <a:gd name="connsiteX3243" fmla="*/ 683343 w 3044273"/>
              <a:gd name="connsiteY3243" fmla="*/ 792505 h 3047670"/>
              <a:gd name="connsiteX3244" fmla="*/ 2708635 w 3044273"/>
              <a:gd name="connsiteY3244" fmla="*/ 789992 h 3047670"/>
              <a:gd name="connsiteX3245" fmla="*/ 2717050 w 3044273"/>
              <a:gd name="connsiteY3245" fmla="*/ 798409 h 3047670"/>
              <a:gd name="connsiteX3246" fmla="*/ 2708635 w 3044273"/>
              <a:gd name="connsiteY3246" fmla="*/ 806826 h 3047670"/>
              <a:gd name="connsiteX3247" fmla="*/ 2700218 w 3044273"/>
              <a:gd name="connsiteY3247" fmla="*/ 798409 h 3047670"/>
              <a:gd name="connsiteX3248" fmla="*/ 2708635 w 3044273"/>
              <a:gd name="connsiteY3248" fmla="*/ 789992 h 3047670"/>
              <a:gd name="connsiteX3249" fmla="*/ 960575 w 3044273"/>
              <a:gd name="connsiteY3249" fmla="*/ 789741 h 3047670"/>
              <a:gd name="connsiteX3250" fmla="*/ 992105 w 3044273"/>
              <a:gd name="connsiteY3250" fmla="*/ 821019 h 3047670"/>
              <a:gd name="connsiteX3251" fmla="*/ 960827 w 3044273"/>
              <a:gd name="connsiteY3251" fmla="*/ 852549 h 3047670"/>
              <a:gd name="connsiteX3252" fmla="*/ 929298 w 3044273"/>
              <a:gd name="connsiteY3252" fmla="*/ 821270 h 3047670"/>
              <a:gd name="connsiteX3253" fmla="*/ 960575 w 3044273"/>
              <a:gd name="connsiteY3253" fmla="*/ 789741 h 3047670"/>
              <a:gd name="connsiteX3254" fmla="*/ 1148119 w 3044273"/>
              <a:gd name="connsiteY3254" fmla="*/ 789490 h 3047670"/>
              <a:gd name="connsiteX3255" fmla="*/ 1177387 w 3044273"/>
              <a:gd name="connsiteY3255" fmla="*/ 818633 h 3047670"/>
              <a:gd name="connsiteX3256" fmla="*/ 1148244 w 3044273"/>
              <a:gd name="connsiteY3256" fmla="*/ 847901 h 3047670"/>
              <a:gd name="connsiteX3257" fmla="*/ 1118977 w 3044273"/>
              <a:gd name="connsiteY3257" fmla="*/ 818758 h 3047670"/>
              <a:gd name="connsiteX3258" fmla="*/ 1148119 w 3044273"/>
              <a:gd name="connsiteY3258" fmla="*/ 789490 h 3047670"/>
              <a:gd name="connsiteX3259" fmla="*/ 2077544 w 3044273"/>
              <a:gd name="connsiteY3259" fmla="*/ 788234 h 3047670"/>
              <a:gd name="connsiteX3260" fmla="*/ 2106436 w 3044273"/>
              <a:gd name="connsiteY3260" fmla="*/ 816874 h 3047670"/>
              <a:gd name="connsiteX3261" fmla="*/ 2077796 w 3044273"/>
              <a:gd name="connsiteY3261" fmla="*/ 845765 h 3047670"/>
              <a:gd name="connsiteX3262" fmla="*/ 2048904 w 3044273"/>
              <a:gd name="connsiteY3262" fmla="*/ 817125 h 3047670"/>
              <a:gd name="connsiteX3263" fmla="*/ 2077544 w 3044273"/>
              <a:gd name="connsiteY3263" fmla="*/ 788234 h 3047670"/>
              <a:gd name="connsiteX3264" fmla="*/ 1890126 w 3044273"/>
              <a:gd name="connsiteY3264" fmla="*/ 787730 h 3047670"/>
              <a:gd name="connsiteX3265" fmla="*/ 1918515 w 3044273"/>
              <a:gd name="connsiteY3265" fmla="*/ 815993 h 3047670"/>
              <a:gd name="connsiteX3266" fmla="*/ 1890251 w 3044273"/>
              <a:gd name="connsiteY3266" fmla="*/ 844382 h 3047670"/>
              <a:gd name="connsiteX3267" fmla="*/ 1861863 w 3044273"/>
              <a:gd name="connsiteY3267" fmla="*/ 816119 h 3047670"/>
              <a:gd name="connsiteX3268" fmla="*/ 1890126 w 3044273"/>
              <a:gd name="connsiteY3268" fmla="*/ 787730 h 3047670"/>
              <a:gd name="connsiteX3269" fmla="*/ 2355028 w 3044273"/>
              <a:gd name="connsiteY3269" fmla="*/ 784842 h 3047670"/>
              <a:gd name="connsiteX3270" fmla="*/ 2379397 w 3044273"/>
              <a:gd name="connsiteY3270" fmla="*/ 809086 h 3047670"/>
              <a:gd name="connsiteX3271" fmla="*/ 2355154 w 3044273"/>
              <a:gd name="connsiteY3271" fmla="*/ 833581 h 3047670"/>
              <a:gd name="connsiteX3272" fmla="*/ 2330658 w 3044273"/>
              <a:gd name="connsiteY3272" fmla="*/ 809337 h 3047670"/>
              <a:gd name="connsiteX3273" fmla="*/ 2355028 w 3044273"/>
              <a:gd name="connsiteY3273" fmla="*/ 784842 h 3047670"/>
              <a:gd name="connsiteX3274" fmla="*/ 231882 w 3044273"/>
              <a:gd name="connsiteY3274" fmla="*/ 779817 h 3047670"/>
              <a:gd name="connsiteX3275" fmla="*/ 235651 w 3044273"/>
              <a:gd name="connsiteY3275" fmla="*/ 783585 h 3047670"/>
              <a:gd name="connsiteX3276" fmla="*/ 231882 w 3044273"/>
              <a:gd name="connsiteY3276" fmla="*/ 787354 h 3047670"/>
              <a:gd name="connsiteX3277" fmla="*/ 228114 w 3044273"/>
              <a:gd name="connsiteY3277" fmla="*/ 783585 h 3047670"/>
              <a:gd name="connsiteX3278" fmla="*/ 231882 w 3044273"/>
              <a:gd name="connsiteY3278" fmla="*/ 779817 h 3047670"/>
              <a:gd name="connsiteX3279" fmla="*/ 2806361 w 3044273"/>
              <a:gd name="connsiteY3279" fmla="*/ 770270 h 3047670"/>
              <a:gd name="connsiteX3280" fmla="*/ 2810381 w 3044273"/>
              <a:gd name="connsiteY3280" fmla="*/ 774290 h 3047670"/>
              <a:gd name="connsiteX3281" fmla="*/ 2806361 w 3044273"/>
              <a:gd name="connsiteY3281" fmla="*/ 778309 h 3047670"/>
              <a:gd name="connsiteX3282" fmla="*/ 2802341 w 3044273"/>
              <a:gd name="connsiteY3282" fmla="*/ 774290 h 3047670"/>
              <a:gd name="connsiteX3283" fmla="*/ 2806361 w 3044273"/>
              <a:gd name="connsiteY3283" fmla="*/ 770270 h 3047670"/>
              <a:gd name="connsiteX3284" fmla="*/ 580466 w 3044273"/>
              <a:gd name="connsiteY3284" fmla="*/ 768511 h 3047670"/>
              <a:gd name="connsiteX3285" fmla="*/ 600187 w 3044273"/>
              <a:gd name="connsiteY3285" fmla="*/ 788107 h 3047670"/>
              <a:gd name="connsiteX3286" fmla="*/ 580591 w 3044273"/>
              <a:gd name="connsiteY3286" fmla="*/ 807829 h 3047670"/>
              <a:gd name="connsiteX3287" fmla="*/ 560870 w 3044273"/>
              <a:gd name="connsiteY3287" fmla="*/ 788233 h 3047670"/>
              <a:gd name="connsiteX3288" fmla="*/ 580466 w 3044273"/>
              <a:gd name="connsiteY3288" fmla="*/ 768511 h 3047670"/>
              <a:gd name="connsiteX3289" fmla="*/ 2457529 w 3044273"/>
              <a:gd name="connsiteY3289" fmla="*/ 762607 h 3047670"/>
              <a:gd name="connsiteX3290" fmla="*/ 2476372 w 3044273"/>
              <a:gd name="connsiteY3290" fmla="*/ 781323 h 3047670"/>
              <a:gd name="connsiteX3291" fmla="*/ 2457655 w 3044273"/>
              <a:gd name="connsiteY3291" fmla="*/ 800166 h 3047670"/>
              <a:gd name="connsiteX3292" fmla="*/ 2438812 w 3044273"/>
              <a:gd name="connsiteY3292" fmla="*/ 781450 h 3047670"/>
              <a:gd name="connsiteX3293" fmla="*/ 2457529 w 3044273"/>
              <a:gd name="connsiteY3293" fmla="*/ 762607 h 3047670"/>
              <a:gd name="connsiteX3294" fmla="*/ 1226629 w 3044273"/>
              <a:gd name="connsiteY3294" fmla="*/ 759593 h 3047670"/>
              <a:gd name="connsiteX3295" fmla="*/ 1252380 w 3044273"/>
              <a:gd name="connsiteY3295" fmla="*/ 785218 h 3047670"/>
              <a:gd name="connsiteX3296" fmla="*/ 1226754 w 3044273"/>
              <a:gd name="connsiteY3296" fmla="*/ 810969 h 3047670"/>
              <a:gd name="connsiteX3297" fmla="*/ 1201004 w 3044273"/>
              <a:gd name="connsiteY3297" fmla="*/ 785344 h 3047670"/>
              <a:gd name="connsiteX3298" fmla="*/ 1226629 w 3044273"/>
              <a:gd name="connsiteY3298" fmla="*/ 759593 h 3047670"/>
              <a:gd name="connsiteX3299" fmla="*/ 134531 w 3044273"/>
              <a:gd name="connsiteY3299" fmla="*/ 759468 h 3047670"/>
              <a:gd name="connsiteX3300" fmla="*/ 135912 w 3044273"/>
              <a:gd name="connsiteY3300" fmla="*/ 760724 h 3047670"/>
              <a:gd name="connsiteX3301" fmla="*/ 134531 w 3044273"/>
              <a:gd name="connsiteY3301" fmla="*/ 762105 h 3047670"/>
              <a:gd name="connsiteX3302" fmla="*/ 133274 w 3044273"/>
              <a:gd name="connsiteY3302" fmla="*/ 760724 h 3047670"/>
              <a:gd name="connsiteX3303" fmla="*/ 134531 w 3044273"/>
              <a:gd name="connsiteY3303" fmla="*/ 759468 h 3047670"/>
              <a:gd name="connsiteX3304" fmla="*/ 850789 w 3044273"/>
              <a:gd name="connsiteY3304" fmla="*/ 758337 h 3047670"/>
              <a:gd name="connsiteX3305" fmla="*/ 879052 w 3044273"/>
              <a:gd name="connsiteY3305" fmla="*/ 786349 h 3047670"/>
              <a:gd name="connsiteX3306" fmla="*/ 851040 w 3044273"/>
              <a:gd name="connsiteY3306" fmla="*/ 814612 h 3047670"/>
              <a:gd name="connsiteX3307" fmla="*/ 822777 w 3044273"/>
              <a:gd name="connsiteY3307" fmla="*/ 786600 h 3047670"/>
              <a:gd name="connsiteX3308" fmla="*/ 850789 w 3044273"/>
              <a:gd name="connsiteY3308" fmla="*/ 758337 h 3047670"/>
              <a:gd name="connsiteX3309" fmla="*/ 1811492 w 3044273"/>
              <a:gd name="connsiteY3309" fmla="*/ 757835 h 3047670"/>
              <a:gd name="connsiteX3310" fmla="*/ 1836866 w 3044273"/>
              <a:gd name="connsiteY3310" fmla="*/ 782958 h 3047670"/>
              <a:gd name="connsiteX3311" fmla="*/ 1811743 w 3044273"/>
              <a:gd name="connsiteY3311" fmla="*/ 808332 h 3047670"/>
              <a:gd name="connsiteX3312" fmla="*/ 1786369 w 3044273"/>
              <a:gd name="connsiteY3312" fmla="*/ 783209 h 3047670"/>
              <a:gd name="connsiteX3313" fmla="*/ 1811492 w 3044273"/>
              <a:gd name="connsiteY3313" fmla="*/ 757835 h 3047670"/>
              <a:gd name="connsiteX3314" fmla="*/ 2187332 w 3044273"/>
              <a:gd name="connsiteY3314" fmla="*/ 753563 h 3047670"/>
              <a:gd name="connsiteX3315" fmla="*/ 2215470 w 3044273"/>
              <a:gd name="connsiteY3315" fmla="*/ 781575 h 3047670"/>
              <a:gd name="connsiteX3316" fmla="*/ 2187457 w 3044273"/>
              <a:gd name="connsiteY3316" fmla="*/ 809838 h 3047670"/>
              <a:gd name="connsiteX3317" fmla="*/ 2159195 w 3044273"/>
              <a:gd name="connsiteY3317" fmla="*/ 781826 h 3047670"/>
              <a:gd name="connsiteX3318" fmla="*/ 2187332 w 3044273"/>
              <a:gd name="connsiteY3318" fmla="*/ 753563 h 3047670"/>
              <a:gd name="connsiteX3319" fmla="*/ 2903452 w 3044273"/>
              <a:gd name="connsiteY3319" fmla="*/ 749793 h 3047670"/>
              <a:gd name="connsiteX3320" fmla="*/ 2904331 w 3044273"/>
              <a:gd name="connsiteY3320" fmla="*/ 750673 h 3047670"/>
              <a:gd name="connsiteX3321" fmla="*/ 2903452 w 3044273"/>
              <a:gd name="connsiteY3321" fmla="*/ 751553 h 3047670"/>
              <a:gd name="connsiteX3322" fmla="*/ 2902572 w 3044273"/>
              <a:gd name="connsiteY3322" fmla="*/ 750673 h 3047670"/>
              <a:gd name="connsiteX3323" fmla="*/ 2903452 w 3044273"/>
              <a:gd name="connsiteY3323" fmla="*/ 749793 h 3047670"/>
              <a:gd name="connsiteX3324" fmla="*/ 2558900 w 3044273"/>
              <a:gd name="connsiteY3324" fmla="*/ 746781 h 3047670"/>
              <a:gd name="connsiteX3325" fmla="*/ 2566689 w 3044273"/>
              <a:gd name="connsiteY3325" fmla="*/ 754568 h 3047670"/>
              <a:gd name="connsiteX3326" fmla="*/ 2559025 w 3044273"/>
              <a:gd name="connsiteY3326" fmla="*/ 762357 h 3047670"/>
              <a:gd name="connsiteX3327" fmla="*/ 2551237 w 3044273"/>
              <a:gd name="connsiteY3327" fmla="*/ 754695 h 3047670"/>
              <a:gd name="connsiteX3328" fmla="*/ 2558900 w 3044273"/>
              <a:gd name="connsiteY3328" fmla="*/ 746781 h 3047670"/>
              <a:gd name="connsiteX3329" fmla="*/ 478969 w 3044273"/>
              <a:gd name="connsiteY3329" fmla="*/ 745524 h 3047670"/>
              <a:gd name="connsiteX3330" fmla="*/ 495676 w 3044273"/>
              <a:gd name="connsiteY3330" fmla="*/ 762105 h 3047670"/>
              <a:gd name="connsiteX3331" fmla="*/ 479094 w 3044273"/>
              <a:gd name="connsiteY3331" fmla="*/ 778812 h 3047670"/>
              <a:gd name="connsiteX3332" fmla="*/ 462388 w 3044273"/>
              <a:gd name="connsiteY3332" fmla="*/ 762231 h 3047670"/>
              <a:gd name="connsiteX3333" fmla="*/ 478969 w 3044273"/>
              <a:gd name="connsiteY3333" fmla="*/ 745524 h 3047670"/>
              <a:gd name="connsiteX3334" fmla="*/ 1031673 w 3044273"/>
              <a:gd name="connsiteY3334" fmla="*/ 742008 h 3047670"/>
              <a:gd name="connsiteX3335" fmla="*/ 1063831 w 3044273"/>
              <a:gd name="connsiteY3335" fmla="*/ 773914 h 3047670"/>
              <a:gd name="connsiteX3336" fmla="*/ 1031925 w 3044273"/>
              <a:gd name="connsiteY3336" fmla="*/ 806071 h 3047670"/>
              <a:gd name="connsiteX3337" fmla="*/ 999642 w 3044273"/>
              <a:gd name="connsiteY3337" fmla="*/ 774039 h 3047670"/>
              <a:gd name="connsiteX3338" fmla="*/ 1031673 w 3044273"/>
              <a:gd name="connsiteY3338" fmla="*/ 742008 h 3047670"/>
              <a:gd name="connsiteX3339" fmla="*/ 2006445 w 3044273"/>
              <a:gd name="connsiteY3339" fmla="*/ 741254 h 3047670"/>
              <a:gd name="connsiteX3340" fmla="*/ 2035715 w 3044273"/>
              <a:gd name="connsiteY3340" fmla="*/ 770397 h 3047670"/>
              <a:gd name="connsiteX3341" fmla="*/ 2006572 w 3044273"/>
              <a:gd name="connsiteY3341" fmla="*/ 799665 h 3047670"/>
              <a:gd name="connsiteX3342" fmla="*/ 1977177 w 3044273"/>
              <a:gd name="connsiteY3342" fmla="*/ 770522 h 3047670"/>
              <a:gd name="connsiteX3343" fmla="*/ 2006445 w 3044273"/>
              <a:gd name="connsiteY3343" fmla="*/ 741254 h 3047670"/>
              <a:gd name="connsiteX3344" fmla="*/ 743388 w 3044273"/>
              <a:gd name="connsiteY3344" fmla="*/ 731958 h 3047670"/>
              <a:gd name="connsiteX3345" fmla="*/ 766250 w 3044273"/>
              <a:gd name="connsiteY3345" fmla="*/ 754694 h 3047670"/>
              <a:gd name="connsiteX3346" fmla="*/ 743513 w 3044273"/>
              <a:gd name="connsiteY3346" fmla="*/ 777556 h 3047670"/>
              <a:gd name="connsiteX3347" fmla="*/ 720652 w 3044273"/>
              <a:gd name="connsiteY3347" fmla="*/ 754819 h 3047670"/>
              <a:gd name="connsiteX3348" fmla="*/ 743388 w 3044273"/>
              <a:gd name="connsiteY3348" fmla="*/ 731958 h 3047670"/>
              <a:gd name="connsiteX3349" fmla="*/ 1307903 w 3044273"/>
              <a:gd name="connsiteY3349" fmla="*/ 729069 h 3047670"/>
              <a:gd name="connsiteX3350" fmla="*/ 1338803 w 3044273"/>
              <a:gd name="connsiteY3350" fmla="*/ 759719 h 3047670"/>
              <a:gd name="connsiteX3351" fmla="*/ 1308153 w 3044273"/>
              <a:gd name="connsiteY3351" fmla="*/ 790620 h 3047670"/>
              <a:gd name="connsiteX3352" fmla="*/ 1277253 w 3044273"/>
              <a:gd name="connsiteY3352" fmla="*/ 759970 h 3047670"/>
              <a:gd name="connsiteX3353" fmla="*/ 1307903 w 3044273"/>
              <a:gd name="connsiteY3353" fmla="*/ 729069 h 3047670"/>
              <a:gd name="connsiteX3354" fmla="*/ 1729842 w 3044273"/>
              <a:gd name="connsiteY3354" fmla="*/ 728189 h 3047670"/>
              <a:gd name="connsiteX3355" fmla="*/ 1760241 w 3044273"/>
              <a:gd name="connsiteY3355" fmla="*/ 758337 h 3047670"/>
              <a:gd name="connsiteX3356" fmla="*/ 1730092 w 3044273"/>
              <a:gd name="connsiteY3356" fmla="*/ 788735 h 3047670"/>
              <a:gd name="connsiteX3357" fmla="*/ 1699694 w 3044273"/>
              <a:gd name="connsiteY3357" fmla="*/ 758462 h 3047670"/>
              <a:gd name="connsiteX3358" fmla="*/ 1729842 w 3044273"/>
              <a:gd name="connsiteY3358" fmla="*/ 728189 h 3047670"/>
              <a:gd name="connsiteX3359" fmla="*/ 2294355 w 3044273"/>
              <a:gd name="connsiteY3359" fmla="*/ 725300 h 3047670"/>
              <a:gd name="connsiteX3360" fmla="*/ 2318348 w 3044273"/>
              <a:gd name="connsiteY3360" fmla="*/ 749166 h 3047670"/>
              <a:gd name="connsiteX3361" fmla="*/ 2294607 w 3044273"/>
              <a:gd name="connsiteY3361" fmla="*/ 773159 h 3047670"/>
              <a:gd name="connsiteX3362" fmla="*/ 2270614 w 3044273"/>
              <a:gd name="connsiteY3362" fmla="*/ 749293 h 3047670"/>
              <a:gd name="connsiteX3363" fmla="*/ 2294355 w 3044273"/>
              <a:gd name="connsiteY3363" fmla="*/ 725300 h 3047670"/>
              <a:gd name="connsiteX3364" fmla="*/ 2659267 w 3044273"/>
              <a:gd name="connsiteY3364" fmla="*/ 725050 h 3047670"/>
              <a:gd name="connsiteX3365" fmla="*/ 2663035 w 3044273"/>
              <a:gd name="connsiteY3365" fmla="*/ 728818 h 3047670"/>
              <a:gd name="connsiteX3366" fmla="*/ 2659267 w 3044273"/>
              <a:gd name="connsiteY3366" fmla="*/ 732587 h 3047670"/>
              <a:gd name="connsiteX3367" fmla="*/ 2655498 w 3044273"/>
              <a:gd name="connsiteY3367" fmla="*/ 728818 h 3047670"/>
              <a:gd name="connsiteX3368" fmla="*/ 2659267 w 3044273"/>
              <a:gd name="connsiteY3368" fmla="*/ 725050 h 3047670"/>
              <a:gd name="connsiteX3369" fmla="*/ 378476 w 3044273"/>
              <a:gd name="connsiteY3369" fmla="*/ 724922 h 3047670"/>
              <a:gd name="connsiteX3370" fmla="*/ 390661 w 3044273"/>
              <a:gd name="connsiteY3370" fmla="*/ 737107 h 3047670"/>
              <a:gd name="connsiteX3371" fmla="*/ 378476 w 3044273"/>
              <a:gd name="connsiteY3371" fmla="*/ 749293 h 3047670"/>
              <a:gd name="connsiteX3372" fmla="*/ 366292 w 3044273"/>
              <a:gd name="connsiteY3372" fmla="*/ 737107 h 3047670"/>
              <a:gd name="connsiteX3373" fmla="*/ 378476 w 3044273"/>
              <a:gd name="connsiteY3373" fmla="*/ 724922 h 3047670"/>
              <a:gd name="connsiteX3374" fmla="*/ 1391436 w 3044273"/>
              <a:gd name="connsiteY3374" fmla="*/ 713492 h 3047670"/>
              <a:gd name="connsiteX3375" fmla="*/ 1420704 w 3044273"/>
              <a:gd name="connsiteY3375" fmla="*/ 742635 h 3047670"/>
              <a:gd name="connsiteX3376" fmla="*/ 1391561 w 3044273"/>
              <a:gd name="connsiteY3376" fmla="*/ 771903 h 3047670"/>
              <a:gd name="connsiteX3377" fmla="*/ 1362294 w 3044273"/>
              <a:gd name="connsiteY3377" fmla="*/ 742760 h 3047670"/>
              <a:gd name="connsiteX3378" fmla="*/ 1391436 w 3044273"/>
              <a:gd name="connsiteY3378" fmla="*/ 713492 h 3047670"/>
              <a:gd name="connsiteX3379" fmla="*/ 1646184 w 3044273"/>
              <a:gd name="connsiteY3379" fmla="*/ 712488 h 3047670"/>
              <a:gd name="connsiteX3380" fmla="*/ 1675703 w 3044273"/>
              <a:gd name="connsiteY3380" fmla="*/ 741756 h 3047670"/>
              <a:gd name="connsiteX3381" fmla="*/ 1646436 w 3044273"/>
              <a:gd name="connsiteY3381" fmla="*/ 771276 h 3047670"/>
              <a:gd name="connsiteX3382" fmla="*/ 1616916 w 3044273"/>
              <a:gd name="connsiteY3382" fmla="*/ 741882 h 3047670"/>
              <a:gd name="connsiteX3383" fmla="*/ 1646184 w 3044273"/>
              <a:gd name="connsiteY3383" fmla="*/ 712488 h 3047670"/>
              <a:gd name="connsiteX3384" fmla="*/ 918370 w 3044273"/>
              <a:gd name="connsiteY3384" fmla="*/ 706835 h 3047670"/>
              <a:gd name="connsiteX3385" fmla="*/ 946132 w 3044273"/>
              <a:gd name="connsiteY3385" fmla="*/ 734470 h 3047670"/>
              <a:gd name="connsiteX3386" fmla="*/ 918622 w 3044273"/>
              <a:gd name="connsiteY3386" fmla="*/ 762231 h 3047670"/>
              <a:gd name="connsiteX3387" fmla="*/ 890861 w 3044273"/>
              <a:gd name="connsiteY3387" fmla="*/ 734596 h 3047670"/>
              <a:gd name="connsiteX3388" fmla="*/ 918370 w 3044273"/>
              <a:gd name="connsiteY3388" fmla="*/ 706835 h 3047670"/>
              <a:gd name="connsiteX3389" fmla="*/ 278988 w 3044273"/>
              <a:gd name="connsiteY3389" fmla="*/ 704950 h 3047670"/>
              <a:gd name="connsiteX3390" fmla="*/ 286777 w 3044273"/>
              <a:gd name="connsiteY3390" fmla="*/ 712613 h 3047670"/>
              <a:gd name="connsiteX3391" fmla="*/ 278988 w 3044273"/>
              <a:gd name="connsiteY3391" fmla="*/ 720401 h 3047670"/>
              <a:gd name="connsiteX3392" fmla="*/ 271201 w 3044273"/>
              <a:gd name="connsiteY3392" fmla="*/ 712613 h 3047670"/>
              <a:gd name="connsiteX3393" fmla="*/ 278988 w 3044273"/>
              <a:gd name="connsiteY3393" fmla="*/ 704950 h 3047670"/>
              <a:gd name="connsiteX3394" fmla="*/ 1476225 w 3044273"/>
              <a:gd name="connsiteY3394" fmla="*/ 704699 h 3047670"/>
              <a:gd name="connsiteX3395" fmla="*/ 1505492 w 3044273"/>
              <a:gd name="connsiteY3395" fmla="*/ 733842 h 3047670"/>
              <a:gd name="connsiteX3396" fmla="*/ 1476350 w 3044273"/>
              <a:gd name="connsiteY3396" fmla="*/ 763110 h 3047670"/>
              <a:gd name="connsiteX3397" fmla="*/ 1447082 w 3044273"/>
              <a:gd name="connsiteY3397" fmla="*/ 733967 h 3047670"/>
              <a:gd name="connsiteX3398" fmla="*/ 1476225 w 3044273"/>
              <a:gd name="connsiteY3398" fmla="*/ 704699 h 3047670"/>
              <a:gd name="connsiteX3399" fmla="*/ 1561519 w 3044273"/>
              <a:gd name="connsiteY3399" fmla="*/ 704574 h 3047670"/>
              <a:gd name="connsiteX3400" fmla="*/ 1590537 w 3044273"/>
              <a:gd name="connsiteY3400" fmla="*/ 733464 h 3047670"/>
              <a:gd name="connsiteX3401" fmla="*/ 1561645 w 3044273"/>
              <a:gd name="connsiteY3401" fmla="*/ 762607 h 3047670"/>
              <a:gd name="connsiteX3402" fmla="*/ 1532502 w 3044273"/>
              <a:gd name="connsiteY3402" fmla="*/ 733716 h 3047670"/>
              <a:gd name="connsiteX3403" fmla="*/ 1561519 w 3044273"/>
              <a:gd name="connsiteY3403" fmla="*/ 704574 h 3047670"/>
              <a:gd name="connsiteX3404" fmla="*/ 2119248 w 3044273"/>
              <a:gd name="connsiteY3404" fmla="*/ 704449 h 3047670"/>
              <a:gd name="connsiteX3405" fmla="*/ 2144998 w 3044273"/>
              <a:gd name="connsiteY3405" fmla="*/ 730074 h 3047670"/>
              <a:gd name="connsiteX3406" fmla="*/ 2119373 w 3044273"/>
              <a:gd name="connsiteY3406" fmla="*/ 755825 h 3047670"/>
              <a:gd name="connsiteX3407" fmla="*/ 2093622 w 3044273"/>
              <a:gd name="connsiteY3407" fmla="*/ 730200 h 3047670"/>
              <a:gd name="connsiteX3408" fmla="*/ 2119248 w 3044273"/>
              <a:gd name="connsiteY3408" fmla="*/ 704449 h 3047670"/>
              <a:gd name="connsiteX3409" fmla="*/ 637872 w 3044273"/>
              <a:gd name="connsiteY3409" fmla="*/ 703443 h 3047670"/>
              <a:gd name="connsiteX3410" fmla="*/ 659603 w 3044273"/>
              <a:gd name="connsiteY3410" fmla="*/ 725049 h 3047670"/>
              <a:gd name="connsiteX3411" fmla="*/ 637997 w 3044273"/>
              <a:gd name="connsiteY3411" fmla="*/ 746780 h 3047670"/>
              <a:gd name="connsiteX3412" fmla="*/ 616266 w 3044273"/>
              <a:gd name="connsiteY3412" fmla="*/ 725174 h 3047670"/>
              <a:gd name="connsiteX3413" fmla="*/ 637872 w 3044273"/>
              <a:gd name="connsiteY3413" fmla="*/ 703443 h 3047670"/>
              <a:gd name="connsiteX3414" fmla="*/ 2758626 w 3044273"/>
              <a:gd name="connsiteY3414" fmla="*/ 701810 h 3047670"/>
              <a:gd name="connsiteX3415" fmla="*/ 2760386 w 3044273"/>
              <a:gd name="connsiteY3415" fmla="*/ 703568 h 3047670"/>
              <a:gd name="connsiteX3416" fmla="*/ 2758626 w 3044273"/>
              <a:gd name="connsiteY3416" fmla="*/ 705327 h 3047670"/>
              <a:gd name="connsiteX3417" fmla="*/ 2756868 w 3044273"/>
              <a:gd name="connsiteY3417" fmla="*/ 703568 h 3047670"/>
              <a:gd name="connsiteX3418" fmla="*/ 2758626 w 3044273"/>
              <a:gd name="connsiteY3418" fmla="*/ 701810 h 3047670"/>
              <a:gd name="connsiteX3419" fmla="*/ 1931076 w 3044273"/>
              <a:gd name="connsiteY3419" fmla="*/ 701182 h 3047670"/>
              <a:gd name="connsiteX3420" fmla="*/ 1960219 w 3044273"/>
              <a:gd name="connsiteY3420" fmla="*/ 730072 h 3047670"/>
              <a:gd name="connsiteX3421" fmla="*/ 1931328 w 3044273"/>
              <a:gd name="connsiteY3421" fmla="*/ 759215 h 3047670"/>
              <a:gd name="connsiteX3422" fmla="*/ 1902186 w 3044273"/>
              <a:gd name="connsiteY3422" fmla="*/ 730324 h 3047670"/>
              <a:gd name="connsiteX3423" fmla="*/ 1931076 w 3044273"/>
              <a:gd name="connsiteY3423" fmla="*/ 701182 h 3047670"/>
              <a:gd name="connsiteX3424" fmla="*/ 1106415 w 3044273"/>
              <a:gd name="connsiteY3424" fmla="*/ 700304 h 3047670"/>
              <a:gd name="connsiteX3425" fmla="*/ 1139452 w 3044273"/>
              <a:gd name="connsiteY3425" fmla="*/ 733215 h 3047670"/>
              <a:gd name="connsiteX3426" fmla="*/ 1106667 w 3044273"/>
              <a:gd name="connsiteY3426" fmla="*/ 766252 h 3047670"/>
              <a:gd name="connsiteX3427" fmla="*/ 1073630 w 3044273"/>
              <a:gd name="connsiteY3427" fmla="*/ 733341 h 3047670"/>
              <a:gd name="connsiteX3428" fmla="*/ 1106415 w 3044273"/>
              <a:gd name="connsiteY3428" fmla="*/ 700304 h 3047670"/>
              <a:gd name="connsiteX3429" fmla="*/ 2399747 w 3044273"/>
              <a:gd name="connsiteY3429" fmla="*/ 698291 h 3047670"/>
              <a:gd name="connsiteX3430" fmla="*/ 2420348 w 3044273"/>
              <a:gd name="connsiteY3430" fmla="*/ 718767 h 3047670"/>
              <a:gd name="connsiteX3431" fmla="*/ 2399873 w 3044273"/>
              <a:gd name="connsiteY3431" fmla="*/ 739368 h 3047670"/>
              <a:gd name="connsiteX3432" fmla="*/ 2379272 w 3044273"/>
              <a:gd name="connsiteY3432" fmla="*/ 718892 h 3047670"/>
              <a:gd name="connsiteX3433" fmla="*/ 2399747 w 3044273"/>
              <a:gd name="connsiteY3433" fmla="*/ 698291 h 3047670"/>
              <a:gd name="connsiteX3434" fmla="*/ 180252 w 3044273"/>
              <a:gd name="connsiteY3434" fmla="*/ 685230 h 3047670"/>
              <a:gd name="connsiteX3435" fmla="*/ 183643 w 3044273"/>
              <a:gd name="connsiteY3435" fmla="*/ 688496 h 3047670"/>
              <a:gd name="connsiteX3436" fmla="*/ 180252 w 3044273"/>
              <a:gd name="connsiteY3436" fmla="*/ 691887 h 3047670"/>
              <a:gd name="connsiteX3437" fmla="*/ 176860 w 3044273"/>
              <a:gd name="connsiteY3437" fmla="*/ 688622 h 3047670"/>
              <a:gd name="connsiteX3438" fmla="*/ 180252 w 3044273"/>
              <a:gd name="connsiteY3438" fmla="*/ 685230 h 3047670"/>
              <a:gd name="connsiteX3439" fmla="*/ 533862 w 3044273"/>
              <a:gd name="connsiteY3439" fmla="*/ 677567 h 3047670"/>
              <a:gd name="connsiteX3440" fmla="*/ 553458 w 3044273"/>
              <a:gd name="connsiteY3440" fmla="*/ 697037 h 3047670"/>
              <a:gd name="connsiteX3441" fmla="*/ 534113 w 3044273"/>
              <a:gd name="connsiteY3441" fmla="*/ 716508 h 3047670"/>
              <a:gd name="connsiteX3442" fmla="*/ 514517 w 3044273"/>
              <a:gd name="connsiteY3442" fmla="*/ 697163 h 3047670"/>
              <a:gd name="connsiteX3443" fmla="*/ 533862 w 3044273"/>
              <a:gd name="connsiteY3443" fmla="*/ 677567 h 3047670"/>
              <a:gd name="connsiteX3444" fmla="*/ 807829 w 3044273"/>
              <a:gd name="connsiteY3444" fmla="*/ 676185 h 3047670"/>
              <a:gd name="connsiteX3445" fmla="*/ 830691 w 3044273"/>
              <a:gd name="connsiteY3445" fmla="*/ 698921 h 3047670"/>
              <a:gd name="connsiteX3446" fmla="*/ 807954 w 3044273"/>
              <a:gd name="connsiteY3446" fmla="*/ 721783 h 3047670"/>
              <a:gd name="connsiteX3447" fmla="*/ 785093 w 3044273"/>
              <a:gd name="connsiteY3447" fmla="*/ 699046 h 3047670"/>
              <a:gd name="connsiteX3448" fmla="*/ 807829 w 3044273"/>
              <a:gd name="connsiteY3448" fmla="*/ 676185 h 3047670"/>
              <a:gd name="connsiteX3449" fmla="*/ 2503503 w 3044273"/>
              <a:gd name="connsiteY3449" fmla="*/ 674927 h 3047670"/>
              <a:gd name="connsiteX3450" fmla="*/ 2518577 w 3044273"/>
              <a:gd name="connsiteY3450" fmla="*/ 689876 h 3047670"/>
              <a:gd name="connsiteX3451" fmla="*/ 2503503 w 3044273"/>
              <a:gd name="connsiteY3451" fmla="*/ 705075 h 3047670"/>
              <a:gd name="connsiteX3452" fmla="*/ 2488429 w 3044273"/>
              <a:gd name="connsiteY3452" fmla="*/ 690001 h 3047670"/>
              <a:gd name="connsiteX3453" fmla="*/ 2503503 w 3044273"/>
              <a:gd name="connsiteY3453" fmla="*/ 674927 h 3047670"/>
              <a:gd name="connsiteX3454" fmla="*/ 2229538 w 3044273"/>
              <a:gd name="connsiteY3454" fmla="*/ 668774 h 3047670"/>
              <a:gd name="connsiteX3455" fmla="*/ 2254660 w 3044273"/>
              <a:gd name="connsiteY3455" fmla="*/ 693645 h 3047670"/>
              <a:gd name="connsiteX3456" fmla="*/ 2229789 w 3044273"/>
              <a:gd name="connsiteY3456" fmla="*/ 718768 h 3047670"/>
              <a:gd name="connsiteX3457" fmla="*/ 2204666 w 3044273"/>
              <a:gd name="connsiteY3457" fmla="*/ 693897 h 3047670"/>
              <a:gd name="connsiteX3458" fmla="*/ 2229538 w 3044273"/>
              <a:gd name="connsiteY3458" fmla="*/ 668774 h 3047670"/>
              <a:gd name="connsiteX3459" fmla="*/ 1852567 w 3044273"/>
              <a:gd name="connsiteY3459" fmla="*/ 666889 h 3047670"/>
              <a:gd name="connsiteX3460" fmla="*/ 1882967 w 3044273"/>
              <a:gd name="connsiteY3460" fmla="*/ 697037 h 3047670"/>
              <a:gd name="connsiteX3461" fmla="*/ 1852692 w 3044273"/>
              <a:gd name="connsiteY3461" fmla="*/ 727435 h 3047670"/>
              <a:gd name="connsiteX3462" fmla="*/ 1822294 w 3044273"/>
              <a:gd name="connsiteY3462" fmla="*/ 697162 h 3047670"/>
              <a:gd name="connsiteX3463" fmla="*/ 1852567 w 3044273"/>
              <a:gd name="connsiteY3463" fmla="*/ 666889 h 3047670"/>
              <a:gd name="connsiteX3464" fmla="*/ 1184925 w 3044273"/>
              <a:gd name="connsiteY3464" fmla="*/ 666386 h 3047670"/>
              <a:gd name="connsiteX3465" fmla="*/ 1217962 w 3044273"/>
              <a:gd name="connsiteY3465" fmla="*/ 699297 h 3047670"/>
              <a:gd name="connsiteX3466" fmla="*/ 1185050 w 3044273"/>
              <a:gd name="connsiteY3466" fmla="*/ 732334 h 3047670"/>
              <a:gd name="connsiteX3467" fmla="*/ 1152014 w 3044273"/>
              <a:gd name="connsiteY3467" fmla="*/ 699548 h 3047670"/>
              <a:gd name="connsiteX3468" fmla="*/ 1184925 w 3044273"/>
              <a:gd name="connsiteY3468" fmla="*/ 666386 h 3047670"/>
              <a:gd name="connsiteX3469" fmla="*/ 989970 w 3044273"/>
              <a:gd name="connsiteY3469" fmla="*/ 660482 h 3047670"/>
              <a:gd name="connsiteX3470" fmla="*/ 1017730 w 3044273"/>
              <a:gd name="connsiteY3470" fmla="*/ 687991 h 3047670"/>
              <a:gd name="connsiteX3471" fmla="*/ 990095 w 3044273"/>
              <a:gd name="connsiteY3471" fmla="*/ 715753 h 3047670"/>
              <a:gd name="connsiteX3472" fmla="*/ 962335 w 3044273"/>
              <a:gd name="connsiteY3472" fmla="*/ 688243 h 3047670"/>
              <a:gd name="connsiteX3473" fmla="*/ 989970 w 3044273"/>
              <a:gd name="connsiteY3473" fmla="*/ 660482 h 3047670"/>
              <a:gd name="connsiteX3474" fmla="*/ 431487 w 3044273"/>
              <a:gd name="connsiteY3474" fmla="*/ 659228 h 3047670"/>
              <a:gd name="connsiteX3475" fmla="*/ 442542 w 3044273"/>
              <a:gd name="connsiteY3475" fmla="*/ 670282 h 3047670"/>
              <a:gd name="connsiteX3476" fmla="*/ 431487 w 3044273"/>
              <a:gd name="connsiteY3476" fmla="*/ 681336 h 3047670"/>
              <a:gd name="connsiteX3477" fmla="*/ 420433 w 3044273"/>
              <a:gd name="connsiteY3477" fmla="*/ 670282 h 3047670"/>
              <a:gd name="connsiteX3478" fmla="*/ 431487 w 3044273"/>
              <a:gd name="connsiteY3478" fmla="*/ 659228 h 3047670"/>
              <a:gd name="connsiteX3479" fmla="*/ 2047397 w 3044273"/>
              <a:gd name="connsiteY3479" fmla="*/ 657217 h 3047670"/>
              <a:gd name="connsiteX3480" fmla="*/ 2074656 w 3044273"/>
              <a:gd name="connsiteY3480" fmla="*/ 684350 h 3047670"/>
              <a:gd name="connsiteX3481" fmla="*/ 2047523 w 3044273"/>
              <a:gd name="connsiteY3481" fmla="*/ 711608 h 3047670"/>
              <a:gd name="connsiteX3482" fmla="*/ 2020265 w 3044273"/>
              <a:gd name="connsiteY3482" fmla="*/ 684475 h 3047670"/>
              <a:gd name="connsiteX3483" fmla="*/ 2047397 w 3044273"/>
              <a:gd name="connsiteY3483" fmla="*/ 657217 h 3047670"/>
              <a:gd name="connsiteX3484" fmla="*/ 2605754 w 3044273"/>
              <a:gd name="connsiteY3484" fmla="*/ 656338 h 3047670"/>
              <a:gd name="connsiteX3485" fmla="*/ 2611784 w 3044273"/>
              <a:gd name="connsiteY3485" fmla="*/ 662241 h 3047670"/>
              <a:gd name="connsiteX3486" fmla="*/ 2605880 w 3044273"/>
              <a:gd name="connsiteY3486" fmla="*/ 668270 h 3047670"/>
              <a:gd name="connsiteX3487" fmla="*/ 2599850 w 3044273"/>
              <a:gd name="connsiteY3487" fmla="*/ 662367 h 3047670"/>
              <a:gd name="connsiteX3488" fmla="*/ 2605754 w 3044273"/>
              <a:gd name="connsiteY3488" fmla="*/ 656338 h 3047670"/>
              <a:gd name="connsiteX3489" fmla="*/ 699423 w 3044273"/>
              <a:gd name="connsiteY3489" fmla="*/ 646664 h 3047670"/>
              <a:gd name="connsiteX3490" fmla="*/ 719019 w 3044273"/>
              <a:gd name="connsiteY3490" fmla="*/ 666010 h 3047670"/>
              <a:gd name="connsiteX3491" fmla="*/ 699674 w 3044273"/>
              <a:gd name="connsiteY3491" fmla="*/ 685607 h 3047670"/>
              <a:gd name="connsiteX3492" fmla="*/ 680078 w 3044273"/>
              <a:gd name="connsiteY3492" fmla="*/ 666261 h 3047670"/>
              <a:gd name="connsiteX3493" fmla="*/ 699423 w 3044273"/>
              <a:gd name="connsiteY3493" fmla="*/ 646664 h 3047670"/>
              <a:gd name="connsiteX3494" fmla="*/ 2337693 w 3044273"/>
              <a:gd name="connsiteY3494" fmla="*/ 643022 h 3047670"/>
              <a:gd name="connsiteX3495" fmla="*/ 2355029 w 3044273"/>
              <a:gd name="connsiteY3495" fmla="*/ 660230 h 3047670"/>
              <a:gd name="connsiteX3496" fmla="*/ 2337820 w 3044273"/>
              <a:gd name="connsiteY3496" fmla="*/ 677565 h 3047670"/>
              <a:gd name="connsiteX3497" fmla="*/ 2320484 w 3044273"/>
              <a:gd name="connsiteY3497" fmla="*/ 660357 h 3047670"/>
              <a:gd name="connsiteX3498" fmla="*/ 2337693 w 3044273"/>
              <a:gd name="connsiteY3498" fmla="*/ 643022 h 3047670"/>
              <a:gd name="connsiteX3499" fmla="*/ 1771421 w 3044273"/>
              <a:gd name="connsiteY3499" fmla="*/ 640761 h 3047670"/>
              <a:gd name="connsiteX3500" fmla="*/ 1801821 w 3044273"/>
              <a:gd name="connsiteY3500" fmla="*/ 670909 h 3047670"/>
              <a:gd name="connsiteX3501" fmla="*/ 1771546 w 3044273"/>
              <a:gd name="connsiteY3501" fmla="*/ 701307 h 3047670"/>
              <a:gd name="connsiteX3502" fmla="*/ 1741148 w 3044273"/>
              <a:gd name="connsiteY3502" fmla="*/ 671034 h 3047670"/>
              <a:gd name="connsiteX3503" fmla="*/ 1771421 w 3044273"/>
              <a:gd name="connsiteY3503" fmla="*/ 640761 h 3047670"/>
              <a:gd name="connsiteX3504" fmla="*/ 1265821 w 3044273"/>
              <a:gd name="connsiteY3504" fmla="*/ 640259 h 3047670"/>
              <a:gd name="connsiteX3505" fmla="*/ 1298481 w 3044273"/>
              <a:gd name="connsiteY3505" fmla="*/ 672667 h 3047670"/>
              <a:gd name="connsiteX3506" fmla="*/ 1266073 w 3044273"/>
              <a:gd name="connsiteY3506" fmla="*/ 705327 h 3047670"/>
              <a:gd name="connsiteX3507" fmla="*/ 1233414 w 3044273"/>
              <a:gd name="connsiteY3507" fmla="*/ 672919 h 3047670"/>
              <a:gd name="connsiteX3508" fmla="*/ 1265821 w 3044273"/>
              <a:gd name="connsiteY3508" fmla="*/ 640259 h 3047670"/>
              <a:gd name="connsiteX3509" fmla="*/ 329990 w 3044273"/>
              <a:gd name="connsiteY3509" fmla="*/ 637872 h 3047670"/>
              <a:gd name="connsiteX3510" fmla="*/ 336397 w 3044273"/>
              <a:gd name="connsiteY3510" fmla="*/ 644278 h 3047670"/>
              <a:gd name="connsiteX3511" fmla="*/ 329990 w 3044273"/>
              <a:gd name="connsiteY3511" fmla="*/ 650684 h 3047670"/>
              <a:gd name="connsiteX3512" fmla="*/ 323584 w 3044273"/>
              <a:gd name="connsiteY3512" fmla="*/ 644278 h 3047670"/>
              <a:gd name="connsiteX3513" fmla="*/ 329990 w 3044273"/>
              <a:gd name="connsiteY3513" fmla="*/ 637872 h 3047670"/>
              <a:gd name="connsiteX3514" fmla="*/ 2707126 w 3044273"/>
              <a:gd name="connsiteY3514" fmla="*/ 633225 h 3047670"/>
              <a:gd name="connsiteX3515" fmla="*/ 2709387 w 3044273"/>
              <a:gd name="connsiteY3515" fmla="*/ 635487 h 3047670"/>
              <a:gd name="connsiteX3516" fmla="*/ 2707126 w 3044273"/>
              <a:gd name="connsiteY3516" fmla="*/ 637747 h 3047670"/>
              <a:gd name="connsiteX3517" fmla="*/ 2704865 w 3044273"/>
              <a:gd name="connsiteY3517" fmla="*/ 635612 h 3047670"/>
              <a:gd name="connsiteX3518" fmla="*/ 2707126 w 3044273"/>
              <a:gd name="connsiteY3518" fmla="*/ 633225 h 3047670"/>
              <a:gd name="connsiteX3519" fmla="*/ 876288 w 3044273"/>
              <a:gd name="connsiteY3519" fmla="*/ 627321 h 3047670"/>
              <a:gd name="connsiteX3520" fmla="*/ 897141 w 3044273"/>
              <a:gd name="connsiteY3520" fmla="*/ 648047 h 3047670"/>
              <a:gd name="connsiteX3521" fmla="*/ 876414 w 3044273"/>
              <a:gd name="connsiteY3521" fmla="*/ 668900 h 3047670"/>
              <a:gd name="connsiteX3522" fmla="*/ 855562 w 3044273"/>
              <a:gd name="connsiteY3522" fmla="*/ 648173 h 3047670"/>
              <a:gd name="connsiteX3523" fmla="*/ 876288 w 3044273"/>
              <a:gd name="connsiteY3523" fmla="*/ 627321 h 3047670"/>
              <a:gd name="connsiteX3524" fmla="*/ 1688265 w 3044273"/>
              <a:gd name="connsiteY3524" fmla="*/ 624055 h 3047670"/>
              <a:gd name="connsiteX3525" fmla="*/ 1716655 w 3044273"/>
              <a:gd name="connsiteY3525" fmla="*/ 652318 h 3047670"/>
              <a:gd name="connsiteX3526" fmla="*/ 1688390 w 3044273"/>
              <a:gd name="connsiteY3526" fmla="*/ 680707 h 3047670"/>
              <a:gd name="connsiteX3527" fmla="*/ 1660002 w 3044273"/>
              <a:gd name="connsiteY3527" fmla="*/ 652443 h 3047670"/>
              <a:gd name="connsiteX3528" fmla="*/ 1688265 w 3044273"/>
              <a:gd name="connsiteY3528" fmla="*/ 624055 h 3047670"/>
              <a:gd name="connsiteX3529" fmla="*/ 1348852 w 3044273"/>
              <a:gd name="connsiteY3529" fmla="*/ 624055 h 3047670"/>
              <a:gd name="connsiteX3530" fmla="*/ 1378372 w 3044273"/>
              <a:gd name="connsiteY3530" fmla="*/ 653449 h 3047670"/>
              <a:gd name="connsiteX3531" fmla="*/ 1349103 w 3044273"/>
              <a:gd name="connsiteY3531" fmla="*/ 682968 h 3047670"/>
              <a:gd name="connsiteX3532" fmla="*/ 1319585 w 3044273"/>
              <a:gd name="connsiteY3532" fmla="*/ 653700 h 3047670"/>
              <a:gd name="connsiteX3533" fmla="*/ 1348852 w 3044273"/>
              <a:gd name="connsiteY3533" fmla="*/ 624055 h 3047670"/>
              <a:gd name="connsiteX3534" fmla="*/ 1065086 w 3044273"/>
              <a:gd name="connsiteY3534" fmla="*/ 622548 h 3047670"/>
              <a:gd name="connsiteX3535" fmla="*/ 1090336 w 3044273"/>
              <a:gd name="connsiteY3535" fmla="*/ 647671 h 3047670"/>
              <a:gd name="connsiteX3536" fmla="*/ 1065213 w 3044273"/>
              <a:gd name="connsiteY3536" fmla="*/ 673045 h 3047670"/>
              <a:gd name="connsiteX3537" fmla="*/ 1039838 w 3044273"/>
              <a:gd name="connsiteY3537" fmla="*/ 647922 h 3047670"/>
              <a:gd name="connsiteX3538" fmla="*/ 1065086 w 3044273"/>
              <a:gd name="connsiteY3538" fmla="*/ 622548 h 3047670"/>
              <a:gd name="connsiteX3539" fmla="*/ 2160829 w 3044273"/>
              <a:gd name="connsiteY3539" fmla="*/ 622045 h 3047670"/>
              <a:gd name="connsiteX3540" fmla="*/ 2182310 w 3044273"/>
              <a:gd name="connsiteY3540" fmla="*/ 643399 h 3047670"/>
              <a:gd name="connsiteX3541" fmla="*/ 2160956 w 3044273"/>
              <a:gd name="connsiteY3541" fmla="*/ 665005 h 3047670"/>
              <a:gd name="connsiteX3542" fmla="*/ 2139475 w 3044273"/>
              <a:gd name="connsiteY3542" fmla="*/ 643526 h 3047670"/>
              <a:gd name="connsiteX3543" fmla="*/ 2160829 w 3044273"/>
              <a:gd name="connsiteY3543" fmla="*/ 622045 h 3047670"/>
              <a:gd name="connsiteX3544" fmla="*/ 1971902 w 3044273"/>
              <a:gd name="connsiteY3544" fmla="*/ 620914 h 3047670"/>
              <a:gd name="connsiteX3545" fmla="*/ 1995518 w 3044273"/>
              <a:gd name="connsiteY3545" fmla="*/ 644279 h 3047670"/>
              <a:gd name="connsiteX3546" fmla="*/ 1972154 w 3044273"/>
              <a:gd name="connsiteY3546" fmla="*/ 667894 h 3047670"/>
              <a:gd name="connsiteX3547" fmla="*/ 1948664 w 3044273"/>
              <a:gd name="connsiteY3547" fmla="*/ 644530 h 3047670"/>
              <a:gd name="connsiteX3548" fmla="*/ 1971902 w 3044273"/>
              <a:gd name="connsiteY3548" fmla="*/ 620914 h 3047670"/>
              <a:gd name="connsiteX3549" fmla="*/ 593153 w 3044273"/>
              <a:gd name="connsiteY3549" fmla="*/ 618026 h 3047670"/>
              <a:gd name="connsiteX3550" fmla="*/ 610739 w 3044273"/>
              <a:gd name="connsiteY3550" fmla="*/ 635487 h 3047670"/>
              <a:gd name="connsiteX3551" fmla="*/ 593278 w 3044273"/>
              <a:gd name="connsiteY3551" fmla="*/ 653073 h 3047670"/>
              <a:gd name="connsiteX3552" fmla="*/ 575692 w 3044273"/>
              <a:gd name="connsiteY3552" fmla="*/ 635612 h 3047670"/>
              <a:gd name="connsiteX3553" fmla="*/ 593153 w 3044273"/>
              <a:gd name="connsiteY3553" fmla="*/ 618026 h 3047670"/>
              <a:gd name="connsiteX3554" fmla="*/ 229493 w 3044273"/>
              <a:gd name="connsiteY3554" fmla="*/ 616645 h 3047670"/>
              <a:gd name="connsiteX3555" fmla="*/ 232005 w 3044273"/>
              <a:gd name="connsiteY3555" fmla="*/ 619032 h 3047670"/>
              <a:gd name="connsiteX3556" fmla="*/ 229493 w 3044273"/>
              <a:gd name="connsiteY3556" fmla="*/ 621419 h 3047670"/>
              <a:gd name="connsiteX3557" fmla="*/ 227107 w 3044273"/>
              <a:gd name="connsiteY3557" fmla="*/ 619032 h 3047670"/>
              <a:gd name="connsiteX3558" fmla="*/ 229493 w 3044273"/>
              <a:gd name="connsiteY3558" fmla="*/ 616645 h 3047670"/>
              <a:gd name="connsiteX3559" fmla="*/ 2443962 w 3044273"/>
              <a:gd name="connsiteY3559" fmla="*/ 616017 h 3047670"/>
              <a:gd name="connsiteX3560" fmla="*/ 2456902 w 3044273"/>
              <a:gd name="connsiteY3560" fmla="*/ 628830 h 3047670"/>
              <a:gd name="connsiteX3561" fmla="*/ 2444088 w 3044273"/>
              <a:gd name="connsiteY3561" fmla="*/ 641768 h 3047670"/>
              <a:gd name="connsiteX3562" fmla="*/ 2431150 w 3044273"/>
              <a:gd name="connsiteY3562" fmla="*/ 628956 h 3047670"/>
              <a:gd name="connsiteX3563" fmla="*/ 2443962 w 3044273"/>
              <a:gd name="connsiteY3563" fmla="*/ 616017 h 3047670"/>
              <a:gd name="connsiteX3564" fmla="*/ 1433517 w 3044273"/>
              <a:gd name="connsiteY3564" fmla="*/ 612623 h 3047670"/>
              <a:gd name="connsiteX3565" fmla="*/ 1462785 w 3044273"/>
              <a:gd name="connsiteY3565" fmla="*/ 641766 h 3047670"/>
              <a:gd name="connsiteX3566" fmla="*/ 1433643 w 3044273"/>
              <a:gd name="connsiteY3566" fmla="*/ 671034 h 3047670"/>
              <a:gd name="connsiteX3567" fmla="*/ 1404250 w 3044273"/>
              <a:gd name="connsiteY3567" fmla="*/ 641891 h 3047670"/>
              <a:gd name="connsiteX3568" fmla="*/ 1433517 w 3044273"/>
              <a:gd name="connsiteY3568" fmla="*/ 612623 h 3047670"/>
              <a:gd name="connsiteX3569" fmla="*/ 1603726 w 3044273"/>
              <a:gd name="connsiteY3569" fmla="*/ 611870 h 3047670"/>
              <a:gd name="connsiteX3570" fmla="*/ 1632994 w 3044273"/>
              <a:gd name="connsiteY3570" fmla="*/ 641013 h 3047670"/>
              <a:gd name="connsiteX3571" fmla="*/ 1603851 w 3044273"/>
              <a:gd name="connsiteY3571" fmla="*/ 670407 h 3047670"/>
              <a:gd name="connsiteX3572" fmla="*/ 1574584 w 3044273"/>
              <a:gd name="connsiteY3572" fmla="*/ 641264 h 3047670"/>
              <a:gd name="connsiteX3573" fmla="*/ 1603726 w 3044273"/>
              <a:gd name="connsiteY3573" fmla="*/ 611870 h 3047670"/>
              <a:gd name="connsiteX3574" fmla="*/ 1518558 w 3044273"/>
              <a:gd name="connsiteY3574" fmla="*/ 608478 h 3047670"/>
              <a:gd name="connsiteX3575" fmla="*/ 1547826 w 3044273"/>
              <a:gd name="connsiteY3575" fmla="*/ 637621 h 3047670"/>
              <a:gd name="connsiteX3576" fmla="*/ 1518683 w 3044273"/>
              <a:gd name="connsiteY3576" fmla="*/ 666889 h 3047670"/>
              <a:gd name="connsiteX3577" fmla="*/ 1489416 w 3044273"/>
              <a:gd name="connsiteY3577" fmla="*/ 637746 h 3047670"/>
              <a:gd name="connsiteX3578" fmla="*/ 1518558 w 3044273"/>
              <a:gd name="connsiteY3578" fmla="*/ 608478 h 3047670"/>
              <a:gd name="connsiteX3579" fmla="*/ 2548475 w 3044273"/>
              <a:gd name="connsiteY3579" fmla="*/ 593152 h 3047670"/>
              <a:gd name="connsiteX3580" fmla="*/ 2554505 w 3044273"/>
              <a:gd name="connsiteY3580" fmla="*/ 599055 h 3047670"/>
              <a:gd name="connsiteX3581" fmla="*/ 2548601 w 3044273"/>
              <a:gd name="connsiteY3581" fmla="*/ 605084 h 3047670"/>
              <a:gd name="connsiteX3582" fmla="*/ 2542571 w 3044273"/>
              <a:gd name="connsiteY3582" fmla="*/ 599181 h 3047670"/>
              <a:gd name="connsiteX3583" fmla="*/ 2548475 w 3044273"/>
              <a:gd name="connsiteY3583" fmla="*/ 593152 h 3047670"/>
              <a:gd name="connsiteX3584" fmla="*/ 764994 w 3044273"/>
              <a:gd name="connsiteY3584" fmla="*/ 591771 h 3047670"/>
              <a:gd name="connsiteX3585" fmla="*/ 784966 w 3044273"/>
              <a:gd name="connsiteY3585" fmla="*/ 611618 h 3047670"/>
              <a:gd name="connsiteX3586" fmla="*/ 765119 w 3044273"/>
              <a:gd name="connsiteY3586" fmla="*/ 631591 h 3047670"/>
              <a:gd name="connsiteX3587" fmla="*/ 745146 w 3044273"/>
              <a:gd name="connsiteY3587" fmla="*/ 611744 h 3047670"/>
              <a:gd name="connsiteX3588" fmla="*/ 764994 w 3044273"/>
              <a:gd name="connsiteY3588" fmla="*/ 591771 h 3047670"/>
              <a:gd name="connsiteX3589" fmla="*/ 488264 w 3044273"/>
              <a:gd name="connsiteY3589" fmla="*/ 591268 h 3047670"/>
              <a:gd name="connsiteX3590" fmla="*/ 503589 w 3044273"/>
              <a:gd name="connsiteY3590" fmla="*/ 606467 h 3047670"/>
              <a:gd name="connsiteX3591" fmla="*/ 488390 w 3044273"/>
              <a:gd name="connsiteY3591" fmla="*/ 621792 h 3047670"/>
              <a:gd name="connsiteX3592" fmla="*/ 473065 w 3044273"/>
              <a:gd name="connsiteY3592" fmla="*/ 606593 h 3047670"/>
              <a:gd name="connsiteX3593" fmla="*/ 488264 w 3044273"/>
              <a:gd name="connsiteY3593" fmla="*/ 591268 h 3047670"/>
              <a:gd name="connsiteX3594" fmla="*/ 2271745 w 3044273"/>
              <a:gd name="connsiteY3594" fmla="*/ 586245 h 3047670"/>
              <a:gd name="connsiteX3595" fmla="*/ 2291717 w 3044273"/>
              <a:gd name="connsiteY3595" fmla="*/ 606093 h 3047670"/>
              <a:gd name="connsiteX3596" fmla="*/ 2271871 w 3044273"/>
              <a:gd name="connsiteY3596" fmla="*/ 626065 h 3047670"/>
              <a:gd name="connsiteX3597" fmla="*/ 2251897 w 3044273"/>
              <a:gd name="connsiteY3597" fmla="*/ 606218 h 3047670"/>
              <a:gd name="connsiteX3598" fmla="*/ 2271745 w 3044273"/>
              <a:gd name="connsiteY3598" fmla="*/ 586245 h 3047670"/>
              <a:gd name="connsiteX3599" fmla="*/ 1893519 w 3044273"/>
              <a:gd name="connsiteY3599" fmla="*/ 586119 h 3047670"/>
              <a:gd name="connsiteX3600" fmla="*/ 1918392 w 3044273"/>
              <a:gd name="connsiteY3600" fmla="*/ 610864 h 3047670"/>
              <a:gd name="connsiteX3601" fmla="*/ 1893770 w 3044273"/>
              <a:gd name="connsiteY3601" fmla="*/ 635736 h 3047670"/>
              <a:gd name="connsiteX3602" fmla="*/ 1868898 w 3044273"/>
              <a:gd name="connsiteY3602" fmla="*/ 610990 h 3047670"/>
              <a:gd name="connsiteX3603" fmla="*/ 1893519 w 3044273"/>
              <a:gd name="connsiteY3603" fmla="*/ 586119 h 3047670"/>
              <a:gd name="connsiteX3604" fmla="*/ 1143221 w 3044273"/>
              <a:gd name="connsiteY3604" fmla="*/ 585363 h 3047670"/>
              <a:gd name="connsiteX3605" fmla="*/ 1171610 w 3044273"/>
              <a:gd name="connsiteY3605" fmla="*/ 613626 h 3047670"/>
              <a:gd name="connsiteX3606" fmla="*/ 1143347 w 3044273"/>
              <a:gd name="connsiteY3606" fmla="*/ 642015 h 3047670"/>
              <a:gd name="connsiteX3607" fmla="*/ 1114958 w 3044273"/>
              <a:gd name="connsiteY3607" fmla="*/ 613752 h 3047670"/>
              <a:gd name="connsiteX3608" fmla="*/ 1143221 w 3044273"/>
              <a:gd name="connsiteY3608" fmla="*/ 585363 h 3047670"/>
              <a:gd name="connsiteX3609" fmla="*/ 948267 w 3044273"/>
              <a:gd name="connsiteY3609" fmla="*/ 579965 h 3047670"/>
              <a:gd name="connsiteX3610" fmla="*/ 970753 w 3044273"/>
              <a:gd name="connsiteY3610" fmla="*/ 602198 h 3047670"/>
              <a:gd name="connsiteX3611" fmla="*/ 948519 w 3044273"/>
              <a:gd name="connsiteY3611" fmla="*/ 624683 h 3047670"/>
              <a:gd name="connsiteX3612" fmla="*/ 926034 w 3044273"/>
              <a:gd name="connsiteY3612" fmla="*/ 602450 h 3047670"/>
              <a:gd name="connsiteX3613" fmla="*/ 948267 w 3044273"/>
              <a:gd name="connsiteY3613" fmla="*/ 579965 h 3047670"/>
              <a:gd name="connsiteX3614" fmla="*/ 2088346 w 3044273"/>
              <a:gd name="connsiteY3614" fmla="*/ 575943 h 3047670"/>
              <a:gd name="connsiteX3615" fmla="*/ 2110831 w 3044273"/>
              <a:gd name="connsiteY3615" fmla="*/ 598176 h 3047670"/>
              <a:gd name="connsiteX3616" fmla="*/ 2088598 w 3044273"/>
              <a:gd name="connsiteY3616" fmla="*/ 620661 h 3047670"/>
              <a:gd name="connsiteX3617" fmla="*/ 2066112 w 3044273"/>
              <a:gd name="connsiteY3617" fmla="*/ 598428 h 3047670"/>
              <a:gd name="connsiteX3618" fmla="*/ 2088346 w 3044273"/>
              <a:gd name="connsiteY3618" fmla="*/ 575943 h 3047670"/>
              <a:gd name="connsiteX3619" fmla="*/ 2651981 w 3044273"/>
              <a:gd name="connsiteY3619" fmla="*/ 568407 h 3047670"/>
              <a:gd name="connsiteX3620" fmla="*/ 2654242 w 3044273"/>
              <a:gd name="connsiteY3620" fmla="*/ 570669 h 3047670"/>
              <a:gd name="connsiteX3621" fmla="*/ 2651981 w 3044273"/>
              <a:gd name="connsiteY3621" fmla="*/ 572929 h 3047670"/>
              <a:gd name="connsiteX3622" fmla="*/ 2649720 w 3044273"/>
              <a:gd name="connsiteY3622" fmla="*/ 570669 h 3047670"/>
              <a:gd name="connsiteX3623" fmla="*/ 2651981 w 3044273"/>
              <a:gd name="connsiteY3623" fmla="*/ 568407 h 3047670"/>
              <a:gd name="connsiteX3624" fmla="*/ 384756 w 3044273"/>
              <a:gd name="connsiteY3624" fmla="*/ 567904 h 3047670"/>
              <a:gd name="connsiteX3625" fmla="*/ 395810 w 3044273"/>
              <a:gd name="connsiteY3625" fmla="*/ 578958 h 3047670"/>
              <a:gd name="connsiteX3626" fmla="*/ 384756 w 3044273"/>
              <a:gd name="connsiteY3626" fmla="*/ 590012 h 3047670"/>
              <a:gd name="connsiteX3627" fmla="*/ 373702 w 3044273"/>
              <a:gd name="connsiteY3627" fmla="*/ 578958 h 3047670"/>
              <a:gd name="connsiteX3628" fmla="*/ 384756 w 3044273"/>
              <a:gd name="connsiteY3628" fmla="*/ 567904 h 3047670"/>
              <a:gd name="connsiteX3629" fmla="*/ 655960 w 3044273"/>
              <a:gd name="connsiteY3629" fmla="*/ 558483 h 3047670"/>
              <a:gd name="connsiteX3630" fmla="*/ 675554 w 3044273"/>
              <a:gd name="connsiteY3630" fmla="*/ 577829 h 3047670"/>
              <a:gd name="connsiteX3631" fmla="*/ 656210 w 3044273"/>
              <a:gd name="connsiteY3631" fmla="*/ 597426 h 3047670"/>
              <a:gd name="connsiteX3632" fmla="*/ 636614 w 3044273"/>
              <a:gd name="connsiteY3632" fmla="*/ 578080 h 3047670"/>
              <a:gd name="connsiteX3633" fmla="*/ 655960 w 3044273"/>
              <a:gd name="connsiteY3633" fmla="*/ 558483 h 3047670"/>
              <a:gd name="connsiteX3634" fmla="*/ 1812749 w 3044273"/>
              <a:gd name="connsiteY3634" fmla="*/ 557102 h 3047670"/>
              <a:gd name="connsiteX3635" fmla="*/ 1839630 w 3044273"/>
              <a:gd name="connsiteY3635" fmla="*/ 583733 h 3047670"/>
              <a:gd name="connsiteX3636" fmla="*/ 1813000 w 3044273"/>
              <a:gd name="connsiteY3636" fmla="*/ 610614 h 3047670"/>
              <a:gd name="connsiteX3637" fmla="*/ 1786119 w 3044273"/>
              <a:gd name="connsiteY3637" fmla="*/ 583983 h 3047670"/>
              <a:gd name="connsiteX3638" fmla="*/ 1812749 w 3044273"/>
              <a:gd name="connsiteY3638" fmla="*/ 557102 h 3047670"/>
              <a:gd name="connsiteX3639" fmla="*/ 1223740 w 3044273"/>
              <a:gd name="connsiteY3639" fmla="*/ 556348 h 3047670"/>
              <a:gd name="connsiteX3640" fmla="*/ 1253510 w 3044273"/>
              <a:gd name="connsiteY3640" fmla="*/ 585867 h 3047670"/>
              <a:gd name="connsiteX3641" fmla="*/ 1223991 w 3044273"/>
              <a:gd name="connsiteY3641" fmla="*/ 615639 h 3047670"/>
              <a:gd name="connsiteX3642" fmla="*/ 1194220 w 3044273"/>
              <a:gd name="connsiteY3642" fmla="*/ 586119 h 3047670"/>
              <a:gd name="connsiteX3643" fmla="*/ 1223740 w 3044273"/>
              <a:gd name="connsiteY3643" fmla="*/ 556348 h 3047670"/>
              <a:gd name="connsiteX3644" fmla="*/ 2380527 w 3044273"/>
              <a:gd name="connsiteY3644" fmla="*/ 554463 h 3047670"/>
              <a:gd name="connsiteX3645" fmla="*/ 2397863 w 3044273"/>
              <a:gd name="connsiteY3645" fmla="*/ 571671 h 3047670"/>
              <a:gd name="connsiteX3646" fmla="*/ 2380654 w 3044273"/>
              <a:gd name="connsiteY3646" fmla="*/ 589006 h 3047670"/>
              <a:gd name="connsiteX3647" fmla="*/ 2363318 w 3044273"/>
              <a:gd name="connsiteY3647" fmla="*/ 571798 h 3047670"/>
              <a:gd name="connsiteX3648" fmla="*/ 2380527 w 3044273"/>
              <a:gd name="connsiteY3648" fmla="*/ 554463 h 3047670"/>
              <a:gd name="connsiteX3649" fmla="*/ 282253 w 3044273"/>
              <a:gd name="connsiteY3649" fmla="*/ 547808 h 3047670"/>
              <a:gd name="connsiteX3650" fmla="*/ 286775 w 3044273"/>
              <a:gd name="connsiteY3650" fmla="*/ 552205 h 3047670"/>
              <a:gd name="connsiteX3651" fmla="*/ 282378 w 3044273"/>
              <a:gd name="connsiteY3651" fmla="*/ 556601 h 3047670"/>
              <a:gd name="connsiteX3652" fmla="*/ 277982 w 3044273"/>
              <a:gd name="connsiteY3652" fmla="*/ 552205 h 3047670"/>
              <a:gd name="connsiteX3653" fmla="*/ 282253 w 3044273"/>
              <a:gd name="connsiteY3653" fmla="*/ 547808 h 3047670"/>
              <a:gd name="connsiteX3654" fmla="*/ 834333 w 3044273"/>
              <a:gd name="connsiteY3654" fmla="*/ 545042 h 3047670"/>
              <a:gd name="connsiteX3655" fmla="*/ 851165 w 3044273"/>
              <a:gd name="connsiteY3655" fmla="*/ 561749 h 3047670"/>
              <a:gd name="connsiteX3656" fmla="*/ 834459 w 3044273"/>
              <a:gd name="connsiteY3656" fmla="*/ 578582 h 3047670"/>
              <a:gd name="connsiteX3657" fmla="*/ 817500 w 3044273"/>
              <a:gd name="connsiteY3657" fmla="*/ 561875 h 3047670"/>
              <a:gd name="connsiteX3658" fmla="*/ 834333 w 3044273"/>
              <a:gd name="connsiteY3658" fmla="*/ 545042 h 3047670"/>
              <a:gd name="connsiteX3659" fmla="*/ 1023634 w 3044273"/>
              <a:gd name="connsiteY3659" fmla="*/ 541777 h 3047670"/>
              <a:gd name="connsiteX3660" fmla="*/ 1044110 w 3044273"/>
              <a:gd name="connsiteY3660" fmla="*/ 562126 h 3047670"/>
              <a:gd name="connsiteX3661" fmla="*/ 1023761 w 3044273"/>
              <a:gd name="connsiteY3661" fmla="*/ 582602 h 3047670"/>
              <a:gd name="connsiteX3662" fmla="*/ 1003285 w 3044273"/>
              <a:gd name="connsiteY3662" fmla="*/ 562378 h 3047670"/>
              <a:gd name="connsiteX3663" fmla="*/ 1023634 w 3044273"/>
              <a:gd name="connsiteY3663" fmla="*/ 541777 h 3047670"/>
              <a:gd name="connsiteX3664" fmla="*/ 1306395 w 3044273"/>
              <a:gd name="connsiteY3664" fmla="*/ 540897 h 3047670"/>
              <a:gd name="connsiteX3665" fmla="*/ 1330638 w 3044273"/>
              <a:gd name="connsiteY3665" fmla="*/ 564890 h 3047670"/>
              <a:gd name="connsiteX3666" fmla="*/ 1306646 w 3044273"/>
              <a:gd name="connsiteY3666" fmla="*/ 589133 h 3047670"/>
              <a:gd name="connsiteX3667" fmla="*/ 1282402 w 3044273"/>
              <a:gd name="connsiteY3667" fmla="*/ 565140 h 3047670"/>
              <a:gd name="connsiteX3668" fmla="*/ 1306395 w 3044273"/>
              <a:gd name="connsiteY3668" fmla="*/ 540897 h 3047670"/>
              <a:gd name="connsiteX3669" fmla="*/ 1729967 w 3044273"/>
              <a:gd name="connsiteY3669" fmla="*/ 540772 h 3047670"/>
              <a:gd name="connsiteX3670" fmla="*/ 1752830 w 3044273"/>
              <a:gd name="connsiteY3670" fmla="*/ 563508 h 3047670"/>
              <a:gd name="connsiteX3671" fmla="*/ 1730092 w 3044273"/>
              <a:gd name="connsiteY3671" fmla="*/ 586370 h 3047670"/>
              <a:gd name="connsiteX3672" fmla="*/ 1707231 w 3044273"/>
              <a:gd name="connsiteY3672" fmla="*/ 563633 h 3047670"/>
              <a:gd name="connsiteX3673" fmla="*/ 1729967 w 3044273"/>
              <a:gd name="connsiteY3673" fmla="*/ 540772 h 3047670"/>
              <a:gd name="connsiteX3674" fmla="*/ 2202281 w 3044273"/>
              <a:gd name="connsiteY3674" fmla="*/ 540395 h 3047670"/>
              <a:gd name="connsiteX3675" fmla="*/ 2218736 w 3044273"/>
              <a:gd name="connsiteY3675" fmla="*/ 556724 h 3047670"/>
              <a:gd name="connsiteX3676" fmla="*/ 2202407 w 3044273"/>
              <a:gd name="connsiteY3676" fmla="*/ 573180 h 3047670"/>
              <a:gd name="connsiteX3677" fmla="*/ 2185950 w 3044273"/>
              <a:gd name="connsiteY3677" fmla="*/ 556851 h 3047670"/>
              <a:gd name="connsiteX3678" fmla="*/ 2202281 w 3044273"/>
              <a:gd name="connsiteY3678" fmla="*/ 540395 h 3047670"/>
              <a:gd name="connsiteX3679" fmla="*/ 2012853 w 3044273"/>
              <a:gd name="connsiteY3679" fmla="*/ 540142 h 3047670"/>
              <a:gd name="connsiteX3680" fmla="*/ 2031570 w 3044273"/>
              <a:gd name="connsiteY3680" fmla="*/ 558607 h 3047670"/>
              <a:gd name="connsiteX3681" fmla="*/ 2012978 w 3044273"/>
              <a:gd name="connsiteY3681" fmla="*/ 577323 h 3047670"/>
              <a:gd name="connsiteX3682" fmla="*/ 1994387 w 3044273"/>
              <a:gd name="connsiteY3682" fmla="*/ 558733 h 3047670"/>
              <a:gd name="connsiteX3683" fmla="*/ 2012853 w 3044273"/>
              <a:gd name="connsiteY3683" fmla="*/ 540142 h 3047670"/>
              <a:gd name="connsiteX3684" fmla="*/ 548559 w 3044273"/>
              <a:gd name="connsiteY3684" fmla="*/ 531476 h 3047670"/>
              <a:gd name="connsiteX3685" fmla="*/ 563759 w 3044273"/>
              <a:gd name="connsiteY3685" fmla="*/ 546425 h 3047670"/>
              <a:gd name="connsiteX3686" fmla="*/ 548811 w 3044273"/>
              <a:gd name="connsiteY3686" fmla="*/ 561499 h 3047670"/>
              <a:gd name="connsiteX3687" fmla="*/ 533737 w 3044273"/>
              <a:gd name="connsiteY3687" fmla="*/ 546550 h 3047670"/>
              <a:gd name="connsiteX3688" fmla="*/ 548559 w 3044273"/>
              <a:gd name="connsiteY3688" fmla="*/ 531476 h 3047670"/>
              <a:gd name="connsiteX3689" fmla="*/ 2487677 w 3044273"/>
              <a:gd name="connsiteY3689" fmla="*/ 530094 h 3047670"/>
              <a:gd name="connsiteX3690" fmla="*/ 2497223 w 3044273"/>
              <a:gd name="connsiteY3690" fmla="*/ 539515 h 3047670"/>
              <a:gd name="connsiteX3691" fmla="*/ 2487677 w 3044273"/>
              <a:gd name="connsiteY3691" fmla="*/ 549062 h 3047670"/>
              <a:gd name="connsiteX3692" fmla="*/ 2478130 w 3044273"/>
              <a:gd name="connsiteY3692" fmla="*/ 539515 h 3047670"/>
              <a:gd name="connsiteX3693" fmla="*/ 2487677 w 3044273"/>
              <a:gd name="connsiteY3693" fmla="*/ 530094 h 3047670"/>
              <a:gd name="connsiteX3694" fmla="*/ 1390557 w 3044273"/>
              <a:gd name="connsiteY3694" fmla="*/ 527331 h 3047670"/>
              <a:gd name="connsiteX3695" fmla="*/ 1414298 w 3044273"/>
              <a:gd name="connsiteY3695" fmla="*/ 550947 h 3047670"/>
              <a:gd name="connsiteX3696" fmla="*/ 1390682 w 3044273"/>
              <a:gd name="connsiteY3696" fmla="*/ 574688 h 3047670"/>
              <a:gd name="connsiteX3697" fmla="*/ 1366941 w 3044273"/>
              <a:gd name="connsiteY3697" fmla="*/ 551072 h 3047670"/>
              <a:gd name="connsiteX3698" fmla="*/ 1390557 w 3044273"/>
              <a:gd name="connsiteY3698" fmla="*/ 527331 h 3047670"/>
              <a:gd name="connsiteX3699" fmla="*/ 1645932 w 3044273"/>
              <a:gd name="connsiteY3699" fmla="*/ 526578 h 3047670"/>
              <a:gd name="connsiteX3700" fmla="*/ 1669421 w 3044273"/>
              <a:gd name="connsiteY3700" fmla="*/ 549942 h 3047670"/>
              <a:gd name="connsiteX3701" fmla="*/ 1646057 w 3044273"/>
              <a:gd name="connsiteY3701" fmla="*/ 573432 h 3047670"/>
              <a:gd name="connsiteX3702" fmla="*/ 1622442 w 3044273"/>
              <a:gd name="connsiteY3702" fmla="*/ 550068 h 3047670"/>
              <a:gd name="connsiteX3703" fmla="*/ 1645932 w 3044273"/>
              <a:gd name="connsiteY3703" fmla="*/ 526578 h 3047670"/>
              <a:gd name="connsiteX3704" fmla="*/ 1475597 w 3044273"/>
              <a:gd name="connsiteY3704" fmla="*/ 520046 h 3047670"/>
              <a:gd name="connsiteX3705" fmla="*/ 1499338 w 3044273"/>
              <a:gd name="connsiteY3705" fmla="*/ 543662 h 3047670"/>
              <a:gd name="connsiteX3706" fmla="*/ 1475723 w 3044273"/>
              <a:gd name="connsiteY3706" fmla="*/ 567403 h 3047670"/>
              <a:gd name="connsiteX3707" fmla="*/ 1451982 w 3044273"/>
              <a:gd name="connsiteY3707" fmla="*/ 543787 h 3047670"/>
              <a:gd name="connsiteX3708" fmla="*/ 1475597 w 3044273"/>
              <a:gd name="connsiteY3708" fmla="*/ 520046 h 3047670"/>
              <a:gd name="connsiteX3709" fmla="*/ 1560766 w 3044273"/>
              <a:gd name="connsiteY3709" fmla="*/ 519794 h 3047670"/>
              <a:gd name="connsiteX3710" fmla="*/ 1584255 w 3044273"/>
              <a:gd name="connsiteY3710" fmla="*/ 543159 h 3047670"/>
              <a:gd name="connsiteX3711" fmla="*/ 1560891 w 3044273"/>
              <a:gd name="connsiteY3711" fmla="*/ 566774 h 3047670"/>
              <a:gd name="connsiteX3712" fmla="*/ 1537400 w 3044273"/>
              <a:gd name="connsiteY3712" fmla="*/ 543410 h 3047670"/>
              <a:gd name="connsiteX3713" fmla="*/ 1560766 w 3044273"/>
              <a:gd name="connsiteY3713" fmla="*/ 519794 h 3047670"/>
              <a:gd name="connsiteX3714" fmla="*/ 722412 w 3044273"/>
              <a:gd name="connsiteY3714" fmla="*/ 507985 h 3047670"/>
              <a:gd name="connsiteX3715" fmla="*/ 739118 w 3044273"/>
              <a:gd name="connsiteY3715" fmla="*/ 524566 h 3047670"/>
              <a:gd name="connsiteX3716" fmla="*/ 722537 w 3044273"/>
              <a:gd name="connsiteY3716" fmla="*/ 541273 h 3047670"/>
              <a:gd name="connsiteX3717" fmla="*/ 705956 w 3044273"/>
              <a:gd name="connsiteY3717" fmla="*/ 524692 h 3047670"/>
              <a:gd name="connsiteX3718" fmla="*/ 722412 w 3044273"/>
              <a:gd name="connsiteY3718" fmla="*/ 507985 h 3047670"/>
              <a:gd name="connsiteX3719" fmla="*/ 1934593 w 3044273"/>
              <a:gd name="connsiteY3719" fmla="*/ 505473 h 3047670"/>
              <a:gd name="connsiteX3720" fmla="*/ 1954190 w 3044273"/>
              <a:gd name="connsiteY3720" fmla="*/ 524817 h 3047670"/>
              <a:gd name="connsiteX3721" fmla="*/ 1934845 w 3044273"/>
              <a:gd name="connsiteY3721" fmla="*/ 544288 h 3047670"/>
              <a:gd name="connsiteX3722" fmla="*/ 1915249 w 3044273"/>
              <a:gd name="connsiteY3722" fmla="*/ 524944 h 3047670"/>
              <a:gd name="connsiteX3723" fmla="*/ 1934593 w 3044273"/>
              <a:gd name="connsiteY3723" fmla="*/ 505473 h 3047670"/>
              <a:gd name="connsiteX3724" fmla="*/ 1101515 w 3044273"/>
              <a:gd name="connsiteY3724" fmla="*/ 505223 h 3047670"/>
              <a:gd name="connsiteX3725" fmla="*/ 1124377 w 3044273"/>
              <a:gd name="connsiteY3725" fmla="*/ 527959 h 3047670"/>
              <a:gd name="connsiteX3726" fmla="*/ 1101640 w 3044273"/>
              <a:gd name="connsiteY3726" fmla="*/ 550821 h 3047670"/>
              <a:gd name="connsiteX3727" fmla="*/ 1078779 w 3044273"/>
              <a:gd name="connsiteY3727" fmla="*/ 528084 h 3047670"/>
              <a:gd name="connsiteX3728" fmla="*/ 1101515 w 3044273"/>
              <a:gd name="connsiteY3728" fmla="*/ 505223 h 3047670"/>
              <a:gd name="connsiteX3729" fmla="*/ 2593068 w 3044273"/>
              <a:gd name="connsiteY3729" fmla="*/ 504343 h 3047670"/>
              <a:gd name="connsiteX3730" fmla="*/ 2597717 w 3044273"/>
              <a:gd name="connsiteY3730" fmla="*/ 508991 h 3047670"/>
              <a:gd name="connsiteX3731" fmla="*/ 2593068 w 3044273"/>
              <a:gd name="connsiteY3731" fmla="*/ 513639 h 3047670"/>
              <a:gd name="connsiteX3732" fmla="*/ 2588420 w 3044273"/>
              <a:gd name="connsiteY3732" fmla="*/ 508991 h 3047670"/>
              <a:gd name="connsiteX3733" fmla="*/ 2593068 w 3044273"/>
              <a:gd name="connsiteY3733" fmla="*/ 504343 h 3047670"/>
              <a:gd name="connsiteX3734" fmla="*/ 2313826 w 3044273"/>
              <a:gd name="connsiteY3734" fmla="*/ 504094 h 3047670"/>
              <a:gd name="connsiteX3735" fmla="*/ 2328647 w 3044273"/>
              <a:gd name="connsiteY3735" fmla="*/ 518917 h 3047670"/>
              <a:gd name="connsiteX3736" fmla="*/ 2313826 w 3044273"/>
              <a:gd name="connsiteY3736" fmla="*/ 533739 h 3047670"/>
              <a:gd name="connsiteX3737" fmla="*/ 2298878 w 3044273"/>
              <a:gd name="connsiteY3737" fmla="*/ 518917 h 3047670"/>
              <a:gd name="connsiteX3738" fmla="*/ 2313826 w 3044273"/>
              <a:gd name="connsiteY3738" fmla="*/ 504094 h 3047670"/>
              <a:gd name="connsiteX3739" fmla="*/ 443169 w 3044273"/>
              <a:gd name="connsiteY3739" fmla="*/ 503715 h 3047670"/>
              <a:gd name="connsiteX3740" fmla="*/ 456233 w 3044273"/>
              <a:gd name="connsiteY3740" fmla="*/ 516779 h 3047670"/>
              <a:gd name="connsiteX3741" fmla="*/ 443169 w 3044273"/>
              <a:gd name="connsiteY3741" fmla="*/ 529843 h 3047670"/>
              <a:gd name="connsiteX3742" fmla="*/ 430105 w 3044273"/>
              <a:gd name="connsiteY3742" fmla="*/ 516779 h 3047670"/>
              <a:gd name="connsiteX3743" fmla="*/ 443169 w 3044273"/>
              <a:gd name="connsiteY3743" fmla="*/ 503715 h 3047670"/>
              <a:gd name="connsiteX3744" fmla="*/ 906561 w 3044273"/>
              <a:gd name="connsiteY3744" fmla="*/ 499945 h 3047670"/>
              <a:gd name="connsiteX3745" fmla="*/ 923395 w 3044273"/>
              <a:gd name="connsiteY3745" fmla="*/ 516652 h 3047670"/>
              <a:gd name="connsiteX3746" fmla="*/ 906688 w 3044273"/>
              <a:gd name="connsiteY3746" fmla="*/ 533485 h 3047670"/>
              <a:gd name="connsiteX3747" fmla="*/ 889855 w 3044273"/>
              <a:gd name="connsiteY3747" fmla="*/ 516778 h 3047670"/>
              <a:gd name="connsiteX3748" fmla="*/ 906561 w 3044273"/>
              <a:gd name="connsiteY3748" fmla="*/ 499945 h 3047670"/>
              <a:gd name="connsiteX3749" fmla="*/ 2129547 w 3044273"/>
              <a:gd name="connsiteY3749" fmla="*/ 495047 h 3047670"/>
              <a:gd name="connsiteX3750" fmla="*/ 2146883 w 3044273"/>
              <a:gd name="connsiteY3750" fmla="*/ 512255 h 3047670"/>
              <a:gd name="connsiteX3751" fmla="*/ 2129674 w 3044273"/>
              <a:gd name="connsiteY3751" fmla="*/ 529590 h 3047670"/>
              <a:gd name="connsiteX3752" fmla="*/ 2112339 w 3044273"/>
              <a:gd name="connsiteY3752" fmla="*/ 512382 h 3047670"/>
              <a:gd name="connsiteX3753" fmla="*/ 2129547 w 3044273"/>
              <a:gd name="connsiteY3753" fmla="*/ 495047 h 3047670"/>
              <a:gd name="connsiteX3754" fmla="*/ 338778 w 3044273"/>
              <a:gd name="connsiteY3754" fmla="*/ 483868 h 3047670"/>
              <a:gd name="connsiteX3755" fmla="*/ 343174 w 3044273"/>
              <a:gd name="connsiteY3755" fmla="*/ 488265 h 3047670"/>
              <a:gd name="connsiteX3756" fmla="*/ 338778 w 3044273"/>
              <a:gd name="connsiteY3756" fmla="*/ 492662 h 3047670"/>
              <a:gd name="connsiteX3757" fmla="*/ 334382 w 3044273"/>
              <a:gd name="connsiteY3757" fmla="*/ 488265 h 3047670"/>
              <a:gd name="connsiteX3758" fmla="*/ 338778 w 3044273"/>
              <a:gd name="connsiteY3758" fmla="*/ 483868 h 3047670"/>
              <a:gd name="connsiteX3759" fmla="*/ 1181909 w 3044273"/>
              <a:gd name="connsiteY3759" fmla="*/ 476708 h 3047670"/>
              <a:gd name="connsiteX3760" fmla="*/ 1204772 w 3044273"/>
              <a:gd name="connsiteY3760" fmla="*/ 499444 h 3047670"/>
              <a:gd name="connsiteX3761" fmla="*/ 1182034 w 3044273"/>
              <a:gd name="connsiteY3761" fmla="*/ 522306 h 3047670"/>
              <a:gd name="connsiteX3762" fmla="*/ 1159173 w 3044273"/>
              <a:gd name="connsiteY3762" fmla="*/ 499569 h 3047670"/>
              <a:gd name="connsiteX3763" fmla="*/ 1181909 w 3044273"/>
              <a:gd name="connsiteY3763" fmla="*/ 476708 h 3047670"/>
              <a:gd name="connsiteX3764" fmla="*/ 1853949 w 3044273"/>
              <a:gd name="connsiteY3764" fmla="*/ 475703 h 3047670"/>
              <a:gd name="connsiteX3765" fmla="*/ 1875555 w 3044273"/>
              <a:gd name="connsiteY3765" fmla="*/ 497057 h 3047670"/>
              <a:gd name="connsiteX3766" fmla="*/ 1854201 w 3044273"/>
              <a:gd name="connsiteY3766" fmla="*/ 518538 h 3047670"/>
              <a:gd name="connsiteX3767" fmla="*/ 1832595 w 3044273"/>
              <a:gd name="connsiteY3767" fmla="*/ 497184 h 3047670"/>
              <a:gd name="connsiteX3768" fmla="*/ 1853949 w 3044273"/>
              <a:gd name="connsiteY3768" fmla="*/ 475703 h 3047670"/>
              <a:gd name="connsiteX3769" fmla="*/ 612749 w 3044273"/>
              <a:gd name="connsiteY3769" fmla="*/ 475200 h 3047670"/>
              <a:gd name="connsiteX3770" fmla="*/ 627823 w 3044273"/>
              <a:gd name="connsiteY3770" fmla="*/ 490149 h 3047670"/>
              <a:gd name="connsiteX3771" fmla="*/ 612875 w 3044273"/>
              <a:gd name="connsiteY3771" fmla="*/ 505223 h 3047670"/>
              <a:gd name="connsiteX3772" fmla="*/ 597801 w 3044273"/>
              <a:gd name="connsiteY3772" fmla="*/ 490274 h 3047670"/>
              <a:gd name="connsiteX3773" fmla="*/ 612749 w 3044273"/>
              <a:gd name="connsiteY3773" fmla="*/ 475200 h 3047670"/>
              <a:gd name="connsiteX3774" fmla="*/ 2423111 w 3044273"/>
              <a:gd name="connsiteY3774" fmla="*/ 471056 h 3047670"/>
              <a:gd name="connsiteX3775" fmla="*/ 2435797 w 3044273"/>
              <a:gd name="connsiteY3775" fmla="*/ 483617 h 3047670"/>
              <a:gd name="connsiteX3776" fmla="*/ 2423236 w 3044273"/>
              <a:gd name="connsiteY3776" fmla="*/ 496304 h 3047670"/>
              <a:gd name="connsiteX3777" fmla="*/ 2410549 w 3044273"/>
              <a:gd name="connsiteY3777" fmla="*/ 483743 h 3047670"/>
              <a:gd name="connsiteX3778" fmla="*/ 2423111 w 3044273"/>
              <a:gd name="connsiteY3778" fmla="*/ 471056 h 3047670"/>
              <a:gd name="connsiteX3779" fmla="*/ 792251 w 3044273"/>
              <a:gd name="connsiteY3779" fmla="*/ 465781 h 3047670"/>
              <a:gd name="connsiteX3780" fmla="*/ 802049 w 3044273"/>
              <a:gd name="connsiteY3780" fmla="*/ 475453 h 3047670"/>
              <a:gd name="connsiteX3781" fmla="*/ 792378 w 3044273"/>
              <a:gd name="connsiteY3781" fmla="*/ 485252 h 3047670"/>
              <a:gd name="connsiteX3782" fmla="*/ 782580 w 3044273"/>
              <a:gd name="connsiteY3782" fmla="*/ 475578 h 3047670"/>
              <a:gd name="connsiteX3783" fmla="*/ 792251 w 3044273"/>
              <a:gd name="connsiteY3783" fmla="*/ 465781 h 3047670"/>
              <a:gd name="connsiteX3784" fmla="*/ 981929 w 3044273"/>
              <a:gd name="connsiteY3784" fmla="*/ 464524 h 3047670"/>
              <a:gd name="connsiteX3785" fmla="*/ 994365 w 3044273"/>
              <a:gd name="connsiteY3785" fmla="*/ 476833 h 3047670"/>
              <a:gd name="connsiteX3786" fmla="*/ 982056 w 3044273"/>
              <a:gd name="connsiteY3786" fmla="*/ 489269 h 3047670"/>
              <a:gd name="connsiteX3787" fmla="*/ 969620 w 3044273"/>
              <a:gd name="connsiteY3787" fmla="*/ 476958 h 3047670"/>
              <a:gd name="connsiteX3788" fmla="*/ 981929 w 3044273"/>
              <a:gd name="connsiteY3788" fmla="*/ 464524 h 3047670"/>
              <a:gd name="connsiteX3789" fmla="*/ 2053802 w 3044273"/>
              <a:gd name="connsiteY3789" fmla="*/ 464146 h 3047670"/>
              <a:gd name="connsiteX3790" fmla="*/ 2062721 w 3044273"/>
              <a:gd name="connsiteY3790" fmla="*/ 472939 h 3047670"/>
              <a:gd name="connsiteX3791" fmla="*/ 2053929 w 3044273"/>
              <a:gd name="connsiteY3791" fmla="*/ 481857 h 3047670"/>
              <a:gd name="connsiteX3792" fmla="*/ 2045010 w 3044273"/>
              <a:gd name="connsiteY3792" fmla="*/ 473065 h 3047670"/>
              <a:gd name="connsiteX3793" fmla="*/ 2053802 w 3044273"/>
              <a:gd name="connsiteY3793" fmla="*/ 464146 h 3047670"/>
              <a:gd name="connsiteX3794" fmla="*/ 2243608 w 3044273"/>
              <a:gd name="connsiteY3794" fmla="*/ 463141 h 3047670"/>
              <a:gd name="connsiteX3795" fmla="*/ 2250767 w 3044273"/>
              <a:gd name="connsiteY3795" fmla="*/ 470175 h 3047670"/>
              <a:gd name="connsiteX3796" fmla="*/ 2243733 w 3044273"/>
              <a:gd name="connsiteY3796" fmla="*/ 477335 h 3047670"/>
              <a:gd name="connsiteX3797" fmla="*/ 2236573 w 3044273"/>
              <a:gd name="connsiteY3797" fmla="*/ 470301 h 3047670"/>
              <a:gd name="connsiteX3798" fmla="*/ 2243608 w 3044273"/>
              <a:gd name="connsiteY3798" fmla="*/ 463141 h 3047670"/>
              <a:gd name="connsiteX3799" fmla="*/ 1771671 w 3044273"/>
              <a:gd name="connsiteY3799" fmla="*/ 462011 h 3047670"/>
              <a:gd name="connsiteX3800" fmla="*/ 1784985 w 3044273"/>
              <a:gd name="connsiteY3800" fmla="*/ 475202 h 3047670"/>
              <a:gd name="connsiteX3801" fmla="*/ 1771797 w 3044273"/>
              <a:gd name="connsiteY3801" fmla="*/ 488517 h 3047670"/>
              <a:gd name="connsiteX3802" fmla="*/ 1758482 w 3044273"/>
              <a:gd name="connsiteY3802" fmla="*/ 475327 h 3047670"/>
              <a:gd name="connsiteX3803" fmla="*/ 1771671 w 3044273"/>
              <a:gd name="connsiteY3803" fmla="*/ 462011 h 3047670"/>
              <a:gd name="connsiteX3804" fmla="*/ 1264063 w 3044273"/>
              <a:gd name="connsiteY3804" fmla="*/ 458494 h 3047670"/>
              <a:gd name="connsiteX3805" fmla="*/ 1282779 w 3044273"/>
              <a:gd name="connsiteY3805" fmla="*/ 476960 h 3047670"/>
              <a:gd name="connsiteX3806" fmla="*/ 1264314 w 3044273"/>
              <a:gd name="connsiteY3806" fmla="*/ 495677 h 3047670"/>
              <a:gd name="connsiteX3807" fmla="*/ 1245723 w 3044273"/>
              <a:gd name="connsiteY3807" fmla="*/ 477211 h 3047670"/>
              <a:gd name="connsiteX3808" fmla="*/ 1264063 w 3044273"/>
              <a:gd name="connsiteY3808" fmla="*/ 458494 h 3047670"/>
              <a:gd name="connsiteX3809" fmla="*/ 504846 w 3044273"/>
              <a:gd name="connsiteY3809" fmla="*/ 449952 h 3047670"/>
              <a:gd name="connsiteX3810" fmla="*/ 512886 w 3044273"/>
              <a:gd name="connsiteY3810" fmla="*/ 457866 h 3047670"/>
              <a:gd name="connsiteX3811" fmla="*/ 504972 w 3044273"/>
              <a:gd name="connsiteY3811" fmla="*/ 465906 h 3047670"/>
              <a:gd name="connsiteX3812" fmla="*/ 496932 w 3044273"/>
              <a:gd name="connsiteY3812" fmla="*/ 457992 h 3047670"/>
              <a:gd name="connsiteX3813" fmla="*/ 504846 w 3044273"/>
              <a:gd name="connsiteY3813" fmla="*/ 449952 h 3047670"/>
              <a:gd name="connsiteX3814" fmla="*/ 2530763 w 3044273"/>
              <a:gd name="connsiteY3814" fmla="*/ 448068 h 3047670"/>
              <a:gd name="connsiteX3815" fmla="*/ 2533276 w 3044273"/>
              <a:gd name="connsiteY3815" fmla="*/ 450455 h 3047670"/>
              <a:gd name="connsiteX3816" fmla="*/ 2530888 w 3044273"/>
              <a:gd name="connsiteY3816" fmla="*/ 452967 h 3047670"/>
              <a:gd name="connsiteX3817" fmla="*/ 2528501 w 3044273"/>
              <a:gd name="connsiteY3817" fmla="*/ 450580 h 3047670"/>
              <a:gd name="connsiteX3818" fmla="*/ 2530763 w 3044273"/>
              <a:gd name="connsiteY3818" fmla="*/ 448068 h 3047670"/>
              <a:gd name="connsiteX3819" fmla="*/ 1687761 w 3044273"/>
              <a:gd name="connsiteY3819" fmla="*/ 445054 h 3047670"/>
              <a:gd name="connsiteX3820" fmla="*/ 1702458 w 3044273"/>
              <a:gd name="connsiteY3820" fmla="*/ 459625 h 3047670"/>
              <a:gd name="connsiteX3821" fmla="*/ 1687886 w 3044273"/>
              <a:gd name="connsiteY3821" fmla="*/ 474322 h 3047670"/>
              <a:gd name="connsiteX3822" fmla="*/ 1673315 w 3044273"/>
              <a:gd name="connsiteY3822" fmla="*/ 459751 h 3047670"/>
              <a:gd name="connsiteX3823" fmla="*/ 1687761 w 3044273"/>
              <a:gd name="connsiteY3823" fmla="*/ 445054 h 3047670"/>
              <a:gd name="connsiteX3824" fmla="*/ 1347848 w 3044273"/>
              <a:gd name="connsiteY3824" fmla="*/ 443043 h 3047670"/>
              <a:gd name="connsiteX3825" fmla="*/ 1365810 w 3044273"/>
              <a:gd name="connsiteY3825" fmla="*/ 460880 h 3047670"/>
              <a:gd name="connsiteX3826" fmla="*/ 1347973 w 3044273"/>
              <a:gd name="connsiteY3826" fmla="*/ 478843 h 3047670"/>
              <a:gd name="connsiteX3827" fmla="*/ 1330009 w 3044273"/>
              <a:gd name="connsiteY3827" fmla="*/ 461006 h 3047670"/>
              <a:gd name="connsiteX3828" fmla="*/ 1347848 w 3044273"/>
              <a:gd name="connsiteY3828" fmla="*/ 443043 h 3047670"/>
              <a:gd name="connsiteX3829" fmla="*/ 1602972 w 3044273"/>
              <a:gd name="connsiteY3829" fmla="*/ 435506 h 3047670"/>
              <a:gd name="connsiteX3830" fmla="*/ 1618046 w 3044273"/>
              <a:gd name="connsiteY3830" fmla="*/ 450455 h 3047670"/>
              <a:gd name="connsiteX3831" fmla="*/ 1603097 w 3044273"/>
              <a:gd name="connsiteY3831" fmla="*/ 465529 h 3047670"/>
              <a:gd name="connsiteX3832" fmla="*/ 1588023 w 3044273"/>
              <a:gd name="connsiteY3832" fmla="*/ 450580 h 3047670"/>
              <a:gd name="connsiteX3833" fmla="*/ 1602972 w 3044273"/>
              <a:gd name="connsiteY3833" fmla="*/ 435506 h 3047670"/>
              <a:gd name="connsiteX3834" fmla="*/ 1432511 w 3044273"/>
              <a:gd name="connsiteY3834" fmla="*/ 434376 h 3047670"/>
              <a:gd name="connsiteX3835" fmla="*/ 1449344 w 3044273"/>
              <a:gd name="connsiteY3835" fmla="*/ 451083 h 3047670"/>
              <a:gd name="connsiteX3836" fmla="*/ 1432638 w 3044273"/>
              <a:gd name="connsiteY3836" fmla="*/ 467916 h 3047670"/>
              <a:gd name="connsiteX3837" fmla="*/ 1415804 w 3044273"/>
              <a:gd name="connsiteY3837" fmla="*/ 451209 h 3047670"/>
              <a:gd name="connsiteX3838" fmla="*/ 1432511 w 3044273"/>
              <a:gd name="connsiteY3838" fmla="*/ 434376 h 3047670"/>
              <a:gd name="connsiteX3839" fmla="*/ 1517805 w 3044273"/>
              <a:gd name="connsiteY3839" fmla="*/ 431863 h 3047670"/>
              <a:gd name="connsiteX3840" fmla="*/ 1533633 w 3044273"/>
              <a:gd name="connsiteY3840" fmla="*/ 447564 h 3047670"/>
              <a:gd name="connsiteX3841" fmla="*/ 1517931 w 3044273"/>
              <a:gd name="connsiteY3841" fmla="*/ 463392 h 3047670"/>
              <a:gd name="connsiteX3842" fmla="*/ 1502229 w 3044273"/>
              <a:gd name="connsiteY3842" fmla="*/ 447690 h 3047670"/>
              <a:gd name="connsiteX3843" fmla="*/ 1517805 w 3044273"/>
              <a:gd name="connsiteY3843" fmla="*/ 431863 h 3047670"/>
              <a:gd name="connsiteX3844" fmla="*/ 1975671 w 3044273"/>
              <a:gd name="connsiteY3844" fmla="*/ 429101 h 3047670"/>
              <a:gd name="connsiteX3845" fmla="*/ 1985721 w 3044273"/>
              <a:gd name="connsiteY3845" fmla="*/ 439024 h 3047670"/>
              <a:gd name="connsiteX3846" fmla="*/ 1975797 w 3044273"/>
              <a:gd name="connsiteY3846" fmla="*/ 448946 h 3047670"/>
              <a:gd name="connsiteX3847" fmla="*/ 1965747 w 3044273"/>
              <a:gd name="connsiteY3847" fmla="*/ 439024 h 3047670"/>
              <a:gd name="connsiteX3848" fmla="*/ 1975671 w 3044273"/>
              <a:gd name="connsiteY3848" fmla="*/ 429101 h 3047670"/>
              <a:gd name="connsiteX3849" fmla="*/ 679952 w 3044273"/>
              <a:gd name="connsiteY3849" fmla="*/ 427844 h 3047670"/>
              <a:gd name="connsiteX3850" fmla="*/ 690000 w 3044273"/>
              <a:gd name="connsiteY3850" fmla="*/ 437768 h 3047670"/>
              <a:gd name="connsiteX3851" fmla="*/ 680077 w 3044273"/>
              <a:gd name="connsiteY3851" fmla="*/ 447691 h 3047670"/>
              <a:gd name="connsiteX3852" fmla="*/ 670154 w 3044273"/>
              <a:gd name="connsiteY3852" fmla="*/ 437768 h 3047670"/>
              <a:gd name="connsiteX3853" fmla="*/ 679952 w 3044273"/>
              <a:gd name="connsiteY3853" fmla="*/ 427844 h 3047670"/>
              <a:gd name="connsiteX3854" fmla="*/ 1059938 w 3044273"/>
              <a:gd name="connsiteY3854" fmla="*/ 426714 h 3047670"/>
              <a:gd name="connsiteX3855" fmla="*/ 1075514 w 3044273"/>
              <a:gd name="connsiteY3855" fmla="*/ 442165 h 3047670"/>
              <a:gd name="connsiteX3856" fmla="*/ 1060063 w 3044273"/>
              <a:gd name="connsiteY3856" fmla="*/ 457742 h 3047670"/>
              <a:gd name="connsiteX3857" fmla="*/ 1044487 w 3044273"/>
              <a:gd name="connsiteY3857" fmla="*/ 442291 h 3047670"/>
              <a:gd name="connsiteX3858" fmla="*/ 1059938 w 3044273"/>
              <a:gd name="connsiteY3858" fmla="*/ 426714 h 3047670"/>
              <a:gd name="connsiteX3859" fmla="*/ 2355655 w 3044273"/>
              <a:gd name="connsiteY3859" fmla="*/ 425958 h 3047670"/>
              <a:gd name="connsiteX3860" fmla="*/ 2361434 w 3044273"/>
              <a:gd name="connsiteY3860" fmla="*/ 431736 h 3047670"/>
              <a:gd name="connsiteX3861" fmla="*/ 2355655 w 3044273"/>
              <a:gd name="connsiteY3861" fmla="*/ 437515 h 3047670"/>
              <a:gd name="connsiteX3862" fmla="*/ 2349877 w 3044273"/>
              <a:gd name="connsiteY3862" fmla="*/ 431736 h 3047670"/>
              <a:gd name="connsiteX3863" fmla="*/ 2355655 w 3044273"/>
              <a:gd name="connsiteY3863" fmla="*/ 425958 h 3047670"/>
              <a:gd name="connsiteX3864" fmla="*/ 398445 w 3044273"/>
              <a:gd name="connsiteY3864" fmla="*/ 422695 h 3047670"/>
              <a:gd name="connsiteX3865" fmla="*/ 403093 w 3044273"/>
              <a:gd name="connsiteY3865" fmla="*/ 427343 h 3047670"/>
              <a:gd name="connsiteX3866" fmla="*/ 398445 w 3044273"/>
              <a:gd name="connsiteY3866" fmla="*/ 431991 h 3047670"/>
              <a:gd name="connsiteX3867" fmla="*/ 393798 w 3044273"/>
              <a:gd name="connsiteY3867" fmla="*/ 427343 h 3047670"/>
              <a:gd name="connsiteX3868" fmla="*/ 398445 w 3044273"/>
              <a:gd name="connsiteY3868" fmla="*/ 422695 h 3047670"/>
              <a:gd name="connsiteX3869" fmla="*/ 865108 w 3044273"/>
              <a:gd name="connsiteY3869" fmla="*/ 420935 h 3047670"/>
              <a:gd name="connsiteX3870" fmla="*/ 875284 w 3044273"/>
              <a:gd name="connsiteY3870" fmla="*/ 431109 h 3047670"/>
              <a:gd name="connsiteX3871" fmla="*/ 865108 w 3044273"/>
              <a:gd name="connsiteY3871" fmla="*/ 441284 h 3047670"/>
              <a:gd name="connsiteX3872" fmla="*/ 854934 w 3044273"/>
              <a:gd name="connsiteY3872" fmla="*/ 431109 h 3047670"/>
              <a:gd name="connsiteX3873" fmla="*/ 865108 w 3044273"/>
              <a:gd name="connsiteY3873" fmla="*/ 420935 h 3047670"/>
              <a:gd name="connsiteX3874" fmla="*/ 2170501 w 3044273"/>
              <a:gd name="connsiteY3874" fmla="*/ 418423 h 3047670"/>
              <a:gd name="connsiteX3875" fmla="*/ 2178541 w 3044273"/>
              <a:gd name="connsiteY3875" fmla="*/ 426337 h 3047670"/>
              <a:gd name="connsiteX3876" fmla="*/ 2170626 w 3044273"/>
              <a:gd name="connsiteY3876" fmla="*/ 434377 h 3047670"/>
              <a:gd name="connsiteX3877" fmla="*/ 2162586 w 3044273"/>
              <a:gd name="connsiteY3877" fmla="*/ 426463 h 3047670"/>
              <a:gd name="connsiteX3878" fmla="*/ 2170501 w 3044273"/>
              <a:gd name="connsiteY3878" fmla="*/ 418423 h 3047670"/>
              <a:gd name="connsiteX3879" fmla="*/ 1895278 w 3044273"/>
              <a:gd name="connsiteY3879" fmla="*/ 398828 h 3047670"/>
              <a:gd name="connsiteX3880" fmla="*/ 1906835 w 3044273"/>
              <a:gd name="connsiteY3880" fmla="*/ 410258 h 3047670"/>
              <a:gd name="connsiteX3881" fmla="*/ 1895403 w 3044273"/>
              <a:gd name="connsiteY3881" fmla="*/ 421815 h 3047670"/>
              <a:gd name="connsiteX3882" fmla="*/ 1883846 w 3044273"/>
              <a:gd name="connsiteY3882" fmla="*/ 410384 h 3047670"/>
              <a:gd name="connsiteX3883" fmla="*/ 1895278 w 3044273"/>
              <a:gd name="connsiteY3883" fmla="*/ 398828 h 3047670"/>
              <a:gd name="connsiteX3884" fmla="*/ 1140080 w 3044273"/>
              <a:gd name="connsiteY3884" fmla="*/ 395184 h 3047670"/>
              <a:gd name="connsiteX3885" fmla="*/ 1158042 w 3044273"/>
              <a:gd name="connsiteY3885" fmla="*/ 413022 h 3047670"/>
              <a:gd name="connsiteX3886" fmla="*/ 1140205 w 3044273"/>
              <a:gd name="connsiteY3886" fmla="*/ 430984 h 3047670"/>
              <a:gd name="connsiteX3887" fmla="*/ 1122242 w 3044273"/>
              <a:gd name="connsiteY3887" fmla="*/ 413147 h 3047670"/>
              <a:gd name="connsiteX3888" fmla="*/ 1140080 w 3044273"/>
              <a:gd name="connsiteY3888" fmla="*/ 395184 h 3047670"/>
              <a:gd name="connsiteX3889" fmla="*/ 569786 w 3044273"/>
              <a:gd name="connsiteY3889" fmla="*/ 392924 h 3047670"/>
              <a:gd name="connsiteX3890" fmla="*/ 579584 w 3044273"/>
              <a:gd name="connsiteY3890" fmla="*/ 402595 h 3047670"/>
              <a:gd name="connsiteX3891" fmla="*/ 569911 w 3044273"/>
              <a:gd name="connsiteY3891" fmla="*/ 412393 h 3047670"/>
              <a:gd name="connsiteX3892" fmla="*/ 560115 w 3044273"/>
              <a:gd name="connsiteY3892" fmla="*/ 402722 h 3047670"/>
              <a:gd name="connsiteX3893" fmla="*/ 569786 w 3044273"/>
              <a:gd name="connsiteY3893" fmla="*/ 392924 h 3047670"/>
              <a:gd name="connsiteX3894" fmla="*/ 2465442 w 3044273"/>
              <a:gd name="connsiteY3894" fmla="*/ 391543 h 3047670"/>
              <a:gd name="connsiteX3895" fmla="*/ 2469713 w 3044273"/>
              <a:gd name="connsiteY3895" fmla="*/ 395688 h 3047670"/>
              <a:gd name="connsiteX3896" fmla="*/ 2465567 w 3044273"/>
              <a:gd name="connsiteY3896" fmla="*/ 399960 h 3047670"/>
              <a:gd name="connsiteX3897" fmla="*/ 2461297 w 3044273"/>
              <a:gd name="connsiteY3897" fmla="*/ 395815 h 3047670"/>
              <a:gd name="connsiteX3898" fmla="*/ 2465442 w 3044273"/>
              <a:gd name="connsiteY3898" fmla="*/ 391543 h 3047670"/>
              <a:gd name="connsiteX3899" fmla="*/ 750296 w 3044273"/>
              <a:gd name="connsiteY3899" fmla="*/ 379732 h 3047670"/>
              <a:gd name="connsiteX3900" fmla="*/ 760094 w 3044273"/>
              <a:gd name="connsiteY3900" fmla="*/ 389404 h 3047670"/>
              <a:gd name="connsiteX3901" fmla="*/ 750422 w 3044273"/>
              <a:gd name="connsiteY3901" fmla="*/ 399203 h 3047670"/>
              <a:gd name="connsiteX3902" fmla="*/ 740624 w 3044273"/>
              <a:gd name="connsiteY3902" fmla="*/ 389531 h 3047670"/>
              <a:gd name="connsiteX3903" fmla="*/ 750296 w 3044273"/>
              <a:gd name="connsiteY3903" fmla="*/ 379732 h 3047670"/>
              <a:gd name="connsiteX3904" fmla="*/ 940353 w 3044273"/>
              <a:gd name="connsiteY3904" fmla="*/ 378980 h 3047670"/>
              <a:gd name="connsiteX3905" fmla="*/ 952787 w 3044273"/>
              <a:gd name="connsiteY3905" fmla="*/ 391289 h 3047670"/>
              <a:gd name="connsiteX3906" fmla="*/ 940478 w 3044273"/>
              <a:gd name="connsiteY3906" fmla="*/ 403726 h 3047670"/>
              <a:gd name="connsiteX3907" fmla="*/ 928042 w 3044273"/>
              <a:gd name="connsiteY3907" fmla="*/ 391415 h 3047670"/>
              <a:gd name="connsiteX3908" fmla="*/ 940353 w 3044273"/>
              <a:gd name="connsiteY3908" fmla="*/ 378980 h 3047670"/>
              <a:gd name="connsiteX3909" fmla="*/ 2094752 w 3044273"/>
              <a:gd name="connsiteY3909" fmla="*/ 378353 h 3047670"/>
              <a:gd name="connsiteX3910" fmla="*/ 2103671 w 3044273"/>
              <a:gd name="connsiteY3910" fmla="*/ 387145 h 3047670"/>
              <a:gd name="connsiteX3911" fmla="*/ 2094879 w 3044273"/>
              <a:gd name="connsiteY3911" fmla="*/ 396064 h 3047670"/>
              <a:gd name="connsiteX3912" fmla="*/ 2085960 w 3044273"/>
              <a:gd name="connsiteY3912" fmla="*/ 387272 h 3047670"/>
              <a:gd name="connsiteX3913" fmla="*/ 2094752 w 3044273"/>
              <a:gd name="connsiteY3913" fmla="*/ 378353 h 3047670"/>
              <a:gd name="connsiteX3914" fmla="*/ 2284935 w 3044273"/>
              <a:gd name="connsiteY3914" fmla="*/ 376845 h 3047670"/>
              <a:gd name="connsiteX3915" fmla="*/ 2291971 w 3044273"/>
              <a:gd name="connsiteY3915" fmla="*/ 383879 h 3047670"/>
              <a:gd name="connsiteX3916" fmla="*/ 2284935 w 3044273"/>
              <a:gd name="connsiteY3916" fmla="*/ 391039 h 3047670"/>
              <a:gd name="connsiteX3917" fmla="*/ 2277900 w 3044273"/>
              <a:gd name="connsiteY3917" fmla="*/ 384005 h 3047670"/>
              <a:gd name="connsiteX3918" fmla="*/ 2284935 w 3044273"/>
              <a:gd name="connsiteY3918" fmla="*/ 376845 h 3047670"/>
              <a:gd name="connsiteX3919" fmla="*/ 1813126 w 3044273"/>
              <a:gd name="connsiteY3919" fmla="*/ 374206 h 3047670"/>
              <a:gd name="connsiteX3920" fmla="*/ 1826442 w 3044273"/>
              <a:gd name="connsiteY3920" fmla="*/ 387397 h 3047670"/>
              <a:gd name="connsiteX3921" fmla="*/ 1813252 w 3044273"/>
              <a:gd name="connsiteY3921" fmla="*/ 400712 h 3047670"/>
              <a:gd name="connsiteX3922" fmla="*/ 1799936 w 3044273"/>
              <a:gd name="connsiteY3922" fmla="*/ 387522 h 3047670"/>
              <a:gd name="connsiteX3923" fmla="*/ 1813126 w 3044273"/>
              <a:gd name="connsiteY3923" fmla="*/ 374206 h 3047670"/>
              <a:gd name="connsiteX3924" fmla="*/ 1222108 w 3044273"/>
              <a:gd name="connsiteY3924" fmla="*/ 370941 h 3047670"/>
              <a:gd name="connsiteX3925" fmla="*/ 1240824 w 3044273"/>
              <a:gd name="connsiteY3925" fmla="*/ 389407 h 3047670"/>
              <a:gd name="connsiteX3926" fmla="*/ 1222233 w 3044273"/>
              <a:gd name="connsiteY3926" fmla="*/ 408124 h 3047670"/>
              <a:gd name="connsiteX3927" fmla="*/ 1203517 w 3044273"/>
              <a:gd name="connsiteY3927" fmla="*/ 389658 h 3047670"/>
              <a:gd name="connsiteX3928" fmla="*/ 1222108 w 3044273"/>
              <a:gd name="connsiteY3928" fmla="*/ 370941 h 3047670"/>
              <a:gd name="connsiteX3929" fmla="*/ 461253 w 3044273"/>
              <a:gd name="connsiteY3929" fmla="*/ 366166 h 3047670"/>
              <a:gd name="connsiteX3930" fmla="*/ 464770 w 3044273"/>
              <a:gd name="connsiteY3930" fmla="*/ 369684 h 3047670"/>
              <a:gd name="connsiteX3931" fmla="*/ 461253 w 3044273"/>
              <a:gd name="connsiteY3931" fmla="*/ 373201 h 3047670"/>
              <a:gd name="connsiteX3932" fmla="*/ 457736 w 3044273"/>
              <a:gd name="connsiteY3932" fmla="*/ 369684 h 3047670"/>
              <a:gd name="connsiteX3933" fmla="*/ 461253 w 3044273"/>
              <a:gd name="connsiteY3933" fmla="*/ 366166 h 3047670"/>
              <a:gd name="connsiteX3934" fmla="*/ 1729715 w 3044273"/>
              <a:gd name="connsiteY3934" fmla="*/ 362901 h 3047670"/>
              <a:gd name="connsiteX3935" fmla="*/ 1737000 w 3044273"/>
              <a:gd name="connsiteY3935" fmla="*/ 370186 h 3047670"/>
              <a:gd name="connsiteX3936" fmla="*/ 1729715 w 3044273"/>
              <a:gd name="connsiteY3936" fmla="*/ 377472 h 3047670"/>
              <a:gd name="connsiteX3937" fmla="*/ 1722429 w 3044273"/>
              <a:gd name="connsiteY3937" fmla="*/ 370186 h 3047670"/>
              <a:gd name="connsiteX3938" fmla="*/ 1729715 w 3044273"/>
              <a:gd name="connsiteY3938" fmla="*/ 362901 h 3047670"/>
              <a:gd name="connsiteX3939" fmla="*/ 1305389 w 3044273"/>
              <a:gd name="connsiteY3939" fmla="*/ 357373 h 3047670"/>
              <a:gd name="connsiteX3940" fmla="*/ 1319835 w 3044273"/>
              <a:gd name="connsiteY3940" fmla="*/ 371692 h 3047670"/>
              <a:gd name="connsiteX3941" fmla="*/ 1305516 w 3044273"/>
              <a:gd name="connsiteY3941" fmla="*/ 386138 h 3047670"/>
              <a:gd name="connsiteX3942" fmla="*/ 1291070 w 3044273"/>
              <a:gd name="connsiteY3942" fmla="*/ 371819 h 3047670"/>
              <a:gd name="connsiteX3943" fmla="*/ 1305389 w 3044273"/>
              <a:gd name="connsiteY3943" fmla="*/ 357373 h 3047670"/>
              <a:gd name="connsiteX3944" fmla="*/ 1645303 w 3044273"/>
              <a:gd name="connsiteY3944" fmla="*/ 350464 h 3047670"/>
              <a:gd name="connsiteX3945" fmla="*/ 1653470 w 3044273"/>
              <a:gd name="connsiteY3945" fmla="*/ 358629 h 3047670"/>
              <a:gd name="connsiteX3946" fmla="*/ 1645303 w 3044273"/>
              <a:gd name="connsiteY3946" fmla="*/ 366920 h 3047670"/>
              <a:gd name="connsiteX3947" fmla="*/ 1637013 w 3044273"/>
              <a:gd name="connsiteY3947" fmla="*/ 358754 h 3047670"/>
              <a:gd name="connsiteX3948" fmla="*/ 1645303 w 3044273"/>
              <a:gd name="connsiteY3948" fmla="*/ 350464 h 3047670"/>
              <a:gd name="connsiteX3949" fmla="*/ 2016747 w 3044273"/>
              <a:gd name="connsiteY3949" fmla="*/ 349209 h 3047670"/>
              <a:gd name="connsiteX3950" fmla="*/ 2020515 w 3044273"/>
              <a:gd name="connsiteY3950" fmla="*/ 352978 h 3047670"/>
              <a:gd name="connsiteX3951" fmla="*/ 2016747 w 3044273"/>
              <a:gd name="connsiteY3951" fmla="*/ 356746 h 3047670"/>
              <a:gd name="connsiteX3952" fmla="*/ 2012978 w 3044273"/>
              <a:gd name="connsiteY3952" fmla="*/ 352978 h 3047670"/>
              <a:gd name="connsiteX3953" fmla="*/ 2016747 w 3044273"/>
              <a:gd name="connsiteY3953" fmla="*/ 349209 h 3047670"/>
              <a:gd name="connsiteX3954" fmla="*/ 1389802 w 3044273"/>
              <a:gd name="connsiteY3954" fmla="*/ 347325 h 3047670"/>
              <a:gd name="connsiteX3955" fmla="*/ 1402238 w 3044273"/>
              <a:gd name="connsiteY3955" fmla="*/ 359635 h 3047670"/>
              <a:gd name="connsiteX3956" fmla="*/ 1389928 w 3044273"/>
              <a:gd name="connsiteY3956" fmla="*/ 372071 h 3047670"/>
              <a:gd name="connsiteX3957" fmla="*/ 1377492 w 3044273"/>
              <a:gd name="connsiteY3957" fmla="*/ 359761 h 3047670"/>
              <a:gd name="connsiteX3958" fmla="*/ 1389802 w 3044273"/>
              <a:gd name="connsiteY3958" fmla="*/ 347325 h 3047670"/>
              <a:gd name="connsiteX3959" fmla="*/ 637745 w 3044273"/>
              <a:gd name="connsiteY3959" fmla="*/ 346949 h 3047670"/>
              <a:gd name="connsiteX3960" fmla="*/ 642016 w 3044273"/>
              <a:gd name="connsiteY3960" fmla="*/ 351094 h 3047670"/>
              <a:gd name="connsiteX3961" fmla="*/ 637871 w 3044273"/>
              <a:gd name="connsiteY3961" fmla="*/ 355366 h 3047670"/>
              <a:gd name="connsiteX3962" fmla="*/ 633600 w 3044273"/>
              <a:gd name="connsiteY3962" fmla="*/ 351220 h 3047670"/>
              <a:gd name="connsiteX3963" fmla="*/ 637745 w 3044273"/>
              <a:gd name="connsiteY3963" fmla="*/ 346949 h 3047670"/>
              <a:gd name="connsiteX3964" fmla="*/ 1018359 w 3044273"/>
              <a:gd name="connsiteY3964" fmla="*/ 345441 h 3047670"/>
              <a:gd name="connsiteX3965" fmla="*/ 1029414 w 3044273"/>
              <a:gd name="connsiteY3965" fmla="*/ 356495 h 3047670"/>
              <a:gd name="connsiteX3966" fmla="*/ 1018359 w 3044273"/>
              <a:gd name="connsiteY3966" fmla="*/ 367675 h 3047670"/>
              <a:gd name="connsiteX3967" fmla="*/ 1007305 w 3044273"/>
              <a:gd name="connsiteY3967" fmla="*/ 356621 h 3047670"/>
              <a:gd name="connsiteX3968" fmla="*/ 1018359 w 3044273"/>
              <a:gd name="connsiteY3968" fmla="*/ 345441 h 3047670"/>
              <a:gd name="connsiteX3969" fmla="*/ 1560137 w 3044273"/>
              <a:gd name="connsiteY3969" fmla="*/ 343179 h 3047670"/>
              <a:gd name="connsiteX3970" fmla="*/ 1570187 w 3044273"/>
              <a:gd name="connsiteY3970" fmla="*/ 353103 h 3047670"/>
              <a:gd name="connsiteX3971" fmla="*/ 1560263 w 3044273"/>
              <a:gd name="connsiteY3971" fmla="*/ 363152 h 3047670"/>
              <a:gd name="connsiteX3972" fmla="*/ 1550213 w 3044273"/>
              <a:gd name="connsiteY3972" fmla="*/ 353228 h 3047670"/>
              <a:gd name="connsiteX3973" fmla="*/ 1560137 w 3044273"/>
              <a:gd name="connsiteY3973" fmla="*/ 343179 h 3047670"/>
              <a:gd name="connsiteX3974" fmla="*/ 2397233 w 3044273"/>
              <a:gd name="connsiteY3974" fmla="*/ 342803 h 3047670"/>
              <a:gd name="connsiteX3975" fmla="*/ 2399242 w 3044273"/>
              <a:gd name="connsiteY3975" fmla="*/ 344813 h 3047670"/>
              <a:gd name="connsiteX3976" fmla="*/ 2397233 w 3044273"/>
              <a:gd name="connsiteY3976" fmla="*/ 346823 h 3047670"/>
              <a:gd name="connsiteX3977" fmla="*/ 2395223 w 3044273"/>
              <a:gd name="connsiteY3977" fmla="*/ 344813 h 3047670"/>
              <a:gd name="connsiteX3978" fmla="*/ 2397233 w 3044273"/>
              <a:gd name="connsiteY3978" fmla="*/ 342803 h 3047670"/>
              <a:gd name="connsiteX3979" fmla="*/ 823405 w 3044273"/>
              <a:gd name="connsiteY3979" fmla="*/ 341422 h 3047670"/>
              <a:gd name="connsiteX3980" fmla="*/ 827676 w 3044273"/>
              <a:gd name="connsiteY3980" fmla="*/ 345568 h 3047670"/>
              <a:gd name="connsiteX3981" fmla="*/ 823530 w 3044273"/>
              <a:gd name="connsiteY3981" fmla="*/ 349713 h 3047670"/>
              <a:gd name="connsiteX3982" fmla="*/ 819260 w 3044273"/>
              <a:gd name="connsiteY3982" fmla="*/ 345568 h 3047670"/>
              <a:gd name="connsiteX3983" fmla="*/ 823405 w 3044273"/>
              <a:gd name="connsiteY3983" fmla="*/ 341422 h 3047670"/>
              <a:gd name="connsiteX3984" fmla="*/ 1474844 w 3044273"/>
              <a:gd name="connsiteY3984" fmla="*/ 341044 h 3047670"/>
              <a:gd name="connsiteX3985" fmla="*/ 1487278 w 3044273"/>
              <a:gd name="connsiteY3985" fmla="*/ 353354 h 3047670"/>
              <a:gd name="connsiteX3986" fmla="*/ 1474969 w 3044273"/>
              <a:gd name="connsiteY3986" fmla="*/ 365790 h 3047670"/>
              <a:gd name="connsiteX3987" fmla="*/ 1462533 w 3044273"/>
              <a:gd name="connsiteY3987" fmla="*/ 353480 h 3047670"/>
              <a:gd name="connsiteX3988" fmla="*/ 1474844 w 3044273"/>
              <a:gd name="connsiteY3988" fmla="*/ 341044 h 3047670"/>
              <a:gd name="connsiteX3989" fmla="*/ 2211576 w 3044273"/>
              <a:gd name="connsiteY3989" fmla="*/ 337652 h 3047670"/>
              <a:gd name="connsiteX3990" fmla="*/ 2214464 w 3044273"/>
              <a:gd name="connsiteY3990" fmla="*/ 340542 h 3047670"/>
              <a:gd name="connsiteX3991" fmla="*/ 2211576 w 3044273"/>
              <a:gd name="connsiteY3991" fmla="*/ 343431 h 3047670"/>
              <a:gd name="connsiteX3992" fmla="*/ 2208686 w 3044273"/>
              <a:gd name="connsiteY3992" fmla="*/ 340542 h 3047670"/>
              <a:gd name="connsiteX3993" fmla="*/ 2211576 w 3044273"/>
              <a:gd name="connsiteY3993" fmla="*/ 337652 h 3047670"/>
              <a:gd name="connsiteX3994" fmla="*/ 1936605 w 3044273"/>
              <a:gd name="connsiteY3994" fmla="*/ 319187 h 3047670"/>
              <a:gd name="connsiteX3995" fmla="*/ 1941252 w 3044273"/>
              <a:gd name="connsiteY3995" fmla="*/ 323835 h 3047670"/>
              <a:gd name="connsiteX3996" fmla="*/ 1936605 w 3044273"/>
              <a:gd name="connsiteY3996" fmla="*/ 328483 h 3047670"/>
              <a:gd name="connsiteX3997" fmla="*/ 1931957 w 3044273"/>
              <a:gd name="connsiteY3997" fmla="*/ 323835 h 3047670"/>
              <a:gd name="connsiteX3998" fmla="*/ 1936605 w 3044273"/>
              <a:gd name="connsiteY3998" fmla="*/ 319187 h 3047670"/>
              <a:gd name="connsiteX3999" fmla="*/ 1098125 w 3044273"/>
              <a:gd name="connsiteY3999" fmla="*/ 315921 h 3047670"/>
              <a:gd name="connsiteX4000" fmla="*/ 1109305 w 3044273"/>
              <a:gd name="connsiteY4000" fmla="*/ 326975 h 3047670"/>
              <a:gd name="connsiteX4001" fmla="*/ 1098250 w 3044273"/>
              <a:gd name="connsiteY4001" fmla="*/ 338029 h 3047670"/>
              <a:gd name="connsiteX4002" fmla="*/ 1087196 w 3044273"/>
              <a:gd name="connsiteY4002" fmla="*/ 326975 h 3047670"/>
              <a:gd name="connsiteX4003" fmla="*/ 1098125 w 3044273"/>
              <a:gd name="connsiteY4003" fmla="*/ 315921 h 3047670"/>
              <a:gd name="connsiteX4004" fmla="*/ 527075 w 3044273"/>
              <a:gd name="connsiteY4004" fmla="*/ 311900 h 3047670"/>
              <a:gd name="connsiteX4005" fmla="*/ 530592 w 3044273"/>
              <a:gd name="connsiteY4005" fmla="*/ 315418 h 3047670"/>
              <a:gd name="connsiteX4006" fmla="*/ 527075 w 3044273"/>
              <a:gd name="connsiteY4006" fmla="*/ 318935 h 3047670"/>
              <a:gd name="connsiteX4007" fmla="*/ 523558 w 3044273"/>
              <a:gd name="connsiteY4007" fmla="*/ 315418 h 3047670"/>
              <a:gd name="connsiteX4008" fmla="*/ 527075 w 3044273"/>
              <a:gd name="connsiteY4008" fmla="*/ 311900 h 3047670"/>
              <a:gd name="connsiteX4009" fmla="*/ 898899 w 3044273"/>
              <a:gd name="connsiteY4009" fmla="*/ 301727 h 3047670"/>
              <a:gd name="connsiteX4010" fmla="*/ 903170 w 3044273"/>
              <a:gd name="connsiteY4010" fmla="*/ 305872 h 3047670"/>
              <a:gd name="connsiteX4011" fmla="*/ 899024 w 3044273"/>
              <a:gd name="connsiteY4011" fmla="*/ 310144 h 3047670"/>
              <a:gd name="connsiteX4012" fmla="*/ 894754 w 3044273"/>
              <a:gd name="connsiteY4012" fmla="*/ 305999 h 3047670"/>
              <a:gd name="connsiteX4013" fmla="*/ 898899 w 3044273"/>
              <a:gd name="connsiteY4013" fmla="*/ 301727 h 3047670"/>
              <a:gd name="connsiteX4014" fmla="*/ 708467 w 3044273"/>
              <a:gd name="connsiteY4014" fmla="*/ 299214 h 3047670"/>
              <a:gd name="connsiteX4015" fmla="*/ 712738 w 3044273"/>
              <a:gd name="connsiteY4015" fmla="*/ 303359 h 3047670"/>
              <a:gd name="connsiteX4016" fmla="*/ 708593 w 3044273"/>
              <a:gd name="connsiteY4016" fmla="*/ 307630 h 3047670"/>
              <a:gd name="connsiteX4017" fmla="*/ 704322 w 3044273"/>
              <a:gd name="connsiteY4017" fmla="*/ 303485 h 3047670"/>
              <a:gd name="connsiteX4018" fmla="*/ 708467 w 3044273"/>
              <a:gd name="connsiteY4018" fmla="*/ 299214 h 3047670"/>
              <a:gd name="connsiteX4019" fmla="*/ 2135829 w 3044273"/>
              <a:gd name="connsiteY4019" fmla="*/ 298335 h 3047670"/>
              <a:gd name="connsiteX4020" fmla="*/ 2138971 w 3044273"/>
              <a:gd name="connsiteY4020" fmla="*/ 301475 h 3047670"/>
              <a:gd name="connsiteX4021" fmla="*/ 2135829 w 3044273"/>
              <a:gd name="connsiteY4021" fmla="*/ 304616 h 3047670"/>
              <a:gd name="connsiteX4022" fmla="*/ 2132689 w 3044273"/>
              <a:gd name="connsiteY4022" fmla="*/ 301475 h 3047670"/>
              <a:gd name="connsiteX4023" fmla="*/ 2135829 w 3044273"/>
              <a:gd name="connsiteY4023" fmla="*/ 298335 h 3047670"/>
              <a:gd name="connsiteX4024" fmla="*/ 2326260 w 3044273"/>
              <a:gd name="connsiteY4024" fmla="*/ 295320 h 3047670"/>
              <a:gd name="connsiteX4025" fmla="*/ 2328647 w 3044273"/>
              <a:gd name="connsiteY4025" fmla="*/ 297708 h 3047670"/>
              <a:gd name="connsiteX4026" fmla="*/ 2326260 w 3044273"/>
              <a:gd name="connsiteY4026" fmla="*/ 300095 h 3047670"/>
              <a:gd name="connsiteX4027" fmla="*/ 2323748 w 3044273"/>
              <a:gd name="connsiteY4027" fmla="*/ 297708 h 3047670"/>
              <a:gd name="connsiteX4028" fmla="*/ 2326260 w 3044273"/>
              <a:gd name="connsiteY4028" fmla="*/ 295320 h 3047670"/>
              <a:gd name="connsiteX4029" fmla="*/ 1854579 w 3044273"/>
              <a:gd name="connsiteY4029" fmla="*/ 293687 h 3047670"/>
              <a:gd name="connsiteX4030" fmla="*/ 1860859 w 3044273"/>
              <a:gd name="connsiteY4030" fmla="*/ 299842 h 3047670"/>
              <a:gd name="connsiteX4031" fmla="*/ 1854704 w 3044273"/>
              <a:gd name="connsiteY4031" fmla="*/ 305998 h 3047670"/>
              <a:gd name="connsiteX4032" fmla="*/ 1848549 w 3044273"/>
              <a:gd name="connsiteY4032" fmla="*/ 299842 h 3047670"/>
              <a:gd name="connsiteX4033" fmla="*/ 1854579 w 3044273"/>
              <a:gd name="connsiteY4033" fmla="*/ 293687 h 3047670"/>
              <a:gd name="connsiteX4034" fmla="*/ 1179900 w 3044273"/>
              <a:gd name="connsiteY4034" fmla="*/ 287658 h 3047670"/>
              <a:gd name="connsiteX4035" fmla="*/ 1194597 w 3044273"/>
              <a:gd name="connsiteY4035" fmla="*/ 302229 h 3047670"/>
              <a:gd name="connsiteX4036" fmla="*/ 1180025 w 3044273"/>
              <a:gd name="connsiteY4036" fmla="*/ 316926 h 3047670"/>
              <a:gd name="connsiteX4037" fmla="*/ 1165329 w 3044273"/>
              <a:gd name="connsiteY4037" fmla="*/ 302355 h 3047670"/>
              <a:gd name="connsiteX4038" fmla="*/ 1179900 w 3044273"/>
              <a:gd name="connsiteY4038" fmla="*/ 287658 h 3047670"/>
              <a:gd name="connsiteX4039" fmla="*/ 1771546 w 3044273"/>
              <a:gd name="connsiteY4039" fmla="*/ 279116 h 3047670"/>
              <a:gd name="connsiteX4040" fmla="*/ 1773555 w 3044273"/>
              <a:gd name="connsiteY4040" fmla="*/ 281126 h 3047670"/>
              <a:gd name="connsiteX4041" fmla="*/ 1771546 w 3044273"/>
              <a:gd name="connsiteY4041" fmla="*/ 283136 h 3047670"/>
              <a:gd name="connsiteX4042" fmla="*/ 1769536 w 3044273"/>
              <a:gd name="connsiteY4042" fmla="*/ 281126 h 3047670"/>
              <a:gd name="connsiteX4043" fmla="*/ 1771546 w 3044273"/>
              <a:gd name="connsiteY4043" fmla="*/ 279116 h 3047670"/>
              <a:gd name="connsiteX4044" fmla="*/ 1262933 w 3044273"/>
              <a:gd name="connsiteY4044" fmla="*/ 270197 h 3047670"/>
              <a:gd name="connsiteX4045" fmla="*/ 1275870 w 3044273"/>
              <a:gd name="connsiteY4045" fmla="*/ 283010 h 3047670"/>
              <a:gd name="connsiteX4046" fmla="*/ 1263058 w 3044273"/>
              <a:gd name="connsiteY4046" fmla="*/ 295948 h 3047670"/>
              <a:gd name="connsiteX4047" fmla="*/ 1250119 w 3044273"/>
              <a:gd name="connsiteY4047" fmla="*/ 283136 h 3047670"/>
              <a:gd name="connsiteX4048" fmla="*/ 1262933 w 3044273"/>
              <a:gd name="connsiteY4048" fmla="*/ 270197 h 3047670"/>
              <a:gd name="connsiteX4049" fmla="*/ 976780 w 3044273"/>
              <a:gd name="connsiteY4049" fmla="*/ 268061 h 3047670"/>
              <a:gd name="connsiteX4050" fmla="*/ 979669 w 3044273"/>
              <a:gd name="connsiteY4050" fmla="*/ 270951 h 3047670"/>
              <a:gd name="connsiteX4051" fmla="*/ 976780 w 3044273"/>
              <a:gd name="connsiteY4051" fmla="*/ 273839 h 3047670"/>
              <a:gd name="connsiteX4052" fmla="*/ 973891 w 3044273"/>
              <a:gd name="connsiteY4052" fmla="*/ 270951 h 3047670"/>
              <a:gd name="connsiteX4053" fmla="*/ 976780 w 3044273"/>
              <a:gd name="connsiteY4053" fmla="*/ 268061 h 3047670"/>
              <a:gd name="connsiteX4054" fmla="*/ 2057698 w 3044273"/>
              <a:gd name="connsiteY4054" fmla="*/ 266178 h 3047670"/>
              <a:gd name="connsiteX4055" fmla="*/ 2058577 w 3044273"/>
              <a:gd name="connsiteY4055" fmla="*/ 267058 h 3047670"/>
              <a:gd name="connsiteX4056" fmla="*/ 2057698 w 3044273"/>
              <a:gd name="connsiteY4056" fmla="*/ 267937 h 3047670"/>
              <a:gd name="connsiteX4057" fmla="*/ 2056818 w 3044273"/>
              <a:gd name="connsiteY4057" fmla="*/ 267058 h 3047670"/>
              <a:gd name="connsiteX4058" fmla="*/ 2057698 w 3044273"/>
              <a:gd name="connsiteY4058" fmla="*/ 266178 h 3047670"/>
              <a:gd name="connsiteX4059" fmla="*/ 1687133 w 3044273"/>
              <a:gd name="connsiteY4059" fmla="*/ 265549 h 3047670"/>
              <a:gd name="connsiteX4060" fmla="*/ 1689645 w 3044273"/>
              <a:gd name="connsiteY4060" fmla="*/ 267936 h 3047670"/>
              <a:gd name="connsiteX4061" fmla="*/ 1687259 w 3044273"/>
              <a:gd name="connsiteY4061" fmla="*/ 270323 h 3047670"/>
              <a:gd name="connsiteX4062" fmla="*/ 1684872 w 3044273"/>
              <a:gd name="connsiteY4062" fmla="*/ 267936 h 3047670"/>
              <a:gd name="connsiteX4063" fmla="*/ 1687133 w 3044273"/>
              <a:gd name="connsiteY4063" fmla="*/ 265549 h 3047670"/>
              <a:gd name="connsiteX4064" fmla="*/ 595659 w 3044273"/>
              <a:gd name="connsiteY4064" fmla="*/ 263414 h 3047670"/>
              <a:gd name="connsiteX4065" fmla="*/ 596790 w 3044273"/>
              <a:gd name="connsiteY4065" fmla="*/ 264544 h 3047670"/>
              <a:gd name="connsiteX4066" fmla="*/ 595659 w 3044273"/>
              <a:gd name="connsiteY4066" fmla="*/ 265675 h 3047670"/>
              <a:gd name="connsiteX4067" fmla="*/ 594530 w 3044273"/>
              <a:gd name="connsiteY4067" fmla="*/ 264544 h 3047670"/>
              <a:gd name="connsiteX4068" fmla="*/ 595659 w 3044273"/>
              <a:gd name="connsiteY4068" fmla="*/ 263414 h 3047670"/>
              <a:gd name="connsiteX4069" fmla="*/ 781825 w 3044273"/>
              <a:gd name="connsiteY4069" fmla="*/ 258767 h 3047670"/>
              <a:gd name="connsiteX4070" fmla="*/ 782956 w 3044273"/>
              <a:gd name="connsiteY4070" fmla="*/ 259897 h 3047670"/>
              <a:gd name="connsiteX4071" fmla="*/ 781825 w 3044273"/>
              <a:gd name="connsiteY4071" fmla="*/ 261028 h 3047670"/>
              <a:gd name="connsiteX4072" fmla="*/ 780695 w 3044273"/>
              <a:gd name="connsiteY4072" fmla="*/ 259897 h 3047670"/>
              <a:gd name="connsiteX4073" fmla="*/ 781825 w 3044273"/>
              <a:gd name="connsiteY4073" fmla="*/ 258767 h 3047670"/>
              <a:gd name="connsiteX4074" fmla="*/ 1347093 w 3044273"/>
              <a:gd name="connsiteY4074" fmla="*/ 256884 h 3047670"/>
              <a:gd name="connsiteX4075" fmla="*/ 1359530 w 3044273"/>
              <a:gd name="connsiteY4075" fmla="*/ 269193 h 3047670"/>
              <a:gd name="connsiteX4076" fmla="*/ 1347219 w 3044273"/>
              <a:gd name="connsiteY4076" fmla="*/ 281629 h 3047670"/>
              <a:gd name="connsiteX4077" fmla="*/ 1334784 w 3044273"/>
              <a:gd name="connsiteY4077" fmla="*/ 269193 h 3047670"/>
              <a:gd name="connsiteX4078" fmla="*/ 1347093 w 3044273"/>
              <a:gd name="connsiteY4078" fmla="*/ 256884 h 3047670"/>
              <a:gd name="connsiteX4079" fmla="*/ 1602469 w 3044273"/>
              <a:gd name="connsiteY4079" fmla="*/ 256253 h 3047670"/>
              <a:gd name="connsiteX4080" fmla="*/ 1606237 w 3044273"/>
              <a:gd name="connsiteY4080" fmla="*/ 260022 h 3047670"/>
              <a:gd name="connsiteX4081" fmla="*/ 1602469 w 3044273"/>
              <a:gd name="connsiteY4081" fmla="*/ 263790 h 3047670"/>
              <a:gd name="connsiteX4082" fmla="*/ 1598700 w 3044273"/>
              <a:gd name="connsiteY4082" fmla="*/ 260022 h 3047670"/>
              <a:gd name="connsiteX4083" fmla="*/ 1602469 w 3044273"/>
              <a:gd name="connsiteY4083" fmla="*/ 256253 h 3047670"/>
              <a:gd name="connsiteX4084" fmla="*/ 1517176 w 3044273"/>
              <a:gd name="connsiteY4084" fmla="*/ 250978 h 3047670"/>
              <a:gd name="connsiteX4085" fmla="*/ 1523833 w 3044273"/>
              <a:gd name="connsiteY4085" fmla="*/ 257635 h 3047670"/>
              <a:gd name="connsiteX4086" fmla="*/ 1517176 w 3044273"/>
              <a:gd name="connsiteY4086" fmla="*/ 264294 h 3047670"/>
              <a:gd name="connsiteX4087" fmla="*/ 1510518 w 3044273"/>
              <a:gd name="connsiteY4087" fmla="*/ 257635 h 3047670"/>
              <a:gd name="connsiteX4088" fmla="*/ 1517176 w 3044273"/>
              <a:gd name="connsiteY4088" fmla="*/ 250978 h 3047670"/>
              <a:gd name="connsiteX4089" fmla="*/ 1431883 w 3044273"/>
              <a:gd name="connsiteY4089" fmla="*/ 250351 h 3047670"/>
              <a:gd name="connsiteX4090" fmla="*/ 1442310 w 3044273"/>
              <a:gd name="connsiteY4090" fmla="*/ 260650 h 3047670"/>
              <a:gd name="connsiteX4091" fmla="*/ 1432010 w 3044273"/>
              <a:gd name="connsiteY4091" fmla="*/ 271076 h 3047670"/>
              <a:gd name="connsiteX4092" fmla="*/ 1421583 w 3044273"/>
              <a:gd name="connsiteY4092" fmla="*/ 260650 h 3047670"/>
              <a:gd name="connsiteX4093" fmla="*/ 1431883 w 3044273"/>
              <a:gd name="connsiteY4093" fmla="*/ 250351 h 3047670"/>
              <a:gd name="connsiteX4094" fmla="*/ 1977807 w 3044273"/>
              <a:gd name="connsiteY4094" fmla="*/ 236532 h 3047670"/>
              <a:gd name="connsiteX4095" fmla="*/ 1978686 w 3044273"/>
              <a:gd name="connsiteY4095" fmla="*/ 237412 h 3047670"/>
              <a:gd name="connsiteX4096" fmla="*/ 1977807 w 3044273"/>
              <a:gd name="connsiteY4096" fmla="*/ 238291 h 3047670"/>
              <a:gd name="connsiteX4097" fmla="*/ 1976927 w 3044273"/>
              <a:gd name="connsiteY4097" fmla="*/ 237412 h 3047670"/>
              <a:gd name="connsiteX4098" fmla="*/ 1977807 w 3044273"/>
              <a:gd name="connsiteY4098" fmla="*/ 236532 h 3047670"/>
              <a:gd name="connsiteX4099" fmla="*/ 1056420 w 3044273"/>
              <a:gd name="connsiteY4099" fmla="*/ 234398 h 3047670"/>
              <a:gd name="connsiteX4100" fmla="*/ 1062827 w 3044273"/>
              <a:gd name="connsiteY4100" fmla="*/ 240804 h 3047670"/>
              <a:gd name="connsiteX4101" fmla="*/ 1056420 w 3044273"/>
              <a:gd name="connsiteY4101" fmla="*/ 247209 h 3047670"/>
              <a:gd name="connsiteX4102" fmla="*/ 1050014 w 3044273"/>
              <a:gd name="connsiteY4102" fmla="*/ 240804 h 3047670"/>
              <a:gd name="connsiteX4103" fmla="*/ 1056420 w 3044273"/>
              <a:gd name="connsiteY4103" fmla="*/ 234398 h 3047670"/>
              <a:gd name="connsiteX4104" fmla="*/ 857446 w 3044273"/>
              <a:gd name="connsiteY4104" fmla="*/ 219073 h 3047670"/>
              <a:gd name="connsiteX4105" fmla="*/ 858827 w 3044273"/>
              <a:gd name="connsiteY4105" fmla="*/ 220455 h 3047670"/>
              <a:gd name="connsiteX4106" fmla="*/ 857571 w 3044273"/>
              <a:gd name="connsiteY4106" fmla="*/ 221836 h 3047670"/>
              <a:gd name="connsiteX4107" fmla="*/ 856189 w 3044273"/>
              <a:gd name="connsiteY4107" fmla="*/ 220455 h 3047670"/>
              <a:gd name="connsiteX4108" fmla="*/ 857446 w 3044273"/>
              <a:gd name="connsiteY4108" fmla="*/ 219073 h 3047670"/>
              <a:gd name="connsiteX4109" fmla="*/ 1896282 w 3044273"/>
              <a:gd name="connsiteY4109" fmla="*/ 211284 h 3047670"/>
              <a:gd name="connsiteX4110" fmla="*/ 1897665 w 3044273"/>
              <a:gd name="connsiteY4110" fmla="*/ 212540 h 3047670"/>
              <a:gd name="connsiteX4111" fmla="*/ 1896282 w 3044273"/>
              <a:gd name="connsiteY4111" fmla="*/ 213921 h 3047670"/>
              <a:gd name="connsiteX4112" fmla="*/ 1894900 w 3044273"/>
              <a:gd name="connsiteY4112" fmla="*/ 212540 h 3047670"/>
              <a:gd name="connsiteX4113" fmla="*/ 1896282 w 3044273"/>
              <a:gd name="connsiteY4113" fmla="*/ 211284 h 3047670"/>
              <a:gd name="connsiteX4114" fmla="*/ 1137822 w 3044273"/>
              <a:gd name="connsiteY4114" fmla="*/ 204375 h 3047670"/>
              <a:gd name="connsiteX4115" fmla="*/ 1148625 w 3044273"/>
              <a:gd name="connsiteY4115" fmla="*/ 215177 h 3047670"/>
              <a:gd name="connsiteX4116" fmla="*/ 1137822 w 3044273"/>
              <a:gd name="connsiteY4116" fmla="*/ 226106 h 3047670"/>
              <a:gd name="connsiteX4117" fmla="*/ 1127018 w 3044273"/>
              <a:gd name="connsiteY4117" fmla="*/ 215304 h 3047670"/>
              <a:gd name="connsiteX4118" fmla="*/ 1137822 w 3044273"/>
              <a:gd name="connsiteY4118" fmla="*/ 204375 h 3047670"/>
              <a:gd name="connsiteX4119" fmla="*/ 1813251 w 3044273"/>
              <a:gd name="connsiteY4119" fmla="*/ 190684 h 3047670"/>
              <a:gd name="connsiteX4120" fmla="*/ 1815261 w 3044273"/>
              <a:gd name="connsiteY4120" fmla="*/ 192694 h 3047670"/>
              <a:gd name="connsiteX4121" fmla="*/ 1813251 w 3044273"/>
              <a:gd name="connsiteY4121" fmla="*/ 194704 h 3047670"/>
              <a:gd name="connsiteX4122" fmla="*/ 1811241 w 3044273"/>
              <a:gd name="connsiteY4122" fmla="*/ 192694 h 3047670"/>
              <a:gd name="connsiteX4123" fmla="*/ 1813251 w 3044273"/>
              <a:gd name="connsiteY4123" fmla="*/ 190684 h 3047670"/>
              <a:gd name="connsiteX4124" fmla="*/ 935201 w 3044273"/>
              <a:gd name="connsiteY4124" fmla="*/ 183900 h 3047670"/>
              <a:gd name="connsiteX4125" fmla="*/ 936456 w 3044273"/>
              <a:gd name="connsiteY4125" fmla="*/ 185282 h 3047670"/>
              <a:gd name="connsiteX4126" fmla="*/ 935201 w 3044273"/>
              <a:gd name="connsiteY4126" fmla="*/ 186663 h 3047670"/>
              <a:gd name="connsiteX4127" fmla="*/ 933820 w 3044273"/>
              <a:gd name="connsiteY4127" fmla="*/ 185408 h 3047670"/>
              <a:gd name="connsiteX4128" fmla="*/ 935201 w 3044273"/>
              <a:gd name="connsiteY4128" fmla="*/ 183900 h 3047670"/>
              <a:gd name="connsiteX4129" fmla="*/ 1220598 w 3044273"/>
              <a:gd name="connsiteY4129" fmla="*/ 181889 h 3047670"/>
              <a:gd name="connsiteX4130" fmla="*/ 1233537 w 3044273"/>
              <a:gd name="connsiteY4130" fmla="*/ 194702 h 3047670"/>
              <a:gd name="connsiteX4131" fmla="*/ 1220725 w 3044273"/>
              <a:gd name="connsiteY4131" fmla="*/ 207640 h 3047670"/>
              <a:gd name="connsiteX4132" fmla="*/ 1207786 w 3044273"/>
              <a:gd name="connsiteY4132" fmla="*/ 194828 h 3047670"/>
              <a:gd name="connsiteX4133" fmla="*/ 1220598 w 3044273"/>
              <a:gd name="connsiteY4133" fmla="*/ 181889 h 3047670"/>
              <a:gd name="connsiteX4134" fmla="*/ 1729341 w 3044273"/>
              <a:gd name="connsiteY4134" fmla="*/ 176865 h 3047670"/>
              <a:gd name="connsiteX4135" fmla="*/ 1730220 w 3044273"/>
              <a:gd name="connsiteY4135" fmla="*/ 177745 h 3047670"/>
              <a:gd name="connsiteX4136" fmla="*/ 1729341 w 3044273"/>
              <a:gd name="connsiteY4136" fmla="*/ 178625 h 3047670"/>
              <a:gd name="connsiteX4137" fmla="*/ 1728461 w 3044273"/>
              <a:gd name="connsiteY4137" fmla="*/ 177745 h 3047670"/>
              <a:gd name="connsiteX4138" fmla="*/ 1729341 w 3044273"/>
              <a:gd name="connsiteY4138" fmla="*/ 176865 h 3047670"/>
              <a:gd name="connsiteX4139" fmla="*/ 1304509 w 3044273"/>
              <a:gd name="connsiteY4139" fmla="*/ 169956 h 3047670"/>
              <a:gd name="connsiteX4140" fmla="*/ 1313806 w 3044273"/>
              <a:gd name="connsiteY4140" fmla="*/ 179253 h 3047670"/>
              <a:gd name="connsiteX4141" fmla="*/ 1304509 w 3044273"/>
              <a:gd name="connsiteY4141" fmla="*/ 188547 h 3047670"/>
              <a:gd name="connsiteX4142" fmla="*/ 1295214 w 3044273"/>
              <a:gd name="connsiteY4142" fmla="*/ 179253 h 3047670"/>
              <a:gd name="connsiteX4143" fmla="*/ 1304509 w 3044273"/>
              <a:gd name="connsiteY4143" fmla="*/ 169956 h 3047670"/>
              <a:gd name="connsiteX4144" fmla="*/ 1644550 w 3044273"/>
              <a:gd name="connsiteY4144" fmla="*/ 165435 h 3047670"/>
              <a:gd name="connsiteX4145" fmla="*/ 1646938 w 3044273"/>
              <a:gd name="connsiteY4145" fmla="*/ 167822 h 3047670"/>
              <a:gd name="connsiteX4146" fmla="*/ 1644550 w 3044273"/>
              <a:gd name="connsiteY4146" fmla="*/ 170209 h 3047670"/>
              <a:gd name="connsiteX4147" fmla="*/ 1642163 w 3044273"/>
              <a:gd name="connsiteY4147" fmla="*/ 167822 h 3047670"/>
              <a:gd name="connsiteX4148" fmla="*/ 1644550 w 3044273"/>
              <a:gd name="connsiteY4148" fmla="*/ 165435 h 3047670"/>
              <a:gd name="connsiteX4149" fmla="*/ 1389050 w 3044273"/>
              <a:gd name="connsiteY4149" fmla="*/ 160788 h 3047670"/>
              <a:gd name="connsiteX4150" fmla="*/ 1397090 w 3044273"/>
              <a:gd name="connsiteY4150" fmla="*/ 168703 h 3047670"/>
              <a:gd name="connsiteX4151" fmla="*/ 1389175 w 3044273"/>
              <a:gd name="connsiteY4151" fmla="*/ 176743 h 3047670"/>
              <a:gd name="connsiteX4152" fmla="*/ 1381135 w 3044273"/>
              <a:gd name="connsiteY4152" fmla="*/ 168828 h 3047670"/>
              <a:gd name="connsiteX4153" fmla="*/ 1389050 w 3044273"/>
              <a:gd name="connsiteY4153" fmla="*/ 160788 h 3047670"/>
              <a:gd name="connsiteX4154" fmla="*/ 1559509 w 3044273"/>
              <a:gd name="connsiteY4154" fmla="*/ 158275 h 3047670"/>
              <a:gd name="connsiteX4155" fmla="*/ 1564407 w 3044273"/>
              <a:gd name="connsiteY4155" fmla="*/ 163048 h 3047670"/>
              <a:gd name="connsiteX4156" fmla="*/ 1559509 w 3044273"/>
              <a:gd name="connsiteY4156" fmla="*/ 167947 h 3047670"/>
              <a:gd name="connsiteX4157" fmla="*/ 1554610 w 3044273"/>
              <a:gd name="connsiteY4157" fmla="*/ 163048 h 3047670"/>
              <a:gd name="connsiteX4158" fmla="*/ 1559509 w 3044273"/>
              <a:gd name="connsiteY4158" fmla="*/ 158275 h 3047670"/>
              <a:gd name="connsiteX4159" fmla="*/ 1474215 w 3044273"/>
              <a:gd name="connsiteY4159" fmla="*/ 155385 h 3047670"/>
              <a:gd name="connsiteX4160" fmla="*/ 1482254 w 3044273"/>
              <a:gd name="connsiteY4160" fmla="*/ 163300 h 3047670"/>
              <a:gd name="connsiteX4161" fmla="*/ 1474340 w 3044273"/>
              <a:gd name="connsiteY4161" fmla="*/ 171339 h 3047670"/>
              <a:gd name="connsiteX4162" fmla="*/ 1466301 w 3044273"/>
              <a:gd name="connsiteY4162" fmla="*/ 163425 h 3047670"/>
              <a:gd name="connsiteX4163" fmla="*/ 1474215 w 3044273"/>
              <a:gd name="connsiteY4163" fmla="*/ 155385 h 3047670"/>
              <a:gd name="connsiteX4164" fmla="*/ 1014716 w 3044273"/>
              <a:gd name="connsiteY4164" fmla="*/ 151115 h 3047670"/>
              <a:gd name="connsiteX4165" fmla="*/ 1018233 w 3044273"/>
              <a:gd name="connsiteY4165" fmla="*/ 154632 h 3047670"/>
              <a:gd name="connsiteX4166" fmla="*/ 1014716 w 3044273"/>
              <a:gd name="connsiteY4166" fmla="*/ 158149 h 3047670"/>
              <a:gd name="connsiteX4167" fmla="*/ 1011199 w 3044273"/>
              <a:gd name="connsiteY4167" fmla="*/ 154632 h 3047670"/>
              <a:gd name="connsiteX4168" fmla="*/ 1014716 w 3044273"/>
              <a:gd name="connsiteY4168" fmla="*/ 151115 h 3047670"/>
              <a:gd name="connsiteX4169" fmla="*/ 1095862 w 3044273"/>
              <a:gd name="connsiteY4169" fmla="*/ 124986 h 3047670"/>
              <a:gd name="connsiteX4170" fmla="*/ 1099379 w 3044273"/>
              <a:gd name="connsiteY4170" fmla="*/ 128503 h 3047670"/>
              <a:gd name="connsiteX4171" fmla="*/ 1095862 w 3044273"/>
              <a:gd name="connsiteY4171" fmla="*/ 132020 h 3047670"/>
              <a:gd name="connsiteX4172" fmla="*/ 1092345 w 3044273"/>
              <a:gd name="connsiteY4172" fmla="*/ 128503 h 3047670"/>
              <a:gd name="connsiteX4173" fmla="*/ 1095862 w 3044273"/>
              <a:gd name="connsiteY4173" fmla="*/ 124986 h 3047670"/>
              <a:gd name="connsiteX4174" fmla="*/ 1854956 w 3044273"/>
              <a:gd name="connsiteY4174" fmla="*/ 103507 h 3047670"/>
              <a:gd name="connsiteX4175" fmla="*/ 1855837 w 3044273"/>
              <a:gd name="connsiteY4175" fmla="*/ 104387 h 3047670"/>
              <a:gd name="connsiteX4176" fmla="*/ 1854956 w 3044273"/>
              <a:gd name="connsiteY4176" fmla="*/ 105268 h 3047670"/>
              <a:gd name="connsiteX4177" fmla="*/ 1854076 w 3044273"/>
              <a:gd name="connsiteY4177" fmla="*/ 104387 h 3047670"/>
              <a:gd name="connsiteX4178" fmla="*/ 1854956 w 3044273"/>
              <a:gd name="connsiteY4178" fmla="*/ 103507 h 3047670"/>
              <a:gd name="connsiteX4179" fmla="*/ 1178391 w 3044273"/>
              <a:gd name="connsiteY4179" fmla="*/ 100240 h 3047670"/>
              <a:gd name="connsiteX4180" fmla="*/ 1185049 w 3044273"/>
              <a:gd name="connsiteY4180" fmla="*/ 106898 h 3047670"/>
              <a:gd name="connsiteX4181" fmla="*/ 1178391 w 3044273"/>
              <a:gd name="connsiteY4181" fmla="*/ 113555 h 3047670"/>
              <a:gd name="connsiteX4182" fmla="*/ 1171734 w 3044273"/>
              <a:gd name="connsiteY4182" fmla="*/ 106898 h 3047670"/>
              <a:gd name="connsiteX4183" fmla="*/ 1178391 w 3044273"/>
              <a:gd name="connsiteY4183" fmla="*/ 100240 h 3047670"/>
              <a:gd name="connsiteX4184" fmla="*/ 893493 w 3044273"/>
              <a:gd name="connsiteY4184" fmla="*/ 99110 h 3047670"/>
              <a:gd name="connsiteX4185" fmla="*/ 894121 w 3044273"/>
              <a:gd name="connsiteY4185" fmla="*/ 99738 h 3047670"/>
              <a:gd name="connsiteX4186" fmla="*/ 893493 w 3044273"/>
              <a:gd name="connsiteY4186" fmla="*/ 100365 h 3047670"/>
              <a:gd name="connsiteX4187" fmla="*/ 892866 w 3044273"/>
              <a:gd name="connsiteY4187" fmla="*/ 99738 h 3047670"/>
              <a:gd name="connsiteX4188" fmla="*/ 893493 w 3044273"/>
              <a:gd name="connsiteY4188" fmla="*/ 99110 h 3047670"/>
              <a:gd name="connsiteX4189" fmla="*/ 1771168 w 3044273"/>
              <a:gd name="connsiteY4189" fmla="*/ 87552 h 3047670"/>
              <a:gd name="connsiteX4190" fmla="*/ 1771797 w 3044273"/>
              <a:gd name="connsiteY4190" fmla="*/ 88181 h 3047670"/>
              <a:gd name="connsiteX4191" fmla="*/ 1771168 w 3044273"/>
              <a:gd name="connsiteY4191" fmla="*/ 88809 h 3047670"/>
              <a:gd name="connsiteX4192" fmla="*/ 1770540 w 3044273"/>
              <a:gd name="connsiteY4192" fmla="*/ 88181 h 3047670"/>
              <a:gd name="connsiteX4193" fmla="*/ 1771168 w 3044273"/>
              <a:gd name="connsiteY4193" fmla="*/ 87552 h 3047670"/>
              <a:gd name="connsiteX4194" fmla="*/ 1261926 w 3044273"/>
              <a:gd name="connsiteY4194" fmla="*/ 86799 h 3047670"/>
              <a:gd name="connsiteX4195" fmla="*/ 1265068 w 3044273"/>
              <a:gd name="connsiteY4195" fmla="*/ 89939 h 3047670"/>
              <a:gd name="connsiteX4196" fmla="*/ 1261926 w 3044273"/>
              <a:gd name="connsiteY4196" fmla="*/ 93080 h 3047670"/>
              <a:gd name="connsiteX4197" fmla="*/ 1258786 w 3044273"/>
              <a:gd name="connsiteY4197" fmla="*/ 89939 h 3047670"/>
              <a:gd name="connsiteX4198" fmla="*/ 1261926 w 3044273"/>
              <a:gd name="connsiteY4198" fmla="*/ 86799 h 3047670"/>
              <a:gd name="connsiteX4199" fmla="*/ 1686755 w 3044273"/>
              <a:gd name="connsiteY4199" fmla="*/ 75870 h 3047670"/>
              <a:gd name="connsiteX4200" fmla="*/ 1687384 w 3044273"/>
              <a:gd name="connsiteY4200" fmla="*/ 76498 h 3047670"/>
              <a:gd name="connsiteX4201" fmla="*/ 1686755 w 3044273"/>
              <a:gd name="connsiteY4201" fmla="*/ 77125 h 3047670"/>
              <a:gd name="connsiteX4202" fmla="*/ 1686127 w 3044273"/>
              <a:gd name="connsiteY4202" fmla="*/ 76498 h 3047670"/>
              <a:gd name="connsiteX4203" fmla="*/ 1686755 w 3044273"/>
              <a:gd name="connsiteY4203" fmla="*/ 75870 h 3047670"/>
              <a:gd name="connsiteX4204" fmla="*/ 1346339 w 3044273"/>
              <a:gd name="connsiteY4204" fmla="*/ 73987 h 3047670"/>
              <a:gd name="connsiteX4205" fmla="*/ 1350107 w 3044273"/>
              <a:gd name="connsiteY4205" fmla="*/ 77756 h 3047670"/>
              <a:gd name="connsiteX4206" fmla="*/ 1346339 w 3044273"/>
              <a:gd name="connsiteY4206" fmla="*/ 81524 h 3047670"/>
              <a:gd name="connsiteX4207" fmla="*/ 1342570 w 3044273"/>
              <a:gd name="connsiteY4207" fmla="*/ 77756 h 3047670"/>
              <a:gd name="connsiteX4208" fmla="*/ 1346339 w 3044273"/>
              <a:gd name="connsiteY4208" fmla="*/ 73987 h 3047670"/>
              <a:gd name="connsiteX4209" fmla="*/ 1601840 w 3044273"/>
              <a:gd name="connsiteY4209" fmla="*/ 68208 h 3047670"/>
              <a:gd name="connsiteX4210" fmla="*/ 1603221 w 3044273"/>
              <a:gd name="connsiteY4210" fmla="*/ 69465 h 3047670"/>
              <a:gd name="connsiteX4211" fmla="*/ 1601840 w 3044273"/>
              <a:gd name="connsiteY4211" fmla="*/ 70845 h 3047670"/>
              <a:gd name="connsiteX4212" fmla="*/ 1600458 w 3044273"/>
              <a:gd name="connsiteY4212" fmla="*/ 69590 h 3047670"/>
              <a:gd name="connsiteX4213" fmla="*/ 1601840 w 3044273"/>
              <a:gd name="connsiteY4213" fmla="*/ 68208 h 3047670"/>
              <a:gd name="connsiteX4214" fmla="*/ 972881 w 3044273"/>
              <a:gd name="connsiteY4214" fmla="*/ 67832 h 3047670"/>
              <a:gd name="connsiteX4215" fmla="*/ 973760 w 3044273"/>
              <a:gd name="connsiteY4215" fmla="*/ 68712 h 3047670"/>
              <a:gd name="connsiteX4216" fmla="*/ 972881 w 3044273"/>
              <a:gd name="connsiteY4216" fmla="*/ 69591 h 3047670"/>
              <a:gd name="connsiteX4217" fmla="*/ 972001 w 3044273"/>
              <a:gd name="connsiteY4217" fmla="*/ 68712 h 3047670"/>
              <a:gd name="connsiteX4218" fmla="*/ 972881 w 3044273"/>
              <a:gd name="connsiteY4218" fmla="*/ 67832 h 3047670"/>
              <a:gd name="connsiteX4219" fmla="*/ 1431254 w 3044273"/>
              <a:gd name="connsiteY4219" fmla="*/ 66701 h 3047670"/>
              <a:gd name="connsiteX4220" fmla="*/ 1434772 w 3044273"/>
              <a:gd name="connsiteY4220" fmla="*/ 70218 h 3047670"/>
              <a:gd name="connsiteX4221" fmla="*/ 1431254 w 3044273"/>
              <a:gd name="connsiteY4221" fmla="*/ 73735 h 3047670"/>
              <a:gd name="connsiteX4222" fmla="*/ 1427737 w 3044273"/>
              <a:gd name="connsiteY4222" fmla="*/ 70218 h 3047670"/>
              <a:gd name="connsiteX4223" fmla="*/ 1431254 w 3044273"/>
              <a:gd name="connsiteY4223" fmla="*/ 66701 h 3047670"/>
              <a:gd name="connsiteX4224" fmla="*/ 1516423 w 3044273"/>
              <a:gd name="connsiteY4224" fmla="*/ 65193 h 3047670"/>
              <a:gd name="connsiteX4225" fmla="*/ 1518809 w 3044273"/>
              <a:gd name="connsiteY4225" fmla="*/ 67580 h 3047670"/>
              <a:gd name="connsiteX4226" fmla="*/ 1516423 w 3044273"/>
              <a:gd name="connsiteY4226" fmla="*/ 70093 h 3047670"/>
              <a:gd name="connsiteX4227" fmla="*/ 1514036 w 3044273"/>
              <a:gd name="connsiteY4227" fmla="*/ 67580 h 3047670"/>
              <a:gd name="connsiteX4228" fmla="*/ 1516423 w 3044273"/>
              <a:gd name="connsiteY4228" fmla="*/ 65193 h 3047670"/>
              <a:gd name="connsiteX4229" fmla="*/ 1053902 w 3044273"/>
              <a:gd name="connsiteY4229" fmla="*/ 40448 h 3047670"/>
              <a:gd name="connsiteX4230" fmla="*/ 1055284 w 3044273"/>
              <a:gd name="connsiteY4230" fmla="*/ 41830 h 3047670"/>
              <a:gd name="connsiteX4231" fmla="*/ 1053902 w 3044273"/>
              <a:gd name="connsiteY4231" fmla="*/ 43212 h 3047670"/>
              <a:gd name="connsiteX4232" fmla="*/ 1052520 w 3044273"/>
              <a:gd name="connsiteY4232" fmla="*/ 41830 h 3047670"/>
              <a:gd name="connsiteX4233" fmla="*/ 1053902 w 3044273"/>
              <a:gd name="connsiteY4233" fmla="*/ 40448 h 3047670"/>
              <a:gd name="connsiteX4234" fmla="*/ 1136181 w 3044273"/>
              <a:gd name="connsiteY4234" fmla="*/ 16957 h 3047670"/>
              <a:gd name="connsiteX4235" fmla="*/ 1138442 w 3044273"/>
              <a:gd name="connsiteY4235" fmla="*/ 19217 h 3047670"/>
              <a:gd name="connsiteX4236" fmla="*/ 1136181 w 3044273"/>
              <a:gd name="connsiteY4236" fmla="*/ 21479 h 3047670"/>
              <a:gd name="connsiteX4237" fmla="*/ 1133920 w 3044273"/>
              <a:gd name="connsiteY4237" fmla="*/ 19344 h 3047670"/>
              <a:gd name="connsiteX4238" fmla="*/ 1136181 w 3044273"/>
              <a:gd name="connsiteY4238" fmla="*/ 16957 h 3047670"/>
              <a:gd name="connsiteX4239" fmla="*/ 1219461 w 3044273"/>
              <a:gd name="connsiteY4239" fmla="*/ 0 h 3047670"/>
              <a:gd name="connsiteX4240" fmla="*/ 1220593 w 3044273"/>
              <a:gd name="connsiteY4240" fmla="*/ 1130 h 3047670"/>
              <a:gd name="connsiteX4241" fmla="*/ 1219461 w 3044273"/>
              <a:gd name="connsiteY4241" fmla="*/ 2261 h 3047670"/>
              <a:gd name="connsiteX4242" fmla="*/ 1218331 w 3044273"/>
              <a:gd name="connsiteY4242" fmla="*/ 1130 h 3047670"/>
              <a:gd name="connsiteX4243" fmla="*/ 1219461 w 3044273"/>
              <a:gd name="connsiteY4243" fmla="*/ 0 h 3047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</a:cxnLst>
            <a:rect l="l" t="t" r="r" b="b"/>
            <a:pathLst>
              <a:path w="3044273" h="3047670">
                <a:moveTo>
                  <a:pt x="1948158" y="3046415"/>
                </a:moveTo>
                <a:cubicBezTo>
                  <a:pt x="1948535" y="3046415"/>
                  <a:pt x="1948787" y="3046666"/>
                  <a:pt x="1948787" y="3047043"/>
                </a:cubicBezTo>
                <a:cubicBezTo>
                  <a:pt x="1948787" y="3047420"/>
                  <a:pt x="1948535" y="3047670"/>
                  <a:pt x="1948158" y="3047670"/>
                </a:cubicBezTo>
                <a:cubicBezTo>
                  <a:pt x="1947782" y="3047670"/>
                  <a:pt x="1947530" y="3047420"/>
                  <a:pt x="1947530" y="3047043"/>
                </a:cubicBezTo>
                <a:cubicBezTo>
                  <a:pt x="1947530" y="3046666"/>
                  <a:pt x="1947782" y="3046415"/>
                  <a:pt x="1948158" y="3046415"/>
                </a:cubicBezTo>
                <a:close/>
                <a:moveTo>
                  <a:pt x="2262811" y="3022973"/>
                </a:moveTo>
                <a:cubicBezTo>
                  <a:pt x="2263063" y="3022973"/>
                  <a:pt x="2263440" y="3023224"/>
                  <a:pt x="2263440" y="3023601"/>
                </a:cubicBezTo>
                <a:cubicBezTo>
                  <a:pt x="2263440" y="3023979"/>
                  <a:pt x="2263188" y="3024229"/>
                  <a:pt x="2262811" y="3024229"/>
                </a:cubicBezTo>
                <a:cubicBezTo>
                  <a:pt x="2262435" y="3024229"/>
                  <a:pt x="2262183" y="3023979"/>
                  <a:pt x="2262183" y="3023601"/>
                </a:cubicBezTo>
                <a:cubicBezTo>
                  <a:pt x="2262183" y="3023224"/>
                  <a:pt x="2262435" y="3022847"/>
                  <a:pt x="2262811" y="3022973"/>
                </a:cubicBezTo>
                <a:close/>
                <a:moveTo>
                  <a:pt x="2029306" y="3020035"/>
                </a:moveTo>
                <a:cubicBezTo>
                  <a:pt x="2029809" y="3020035"/>
                  <a:pt x="2030185" y="3020413"/>
                  <a:pt x="2030185" y="3020915"/>
                </a:cubicBezTo>
                <a:cubicBezTo>
                  <a:pt x="2030185" y="3021418"/>
                  <a:pt x="2029809" y="3021794"/>
                  <a:pt x="2029306" y="3021794"/>
                </a:cubicBezTo>
                <a:cubicBezTo>
                  <a:pt x="2028804" y="3021794"/>
                  <a:pt x="2028426" y="3021418"/>
                  <a:pt x="2028426" y="3020915"/>
                </a:cubicBezTo>
                <a:cubicBezTo>
                  <a:pt x="2028426" y="3020413"/>
                  <a:pt x="2028804" y="3020035"/>
                  <a:pt x="2029306" y="3020035"/>
                </a:cubicBezTo>
                <a:close/>
                <a:moveTo>
                  <a:pt x="1527099" y="3010364"/>
                </a:moveTo>
                <a:cubicBezTo>
                  <a:pt x="1528606" y="3010364"/>
                  <a:pt x="1529736" y="3011494"/>
                  <a:pt x="1529736" y="3013001"/>
                </a:cubicBezTo>
                <a:cubicBezTo>
                  <a:pt x="1529736" y="3014383"/>
                  <a:pt x="1528606" y="3015640"/>
                  <a:pt x="1527099" y="3015640"/>
                </a:cubicBezTo>
                <a:cubicBezTo>
                  <a:pt x="1525592" y="3015640"/>
                  <a:pt x="1524462" y="3014508"/>
                  <a:pt x="1524462" y="3013001"/>
                </a:cubicBezTo>
                <a:cubicBezTo>
                  <a:pt x="1524462" y="3011494"/>
                  <a:pt x="1525717" y="3010364"/>
                  <a:pt x="1527099" y="3010364"/>
                </a:cubicBezTo>
                <a:close/>
                <a:moveTo>
                  <a:pt x="1612392" y="3008101"/>
                </a:moveTo>
                <a:cubicBezTo>
                  <a:pt x="1613522" y="3008101"/>
                  <a:pt x="1614401" y="3008981"/>
                  <a:pt x="1614401" y="3010111"/>
                </a:cubicBezTo>
                <a:cubicBezTo>
                  <a:pt x="1614401" y="3011242"/>
                  <a:pt x="1613522" y="3012122"/>
                  <a:pt x="1612392" y="3012122"/>
                </a:cubicBezTo>
                <a:cubicBezTo>
                  <a:pt x="1611262" y="3012122"/>
                  <a:pt x="1610382" y="3011242"/>
                  <a:pt x="1610382" y="3010111"/>
                </a:cubicBezTo>
                <a:cubicBezTo>
                  <a:pt x="1610382" y="3009106"/>
                  <a:pt x="1611262" y="3008101"/>
                  <a:pt x="1612392" y="3008101"/>
                </a:cubicBezTo>
                <a:close/>
                <a:moveTo>
                  <a:pt x="1441807" y="3007221"/>
                </a:moveTo>
                <a:cubicBezTo>
                  <a:pt x="1443566" y="3007221"/>
                  <a:pt x="1444949" y="3008729"/>
                  <a:pt x="1444949" y="3010361"/>
                </a:cubicBezTo>
                <a:lnTo>
                  <a:pt x="1438667" y="3010361"/>
                </a:lnTo>
                <a:cubicBezTo>
                  <a:pt x="1438667" y="3008603"/>
                  <a:pt x="1440049" y="3007221"/>
                  <a:pt x="1441807" y="3007221"/>
                </a:cubicBezTo>
                <a:close/>
                <a:moveTo>
                  <a:pt x="1697183" y="3000691"/>
                </a:moveTo>
                <a:cubicBezTo>
                  <a:pt x="1698062" y="3000691"/>
                  <a:pt x="1698816" y="3001319"/>
                  <a:pt x="1698816" y="3002198"/>
                </a:cubicBezTo>
                <a:cubicBezTo>
                  <a:pt x="1698816" y="3002951"/>
                  <a:pt x="1698188" y="3003706"/>
                  <a:pt x="1697309" y="3003706"/>
                </a:cubicBezTo>
                <a:cubicBezTo>
                  <a:pt x="1696429" y="3003706"/>
                  <a:pt x="1695801" y="3003078"/>
                  <a:pt x="1695801" y="3002198"/>
                </a:cubicBezTo>
                <a:cubicBezTo>
                  <a:pt x="1695801" y="3001319"/>
                  <a:pt x="1696429" y="3000691"/>
                  <a:pt x="1697183" y="3000691"/>
                </a:cubicBezTo>
                <a:close/>
                <a:moveTo>
                  <a:pt x="2108820" y="2989510"/>
                </a:moveTo>
                <a:cubicBezTo>
                  <a:pt x="2109072" y="2989510"/>
                  <a:pt x="2109447" y="2989761"/>
                  <a:pt x="2109447" y="2990138"/>
                </a:cubicBezTo>
                <a:cubicBezTo>
                  <a:pt x="2109447" y="2990390"/>
                  <a:pt x="2109197" y="2990765"/>
                  <a:pt x="2108820" y="2990765"/>
                </a:cubicBezTo>
                <a:cubicBezTo>
                  <a:pt x="2108444" y="2990765"/>
                  <a:pt x="2108192" y="2990515"/>
                  <a:pt x="2108192" y="2990138"/>
                </a:cubicBezTo>
                <a:cubicBezTo>
                  <a:pt x="2108192" y="2989887"/>
                  <a:pt x="2108444" y="2989510"/>
                  <a:pt x="2108820" y="2989510"/>
                </a:cubicBezTo>
                <a:close/>
                <a:moveTo>
                  <a:pt x="1781596" y="2987877"/>
                </a:moveTo>
                <a:cubicBezTo>
                  <a:pt x="1782349" y="2987877"/>
                  <a:pt x="1782979" y="2988380"/>
                  <a:pt x="1782979" y="2989135"/>
                </a:cubicBezTo>
                <a:cubicBezTo>
                  <a:pt x="1782979" y="2989888"/>
                  <a:pt x="1782349" y="2990516"/>
                  <a:pt x="1781596" y="2990516"/>
                </a:cubicBezTo>
                <a:cubicBezTo>
                  <a:pt x="1780842" y="2990516"/>
                  <a:pt x="1780214" y="2989888"/>
                  <a:pt x="1780214" y="2989135"/>
                </a:cubicBezTo>
                <a:cubicBezTo>
                  <a:pt x="1780214" y="2988505"/>
                  <a:pt x="1780842" y="2987877"/>
                  <a:pt x="1781596" y="2987877"/>
                </a:cubicBezTo>
                <a:close/>
                <a:moveTo>
                  <a:pt x="2340852" y="2979519"/>
                </a:moveTo>
                <a:cubicBezTo>
                  <a:pt x="2341229" y="2979519"/>
                  <a:pt x="2341607" y="2979771"/>
                  <a:pt x="2341607" y="2980147"/>
                </a:cubicBezTo>
                <a:cubicBezTo>
                  <a:pt x="2341480" y="2980524"/>
                  <a:pt x="2341229" y="2980774"/>
                  <a:pt x="2340852" y="2980774"/>
                </a:cubicBezTo>
                <a:cubicBezTo>
                  <a:pt x="2340475" y="2980774"/>
                  <a:pt x="2340223" y="2980524"/>
                  <a:pt x="2340223" y="2980147"/>
                </a:cubicBezTo>
                <a:cubicBezTo>
                  <a:pt x="2340223" y="2979771"/>
                  <a:pt x="2340475" y="2979519"/>
                  <a:pt x="2340852" y="2979519"/>
                </a:cubicBezTo>
                <a:close/>
                <a:moveTo>
                  <a:pt x="1864879" y="2969789"/>
                </a:moveTo>
                <a:cubicBezTo>
                  <a:pt x="1865632" y="2969789"/>
                  <a:pt x="1866259" y="2970417"/>
                  <a:pt x="1866259" y="2971171"/>
                </a:cubicBezTo>
                <a:cubicBezTo>
                  <a:pt x="1866386" y="2971924"/>
                  <a:pt x="1865757" y="2972554"/>
                  <a:pt x="1865005" y="2972554"/>
                </a:cubicBezTo>
                <a:cubicBezTo>
                  <a:pt x="1864251" y="2972554"/>
                  <a:pt x="1863623" y="2971924"/>
                  <a:pt x="1863623" y="2971171"/>
                </a:cubicBezTo>
                <a:cubicBezTo>
                  <a:pt x="1863623" y="2970417"/>
                  <a:pt x="1864125" y="2969789"/>
                  <a:pt x="1864879" y="2969789"/>
                </a:cubicBezTo>
                <a:close/>
                <a:moveTo>
                  <a:pt x="2186577" y="2954463"/>
                </a:moveTo>
                <a:cubicBezTo>
                  <a:pt x="2186954" y="2954463"/>
                  <a:pt x="2187204" y="2954715"/>
                  <a:pt x="2187204" y="2955091"/>
                </a:cubicBezTo>
                <a:cubicBezTo>
                  <a:pt x="2187204" y="2955343"/>
                  <a:pt x="2186954" y="2955720"/>
                  <a:pt x="2186577" y="2955720"/>
                </a:cubicBezTo>
                <a:cubicBezTo>
                  <a:pt x="2186200" y="2955720"/>
                  <a:pt x="2185949" y="2955468"/>
                  <a:pt x="2185949" y="2955091"/>
                </a:cubicBezTo>
                <a:cubicBezTo>
                  <a:pt x="2185949" y="2954715"/>
                  <a:pt x="2186200" y="2954463"/>
                  <a:pt x="2186577" y="2954463"/>
                </a:cubicBezTo>
                <a:close/>
                <a:moveTo>
                  <a:pt x="1947029" y="2947053"/>
                </a:moveTo>
                <a:cubicBezTo>
                  <a:pt x="1947657" y="2947053"/>
                  <a:pt x="1948159" y="2947556"/>
                  <a:pt x="1948159" y="2948183"/>
                </a:cubicBezTo>
                <a:cubicBezTo>
                  <a:pt x="1948159" y="2948811"/>
                  <a:pt x="1947657" y="2949313"/>
                  <a:pt x="1947029" y="2949313"/>
                </a:cubicBezTo>
                <a:cubicBezTo>
                  <a:pt x="1946402" y="2949313"/>
                  <a:pt x="1945899" y="2948811"/>
                  <a:pt x="1945899" y="2948183"/>
                </a:cubicBezTo>
                <a:cubicBezTo>
                  <a:pt x="1945899" y="2947556"/>
                  <a:pt x="1946402" y="2947053"/>
                  <a:pt x="1947029" y="2947053"/>
                </a:cubicBezTo>
                <a:close/>
                <a:moveTo>
                  <a:pt x="2413200" y="2934380"/>
                </a:moveTo>
                <a:cubicBezTo>
                  <a:pt x="2413577" y="2934380"/>
                  <a:pt x="2413830" y="2934631"/>
                  <a:pt x="2413830" y="2935008"/>
                </a:cubicBezTo>
                <a:cubicBezTo>
                  <a:pt x="2413830" y="2935385"/>
                  <a:pt x="2413577" y="2935635"/>
                  <a:pt x="2413200" y="2935635"/>
                </a:cubicBezTo>
                <a:cubicBezTo>
                  <a:pt x="2412824" y="2935635"/>
                  <a:pt x="2412446" y="2935385"/>
                  <a:pt x="2412446" y="2935008"/>
                </a:cubicBezTo>
                <a:cubicBezTo>
                  <a:pt x="2412572" y="2934631"/>
                  <a:pt x="2412824" y="2934380"/>
                  <a:pt x="2413200" y="2934380"/>
                </a:cubicBezTo>
                <a:close/>
                <a:moveTo>
                  <a:pt x="2027550" y="2917782"/>
                </a:moveTo>
                <a:cubicBezTo>
                  <a:pt x="2028932" y="2917782"/>
                  <a:pt x="2030062" y="2918787"/>
                  <a:pt x="2030062" y="2920169"/>
                </a:cubicBezTo>
                <a:cubicBezTo>
                  <a:pt x="2030062" y="2921551"/>
                  <a:pt x="2029057" y="2922682"/>
                  <a:pt x="2027675" y="2922682"/>
                </a:cubicBezTo>
                <a:cubicBezTo>
                  <a:pt x="2026293" y="2922682"/>
                  <a:pt x="2025163" y="2921677"/>
                  <a:pt x="2025163" y="2920295"/>
                </a:cubicBezTo>
                <a:cubicBezTo>
                  <a:pt x="2025163" y="2919039"/>
                  <a:pt x="2026293" y="2917908"/>
                  <a:pt x="2027550" y="2917782"/>
                </a:cubicBezTo>
                <a:close/>
                <a:moveTo>
                  <a:pt x="2262194" y="2915021"/>
                </a:moveTo>
                <a:cubicBezTo>
                  <a:pt x="2262571" y="2915021"/>
                  <a:pt x="2262823" y="2915273"/>
                  <a:pt x="2262823" y="2915649"/>
                </a:cubicBezTo>
                <a:cubicBezTo>
                  <a:pt x="2262823" y="2916026"/>
                  <a:pt x="2262571" y="2916278"/>
                  <a:pt x="2262194" y="2916278"/>
                </a:cubicBezTo>
                <a:cubicBezTo>
                  <a:pt x="2261943" y="2916278"/>
                  <a:pt x="2261566" y="2916026"/>
                  <a:pt x="2261566" y="2915649"/>
                </a:cubicBezTo>
                <a:cubicBezTo>
                  <a:pt x="2261566" y="2915273"/>
                  <a:pt x="2261818" y="2915021"/>
                  <a:pt x="2262194" y="2915021"/>
                </a:cubicBezTo>
                <a:close/>
                <a:moveTo>
                  <a:pt x="1526850" y="2912005"/>
                </a:moveTo>
                <a:cubicBezTo>
                  <a:pt x="1530115" y="2912005"/>
                  <a:pt x="1532880" y="2914643"/>
                  <a:pt x="1532880" y="2917909"/>
                </a:cubicBezTo>
                <a:cubicBezTo>
                  <a:pt x="1532880" y="2921299"/>
                  <a:pt x="1530115" y="2923938"/>
                  <a:pt x="1526850" y="2923938"/>
                </a:cubicBezTo>
                <a:cubicBezTo>
                  <a:pt x="1523458" y="2923938"/>
                  <a:pt x="1520820" y="2921299"/>
                  <a:pt x="1520820" y="2918034"/>
                </a:cubicBezTo>
                <a:cubicBezTo>
                  <a:pt x="1520820" y="2914768"/>
                  <a:pt x="1523458" y="2912005"/>
                  <a:pt x="1526850" y="2912005"/>
                </a:cubicBezTo>
                <a:close/>
                <a:moveTo>
                  <a:pt x="1612017" y="2909746"/>
                </a:moveTo>
                <a:cubicBezTo>
                  <a:pt x="1614906" y="2909619"/>
                  <a:pt x="1617166" y="2912006"/>
                  <a:pt x="1617166" y="2914770"/>
                </a:cubicBezTo>
                <a:cubicBezTo>
                  <a:pt x="1617166" y="2917658"/>
                  <a:pt x="1615031" y="2919919"/>
                  <a:pt x="1612142" y="2919919"/>
                </a:cubicBezTo>
                <a:cubicBezTo>
                  <a:pt x="1609254" y="2920045"/>
                  <a:pt x="1606992" y="2917784"/>
                  <a:pt x="1606992" y="2914895"/>
                </a:cubicBezTo>
                <a:cubicBezTo>
                  <a:pt x="1606992" y="2912131"/>
                  <a:pt x="1609254" y="2909871"/>
                  <a:pt x="1612017" y="2909746"/>
                </a:cubicBezTo>
                <a:close/>
                <a:moveTo>
                  <a:pt x="1441556" y="2908739"/>
                </a:moveTo>
                <a:cubicBezTo>
                  <a:pt x="1445325" y="2908739"/>
                  <a:pt x="1448465" y="2911754"/>
                  <a:pt x="1448465" y="2915523"/>
                </a:cubicBezTo>
                <a:cubicBezTo>
                  <a:pt x="1448590" y="2919290"/>
                  <a:pt x="1445450" y="2922430"/>
                  <a:pt x="1441681" y="2922430"/>
                </a:cubicBezTo>
                <a:cubicBezTo>
                  <a:pt x="1437913" y="2922430"/>
                  <a:pt x="1434773" y="2919416"/>
                  <a:pt x="1434773" y="2915648"/>
                </a:cubicBezTo>
                <a:cubicBezTo>
                  <a:pt x="1434647" y="2911754"/>
                  <a:pt x="1437788" y="2908739"/>
                  <a:pt x="1441556" y="2908739"/>
                </a:cubicBezTo>
                <a:close/>
                <a:moveTo>
                  <a:pt x="1696805" y="2902207"/>
                </a:moveTo>
                <a:cubicBezTo>
                  <a:pt x="1699192" y="2902207"/>
                  <a:pt x="1701077" y="2904092"/>
                  <a:pt x="1701077" y="2906352"/>
                </a:cubicBezTo>
                <a:cubicBezTo>
                  <a:pt x="1701077" y="2908739"/>
                  <a:pt x="1699192" y="2910624"/>
                  <a:pt x="1696930" y="2910624"/>
                </a:cubicBezTo>
                <a:cubicBezTo>
                  <a:pt x="1694545" y="2910749"/>
                  <a:pt x="1692660" y="2908739"/>
                  <a:pt x="1692660" y="2906479"/>
                </a:cubicBezTo>
                <a:cubicBezTo>
                  <a:pt x="1692660" y="2904092"/>
                  <a:pt x="1694545" y="2902207"/>
                  <a:pt x="1696805" y="2902207"/>
                </a:cubicBezTo>
                <a:close/>
                <a:moveTo>
                  <a:pt x="1356767" y="2900575"/>
                </a:moveTo>
                <a:cubicBezTo>
                  <a:pt x="1360536" y="2900575"/>
                  <a:pt x="1363801" y="2903715"/>
                  <a:pt x="1363801" y="2907610"/>
                </a:cubicBezTo>
                <a:cubicBezTo>
                  <a:pt x="1363801" y="2911504"/>
                  <a:pt x="1360661" y="2914769"/>
                  <a:pt x="1356767" y="2914769"/>
                </a:cubicBezTo>
                <a:cubicBezTo>
                  <a:pt x="1352747" y="2914769"/>
                  <a:pt x="1349607" y="2911629"/>
                  <a:pt x="1349607" y="2907735"/>
                </a:cubicBezTo>
                <a:cubicBezTo>
                  <a:pt x="1349607" y="2903841"/>
                  <a:pt x="1352747" y="2900575"/>
                  <a:pt x="1356767" y="2900575"/>
                </a:cubicBezTo>
                <a:close/>
                <a:moveTo>
                  <a:pt x="1781094" y="2888766"/>
                </a:moveTo>
                <a:cubicBezTo>
                  <a:pt x="1783230" y="2888766"/>
                  <a:pt x="1784863" y="2890399"/>
                  <a:pt x="1784863" y="2892535"/>
                </a:cubicBezTo>
                <a:cubicBezTo>
                  <a:pt x="1784863" y="2894671"/>
                  <a:pt x="1783230" y="2896303"/>
                  <a:pt x="1781094" y="2896303"/>
                </a:cubicBezTo>
                <a:cubicBezTo>
                  <a:pt x="1778958" y="2896303"/>
                  <a:pt x="1777326" y="2894671"/>
                  <a:pt x="1777326" y="2892535"/>
                </a:cubicBezTo>
                <a:cubicBezTo>
                  <a:pt x="1777199" y="2890524"/>
                  <a:pt x="1778958" y="2888766"/>
                  <a:pt x="1781094" y="2888766"/>
                </a:cubicBezTo>
                <a:close/>
                <a:moveTo>
                  <a:pt x="1272353" y="2887510"/>
                </a:moveTo>
                <a:cubicBezTo>
                  <a:pt x="1276121" y="2887385"/>
                  <a:pt x="1279261" y="2890525"/>
                  <a:pt x="1279261" y="2894292"/>
                </a:cubicBezTo>
                <a:cubicBezTo>
                  <a:pt x="1279261" y="2898061"/>
                  <a:pt x="1276246" y="2901201"/>
                  <a:pt x="1272479" y="2901201"/>
                </a:cubicBezTo>
                <a:cubicBezTo>
                  <a:pt x="1268709" y="2901201"/>
                  <a:pt x="1265569" y="2898187"/>
                  <a:pt x="1265569" y="2894419"/>
                </a:cubicBezTo>
                <a:cubicBezTo>
                  <a:pt x="1265569" y="2890650"/>
                  <a:pt x="1268584" y="2887510"/>
                  <a:pt x="1272353" y="2887510"/>
                </a:cubicBezTo>
                <a:close/>
                <a:moveTo>
                  <a:pt x="2106435" y="2886128"/>
                </a:moveTo>
                <a:cubicBezTo>
                  <a:pt x="2107189" y="2886128"/>
                  <a:pt x="2107942" y="2886756"/>
                  <a:pt x="2107942" y="2887636"/>
                </a:cubicBezTo>
                <a:cubicBezTo>
                  <a:pt x="2107942" y="2888390"/>
                  <a:pt x="2107315" y="2889143"/>
                  <a:pt x="2106435" y="2889143"/>
                </a:cubicBezTo>
                <a:cubicBezTo>
                  <a:pt x="2105555" y="2889143"/>
                  <a:pt x="2104802" y="2888515"/>
                  <a:pt x="2104802" y="2887636"/>
                </a:cubicBezTo>
                <a:cubicBezTo>
                  <a:pt x="2104802" y="2886883"/>
                  <a:pt x="2105555" y="2886128"/>
                  <a:pt x="2106435" y="2886128"/>
                </a:cubicBezTo>
                <a:close/>
                <a:moveTo>
                  <a:pt x="2483053" y="2885373"/>
                </a:moveTo>
                <a:cubicBezTo>
                  <a:pt x="2483430" y="2885373"/>
                  <a:pt x="2483682" y="2885625"/>
                  <a:pt x="2483682" y="2886001"/>
                </a:cubicBezTo>
                <a:cubicBezTo>
                  <a:pt x="2483682" y="2886253"/>
                  <a:pt x="2483430" y="2886630"/>
                  <a:pt x="2483053" y="2886630"/>
                </a:cubicBezTo>
                <a:cubicBezTo>
                  <a:pt x="2482677" y="2886630"/>
                  <a:pt x="2482425" y="2886378"/>
                  <a:pt x="2482425" y="2886001"/>
                </a:cubicBezTo>
                <a:cubicBezTo>
                  <a:pt x="2482425" y="2885625"/>
                  <a:pt x="2482677" y="2885373"/>
                  <a:pt x="2483053" y="2885373"/>
                </a:cubicBezTo>
                <a:close/>
                <a:moveTo>
                  <a:pt x="2335429" y="2871432"/>
                </a:moveTo>
                <a:cubicBezTo>
                  <a:pt x="2335806" y="2871432"/>
                  <a:pt x="2336058" y="2871684"/>
                  <a:pt x="2336058" y="2872060"/>
                </a:cubicBezTo>
                <a:cubicBezTo>
                  <a:pt x="2336058" y="2872437"/>
                  <a:pt x="2335806" y="2872689"/>
                  <a:pt x="2335429" y="2872689"/>
                </a:cubicBezTo>
                <a:cubicBezTo>
                  <a:pt x="2335053" y="2872689"/>
                  <a:pt x="2334801" y="2872437"/>
                  <a:pt x="2334801" y="2872060"/>
                </a:cubicBezTo>
                <a:cubicBezTo>
                  <a:pt x="2334801" y="2871684"/>
                  <a:pt x="2335053" y="2871432"/>
                  <a:pt x="2335429" y="2871432"/>
                </a:cubicBezTo>
                <a:close/>
                <a:moveTo>
                  <a:pt x="1864125" y="2869549"/>
                </a:moveTo>
                <a:cubicBezTo>
                  <a:pt x="1866262" y="2869549"/>
                  <a:pt x="1867895" y="2871307"/>
                  <a:pt x="1867895" y="2873319"/>
                </a:cubicBezTo>
                <a:cubicBezTo>
                  <a:pt x="1867895" y="2875454"/>
                  <a:pt x="1866135" y="2877087"/>
                  <a:pt x="1864125" y="2877087"/>
                </a:cubicBezTo>
                <a:cubicBezTo>
                  <a:pt x="1862115" y="2877087"/>
                  <a:pt x="1860356" y="2875454"/>
                  <a:pt x="1860356" y="2873319"/>
                </a:cubicBezTo>
                <a:cubicBezTo>
                  <a:pt x="1860356" y="2871182"/>
                  <a:pt x="1861989" y="2869549"/>
                  <a:pt x="1864125" y="2869549"/>
                </a:cubicBezTo>
                <a:close/>
                <a:moveTo>
                  <a:pt x="1189323" y="2869549"/>
                </a:moveTo>
                <a:cubicBezTo>
                  <a:pt x="1192713" y="2869549"/>
                  <a:pt x="1195478" y="2872314"/>
                  <a:pt x="1195478" y="2875704"/>
                </a:cubicBezTo>
                <a:cubicBezTo>
                  <a:pt x="1195478" y="2879096"/>
                  <a:pt x="1192713" y="2881859"/>
                  <a:pt x="1189323" y="2881859"/>
                </a:cubicBezTo>
                <a:cubicBezTo>
                  <a:pt x="1185805" y="2881859"/>
                  <a:pt x="1183041" y="2879096"/>
                  <a:pt x="1183041" y="2875704"/>
                </a:cubicBezTo>
                <a:cubicBezTo>
                  <a:pt x="1183041" y="2872314"/>
                  <a:pt x="1185805" y="2869549"/>
                  <a:pt x="1189323" y="2869549"/>
                </a:cubicBezTo>
                <a:close/>
                <a:moveTo>
                  <a:pt x="2182937" y="2848067"/>
                </a:moveTo>
                <a:cubicBezTo>
                  <a:pt x="2184319" y="2847942"/>
                  <a:pt x="2185449" y="2849072"/>
                  <a:pt x="2185449" y="2850455"/>
                </a:cubicBezTo>
                <a:cubicBezTo>
                  <a:pt x="2185449" y="2851711"/>
                  <a:pt x="2184444" y="2852842"/>
                  <a:pt x="2183063" y="2852842"/>
                </a:cubicBezTo>
                <a:cubicBezTo>
                  <a:pt x="2181807" y="2852842"/>
                  <a:pt x="2180676" y="2851837"/>
                  <a:pt x="2180676" y="2850455"/>
                </a:cubicBezTo>
                <a:cubicBezTo>
                  <a:pt x="2180676" y="2849072"/>
                  <a:pt x="2181807" y="2847942"/>
                  <a:pt x="2182937" y="2848067"/>
                </a:cubicBezTo>
                <a:close/>
                <a:moveTo>
                  <a:pt x="1107422" y="2843796"/>
                </a:moveTo>
                <a:cubicBezTo>
                  <a:pt x="1111692" y="2843796"/>
                  <a:pt x="1115210" y="2847313"/>
                  <a:pt x="1115210" y="2851584"/>
                </a:cubicBezTo>
                <a:cubicBezTo>
                  <a:pt x="1115210" y="2855855"/>
                  <a:pt x="1111818" y="2859373"/>
                  <a:pt x="1107547" y="2859373"/>
                </a:cubicBezTo>
                <a:cubicBezTo>
                  <a:pt x="1103276" y="2859498"/>
                  <a:pt x="1099758" y="2855981"/>
                  <a:pt x="1099758" y="2851710"/>
                </a:cubicBezTo>
                <a:cubicBezTo>
                  <a:pt x="1099633" y="2847439"/>
                  <a:pt x="1103150" y="2844048"/>
                  <a:pt x="1107422" y="2843796"/>
                </a:cubicBezTo>
                <a:close/>
                <a:moveTo>
                  <a:pt x="1945774" y="2842288"/>
                </a:moveTo>
                <a:cubicBezTo>
                  <a:pt x="1949291" y="2842288"/>
                  <a:pt x="1952181" y="2845177"/>
                  <a:pt x="1952181" y="2848694"/>
                </a:cubicBezTo>
                <a:cubicBezTo>
                  <a:pt x="1952181" y="2852211"/>
                  <a:pt x="1949291" y="2855099"/>
                  <a:pt x="1945774" y="2855099"/>
                </a:cubicBezTo>
                <a:cubicBezTo>
                  <a:pt x="1942257" y="2855099"/>
                  <a:pt x="1939367" y="2852211"/>
                  <a:pt x="1939367" y="2848694"/>
                </a:cubicBezTo>
                <a:cubicBezTo>
                  <a:pt x="1939242" y="2845177"/>
                  <a:pt x="1942131" y="2842288"/>
                  <a:pt x="1945774" y="2842288"/>
                </a:cubicBezTo>
                <a:close/>
                <a:moveTo>
                  <a:pt x="2550112" y="2832866"/>
                </a:moveTo>
                <a:cubicBezTo>
                  <a:pt x="2550364" y="2832866"/>
                  <a:pt x="2550739" y="2833117"/>
                  <a:pt x="2550739" y="2833494"/>
                </a:cubicBezTo>
                <a:cubicBezTo>
                  <a:pt x="2550739" y="2833871"/>
                  <a:pt x="2550489" y="2834121"/>
                  <a:pt x="2550112" y="2834121"/>
                </a:cubicBezTo>
                <a:cubicBezTo>
                  <a:pt x="2549861" y="2834121"/>
                  <a:pt x="2549484" y="2833871"/>
                  <a:pt x="2549484" y="2833494"/>
                </a:cubicBezTo>
                <a:cubicBezTo>
                  <a:pt x="2549484" y="2833117"/>
                  <a:pt x="2549861" y="2832866"/>
                  <a:pt x="2550112" y="2832866"/>
                </a:cubicBezTo>
                <a:close/>
                <a:moveTo>
                  <a:pt x="2406151" y="2823573"/>
                </a:moveTo>
                <a:cubicBezTo>
                  <a:pt x="2406654" y="2823573"/>
                  <a:pt x="2407030" y="2823951"/>
                  <a:pt x="2407030" y="2824453"/>
                </a:cubicBezTo>
                <a:cubicBezTo>
                  <a:pt x="2407030" y="2824956"/>
                  <a:pt x="2406654" y="2825332"/>
                  <a:pt x="2406151" y="2825332"/>
                </a:cubicBezTo>
                <a:cubicBezTo>
                  <a:pt x="2405649" y="2825332"/>
                  <a:pt x="2405271" y="2824956"/>
                  <a:pt x="2405271" y="2824453"/>
                </a:cubicBezTo>
                <a:cubicBezTo>
                  <a:pt x="2405271" y="2823951"/>
                  <a:pt x="2405774" y="2823573"/>
                  <a:pt x="2406151" y="2823573"/>
                </a:cubicBezTo>
                <a:close/>
                <a:moveTo>
                  <a:pt x="1027151" y="2814905"/>
                </a:moveTo>
                <a:cubicBezTo>
                  <a:pt x="1031423" y="2814780"/>
                  <a:pt x="1034940" y="2818297"/>
                  <a:pt x="1034940" y="2822569"/>
                </a:cubicBezTo>
                <a:cubicBezTo>
                  <a:pt x="1034940" y="2826839"/>
                  <a:pt x="1031548" y="2830356"/>
                  <a:pt x="1027276" y="2830356"/>
                </a:cubicBezTo>
                <a:cubicBezTo>
                  <a:pt x="1023006" y="2830356"/>
                  <a:pt x="1019489" y="2826966"/>
                  <a:pt x="1019489" y="2822694"/>
                </a:cubicBezTo>
                <a:cubicBezTo>
                  <a:pt x="1019489" y="2818297"/>
                  <a:pt x="1023006" y="2814905"/>
                  <a:pt x="1027151" y="2814905"/>
                </a:cubicBezTo>
                <a:close/>
                <a:moveTo>
                  <a:pt x="1526472" y="2814026"/>
                </a:moveTo>
                <a:cubicBezTo>
                  <a:pt x="1531370" y="2813901"/>
                  <a:pt x="1535389" y="2817920"/>
                  <a:pt x="1535389" y="2822819"/>
                </a:cubicBezTo>
                <a:cubicBezTo>
                  <a:pt x="1535389" y="2827717"/>
                  <a:pt x="1531496" y="2831737"/>
                  <a:pt x="1526597" y="2831737"/>
                </a:cubicBezTo>
                <a:cubicBezTo>
                  <a:pt x="1521698" y="2831863"/>
                  <a:pt x="1517678" y="2827844"/>
                  <a:pt x="1517678" y="2822945"/>
                </a:cubicBezTo>
                <a:cubicBezTo>
                  <a:pt x="1517553" y="2818171"/>
                  <a:pt x="1521572" y="2814151"/>
                  <a:pt x="1526472" y="2814026"/>
                </a:cubicBezTo>
                <a:close/>
                <a:moveTo>
                  <a:pt x="2025790" y="2813776"/>
                </a:moveTo>
                <a:cubicBezTo>
                  <a:pt x="2028680" y="2813776"/>
                  <a:pt x="2031065" y="2816161"/>
                  <a:pt x="2031065" y="2819050"/>
                </a:cubicBezTo>
                <a:cubicBezTo>
                  <a:pt x="2031065" y="2821940"/>
                  <a:pt x="2028680" y="2824327"/>
                  <a:pt x="2025790" y="2824327"/>
                </a:cubicBezTo>
                <a:cubicBezTo>
                  <a:pt x="2022775" y="2824327"/>
                  <a:pt x="2020388" y="2821940"/>
                  <a:pt x="2020388" y="2819050"/>
                </a:cubicBezTo>
                <a:cubicBezTo>
                  <a:pt x="2020388" y="2816036"/>
                  <a:pt x="2022650" y="2813649"/>
                  <a:pt x="2025790" y="2813776"/>
                </a:cubicBezTo>
                <a:close/>
                <a:moveTo>
                  <a:pt x="1611639" y="2811640"/>
                </a:moveTo>
                <a:cubicBezTo>
                  <a:pt x="1616162" y="2811640"/>
                  <a:pt x="1619804" y="2815283"/>
                  <a:pt x="1619804" y="2819806"/>
                </a:cubicBezTo>
                <a:cubicBezTo>
                  <a:pt x="1619804" y="2824329"/>
                  <a:pt x="1616162" y="2827972"/>
                  <a:pt x="1611639" y="2827972"/>
                </a:cubicBezTo>
                <a:cubicBezTo>
                  <a:pt x="1607117" y="2827972"/>
                  <a:pt x="1603474" y="2824329"/>
                  <a:pt x="1603474" y="2819806"/>
                </a:cubicBezTo>
                <a:cubicBezTo>
                  <a:pt x="1603474" y="2815283"/>
                  <a:pt x="1607117" y="2811515"/>
                  <a:pt x="1611639" y="2811640"/>
                </a:cubicBezTo>
                <a:close/>
                <a:moveTo>
                  <a:pt x="1441179" y="2810760"/>
                </a:moveTo>
                <a:cubicBezTo>
                  <a:pt x="1446454" y="2810635"/>
                  <a:pt x="1450726" y="2814905"/>
                  <a:pt x="1450726" y="2820181"/>
                </a:cubicBezTo>
                <a:cubicBezTo>
                  <a:pt x="1450851" y="2825456"/>
                  <a:pt x="1446581" y="2829728"/>
                  <a:pt x="1441305" y="2829728"/>
                </a:cubicBezTo>
                <a:cubicBezTo>
                  <a:pt x="1436028" y="2829853"/>
                  <a:pt x="1431758" y="2825583"/>
                  <a:pt x="1431758" y="2820307"/>
                </a:cubicBezTo>
                <a:cubicBezTo>
                  <a:pt x="1431758" y="2815157"/>
                  <a:pt x="1436028" y="2810885"/>
                  <a:pt x="1441179" y="2810760"/>
                </a:cubicBezTo>
                <a:close/>
                <a:moveTo>
                  <a:pt x="2257423" y="2807494"/>
                </a:moveTo>
                <a:cubicBezTo>
                  <a:pt x="2258051" y="2807494"/>
                  <a:pt x="2258555" y="2807997"/>
                  <a:pt x="2258555" y="2808624"/>
                </a:cubicBezTo>
                <a:cubicBezTo>
                  <a:pt x="2258555" y="2809252"/>
                  <a:pt x="2258051" y="2809754"/>
                  <a:pt x="2257423" y="2809754"/>
                </a:cubicBezTo>
                <a:cubicBezTo>
                  <a:pt x="2256796" y="2809754"/>
                  <a:pt x="2256293" y="2809252"/>
                  <a:pt x="2256293" y="2808624"/>
                </a:cubicBezTo>
                <a:cubicBezTo>
                  <a:pt x="2256293" y="2807997"/>
                  <a:pt x="2256796" y="2807494"/>
                  <a:pt x="2257423" y="2807494"/>
                </a:cubicBezTo>
                <a:close/>
                <a:moveTo>
                  <a:pt x="1696430" y="2802847"/>
                </a:moveTo>
                <a:cubicBezTo>
                  <a:pt x="1700701" y="2802722"/>
                  <a:pt x="1704219" y="2806239"/>
                  <a:pt x="1704219" y="2810511"/>
                </a:cubicBezTo>
                <a:cubicBezTo>
                  <a:pt x="1704344" y="2814781"/>
                  <a:pt x="1700827" y="2818299"/>
                  <a:pt x="1696555" y="2818299"/>
                </a:cubicBezTo>
                <a:cubicBezTo>
                  <a:pt x="1692285" y="2818424"/>
                  <a:pt x="1688767" y="2814907"/>
                  <a:pt x="1688767" y="2810636"/>
                </a:cubicBezTo>
                <a:cubicBezTo>
                  <a:pt x="1688767" y="2806364"/>
                  <a:pt x="1692159" y="2802847"/>
                  <a:pt x="1696430" y="2802847"/>
                </a:cubicBezTo>
                <a:close/>
                <a:moveTo>
                  <a:pt x="1356389" y="2802092"/>
                </a:moveTo>
                <a:cubicBezTo>
                  <a:pt x="1361790" y="2802092"/>
                  <a:pt x="1366187" y="2806363"/>
                  <a:pt x="1366187" y="2811764"/>
                </a:cubicBezTo>
                <a:cubicBezTo>
                  <a:pt x="1366187" y="2817166"/>
                  <a:pt x="1361915" y="2821563"/>
                  <a:pt x="1356514" y="2821563"/>
                </a:cubicBezTo>
                <a:cubicBezTo>
                  <a:pt x="1351114" y="2821688"/>
                  <a:pt x="1346717" y="2817291"/>
                  <a:pt x="1346717" y="2811890"/>
                </a:cubicBezTo>
                <a:cubicBezTo>
                  <a:pt x="1346717" y="2806489"/>
                  <a:pt x="1350989" y="2802092"/>
                  <a:pt x="1356389" y="2802092"/>
                </a:cubicBezTo>
                <a:close/>
                <a:moveTo>
                  <a:pt x="1780465" y="2788150"/>
                </a:moveTo>
                <a:cubicBezTo>
                  <a:pt x="1784610" y="2788150"/>
                  <a:pt x="1788002" y="2791542"/>
                  <a:pt x="1788002" y="2795686"/>
                </a:cubicBezTo>
                <a:cubicBezTo>
                  <a:pt x="1788002" y="2799831"/>
                  <a:pt x="1784610" y="2803223"/>
                  <a:pt x="1780465" y="2803223"/>
                </a:cubicBezTo>
                <a:cubicBezTo>
                  <a:pt x="1776319" y="2803223"/>
                  <a:pt x="1772928" y="2799831"/>
                  <a:pt x="1772928" y="2795686"/>
                </a:cubicBezTo>
                <a:cubicBezTo>
                  <a:pt x="1772802" y="2791542"/>
                  <a:pt x="1776193" y="2788150"/>
                  <a:pt x="1780465" y="2788150"/>
                </a:cubicBezTo>
                <a:close/>
                <a:moveTo>
                  <a:pt x="1272353" y="2787649"/>
                </a:moveTo>
                <a:cubicBezTo>
                  <a:pt x="1277880" y="2787649"/>
                  <a:pt x="1282403" y="2792045"/>
                  <a:pt x="1282403" y="2797572"/>
                </a:cubicBezTo>
                <a:cubicBezTo>
                  <a:pt x="1282403" y="2802972"/>
                  <a:pt x="1278006" y="2807494"/>
                  <a:pt x="1272479" y="2807494"/>
                </a:cubicBezTo>
                <a:cubicBezTo>
                  <a:pt x="1266951" y="2807494"/>
                  <a:pt x="1262429" y="2803099"/>
                  <a:pt x="1262429" y="2797572"/>
                </a:cubicBezTo>
                <a:cubicBezTo>
                  <a:pt x="1262429" y="2792045"/>
                  <a:pt x="1266826" y="2787524"/>
                  <a:pt x="1272353" y="2787649"/>
                </a:cubicBezTo>
                <a:close/>
                <a:moveTo>
                  <a:pt x="949144" y="2782874"/>
                </a:moveTo>
                <a:cubicBezTo>
                  <a:pt x="952159" y="2782874"/>
                  <a:pt x="954671" y="2785387"/>
                  <a:pt x="954671" y="2788401"/>
                </a:cubicBezTo>
                <a:cubicBezTo>
                  <a:pt x="954671" y="2791416"/>
                  <a:pt x="952159" y="2793928"/>
                  <a:pt x="949144" y="2793928"/>
                </a:cubicBezTo>
                <a:cubicBezTo>
                  <a:pt x="946130" y="2793928"/>
                  <a:pt x="943618" y="2791416"/>
                  <a:pt x="943618" y="2788401"/>
                </a:cubicBezTo>
                <a:cubicBezTo>
                  <a:pt x="943618" y="2785261"/>
                  <a:pt x="946130" y="2782874"/>
                  <a:pt x="949144" y="2782874"/>
                </a:cubicBezTo>
                <a:close/>
                <a:moveTo>
                  <a:pt x="2103549" y="2780361"/>
                </a:moveTo>
                <a:cubicBezTo>
                  <a:pt x="2105685" y="2780361"/>
                  <a:pt x="2107318" y="2782119"/>
                  <a:pt x="2107318" y="2784130"/>
                </a:cubicBezTo>
                <a:cubicBezTo>
                  <a:pt x="2107318" y="2786266"/>
                  <a:pt x="2105558" y="2787898"/>
                  <a:pt x="2103549" y="2787898"/>
                </a:cubicBezTo>
                <a:cubicBezTo>
                  <a:pt x="2101538" y="2787898"/>
                  <a:pt x="2099779" y="2786266"/>
                  <a:pt x="2099779" y="2784130"/>
                </a:cubicBezTo>
                <a:cubicBezTo>
                  <a:pt x="2099779" y="2782119"/>
                  <a:pt x="2101412" y="2780361"/>
                  <a:pt x="2103549" y="2780361"/>
                </a:cubicBezTo>
                <a:close/>
                <a:moveTo>
                  <a:pt x="2474108" y="2772322"/>
                </a:moveTo>
                <a:cubicBezTo>
                  <a:pt x="2474485" y="2772322"/>
                  <a:pt x="2474735" y="2772574"/>
                  <a:pt x="2474735" y="2772950"/>
                </a:cubicBezTo>
                <a:cubicBezTo>
                  <a:pt x="2474735" y="2773327"/>
                  <a:pt x="2474485" y="2773579"/>
                  <a:pt x="2474108" y="2773579"/>
                </a:cubicBezTo>
                <a:cubicBezTo>
                  <a:pt x="2473731" y="2773579"/>
                  <a:pt x="2473480" y="2773327"/>
                  <a:pt x="2473480" y="2772950"/>
                </a:cubicBezTo>
                <a:cubicBezTo>
                  <a:pt x="2473480" y="2772574"/>
                  <a:pt x="2473731" y="2772322"/>
                  <a:pt x="2474108" y="2772322"/>
                </a:cubicBezTo>
                <a:close/>
                <a:moveTo>
                  <a:pt x="1189447" y="2768428"/>
                </a:moveTo>
                <a:cubicBezTo>
                  <a:pt x="1194471" y="2768428"/>
                  <a:pt x="1198616" y="2772448"/>
                  <a:pt x="1198616" y="2777472"/>
                </a:cubicBezTo>
                <a:cubicBezTo>
                  <a:pt x="1198616" y="2782371"/>
                  <a:pt x="1194597" y="2786516"/>
                  <a:pt x="1189572" y="2786516"/>
                </a:cubicBezTo>
                <a:cubicBezTo>
                  <a:pt x="1184548" y="2786516"/>
                  <a:pt x="1180403" y="2782497"/>
                  <a:pt x="1180403" y="2777472"/>
                </a:cubicBezTo>
                <a:cubicBezTo>
                  <a:pt x="1180403" y="2772448"/>
                  <a:pt x="1184548" y="2768303"/>
                  <a:pt x="1189447" y="2768428"/>
                </a:cubicBezTo>
                <a:close/>
                <a:moveTo>
                  <a:pt x="1863121" y="2767422"/>
                </a:moveTo>
                <a:cubicBezTo>
                  <a:pt x="1867266" y="2767422"/>
                  <a:pt x="1870658" y="2770814"/>
                  <a:pt x="1870658" y="2774958"/>
                </a:cubicBezTo>
                <a:cubicBezTo>
                  <a:pt x="1870658" y="2779103"/>
                  <a:pt x="1867266" y="2782495"/>
                  <a:pt x="1863121" y="2782495"/>
                </a:cubicBezTo>
                <a:cubicBezTo>
                  <a:pt x="1858976" y="2782495"/>
                  <a:pt x="1855584" y="2779103"/>
                  <a:pt x="1855584" y="2774958"/>
                </a:cubicBezTo>
                <a:cubicBezTo>
                  <a:pt x="1855584" y="2770814"/>
                  <a:pt x="1858976" y="2767422"/>
                  <a:pt x="1863121" y="2767422"/>
                </a:cubicBezTo>
                <a:close/>
                <a:moveTo>
                  <a:pt x="2329151" y="2761393"/>
                </a:moveTo>
                <a:cubicBezTo>
                  <a:pt x="2329779" y="2761393"/>
                  <a:pt x="2330281" y="2761896"/>
                  <a:pt x="2330281" y="2762523"/>
                </a:cubicBezTo>
                <a:cubicBezTo>
                  <a:pt x="2330281" y="2763151"/>
                  <a:pt x="2329779" y="2763653"/>
                  <a:pt x="2329151" y="2763653"/>
                </a:cubicBezTo>
                <a:cubicBezTo>
                  <a:pt x="2328524" y="2763653"/>
                  <a:pt x="2328021" y="2763151"/>
                  <a:pt x="2328021" y="2762523"/>
                </a:cubicBezTo>
                <a:cubicBezTo>
                  <a:pt x="2328021" y="2761896"/>
                  <a:pt x="2328524" y="2761393"/>
                  <a:pt x="2329151" y="2761393"/>
                </a:cubicBezTo>
                <a:close/>
                <a:moveTo>
                  <a:pt x="873401" y="2744309"/>
                </a:moveTo>
                <a:cubicBezTo>
                  <a:pt x="876164" y="2744309"/>
                  <a:pt x="878299" y="2746570"/>
                  <a:pt x="878299" y="2749208"/>
                </a:cubicBezTo>
                <a:cubicBezTo>
                  <a:pt x="878299" y="2751846"/>
                  <a:pt x="876038" y="2754106"/>
                  <a:pt x="873401" y="2754106"/>
                </a:cubicBezTo>
                <a:cubicBezTo>
                  <a:pt x="870763" y="2754106"/>
                  <a:pt x="868502" y="2751846"/>
                  <a:pt x="868502" y="2749208"/>
                </a:cubicBezTo>
                <a:cubicBezTo>
                  <a:pt x="868627" y="2746444"/>
                  <a:pt x="870763" y="2744309"/>
                  <a:pt x="873401" y="2744309"/>
                </a:cubicBezTo>
                <a:close/>
                <a:moveTo>
                  <a:pt x="1108300" y="2742802"/>
                </a:moveTo>
                <a:cubicBezTo>
                  <a:pt x="1113073" y="2742802"/>
                  <a:pt x="1116967" y="2746697"/>
                  <a:pt x="1116967" y="2751469"/>
                </a:cubicBezTo>
                <a:cubicBezTo>
                  <a:pt x="1116967" y="2756244"/>
                  <a:pt x="1113073" y="2760137"/>
                  <a:pt x="1108300" y="2760137"/>
                </a:cubicBezTo>
                <a:cubicBezTo>
                  <a:pt x="1103526" y="2760263"/>
                  <a:pt x="1099631" y="2756369"/>
                  <a:pt x="1099631" y="2751595"/>
                </a:cubicBezTo>
                <a:cubicBezTo>
                  <a:pt x="1099506" y="2746822"/>
                  <a:pt x="1103401" y="2743053"/>
                  <a:pt x="1108300" y="2742802"/>
                </a:cubicBezTo>
                <a:close/>
                <a:moveTo>
                  <a:pt x="2178915" y="2738908"/>
                </a:moveTo>
                <a:cubicBezTo>
                  <a:pt x="2181929" y="2738908"/>
                  <a:pt x="2184442" y="2741421"/>
                  <a:pt x="2184442" y="2744435"/>
                </a:cubicBezTo>
                <a:cubicBezTo>
                  <a:pt x="2184442" y="2747450"/>
                  <a:pt x="2181929" y="2749962"/>
                  <a:pt x="2178915" y="2749962"/>
                </a:cubicBezTo>
                <a:cubicBezTo>
                  <a:pt x="2175900" y="2749962"/>
                  <a:pt x="2173388" y="2747575"/>
                  <a:pt x="2173388" y="2744435"/>
                </a:cubicBezTo>
                <a:cubicBezTo>
                  <a:pt x="2173388" y="2741421"/>
                  <a:pt x="2175900" y="2738908"/>
                  <a:pt x="2178915" y="2738908"/>
                </a:cubicBezTo>
                <a:close/>
                <a:moveTo>
                  <a:pt x="1944140" y="2738029"/>
                </a:moveTo>
                <a:cubicBezTo>
                  <a:pt x="1949918" y="2738029"/>
                  <a:pt x="1954566" y="2742677"/>
                  <a:pt x="1954566" y="2748456"/>
                </a:cubicBezTo>
                <a:cubicBezTo>
                  <a:pt x="1954692" y="2754233"/>
                  <a:pt x="1950043" y="2758882"/>
                  <a:pt x="1944266" y="2758882"/>
                </a:cubicBezTo>
                <a:cubicBezTo>
                  <a:pt x="1938487" y="2759007"/>
                  <a:pt x="1933839" y="2754360"/>
                  <a:pt x="1933839" y="2748581"/>
                </a:cubicBezTo>
                <a:cubicBezTo>
                  <a:pt x="1933839" y="2742929"/>
                  <a:pt x="1938361" y="2738155"/>
                  <a:pt x="1944140" y="2738029"/>
                </a:cubicBezTo>
                <a:close/>
                <a:moveTo>
                  <a:pt x="2539052" y="2717051"/>
                </a:moveTo>
                <a:cubicBezTo>
                  <a:pt x="2539429" y="2717051"/>
                  <a:pt x="2539679" y="2717303"/>
                  <a:pt x="2539679" y="2717679"/>
                </a:cubicBezTo>
                <a:cubicBezTo>
                  <a:pt x="2539679" y="2718056"/>
                  <a:pt x="2539429" y="2718306"/>
                  <a:pt x="2539052" y="2718306"/>
                </a:cubicBezTo>
                <a:cubicBezTo>
                  <a:pt x="2538676" y="2718306"/>
                  <a:pt x="2538424" y="2718056"/>
                  <a:pt x="2538424" y="2717679"/>
                </a:cubicBezTo>
                <a:cubicBezTo>
                  <a:pt x="2538424" y="2717303"/>
                  <a:pt x="2538676" y="2717051"/>
                  <a:pt x="2539052" y="2717051"/>
                </a:cubicBezTo>
                <a:close/>
                <a:moveTo>
                  <a:pt x="1526096" y="2716423"/>
                </a:moveTo>
                <a:cubicBezTo>
                  <a:pt x="1532501" y="2716423"/>
                  <a:pt x="1537653" y="2721448"/>
                  <a:pt x="1537653" y="2727855"/>
                </a:cubicBezTo>
                <a:cubicBezTo>
                  <a:pt x="1537653" y="2734260"/>
                  <a:pt x="1532628" y="2739412"/>
                  <a:pt x="1526221" y="2739412"/>
                </a:cubicBezTo>
                <a:cubicBezTo>
                  <a:pt x="1519814" y="2739412"/>
                  <a:pt x="1514664" y="2734387"/>
                  <a:pt x="1514664" y="2727980"/>
                </a:cubicBezTo>
                <a:cubicBezTo>
                  <a:pt x="1514664" y="2721699"/>
                  <a:pt x="1519689" y="2716423"/>
                  <a:pt x="1526096" y="2716423"/>
                </a:cubicBezTo>
                <a:close/>
                <a:moveTo>
                  <a:pt x="1440929" y="2713284"/>
                </a:moveTo>
                <a:cubicBezTo>
                  <a:pt x="1447461" y="2713284"/>
                  <a:pt x="1452738" y="2718434"/>
                  <a:pt x="1452738" y="2724967"/>
                </a:cubicBezTo>
                <a:cubicBezTo>
                  <a:pt x="1452738" y="2731499"/>
                  <a:pt x="1447461" y="2736776"/>
                  <a:pt x="1441056" y="2736776"/>
                </a:cubicBezTo>
                <a:cubicBezTo>
                  <a:pt x="1434522" y="2736776"/>
                  <a:pt x="1429247" y="2731625"/>
                  <a:pt x="1429247" y="2725093"/>
                </a:cubicBezTo>
                <a:cubicBezTo>
                  <a:pt x="1429247" y="2718686"/>
                  <a:pt x="1434397" y="2713410"/>
                  <a:pt x="1440929" y="2713284"/>
                </a:cubicBezTo>
                <a:close/>
                <a:moveTo>
                  <a:pt x="1611261" y="2713284"/>
                </a:moveTo>
                <a:cubicBezTo>
                  <a:pt x="1617416" y="2713159"/>
                  <a:pt x="1622566" y="2718182"/>
                  <a:pt x="1622566" y="2724463"/>
                </a:cubicBezTo>
                <a:cubicBezTo>
                  <a:pt x="1622692" y="2730618"/>
                  <a:pt x="1617668" y="2735768"/>
                  <a:pt x="1611386" y="2735768"/>
                </a:cubicBezTo>
                <a:cubicBezTo>
                  <a:pt x="1605106" y="2735768"/>
                  <a:pt x="1600082" y="2730744"/>
                  <a:pt x="1600082" y="2724463"/>
                </a:cubicBezTo>
                <a:cubicBezTo>
                  <a:pt x="1599957" y="2718309"/>
                  <a:pt x="1605106" y="2713159"/>
                  <a:pt x="1611261" y="2713284"/>
                </a:cubicBezTo>
                <a:close/>
                <a:moveTo>
                  <a:pt x="1028784" y="2711651"/>
                </a:moveTo>
                <a:cubicBezTo>
                  <a:pt x="1033557" y="2711526"/>
                  <a:pt x="1037451" y="2715420"/>
                  <a:pt x="1037451" y="2720193"/>
                </a:cubicBezTo>
                <a:cubicBezTo>
                  <a:pt x="1037576" y="2724967"/>
                  <a:pt x="1033683" y="2728861"/>
                  <a:pt x="1028910" y="2728861"/>
                </a:cubicBezTo>
                <a:cubicBezTo>
                  <a:pt x="1024137" y="2728986"/>
                  <a:pt x="1020243" y="2725092"/>
                  <a:pt x="1020243" y="2720319"/>
                </a:cubicBezTo>
                <a:cubicBezTo>
                  <a:pt x="1020243" y="2715545"/>
                  <a:pt x="1024137" y="2711651"/>
                  <a:pt x="1028784" y="2711651"/>
                </a:cubicBezTo>
                <a:close/>
                <a:moveTo>
                  <a:pt x="2397988" y="2710268"/>
                </a:moveTo>
                <a:cubicBezTo>
                  <a:pt x="2398993" y="2710268"/>
                  <a:pt x="2399746" y="2711023"/>
                  <a:pt x="2399746" y="2712026"/>
                </a:cubicBezTo>
                <a:cubicBezTo>
                  <a:pt x="2399746" y="2713033"/>
                  <a:pt x="2398993" y="2713786"/>
                  <a:pt x="2397988" y="2713786"/>
                </a:cubicBezTo>
                <a:cubicBezTo>
                  <a:pt x="2396983" y="2713786"/>
                  <a:pt x="2396229" y="2713033"/>
                  <a:pt x="2396229" y="2712026"/>
                </a:cubicBezTo>
                <a:cubicBezTo>
                  <a:pt x="2396104" y="2711148"/>
                  <a:pt x="2396983" y="2710268"/>
                  <a:pt x="2397988" y="2710268"/>
                </a:cubicBezTo>
                <a:close/>
                <a:moveTo>
                  <a:pt x="2023280" y="2707378"/>
                </a:moveTo>
                <a:cubicBezTo>
                  <a:pt x="2028430" y="2707378"/>
                  <a:pt x="2032575" y="2711523"/>
                  <a:pt x="2032575" y="2716675"/>
                </a:cubicBezTo>
                <a:cubicBezTo>
                  <a:pt x="2032575" y="2721825"/>
                  <a:pt x="2028430" y="2725970"/>
                  <a:pt x="2023280" y="2725970"/>
                </a:cubicBezTo>
                <a:cubicBezTo>
                  <a:pt x="2018128" y="2725970"/>
                  <a:pt x="2013983" y="2721825"/>
                  <a:pt x="2013983" y="2716675"/>
                </a:cubicBezTo>
                <a:cubicBezTo>
                  <a:pt x="2013983" y="2711649"/>
                  <a:pt x="2018128" y="2707378"/>
                  <a:pt x="2023280" y="2707378"/>
                </a:cubicBezTo>
                <a:close/>
                <a:moveTo>
                  <a:pt x="1356140" y="2703863"/>
                </a:moveTo>
                <a:cubicBezTo>
                  <a:pt x="1362797" y="2703863"/>
                  <a:pt x="1368199" y="2709265"/>
                  <a:pt x="1368199" y="2715797"/>
                </a:cubicBezTo>
                <a:cubicBezTo>
                  <a:pt x="1368199" y="2722454"/>
                  <a:pt x="1362797" y="2727856"/>
                  <a:pt x="1356265" y="2727856"/>
                </a:cubicBezTo>
                <a:cubicBezTo>
                  <a:pt x="1349608" y="2727856"/>
                  <a:pt x="1344206" y="2722579"/>
                  <a:pt x="1344206" y="2715922"/>
                </a:cubicBezTo>
                <a:cubicBezTo>
                  <a:pt x="1344206" y="2709265"/>
                  <a:pt x="1349481" y="2703863"/>
                  <a:pt x="1356140" y="2703863"/>
                </a:cubicBezTo>
                <a:close/>
                <a:moveTo>
                  <a:pt x="1695926" y="2703360"/>
                </a:moveTo>
                <a:cubicBezTo>
                  <a:pt x="1702207" y="2703360"/>
                  <a:pt x="1707232" y="2708385"/>
                  <a:pt x="1707232" y="2714664"/>
                </a:cubicBezTo>
                <a:cubicBezTo>
                  <a:pt x="1707357" y="2720945"/>
                  <a:pt x="1702207" y="2725970"/>
                  <a:pt x="1696052" y="2725970"/>
                </a:cubicBezTo>
                <a:cubicBezTo>
                  <a:pt x="1689896" y="2725970"/>
                  <a:pt x="1684746" y="2720945"/>
                  <a:pt x="1684746" y="2714664"/>
                </a:cubicBezTo>
                <a:cubicBezTo>
                  <a:pt x="1684746" y="2708385"/>
                  <a:pt x="1689771" y="2703360"/>
                  <a:pt x="1695926" y="2703360"/>
                </a:cubicBezTo>
                <a:close/>
                <a:moveTo>
                  <a:pt x="800417" y="2701727"/>
                </a:moveTo>
                <a:cubicBezTo>
                  <a:pt x="802301" y="2701727"/>
                  <a:pt x="803934" y="2703235"/>
                  <a:pt x="803934" y="2705244"/>
                </a:cubicBezTo>
                <a:cubicBezTo>
                  <a:pt x="803934" y="2707129"/>
                  <a:pt x="802426" y="2708762"/>
                  <a:pt x="800417" y="2708762"/>
                </a:cubicBezTo>
                <a:cubicBezTo>
                  <a:pt x="798532" y="2708762"/>
                  <a:pt x="796899" y="2707254"/>
                  <a:pt x="796899" y="2705244"/>
                </a:cubicBezTo>
                <a:cubicBezTo>
                  <a:pt x="796774" y="2703360"/>
                  <a:pt x="798407" y="2701727"/>
                  <a:pt x="800417" y="2701727"/>
                </a:cubicBezTo>
                <a:close/>
                <a:moveTo>
                  <a:pt x="2251646" y="2696451"/>
                </a:moveTo>
                <a:cubicBezTo>
                  <a:pt x="2253531" y="2696451"/>
                  <a:pt x="2255164" y="2697959"/>
                  <a:pt x="2255164" y="2699968"/>
                </a:cubicBezTo>
                <a:cubicBezTo>
                  <a:pt x="2255164" y="2701853"/>
                  <a:pt x="2253656" y="2703486"/>
                  <a:pt x="2251646" y="2703486"/>
                </a:cubicBezTo>
                <a:cubicBezTo>
                  <a:pt x="2249762" y="2703486"/>
                  <a:pt x="2248129" y="2701978"/>
                  <a:pt x="2248129" y="2699968"/>
                </a:cubicBezTo>
                <a:cubicBezTo>
                  <a:pt x="2248129" y="2698084"/>
                  <a:pt x="2249762" y="2696451"/>
                  <a:pt x="2251646" y="2696451"/>
                </a:cubicBezTo>
                <a:close/>
                <a:moveTo>
                  <a:pt x="1272226" y="2688537"/>
                </a:moveTo>
                <a:cubicBezTo>
                  <a:pt x="1278758" y="2688537"/>
                  <a:pt x="1284035" y="2693813"/>
                  <a:pt x="1284035" y="2700220"/>
                </a:cubicBezTo>
                <a:cubicBezTo>
                  <a:pt x="1284035" y="2706752"/>
                  <a:pt x="1278758" y="2712029"/>
                  <a:pt x="1272353" y="2712029"/>
                </a:cubicBezTo>
                <a:cubicBezTo>
                  <a:pt x="1265819" y="2712029"/>
                  <a:pt x="1260544" y="2706878"/>
                  <a:pt x="1260544" y="2700346"/>
                </a:cubicBezTo>
                <a:cubicBezTo>
                  <a:pt x="1260544" y="2693813"/>
                  <a:pt x="1265819" y="2688663"/>
                  <a:pt x="1272226" y="2688537"/>
                </a:cubicBezTo>
                <a:close/>
                <a:moveTo>
                  <a:pt x="1779588" y="2687406"/>
                </a:moveTo>
                <a:cubicBezTo>
                  <a:pt x="1785743" y="2687406"/>
                  <a:pt x="1790768" y="2692306"/>
                  <a:pt x="1790768" y="2698460"/>
                </a:cubicBezTo>
                <a:cubicBezTo>
                  <a:pt x="1790768" y="2704490"/>
                  <a:pt x="1785743" y="2709515"/>
                  <a:pt x="1779713" y="2709515"/>
                </a:cubicBezTo>
                <a:cubicBezTo>
                  <a:pt x="1773683" y="2709515"/>
                  <a:pt x="1768658" y="2704615"/>
                  <a:pt x="1768658" y="2698460"/>
                </a:cubicBezTo>
                <a:cubicBezTo>
                  <a:pt x="1768658" y="2692431"/>
                  <a:pt x="1773558" y="2687406"/>
                  <a:pt x="1779588" y="2687406"/>
                </a:cubicBezTo>
                <a:close/>
                <a:moveTo>
                  <a:pt x="951909" y="2676729"/>
                </a:moveTo>
                <a:cubicBezTo>
                  <a:pt x="955802" y="2676604"/>
                  <a:pt x="958817" y="2679744"/>
                  <a:pt x="958817" y="2683512"/>
                </a:cubicBezTo>
                <a:cubicBezTo>
                  <a:pt x="958817" y="2687281"/>
                  <a:pt x="955802" y="2690421"/>
                  <a:pt x="952034" y="2690421"/>
                </a:cubicBezTo>
                <a:cubicBezTo>
                  <a:pt x="948265" y="2690421"/>
                  <a:pt x="945125" y="2687406"/>
                  <a:pt x="945125" y="2683638"/>
                </a:cubicBezTo>
                <a:cubicBezTo>
                  <a:pt x="945125" y="2679869"/>
                  <a:pt x="948140" y="2676729"/>
                  <a:pt x="951909" y="2676729"/>
                </a:cubicBezTo>
                <a:close/>
                <a:moveTo>
                  <a:pt x="2100027" y="2671828"/>
                </a:moveTo>
                <a:cubicBezTo>
                  <a:pt x="2104298" y="2671703"/>
                  <a:pt x="2107815" y="2675220"/>
                  <a:pt x="2107815" y="2679492"/>
                </a:cubicBezTo>
                <a:cubicBezTo>
                  <a:pt x="2107815" y="2683762"/>
                  <a:pt x="2104298" y="2687279"/>
                  <a:pt x="2100027" y="2687279"/>
                </a:cubicBezTo>
                <a:cubicBezTo>
                  <a:pt x="2095757" y="2687279"/>
                  <a:pt x="2092240" y="2683762"/>
                  <a:pt x="2092240" y="2679492"/>
                </a:cubicBezTo>
                <a:cubicBezTo>
                  <a:pt x="2092240" y="2675220"/>
                  <a:pt x="2095632" y="2671703"/>
                  <a:pt x="2100027" y="2671828"/>
                </a:cubicBezTo>
                <a:close/>
                <a:moveTo>
                  <a:pt x="1189824" y="2668313"/>
                </a:moveTo>
                <a:cubicBezTo>
                  <a:pt x="1195602" y="2668188"/>
                  <a:pt x="1200251" y="2672835"/>
                  <a:pt x="1200251" y="2678612"/>
                </a:cubicBezTo>
                <a:cubicBezTo>
                  <a:pt x="1200251" y="2684266"/>
                  <a:pt x="1195602" y="2689038"/>
                  <a:pt x="1189824" y="2689038"/>
                </a:cubicBezTo>
                <a:cubicBezTo>
                  <a:pt x="1184171" y="2689038"/>
                  <a:pt x="1179398" y="2684391"/>
                  <a:pt x="1179398" y="2678612"/>
                </a:cubicBezTo>
                <a:cubicBezTo>
                  <a:pt x="1179398" y="2672835"/>
                  <a:pt x="1184046" y="2668188"/>
                  <a:pt x="1189824" y="2668313"/>
                </a:cubicBezTo>
                <a:close/>
                <a:moveTo>
                  <a:pt x="1861864" y="2665047"/>
                </a:moveTo>
                <a:cubicBezTo>
                  <a:pt x="1868019" y="2665047"/>
                  <a:pt x="1873044" y="2669947"/>
                  <a:pt x="1873044" y="2676101"/>
                </a:cubicBezTo>
                <a:cubicBezTo>
                  <a:pt x="1873044" y="2682131"/>
                  <a:pt x="1868144" y="2687156"/>
                  <a:pt x="1861989" y="2687156"/>
                </a:cubicBezTo>
                <a:cubicBezTo>
                  <a:pt x="1855959" y="2687156"/>
                  <a:pt x="1850934" y="2682256"/>
                  <a:pt x="1850934" y="2676101"/>
                </a:cubicBezTo>
                <a:cubicBezTo>
                  <a:pt x="1850934" y="2670072"/>
                  <a:pt x="1855834" y="2665047"/>
                  <a:pt x="1861864" y="2665047"/>
                </a:cubicBezTo>
                <a:close/>
                <a:moveTo>
                  <a:pt x="588127" y="2662031"/>
                </a:moveTo>
                <a:cubicBezTo>
                  <a:pt x="589383" y="2662031"/>
                  <a:pt x="590513" y="2663036"/>
                  <a:pt x="590513" y="2664418"/>
                </a:cubicBezTo>
                <a:cubicBezTo>
                  <a:pt x="590639" y="2665800"/>
                  <a:pt x="589508" y="2666931"/>
                  <a:pt x="588127" y="2666931"/>
                </a:cubicBezTo>
                <a:cubicBezTo>
                  <a:pt x="586871" y="2666931"/>
                  <a:pt x="585741" y="2665800"/>
                  <a:pt x="585741" y="2664544"/>
                </a:cubicBezTo>
                <a:cubicBezTo>
                  <a:pt x="585741" y="2663161"/>
                  <a:pt x="586871" y="2662031"/>
                  <a:pt x="588127" y="2662031"/>
                </a:cubicBezTo>
                <a:close/>
                <a:moveTo>
                  <a:pt x="2600854" y="2657761"/>
                </a:moveTo>
                <a:cubicBezTo>
                  <a:pt x="2601482" y="2657761"/>
                  <a:pt x="2601984" y="2658264"/>
                  <a:pt x="2601984" y="2658891"/>
                </a:cubicBezTo>
                <a:cubicBezTo>
                  <a:pt x="2601984" y="2659519"/>
                  <a:pt x="2601482" y="2660021"/>
                  <a:pt x="2600854" y="2660021"/>
                </a:cubicBezTo>
                <a:cubicBezTo>
                  <a:pt x="2600227" y="2660021"/>
                  <a:pt x="2599724" y="2659519"/>
                  <a:pt x="2599724" y="2658891"/>
                </a:cubicBezTo>
                <a:cubicBezTo>
                  <a:pt x="2599724" y="2658264"/>
                  <a:pt x="2600227" y="2657761"/>
                  <a:pt x="2600854" y="2657761"/>
                </a:cubicBezTo>
                <a:close/>
                <a:moveTo>
                  <a:pt x="2463685" y="2655374"/>
                </a:moveTo>
                <a:cubicBezTo>
                  <a:pt x="2464940" y="2655374"/>
                  <a:pt x="2465945" y="2656379"/>
                  <a:pt x="2465945" y="2657636"/>
                </a:cubicBezTo>
                <a:cubicBezTo>
                  <a:pt x="2465945" y="2658891"/>
                  <a:pt x="2464940" y="2659896"/>
                  <a:pt x="2463685" y="2659896"/>
                </a:cubicBezTo>
                <a:cubicBezTo>
                  <a:pt x="2462428" y="2659896"/>
                  <a:pt x="2461423" y="2658891"/>
                  <a:pt x="2461423" y="2657636"/>
                </a:cubicBezTo>
                <a:cubicBezTo>
                  <a:pt x="2461423" y="2656504"/>
                  <a:pt x="2462428" y="2655500"/>
                  <a:pt x="2463685" y="2655374"/>
                </a:cubicBezTo>
                <a:close/>
                <a:moveTo>
                  <a:pt x="730198" y="2652360"/>
                </a:moveTo>
                <a:cubicBezTo>
                  <a:pt x="732585" y="2652360"/>
                  <a:pt x="734595" y="2654369"/>
                  <a:pt x="734595" y="2656757"/>
                </a:cubicBezTo>
                <a:cubicBezTo>
                  <a:pt x="734595" y="2659144"/>
                  <a:pt x="732711" y="2661154"/>
                  <a:pt x="730198" y="2661154"/>
                </a:cubicBezTo>
                <a:cubicBezTo>
                  <a:pt x="727812" y="2661154"/>
                  <a:pt x="725802" y="2659144"/>
                  <a:pt x="725802" y="2656757"/>
                </a:cubicBezTo>
                <a:cubicBezTo>
                  <a:pt x="725802" y="2654244"/>
                  <a:pt x="727812" y="2652234"/>
                  <a:pt x="730198" y="2652360"/>
                </a:cubicBezTo>
                <a:close/>
                <a:moveTo>
                  <a:pt x="2321490" y="2643819"/>
                </a:moveTo>
                <a:cubicBezTo>
                  <a:pt x="2325384" y="2643819"/>
                  <a:pt x="2328526" y="2646959"/>
                  <a:pt x="2328526" y="2650854"/>
                </a:cubicBezTo>
                <a:cubicBezTo>
                  <a:pt x="2328526" y="2654748"/>
                  <a:pt x="2325384" y="2658013"/>
                  <a:pt x="2321490" y="2658013"/>
                </a:cubicBezTo>
                <a:cubicBezTo>
                  <a:pt x="2317596" y="2658013"/>
                  <a:pt x="2314455" y="2654873"/>
                  <a:pt x="2314455" y="2650979"/>
                </a:cubicBezTo>
                <a:cubicBezTo>
                  <a:pt x="2314329" y="2647085"/>
                  <a:pt x="2317596" y="2643945"/>
                  <a:pt x="2321490" y="2643819"/>
                </a:cubicBezTo>
                <a:close/>
                <a:moveTo>
                  <a:pt x="1109179" y="2639421"/>
                </a:moveTo>
                <a:cubicBezTo>
                  <a:pt x="1115334" y="2639421"/>
                  <a:pt x="1120485" y="2644446"/>
                  <a:pt x="1120485" y="2650727"/>
                </a:cubicBezTo>
                <a:cubicBezTo>
                  <a:pt x="1120611" y="2656882"/>
                  <a:pt x="1115586" y="2662032"/>
                  <a:pt x="1109305" y="2662032"/>
                </a:cubicBezTo>
                <a:cubicBezTo>
                  <a:pt x="1103024" y="2662032"/>
                  <a:pt x="1098000" y="2657008"/>
                  <a:pt x="1098000" y="2650727"/>
                </a:cubicBezTo>
                <a:cubicBezTo>
                  <a:pt x="1098000" y="2644446"/>
                  <a:pt x="1103024" y="2639421"/>
                  <a:pt x="1109179" y="2639421"/>
                </a:cubicBezTo>
                <a:close/>
                <a:moveTo>
                  <a:pt x="877671" y="2635654"/>
                </a:moveTo>
                <a:cubicBezTo>
                  <a:pt x="881061" y="2635654"/>
                  <a:pt x="883700" y="2638292"/>
                  <a:pt x="883700" y="2641558"/>
                </a:cubicBezTo>
                <a:cubicBezTo>
                  <a:pt x="883700" y="2644948"/>
                  <a:pt x="881061" y="2647587"/>
                  <a:pt x="877796" y="2647587"/>
                </a:cubicBezTo>
                <a:cubicBezTo>
                  <a:pt x="874404" y="2647712"/>
                  <a:pt x="871767" y="2644948"/>
                  <a:pt x="871767" y="2641683"/>
                </a:cubicBezTo>
                <a:cubicBezTo>
                  <a:pt x="871767" y="2638292"/>
                  <a:pt x="874404" y="2635654"/>
                  <a:pt x="877671" y="2635654"/>
                </a:cubicBezTo>
                <a:close/>
                <a:moveTo>
                  <a:pt x="1942382" y="2634144"/>
                </a:moveTo>
                <a:cubicBezTo>
                  <a:pt x="1949919" y="2634144"/>
                  <a:pt x="1955949" y="2640173"/>
                  <a:pt x="1955949" y="2647585"/>
                </a:cubicBezTo>
                <a:cubicBezTo>
                  <a:pt x="1955949" y="2654996"/>
                  <a:pt x="1949919" y="2661151"/>
                  <a:pt x="1942508" y="2661151"/>
                </a:cubicBezTo>
                <a:cubicBezTo>
                  <a:pt x="1934971" y="2661151"/>
                  <a:pt x="1928941" y="2655121"/>
                  <a:pt x="1928941" y="2647710"/>
                </a:cubicBezTo>
                <a:cubicBezTo>
                  <a:pt x="1928941" y="2640173"/>
                  <a:pt x="1934845" y="2634144"/>
                  <a:pt x="1942382" y="2634144"/>
                </a:cubicBezTo>
                <a:close/>
                <a:moveTo>
                  <a:pt x="2173891" y="2627235"/>
                </a:moveTo>
                <a:cubicBezTo>
                  <a:pt x="2179292" y="2627235"/>
                  <a:pt x="2183689" y="2631507"/>
                  <a:pt x="2183689" y="2636907"/>
                </a:cubicBezTo>
                <a:cubicBezTo>
                  <a:pt x="2183689" y="2642308"/>
                  <a:pt x="2179417" y="2646705"/>
                  <a:pt x="2174017" y="2646705"/>
                </a:cubicBezTo>
                <a:cubicBezTo>
                  <a:pt x="2168616" y="2646705"/>
                  <a:pt x="2164219" y="2642433"/>
                  <a:pt x="2164219" y="2637032"/>
                </a:cubicBezTo>
                <a:cubicBezTo>
                  <a:pt x="2164219" y="2631632"/>
                  <a:pt x="2168491" y="2627235"/>
                  <a:pt x="2173891" y="2627235"/>
                </a:cubicBezTo>
                <a:close/>
                <a:moveTo>
                  <a:pt x="1525719" y="2618820"/>
                </a:moveTo>
                <a:cubicBezTo>
                  <a:pt x="1533508" y="2618694"/>
                  <a:pt x="1539913" y="2625101"/>
                  <a:pt x="1539913" y="2632888"/>
                </a:cubicBezTo>
                <a:cubicBezTo>
                  <a:pt x="1540040" y="2640677"/>
                  <a:pt x="1533633" y="2647084"/>
                  <a:pt x="1525844" y="2647084"/>
                </a:cubicBezTo>
                <a:cubicBezTo>
                  <a:pt x="1518057" y="2647209"/>
                  <a:pt x="1511650" y="2640803"/>
                  <a:pt x="1511650" y="2633015"/>
                </a:cubicBezTo>
                <a:cubicBezTo>
                  <a:pt x="1511650" y="2625226"/>
                  <a:pt x="1517932" y="2618820"/>
                  <a:pt x="1525719" y="2618820"/>
                </a:cubicBezTo>
                <a:close/>
                <a:moveTo>
                  <a:pt x="1440425" y="2615681"/>
                </a:moveTo>
                <a:cubicBezTo>
                  <a:pt x="1448212" y="2615555"/>
                  <a:pt x="1454619" y="2621962"/>
                  <a:pt x="1454619" y="2629749"/>
                </a:cubicBezTo>
                <a:cubicBezTo>
                  <a:pt x="1454744" y="2637538"/>
                  <a:pt x="1448339" y="2643945"/>
                  <a:pt x="1440550" y="2643945"/>
                </a:cubicBezTo>
                <a:cubicBezTo>
                  <a:pt x="1432763" y="2644070"/>
                  <a:pt x="1426356" y="2637664"/>
                  <a:pt x="1426356" y="2629876"/>
                </a:cubicBezTo>
                <a:cubicBezTo>
                  <a:pt x="1426356" y="2621962"/>
                  <a:pt x="1432638" y="2615681"/>
                  <a:pt x="1440425" y="2615681"/>
                </a:cubicBezTo>
                <a:close/>
                <a:moveTo>
                  <a:pt x="1610886" y="2615053"/>
                </a:moveTo>
                <a:cubicBezTo>
                  <a:pt x="1618673" y="2614927"/>
                  <a:pt x="1625080" y="2621334"/>
                  <a:pt x="1625080" y="2629121"/>
                </a:cubicBezTo>
                <a:cubicBezTo>
                  <a:pt x="1625207" y="2636910"/>
                  <a:pt x="1618925" y="2643317"/>
                  <a:pt x="1611011" y="2643317"/>
                </a:cubicBezTo>
                <a:cubicBezTo>
                  <a:pt x="1603224" y="2643442"/>
                  <a:pt x="1596817" y="2637036"/>
                  <a:pt x="1596817" y="2629248"/>
                </a:cubicBezTo>
                <a:cubicBezTo>
                  <a:pt x="1596817" y="2621334"/>
                  <a:pt x="1603099" y="2615053"/>
                  <a:pt x="1610886" y="2615053"/>
                </a:cubicBezTo>
                <a:close/>
                <a:moveTo>
                  <a:pt x="1031045" y="2607390"/>
                </a:moveTo>
                <a:cubicBezTo>
                  <a:pt x="1036322" y="2607390"/>
                  <a:pt x="1040592" y="2611660"/>
                  <a:pt x="1040592" y="2616937"/>
                </a:cubicBezTo>
                <a:cubicBezTo>
                  <a:pt x="1040592" y="2622212"/>
                  <a:pt x="1036322" y="2626484"/>
                  <a:pt x="1031045" y="2626484"/>
                </a:cubicBezTo>
                <a:cubicBezTo>
                  <a:pt x="1025770" y="2626484"/>
                  <a:pt x="1021498" y="2622212"/>
                  <a:pt x="1021498" y="2616937"/>
                </a:cubicBezTo>
                <a:cubicBezTo>
                  <a:pt x="1021498" y="2611660"/>
                  <a:pt x="1025770" y="2607390"/>
                  <a:pt x="1031045" y="2607390"/>
                </a:cubicBezTo>
                <a:close/>
                <a:moveTo>
                  <a:pt x="1355885" y="2606134"/>
                </a:moveTo>
                <a:cubicBezTo>
                  <a:pt x="1363422" y="2606134"/>
                  <a:pt x="1369452" y="2612163"/>
                  <a:pt x="1369452" y="2619575"/>
                </a:cubicBezTo>
                <a:cubicBezTo>
                  <a:pt x="1369452" y="2627111"/>
                  <a:pt x="1363422" y="2633141"/>
                  <a:pt x="1356011" y="2633141"/>
                </a:cubicBezTo>
                <a:cubicBezTo>
                  <a:pt x="1348474" y="2633141"/>
                  <a:pt x="1342444" y="2627111"/>
                  <a:pt x="1342444" y="2619700"/>
                </a:cubicBezTo>
                <a:cubicBezTo>
                  <a:pt x="1342444" y="2612289"/>
                  <a:pt x="1348474" y="2606260"/>
                  <a:pt x="1355885" y="2606134"/>
                </a:cubicBezTo>
                <a:close/>
                <a:moveTo>
                  <a:pt x="525447" y="2605003"/>
                </a:moveTo>
                <a:cubicBezTo>
                  <a:pt x="526452" y="2605003"/>
                  <a:pt x="527205" y="2605756"/>
                  <a:pt x="527205" y="2606761"/>
                </a:cubicBezTo>
                <a:cubicBezTo>
                  <a:pt x="527205" y="2607768"/>
                  <a:pt x="526452" y="2608521"/>
                  <a:pt x="525447" y="2608521"/>
                </a:cubicBezTo>
                <a:cubicBezTo>
                  <a:pt x="524442" y="2608521"/>
                  <a:pt x="523688" y="2607768"/>
                  <a:pt x="523688" y="2606761"/>
                </a:cubicBezTo>
                <a:cubicBezTo>
                  <a:pt x="523688" y="2605756"/>
                  <a:pt x="524442" y="2605003"/>
                  <a:pt x="525447" y="2605003"/>
                </a:cubicBezTo>
                <a:close/>
                <a:moveTo>
                  <a:pt x="1695423" y="2604374"/>
                </a:moveTo>
                <a:cubicBezTo>
                  <a:pt x="1703210" y="2604248"/>
                  <a:pt x="1709617" y="2610655"/>
                  <a:pt x="1709617" y="2618442"/>
                </a:cubicBezTo>
                <a:cubicBezTo>
                  <a:pt x="1709742" y="2626231"/>
                  <a:pt x="1703337" y="2632638"/>
                  <a:pt x="1695548" y="2632638"/>
                </a:cubicBezTo>
                <a:cubicBezTo>
                  <a:pt x="1687761" y="2632763"/>
                  <a:pt x="1681354" y="2626357"/>
                  <a:pt x="1681354" y="2618569"/>
                </a:cubicBezTo>
                <a:cubicBezTo>
                  <a:pt x="1681354" y="2610655"/>
                  <a:pt x="1687761" y="2604248"/>
                  <a:pt x="1695423" y="2604374"/>
                </a:cubicBezTo>
                <a:close/>
                <a:moveTo>
                  <a:pt x="2020390" y="2600230"/>
                </a:moveTo>
                <a:cubicBezTo>
                  <a:pt x="2027550" y="2600230"/>
                  <a:pt x="2033454" y="2606135"/>
                  <a:pt x="2033454" y="2613294"/>
                </a:cubicBezTo>
                <a:cubicBezTo>
                  <a:pt x="2033454" y="2620454"/>
                  <a:pt x="2027550" y="2626358"/>
                  <a:pt x="2020390" y="2626358"/>
                </a:cubicBezTo>
                <a:cubicBezTo>
                  <a:pt x="2013231" y="2626358"/>
                  <a:pt x="2007326" y="2620454"/>
                  <a:pt x="2007326" y="2613294"/>
                </a:cubicBezTo>
                <a:cubicBezTo>
                  <a:pt x="2007326" y="2606135"/>
                  <a:pt x="2013231" y="2600230"/>
                  <a:pt x="2020390" y="2600230"/>
                </a:cubicBezTo>
                <a:close/>
                <a:moveTo>
                  <a:pt x="663497" y="2600230"/>
                </a:moveTo>
                <a:cubicBezTo>
                  <a:pt x="665382" y="2600230"/>
                  <a:pt x="667015" y="2601738"/>
                  <a:pt x="667015" y="2603747"/>
                </a:cubicBezTo>
                <a:cubicBezTo>
                  <a:pt x="667015" y="2605632"/>
                  <a:pt x="665382" y="2607265"/>
                  <a:pt x="663497" y="2607265"/>
                </a:cubicBezTo>
                <a:cubicBezTo>
                  <a:pt x="661487" y="2607265"/>
                  <a:pt x="659855" y="2605757"/>
                  <a:pt x="659855" y="2603747"/>
                </a:cubicBezTo>
                <a:cubicBezTo>
                  <a:pt x="659855" y="2601863"/>
                  <a:pt x="661487" y="2600230"/>
                  <a:pt x="663497" y="2600230"/>
                </a:cubicBezTo>
                <a:close/>
                <a:moveTo>
                  <a:pt x="2525864" y="2597341"/>
                </a:moveTo>
                <a:cubicBezTo>
                  <a:pt x="2527121" y="2597341"/>
                  <a:pt x="2528126" y="2598220"/>
                  <a:pt x="2528126" y="2599476"/>
                </a:cubicBezTo>
                <a:cubicBezTo>
                  <a:pt x="2528126" y="2600733"/>
                  <a:pt x="2527246" y="2601738"/>
                  <a:pt x="2525989" y="2601738"/>
                </a:cubicBezTo>
                <a:cubicBezTo>
                  <a:pt x="2524733" y="2601738"/>
                  <a:pt x="2523728" y="2600733"/>
                  <a:pt x="2523728" y="2599476"/>
                </a:cubicBezTo>
                <a:cubicBezTo>
                  <a:pt x="2523728" y="2598220"/>
                  <a:pt x="2524733" y="2597216"/>
                  <a:pt x="2525864" y="2597341"/>
                </a:cubicBezTo>
                <a:close/>
                <a:moveTo>
                  <a:pt x="2659138" y="2596083"/>
                </a:moveTo>
                <a:cubicBezTo>
                  <a:pt x="2659515" y="2596083"/>
                  <a:pt x="2659767" y="2596335"/>
                  <a:pt x="2659767" y="2596711"/>
                </a:cubicBezTo>
                <a:cubicBezTo>
                  <a:pt x="2659767" y="2597088"/>
                  <a:pt x="2659515" y="2597466"/>
                  <a:pt x="2659138" y="2597466"/>
                </a:cubicBezTo>
                <a:cubicBezTo>
                  <a:pt x="2658887" y="2597340"/>
                  <a:pt x="2658510" y="2597088"/>
                  <a:pt x="2658510" y="2596711"/>
                </a:cubicBezTo>
                <a:cubicBezTo>
                  <a:pt x="2658510" y="2596335"/>
                  <a:pt x="2658887" y="2596083"/>
                  <a:pt x="2659138" y="2596083"/>
                </a:cubicBezTo>
                <a:close/>
                <a:moveTo>
                  <a:pt x="2388064" y="2593572"/>
                </a:moveTo>
                <a:cubicBezTo>
                  <a:pt x="2390324" y="2593572"/>
                  <a:pt x="2392084" y="2595457"/>
                  <a:pt x="2392084" y="2597592"/>
                </a:cubicBezTo>
                <a:cubicBezTo>
                  <a:pt x="2392084" y="2599854"/>
                  <a:pt x="2390324" y="2601612"/>
                  <a:pt x="2388064" y="2601612"/>
                </a:cubicBezTo>
                <a:cubicBezTo>
                  <a:pt x="2385802" y="2601612"/>
                  <a:pt x="2384044" y="2599854"/>
                  <a:pt x="2384044" y="2597592"/>
                </a:cubicBezTo>
                <a:cubicBezTo>
                  <a:pt x="2383919" y="2595330"/>
                  <a:pt x="2385677" y="2593572"/>
                  <a:pt x="2388064" y="2593572"/>
                </a:cubicBezTo>
                <a:close/>
                <a:moveTo>
                  <a:pt x="1272226" y="2590306"/>
                </a:moveTo>
                <a:cubicBezTo>
                  <a:pt x="1279010" y="2590306"/>
                  <a:pt x="1284662" y="2595833"/>
                  <a:pt x="1284662" y="2602616"/>
                </a:cubicBezTo>
                <a:cubicBezTo>
                  <a:pt x="1284662" y="2609400"/>
                  <a:pt x="1279135" y="2615052"/>
                  <a:pt x="1272353" y="2615052"/>
                </a:cubicBezTo>
                <a:cubicBezTo>
                  <a:pt x="1265569" y="2615177"/>
                  <a:pt x="1259917" y="2609525"/>
                  <a:pt x="1259917" y="2602742"/>
                </a:cubicBezTo>
                <a:cubicBezTo>
                  <a:pt x="1259917" y="2595959"/>
                  <a:pt x="1265444" y="2590306"/>
                  <a:pt x="1272226" y="2590306"/>
                </a:cubicBezTo>
                <a:close/>
                <a:moveTo>
                  <a:pt x="806573" y="2590306"/>
                </a:moveTo>
                <a:cubicBezTo>
                  <a:pt x="808960" y="2590306"/>
                  <a:pt x="810970" y="2592191"/>
                  <a:pt x="810970" y="2594703"/>
                </a:cubicBezTo>
                <a:cubicBezTo>
                  <a:pt x="810970" y="2597088"/>
                  <a:pt x="808960" y="2599098"/>
                  <a:pt x="806573" y="2599098"/>
                </a:cubicBezTo>
                <a:cubicBezTo>
                  <a:pt x="804186" y="2599098"/>
                  <a:pt x="802176" y="2597215"/>
                  <a:pt x="802176" y="2594703"/>
                </a:cubicBezTo>
                <a:cubicBezTo>
                  <a:pt x="802051" y="2592316"/>
                  <a:pt x="804061" y="2590306"/>
                  <a:pt x="806573" y="2590306"/>
                </a:cubicBezTo>
                <a:close/>
                <a:moveTo>
                  <a:pt x="1778958" y="2586914"/>
                </a:moveTo>
                <a:cubicBezTo>
                  <a:pt x="1786620" y="2586914"/>
                  <a:pt x="1792902" y="2593195"/>
                  <a:pt x="1792902" y="2600857"/>
                </a:cubicBezTo>
                <a:cubicBezTo>
                  <a:pt x="1792902" y="2608519"/>
                  <a:pt x="1786745" y="2614801"/>
                  <a:pt x="1778958" y="2614801"/>
                </a:cubicBezTo>
                <a:cubicBezTo>
                  <a:pt x="1771296" y="2614801"/>
                  <a:pt x="1765014" y="2608519"/>
                  <a:pt x="1765014" y="2600857"/>
                </a:cubicBezTo>
                <a:cubicBezTo>
                  <a:pt x="1765014" y="2593195"/>
                  <a:pt x="1771169" y="2586914"/>
                  <a:pt x="1778958" y="2586914"/>
                </a:cubicBezTo>
                <a:close/>
                <a:moveTo>
                  <a:pt x="2244737" y="2579629"/>
                </a:moveTo>
                <a:cubicBezTo>
                  <a:pt x="2250139" y="2579629"/>
                  <a:pt x="2254536" y="2583900"/>
                  <a:pt x="2254536" y="2589301"/>
                </a:cubicBezTo>
                <a:cubicBezTo>
                  <a:pt x="2254536" y="2594703"/>
                  <a:pt x="2250264" y="2599100"/>
                  <a:pt x="2244864" y="2599100"/>
                </a:cubicBezTo>
                <a:cubicBezTo>
                  <a:pt x="2239462" y="2599225"/>
                  <a:pt x="2235065" y="2594828"/>
                  <a:pt x="2235065" y="2589427"/>
                </a:cubicBezTo>
                <a:cubicBezTo>
                  <a:pt x="2234940" y="2584151"/>
                  <a:pt x="2239336" y="2579755"/>
                  <a:pt x="2244737" y="2579629"/>
                </a:cubicBezTo>
                <a:close/>
                <a:moveTo>
                  <a:pt x="955426" y="2569453"/>
                </a:moveTo>
                <a:cubicBezTo>
                  <a:pt x="959698" y="2569453"/>
                  <a:pt x="963215" y="2572970"/>
                  <a:pt x="963215" y="2577241"/>
                </a:cubicBezTo>
                <a:cubicBezTo>
                  <a:pt x="963215" y="2581512"/>
                  <a:pt x="959823" y="2585030"/>
                  <a:pt x="955553" y="2585030"/>
                </a:cubicBezTo>
                <a:cubicBezTo>
                  <a:pt x="951281" y="2585030"/>
                  <a:pt x="947764" y="2581638"/>
                  <a:pt x="947764" y="2577367"/>
                </a:cubicBezTo>
                <a:cubicBezTo>
                  <a:pt x="947764" y="2573096"/>
                  <a:pt x="951156" y="2569579"/>
                  <a:pt x="955426" y="2569453"/>
                </a:cubicBezTo>
                <a:close/>
                <a:moveTo>
                  <a:pt x="1190451" y="2567821"/>
                </a:moveTo>
                <a:cubicBezTo>
                  <a:pt x="1196607" y="2567696"/>
                  <a:pt x="1201757" y="2572719"/>
                  <a:pt x="1201757" y="2579000"/>
                </a:cubicBezTo>
                <a:cubicBezTo>
                  <a:pt x="1201757" y="2585155"/>
                  <a:pt x="1196732" y="2590307"/>
                  <a:pt x="1190451" y="2590307"/>
                </a:cubicBezTo>
                <a:cubicBezTo>
                  <a:pt x="1184296" y="2590307"/>
                  <a:pt x="1179146" y="2585281"/>
                  <a:pt x="1179146" y="2579000"/>
                </a:cubicBezTo>
                <a:cubicBezTo>
                  <a:pt x="1179146" y="2572846"/>
                  <a:pt x="1184171" y="2567696"/>
                  <a:pt x="1190451" y="2567821"/>
                </a:cubicBezTo>
                <a:close/>
                <a:moveTo>
                  <a:pt x="1860606" y="2562798"/>
                </a:moveTo>
                <a:cubicBezTo>
                  <a:pt x="1868395" y="2562672"/>
                  <a:pt x="1874677" y="2568953"/>
                  <a:pt x="1874677" y="2576615"/>
                </a:cubicBezTo>
                <a:cubicBezTo>
                  <a:pt x="1874677" y="2584277"/>
                  <a:pt x="1868395" y="2590559"/>
                  <a:pt x="1860733" y="2590559"/>
                </a:cubicBezTo>
                <a:cubicBezTo>
                  <a:pt x="1853071" y="2590559"/>
                  <a:pt x="1846789" y="2584277"/>
                  <a:pt x="1846789" y="2576615"/>
                </a:cubicBezTo>
                <a:cubicBezTo>
                  <a:pt x="1846789" y="2568953"/>
                  <a:pt x="1852944" y="2562672"/>
                  <a:pt x="1860606" y="2562798"/>
                </a:cubicBezTo>
                <a:close/>
                <a:moveTo>
                  <a:pt x="2095633" y="2561667"/>
                </a:moveTo>
                <a:cubicBezTo>
                  <a:pt x="2102039" y="2561542"/>
                  <a:pt x="2107189" y="2566692"/>
                  <a:pt x="2107189" y="2573097"/>
                </a:cubicBezTo>
                <a:cubicBezTo>
                  <a:pt x="2107189" y="2579504"/>
                  <a:pt x="2102166" y="2584654"/>
                  <a:pt x="2095759" y="2584654"/>
                </a:cubicBezTo>
                <a:cubicBezTo>
                  <a:pt x="2089478" y="2584654"/>
                  <a:pt x="2084203" y="2579631"/>
                  <a:pt x="2084203" y="2573224"/>
                </a:cubicBezTo>
                <a:cubicBezTo>
                  <a:pt x="2084078" y="2566817"/>
                  <a:pt x="2089227" y="2561667"/>
                  <a:pt x="2095633" y="2561667"/>
                </a:cubicBezTo>
                <a:close/>
                <a:moveTo>
                  <a:pt x="600060" y="2542950"/>
                </a:moveTo>
                <a:cubicBezTo>
                  <a:pt x="602070" y="2542950"/>
                  <a:pt x="603830" y="2544708"/>
                  <a:pt x="603830" y="2546720"/>
                </a:cubicBezTo>
                <a:cubicBezTo>
                  <a:pt x="603830" y="2548728"/>
                  <a:pt x="602070" y="2550488"/>
                  <a:pt x="600060" y="2550488"/>
                </a:cubicBezTo>
                <a:cubicBezTo>
                  <a:pt x="598050" y="2550488"/>
                  <a:pt x="596292" y="2548855"/>
                  <a:pt x="596292" y="2546720"/>
                </a:cubicBezTo>
                <a:cubicBezTo>
                  <a:pt x="596292" y="2544583"/>
                  <a:pt x="597925" y="2542950"/>
                  <a:pt x="600060" y="2542950"/>
                </a:cubicBezTo>
                <a:close/>
                <a:moveTo>
                  <a:pt x="466407" y="2542195"/>
                </a:moveTo>
                <a:cubicBezTo>
                  <a:pt x="468166" y="2542195"/>
                  <a:pt x="469548" y="2543577"/>
                  <a:pt x="469548" y="2545335"/>
                </a:cubicBezTo>
                <a:cubicBezTo>
                  <a:pt x="469548" y="2547094"/>
                  <a:pt x="468039" y="2548477"/>
                  <a:pt x="466407" y="2548477"/>
                </a:cubicBezTo>
                <a:cubicBezTo>
                  <a:pt x="464649" y="2548477"/>
                  <a:pt x="463267" y="2546968"/>
                  <a:pt x="463267" y="2545335"/>
                </a:cubicBezTo>
                <a:cubicBezTo>
                  <a:pt x="463267" y="2543577"/>
                  <a:pt x="464522" y="2542195"/>
                  <a:pt x="466407" y="2542195"/>
                </a:cubicBezTo>
                <a:close/>
                <a:moveTo>
                  <a:pt x="738740" y="2536667"/>
                </a:moveTo>
                <a:cubicBezTo>
                  <a:pt x="742257" y="2536667"/>
                  <a:pt x="745021" y="2539431"/>
                  <a:pt x="745021" y="2542822"/>
                </a:cubicBezTo>
                <a:cubicBezTo>
                  <a:pt x="745021" y="2546339"/>
                  <a:pt x="742257" y="2549104"/>
                  <a:pt x="738866" y="2549104"/>
                </a:cubicBezTo>
                <a:cubicBezTo>
                  <a:pt x="735349" y="2549104"/>
                  <a:pt x="732585" y="2546339"/>
                  <a:pt x="732585" y="2542949"/>
                </a:cubicBezTo>
                <a:cubicBezTo>
                  <a:pt x="732585" y="2539557"/>
                  <a:pt x="735349" y="2536667"/>
                  <a:pt x="738740" y="2536667"/>
                </a:cubicBezTo>
                <a:close/>
                <a:moveTo>
                  <a:pt x="2584650" y="2535035"/>
                </a:moveTo>
                <a:cubicBezTo>
                  <a:pt x="2586032" y="2535035"/>
                  <a:pt x="2587287" y="2536166"/>
                  <a:pt x="2587287" y="2537673"/>
                </a:cubicBezTo>
                <a:cubicBezTo>
                  <a:pt x="2587287" y="2539055"/>
                  <a:pt x="2586157" y="2540310"/>
                  <a:pt x="2584650" y="2540310"/>
                </a:cubicBezTo>
                <a:cubicBezTo>
                  <a:pt x="2583143" y="2540310"/>
                  <a:pt x="2582013" y="2539180"/>
                  <a:pt x="2582013" y="2537673"/>
                </a:cubicBezTo>
                <a:cubicBezTo>
                  <a:pt x="2582013" y="2536166"/>
                  <a:pt x="2583143" y="2534909"/>
                  <a:pt x="2584650" y="2535035"/>
                </a:cubicBezTo>
                <a:close/>
                <a:moveTo>
                  <a:pt x="2450873" y="2534910"/>
                </a:moveTo>
                <a:cubicBezTo>
                  <a:pt x="2453762" y="2534910"/>
                  <a:pt x="2456022" y="2537171"/>
                  <a:pt x="2456022" y="2539935"/>
                </a:cubicBezTo>
                <a:cubicBezTo>
                  <a:pt x="2456022" y="2542824"/>
                  <a:pt x="2453762" y="2545084"/>
                  <a:pt x="2450998" y="2545084"/>
                </a:cubicBezTo>
                <a:cubicBezTo>
                  <a:pt x="2448109" y="2545084"/>
                  <a:pt x="2445848" y="2542824"/>
                  <a:pt x="2445848" y="2540060"/>
                </a:cubicBezTo>
                <a:cubicBezTo>
                  <a:pt x="2445848" y="2537171"/>
                  <a:pt x="2447983" y="2534910"/>
                  <a:pt x="2450873" y="2534910"/>
                </a:cubicBezTo>
                <a:close/>
                <a:moveTo>
                  <a:pt x="1110686" y="2534532"/>
                </a:moveTo>
                <a:cubicBezTo>
                  <a:pt x="1118473" y="2534406"/>
                  <a:pt x="1124880" y="2540813"/>
                  <a:pt x="1124880" y="2548600"/>
                </a:cubicBezTo>
                <a:cubicBezTo>
                  <a:pt x="1124880" y="2556389"/>
                  <a:pt x="1118600" y="2562796"/>
                  <a:pt x="1110811" y="2562796"/>
                </a:cubicBezTo>
                <a:cubicBezTo>
                  <a:pt x="1103023" y="2562921"/>
                  <a:pt x="1096617" y="2556515"/>
                  <a:pt x="1096617" y="2548727"/>
                </a:cubicBezTo>
                <a:cubicBezTo>
                  <a:pt x="1096617" y="2540938"/>
                  <a:pt x="1102898" y="2534532"/>
                  <a:pt x="1110686" y="2534532"/>
                </a:cubicBezTo>
                <a:close/>
                <a:moveTo>
                  <a:pt x="2714032" y="2530136"/>
                </a:moveTo>
                <a:cubicBezTo>
                  <a:pt x="2714785" y="2530011"/>
                  <a:pt x="2715415" y="2530638"/>
                  <a:pt x="2715415" y="2531393"/>
                </a:cubicBezTo>
                <a:cubicBezTo>
                  <a:pt x="2715415" y="2532146"/>
                  <a:pt x="2714785" y="2532773"/>
                  <a:pt x="2714032" y="2532773"/>
                </a:cubicBezTo>
                <a:cubicBezTo>
                  <a:pt x="2713278" y="2532773"/>
                  <a:pt x="2712650" y="2532146"/>
                  <a:pt x="2712650" y="2531393"/>
                </a:cubicBezTo>
                <a:cubicBezTo>
                  <a:pt x="2712650" y="2530638"/>
                  <a:pt x="2713278" y="2530011"/>
                  <a:pt x="2714032" y="2530136"/>
                </a:cubicBezTo>
                <a:close/>
                <a:moveTo>
                  <a:pt x="1940121" y="2527876"/>
                </a:moveTo>
                <a:cubicBezTo>
                  <a:pt x="1949795" y="2527876"/>
                  <a:pt x="1957835" y="2535790"/>
                  <a:pt x="1957835" y="2545588"/>
                </a:cubicBezTo>
                <a:cubicBezTo>
                  <a:pt x="1957835" y="2555260"/>
                  <a:pt x="1949920" y="2563299"/>
                  <a:pt x="1940121" y="2563299"/>
                </a:cubicBezTo>
                <a:cubicBezTo>
                  <a:pt x="1930449" y="2563426"/>
                  <a:pt x="1922409" y="2555511"/>
                  <a:pt x="1922409" y="2545713"/>
                </a:cubicBezTo>
                <a:cubicBezTo>
                  <a:pt x="1922409" y="2535916"/>
                  <a:pt x="1930324" y="2528002"/>
                  <a:pt x="1940121" y="2527876"/>
                </a:cubicBezTo>
                <a:close/>
                <a:moveTo>
                  <a:pt x="2312067" y="2525489"/>
                </a:moveTo>
                <a:cubicBezTo>
                  <a:pt x="2318599" y="2525489"/>
                  <a:pt x="2323876" y="2530639"/>
                  <a:pt x="2323876" y="2537172"/>
                </a:cubicBezTo>
                <a:cubicBezTo>
                  <a:pt x="2323876" y="2543704"/>
                  <a:pt x="2318724" y="2548981"/>
                  <a:pt x="2312194" y="2548981"/>
                </a:cubicBezTo>
                <a:cubicBezTo>
                  <a:pt x="2305660" y="2548981"/>
                  <a:pt x="2300385" y="2543829"/>
                  <a:pt x="2300385" y="2537298"/>
                </a:cubicBezTo>
                <a:cubicBezTo>
                  <a:pt x="2300385" y="2530765"/>
                  <a:pt x="2305660" y="2525489"/>
                  <a:pt x="2312067" y="2525489"/>
                </a:cubicBezTo>
                <a:close/>
                <a:moveTo>
                  <a:pt x="883072" y="2524107"/>
                </a:moveTo>
                <a:cubicBezTo>
                  <a:pt x="887594" y="2524107"/>
                  <a:pt x="891237" y="2527751"/>
                  <a:pt x="891237" y="2532273"/>
                </a:cubicBezTo>
                <a:cubicBezTo>
                  <a:pt x="891237" y="2536796"/>
                  <a:pt x="887594" y="2540439"/>
                  <a:pt x="883072" y="2540439"/>
                </a:cubicBezTo>
                <a:cubicBezTo>
                  <a:pt x="878675" y="2540439"/>
                  <a:pt x="874907" y="2536796"/>
                  <a:pt x="874907" y="2532273"/>
                </a:cubicBezTo>
                <a:cubicBezTo>
                  <a:pt x="874907" y="2527624"/>
                  <a:pt x="878549" y="2523982"/>
                  <a:pt x="883072" y="2524107"/>
                </a:cubicBezTo>
                <a:close/>
                <a:moveTo>
                  <a:pt x="1525341" y="2519333"/>
                </a:moveTo>
                <a:cubicBezTo>
                  <a:pt x="1535640" y="2519207"/>
                  <a:pt x="1544057" y="2527497"/>
                  <a:pt x="1544057" y="2537798"/>
                </a:cubicBezTo>
                <a:cubicBezTo>
                  <a:pt x="1544182" y="2548098"/>
                  <a:pt x="1535892" y="2556515"/>
                  <a:pt x="1525591" y="2556515"/>
                </a:cubicBezTo>
                <a:cubicBezTo>
                  <a:pt x="1515292" y="2556640"/>
                  <a:pt x="1506875" y="2548350"/>
                  <a:pt x="1506875" y="2538049"/>
                </a:cubicBezTo>
                <a:cubicBezTo>
                  <a:pt x="1506875" y="2527749"/>
                  <a:pt x="1515166" y="2519333"/>
                  <a:pt x="1525341" y="2519333"/>
                </a:cubicBezTo>
                <a:close/>
                <a:moveTo>
                  <a:pt x="1440173" y="2516570"/>
                </a:moveTo>
                <a:cubicBezTo>
                  <a:pt x="1449971" y="2516570"/>
                  <a:pt x="1458136" y="2524484"/>
                  <a:pt x="1458136" y="2534407"/>
                </a:cubicBezTo>
                <a:cubicBezTo>
                  <a:pt x="1458261" y="2544331"/>
                  <a:pt x="1450222" y="2552370"/>
                  <a:pt x="1440299" y="2552370"/>
                </a:cubicBezTo>
                <a:cubicBezTo>
                  <a:pt x="1430376" y="2552370"/>
                  <a:pt x="1422336" y="2544457"/>
                  <a:pt x="1422336" y="2534534"/>
                </a:cubicBezTo>
                <a:cubicBezTo>
                  <a:pt x="1422336" y="2524610"/>
                  <a:pt x="1430250" y="2516570"/>
                  <a:pt x="1440173" y="2516570"/>
                </a:cubicBezTo>
                <a:close/>
                <a:moveTo>
                  <a:pt x="1610633" y="2515440"/>
                </a:moveTo>
                <a:cubicBezTo>
                  <a:pt x="1620807" y="2515440"/>
                  <a:pt x="1629097" y="2523605"/>
                  <a:pt x="1629097" y="2533781"/>
                </a:cubicBezTo>
                <a:cubicBezTo>
                  <a:pt x="1629097" y="2543955"/>
                  <a:pt x="1620933" y="2552245"/>
                  <a:pt x="1610758" y="2552245"/>
                </a:cubicBezTo>
                <a:cubicBezTo>
                  <a:pt x="1600584" y="2552245"/>
                  <a:pt x="1592293" y="2544081"/>
                  <a:pt x="1592293" y="2533906"/>
                </a:cubicBezTo>
                <a:cubicBezTo>
                  <a:pt x="1592167" y="2523732"/>
                  <a:pt x="1600332" y="2515440"/>
                  <a:pt x="1610633" y="2515440"/>
                </a:cubicBezTo>
                <a:close/>
                <a:moveTo>
                  <a:pt x="2167737" y="2513429"/>
                </a:moveTo>
                <a:cubicBezTo>
                  <a:pt x="2175526" y="2513303"/>
                  <a:pt x="2181931" y="2519710"/>
                  <a:pt x="2181931" y="2527497"/>
                </a:cubicBezTo>
                <a:cubicBezTo>
                  <a:pt x="2181931" y="2535286"/>
                  <a:pt x="2175526" y="2541693"/>
                  <a:pt x="2167737" y="2541693"/>
                </a:cubicBezTo>
                <a:cubicBezTo>
                  <a:pt x="2159950" y="2541818"/>
                  <a:pt x="2153543" y="2535412"/>
                  <a:pt x="2153543" y="2527624"/>
                </a:cubicBezTo>
                <a:cubicBezTo>
                  <a:pt x="2153543" y="2519710"/>
                  <a:pt x="2159825" y="2513429"/>
                  <a:pt x="2167737" y="2513429"/>
                </a:cubicBezTo>
                <a:close/>
                <a:moveTo>
                  <a:pt x="1355637" y="2506270"/>
                </a:moveTo>
                <a:cubicBezTo>
                  <a:pt x="1365057" y="2506270"/>
                  <a:pt x="1372721" y="2513807"/>
                  <a:pt x="1372721" y="2523229"/>
                </a:cubicBezTo>
                <a:cubicBezTo>
                  <a:pt x="1372721" y="2532649"/>
                  <a:pt x="1365184" y="2540313"/>
                  <a:pt x="1355762" y="2540313"/>
                </a:cubicBezTo>
                <a:cubicBezTo>
                  <a:pt x="1346341" y="2540313"/>
                  <a:pt x="1338678" y="2532776"/>
                  <a:pt x="1338678" y="2523354"/>
                </a:cubicBezTo>
                <a:cubicBezTo>
                  <a:pt x="1338678" y="2513933"/>
                  <a:pt x="1346215" y="2506270"/>
                  <a:pt x="1355637" y="2506270"/>
                </a:cubicBezTo>
                <a:close/>
                <a:moveTo>
                  <a:pt x="1695047" y="2503883"/>
                </a:moveTo>
                <a:cubicBezTo>
                  <a:pt x="1705097" y="2503883"/>
                  <a:pt x="1713261" y="2511923"/>
                  <a:pt x="1713261" y="2521972"/>
                </a:cubicBezTo>
                <a:cubicBezTo>
                  <a:pt x="1713261" y="2532021"/>
                  <a:pt x="1705222" y="2540185"/>
                  <a:pt x="1695173" y="2540185"/>
                </a:cubicBezTo>
                <a:cubicBezTo>
                  <a:pt x="1685123" y="2540185"/>
                  <a:pt x="1676959" y="2532146"/>
                  <a:pt x="1676959" y="2522097"/>
                </a:cubicBezTo>
                <a:cubicBezTo>
                  <a:pt x="1676833" y="2512048"/>
                  <a:pt x="1684998" y="2503883"/>
                  <a:pt x="1695047" y="2503883"/>
                </a:cubicBezTo>
                <a:close/>
                <a:moveTo>
                  <a:pt x="1033684" y="2499989"/>
                </a:moveTo>
                <a:cubicBezTo>
                  <a:pt x="1040341" y="2499989"/>
                  <a:pt x="1045743" y="2505264"/>
                  <a:pt x="1045743" y="2511923"/>
                </a:cubicBezTo>
                <a:cubicBezTo>
                  <a:pt x="1045743" y="2518580"/>
                  <a:pt x="1040467" y="2523982"/>
                  <a:pt x="1033809" y="2523982"/>
                </a:cubicBezTo>
                <a:cubicBezTo>
                  <a:pt x="1027277" y="2523982"/>
                  <a:pt x="1021876" y="2518580"/>
                  <a:pt x="1021876" y="2512048"/>
                </a:cubicBezTo>
                <a:cubicBezTo>
                  <a:pt x="1021876" y="2505391"/>
                  <a:pt x="1027277" y="2499989"/>
                  <a:pt x="1033684" y="2499989"/>
                </a:cubicBezTo>
                <a:close/>
                <a:moveTo>
                  <a:pt x="2016871" y="2491573"/>
                </a:moveTo>
                <a:cubicBezTo>
                  <a:pt x="2026168" y="2491447"/>
                  <a:pt x="2033705" y="2498984"/>
                  <a:pt x="2033705" y="2508279"/>
                </a:cubicBezTo>
                <a:cubicBezTo>
                  <a:pt x="2033705" y="2517575"/>
                  <a:pt x="2026168" y="2525112"/>
                  <a:pt x="2016871" y="2525112"/>
                </a:cubicBezTo>
                <a:cubicBezTo>
                  <a:pt x="2007702" y="2525237"/>
                  <a:pt x="2000039" y="2517700"/>
                  <a:pt x="2000039" y="2508406"/>
                </a:cubicBezTo>
                <a:cubicBezTo>
                  <a:pt x="2000039" y="2499109"/>
                  <a:pt x="2007576" y="2491573"/>
                  <a:pt x="2016871" y="2491573"/>
                </a:cubicBezTo>
                <a:close/>
                <a:moveTo>
                  <a:pt x="1272479" y="2488935"/>
                </a:moveTo>
                <a:cubicBezTo>
                  <a:pt x="1281272" y="2488935"/>
                  <a:pt x="1288307" y="2495970"/>
                  <a:pt x="1288307" y="2504637"/>
                </a:cubicBezTo>
                <a:cubicBezTo>
                  <a:pt x="1288307" y="2513305"/>
                  <a:pt x="1281272" y="2520340"/>
                  <a:pt x="1272605" y="2520340"/>
                </a:cubicBezTo>
                <a:cubicBezTo>
                  <a:pt x="1263937" y="2520340"/>
                  <a:pt x="1256903" y="2513305"/>
                  <a:pt x="1256903" y="2504637"/>
                </a:cubicBezTo>
                <a:cubicBezTo>
                  <a:pt x="1256777" y="2495970"/>
                  <a:pt x="1263812" y="2488935"/>
                  <a:pt x="1272479" y="2488935"/>
                </a:cubicBezTo>
                <a:close/>
                <a:moveTo>
                  <a:pt x="1778080" y="2484915"/>
                </a:moveTo>
                <a:cubicBezTo>
                  <a:pt x="1788002" y="2484915"/>
                  <a:pt x="1796042" y="2492829"/>
                  <a:pt x="1796042" y="2502752"/>
                </a:cubicBezTo>
                <a:cubicBezTo>
                  <a:pt x="1796169" y="2512676"/>
                  <a:pt x="1788129" y="2520715"/>
                  <a:pt x="1778205" y="2520715"/>
                </a:cubicBezTo>
                <a:cubicBezTo>
                  <a:pt x="1768281" y="2520840"/>
                  <a:pt x="1760242" y="2512801"/>
                  <a:pt x="1760242" y="2502878"/>
                </a:cubicBezTo>
                <a:cubicBezTo>
                  <a:pt x="1760116" y="2492955"/>
                  <a:pt x="1768156" y="2484915"/>
                  <a:pt x="1778080" y="2484915"/>
                </a:cubicBezTo>
                <a:close/>
                <a:moveTo>
                  <a:pt x="674801" y="2482024"/>
                </a:moveTo>
                <a:cubicBezTo>
                  <a:pt x="677314" y="2482024"/>
                  <a:pt x="679450" y="2484034"/>
                  <a:pt x="679450" y="2486672"/>
                </a:cubicBezTo>
                <a:cubicBezTo>
                  <a:pt x="679450" y="2489311"/>
                  <a:pt x="677440" y="2491322"/>
                  <a:pt x="674801" y="2491322"/>
                </a:cubicBezTo>
                <a:cubicBezTo>
                  <a:pt x="672289" y="2491322"/>
                  <a:pt x="670154" y="2489311"/>
                  <a:pt x="670154" y="2486672"/>
                </a:cubicBezTo>
                <a:cubicBezTo>
                  <a:pt x="670029" y="2484034"/>
                  <a:pt x="672164" y="2482024"/>
                  <a:pt x="674801" y="2482024"/>
                </a:cubicBezTo>
                <a:close/>
                <a:moveTo>
                  <a:pt x="540520" y="2481900"/>
                </a:moveTo>
                <a:cubicBezTo>
                  <a:pt x="542529" y="2481900"/>
                  <a:pt x="544289" y="2483658"/>
                  <a:pt x="544289" y="2485670"/>
                </a:cubicBezTo>
                <a:cubicBezTo>
                  <a:pt x="544289" y="2487678"/>
                  <a:pt x="542656" y="2489438"/>
                  <a:pt x="540520" y="2489438"/>
                </a:cubicBezTo>
                <a:cubicBezTo>
                  <a:pt x="538384" y="2489438"/>
                  <a:pt x="536752" y="2487678"/>
                  <a:pt x="536752" y="2485670"/>
                </a:cubicBezTo>
                <a:cubicBezTo>
                  <a:pt x="536752" y="2483533"/>
                  <a:pt x="538384" y="2481900"/>
                  <a:pt x="540520" y="2481900"/>
                </a:cubicBezTo>
                <a:close/>
                <a:moveTo>
                  <a:pt x="410885" y="2477881"/>
                </a:moveTo>
                <a:cubicBezTo>
                  <a:pt x="412266" y="2477881"/>
                  <a:pt x="413397" y="2478886"/>
                  <a:pt x="413397" y="2480268"/>
                </a:cubicBezTo>
                <a:cubicBezTo>
                  <a:pt x="413397" y="2481650"/>
                  <a:pt x="412392" y="2482781"/>
                  <a:pt x="411011" y="2482781"/>
                </a:cubicBezTo>
                <a:cubicBezTo>
                  <a:pt x="409629" y="2482781"/>
                  <a:pt x="408499" y="2481776"/>
                  <a:pt x="408499" y="2480394"/>
                </a:cubicBezTo>
                <a:cubicBezTo>
                  <a:pt x="408499" y="2479138"/>
                  <a:pt x="409629" y="2478007"/>
                  <a:pt x="410885" y="2477881"/>
                </a:cubicBezTo>
                <a:close/>
                <a:moveTo>
                  <a:pt x="814235" y="2475493"/>
                </a:moveTo>
                <a:cubicBezTo>
                  <a:pt x="817753" y="2475493"/>
                  <a:pt x="820517" y="2478256"/>
                  <a:pt x="820517" y="2481648"/>
                </a:cubicBezTo>
                <a:cubicBezTo>
                  <a:pt x="820642" y="2485165"/>
                  <a:pt x="817878" y="2487930"/>
                  <a:pt x="814361" y="2487930"/>
                </a:cubicBezTo>
                <a:cubicBezTo>
                  <a:pt x="810970" y="2487930"/>
                  <a:pt x="808206" y="2485165"/>
                  <a:pt x="808206" y="2481775"/>
                </a:cubicBezTo>
                <a:cubicBezTo>
                  <a:pt x="808206" y="2478383"/>
                  <a:pt x="810843" y="2475619"/>
                  <a:pt x="814235" y="2475493"/>
                </a:cubicBezTo>
                <a:close/>
                <a:moveTo>
                  <a:pt x="2509910" y="2473358"/>
                </a:moveTo>
                <a:cubicBezTo>
                  <a:pt x="2512800" y="2473358"/>
                  <a:pt x="2515060" y="2475620"/>
                  <a:pt x="2515060" y="2478383"/>
                </a:cubicBezTo>
                <a:cubicBezTo>
                  <a:pt x="2515185" y="2481272"/>
                  <a:pt x="2512925" y="2483532"/>
                  <a:pt x="2510035" y="2483532"/>
                </a:cubicBezTo>
                <a:cubicBezTo>
                  <a:pt x="2507272" y="2483532"/>
                  <a:pt x="2504885" y="2481272"/>
                  <a:pt x="2504885" y="2478508"/>
                </a:cubicBezTo>
                <a:cubicBezTo>
                  <a:pt x="2504885" y="2475745"/>
                  <a:pt x="2507146" y="2473484"/>
                  <a:pt x="2509910" y="2473358"/>
                </a:cubicBezTo>
                <a:close/>
                <a:moveTo>
                  <a:pt x="2375628" y="2472480"/>
                </a:moveTo>
                <a:cubicBezTo>
                  <a:pt x="2380025" y="2472480"/>
                  <a:pt x="2383667" y="2475998"/>
                  <a:pt x="2383667" y="2480395"/>
                </a:cubicBezTo>
                <a:cubicBezTo>
                  <a:pt x="2383667" y="2484791"/>
                  <a:pt x="2380150" y="2488435"/>
                  <a:pt x="2375754" y="2488435"/>
                </a:cubicBezTo>
                <a:cubicBezTo>
                  <a:pt x="2371358" y="2488435"/>
                  <a:pt x="2367840" y="2484917"/>
                  <a:pt x="2367840" y="2480520"/>
                </a:cubicBezTo>
                <a:cubicBezTo>
                  <a:pt x="2367840" y="2476123"/>
                  <a:pt x="2371358" y="2472480"/>
                  <a:pt x="2375628" y="2472480"/>
                </a:cubicBezTo>
                <a:close/>
                <a:moveTo>
                  <a:pt x="2639546" y="2470972"/>
                </a:moveTo>
                <a:cubicBezTo>
                  <a:pt x="2640298" y="2470972"/>
                  <a:pt x="2640800" y="2471600"/>
                  <a:pt x="2640800" y="2472354"/>
                </a:cubicBezTo>
                <a:cubicBezTo>
                  <a:pt x="2640927" y="2473107"/>
                  <a:pt x="2640298" y="2473735"/>
                  <a:pt x="2639546" y="2473735"/>
                </a:cubicBezTo>
                <a:cubicBezTo>
                  <a:pt x="2638792" y="2473735"/>
                  <a:pt x="2638164" y="2473107"/>
                  <a:pt x="2638164" y="2472354"/>
                </a:cubicBezTo>
                <a:cubicBezTo>
                  <a:pt x="2638164" y="2471600"/>
                  <a:pt x="2638792" y="2471098"/>
                  <a:pt x="2639546" y="2470972"/>
                </a:cubicBezTo>
                <a:close/>
                <a:moveTo>
                  <a:pt x="1191330" y="2464441"/>
                </a:moveTo>
                <a:cubicBezTo>
                  <a:pt x="1199119" y="2464315"/>
                  <a:pt x="1205526" y="2470722"/>
                  <a:pt x="1205526" y="2478509"/>
                </a:cubicBezTo>
                <a:cubicBezTo>
                  <a:pt x="1205651" y="2486298"/>
                  <a:pt x="1199245" y="2492705"/>
                  <a:pt x="1191457" y="2492705"/>
                </a:cubicBezTo>
                <a:cubicBezTo>
                  <a:pt x="1183668" y="2492830"/>
                  <a:pt x="1177261" y="2486424"/>
                  <a:pt x="1177261" y="2478636"/>
                </a:cubicBezTo>
                <a:cubicBezTo>
                  <a:pt x="1177136" y="2470847"/>
                  <a:pt x="1183543" y="2464441"/>
                  <a:pt x="1191330" y="2464441"/>
                </a:cubicBezTo>
                <a:close/>
                <a:moveTo>
                  <a:pt x="2236197" y="2462555"/>
                </a:moveTo>
                <a:cubicBezTo>
                  <a:pt x="2243985" y="2462429"/>
                  <a:pt x="2250392" y="2468836"/>
                  <a:pt x="2250392" y="2476623"/>
                </a:cubicBezTo>
                <a:cubicBezTo>
                  <a:pt x="2250392" y="2484412"/>
                  <a:pt x="2243985" y="2490819"/>
                  <a:pt x="2236197" y="2490819"/>
                </a:cubicBezTo>
                <a:cubicBezTo>
                  <a:pt x="2228408" y="2490944"/>
                  <a:pt x="2222002" y="2484538"/>
                  <a:pt x="2222002" y="2476750"/>
                </a:cubicBezTo>
                <a:cubicBezTo>
                  <a:pt x="2221876" y="2468836"/>
                  <a:pt x="2228283" y="2462555"/>
                  <a:pt x="2236197" y="2462555"/>
                </a:cubicBezTo>
                <a:close/>
                <a:moveTo>
                  <a:pt x="2765032" y="2461927"/>
                </a:moveTo>
                <a:cubicBezTo>
                  <a:pt x="2765660" y="2461927"/>
                  <a:pt x="2766164" y="2462430"/>
                  <a:pt x="2766164" y="2463057"/>
                </a:cubicBezTo>
                <a:cubicBezTo>
                  <a:pt x="2766164" y="2463685"/>
                  <a:pt x="2765660" y="2464187"/>
                  <a:pt x="2765032" y="2464187"/>
                </a:cubicBezTo>
                <a:cubicBezTo>
                  <a:pt x="2764405" y="2464187"/>
                  <a:pt x="2763902" y="2463685"/>
                  <a:pt x="2763902" y="2463057"/>
                </a:cubicBezTo>
                <a:cubicBezTo>
                  <a:pt x="2763902" y="2462430"/>
                  <a:pt x="2764405" y="2461927"/>
                  <a:pt x="2765032" y="2461927"/>
                </a:cubicBezTo>
                <a:close/>
                <a:moveTo>
                  <a:pt x="1858974" y="2458285"/>
                </a:moveTo>
                <a:cubicBezTo>
                  <a:pt x="1868899" y="2458285"/>
                  <a:pt x="1876938" y="2466199"/>
                  <a:pt x="1876938" y="2476122"/>
                </a:cubicBezTo>
                <a:cubicBezTo>
                  <a:pt x="1876938" y="2486046"/>
                  <a:pt x="1869024" y="2494085"/>
                  <a:pt x="1859101" y="2494085"/>
                </a:cubicBezTo>
                <a:cubicBezTo>
                  <a:pt x="1849177" y="2494085"/>
                  <a:pt x="1841137" y="2486172"/>
                  <a:pt x="1841137" y="2476249"/>
                </a:cubicBezTo>
                <a:cubicBezTo>
                  <a:pt x="1841137" y="2466325"/>
                  <a:pt x="1849177" y="2458285"/>
                  <a:pt x="1858974" y="2458285"/>
                </a:cubicBezTo>
                <a:close/>
                <a:moveTo>
                  <a:pt x="960073" y="2454893"/>
                </a:moveTo>
                <a:cubicBezTo>
                  <a:pt x="967862" y="2454767"/>
                  <a:pt x="974268" y="2461174"/>
                  <a:pt x="974268" y="2468961"/>
                </a:cubicBezTo>
                <a:cubicBezTo>
                  <a:pt x="974394" y="2476750"/>
                  <a:pt x="967987" y="2483157"/>
                  <a:pt x="960200" y="2483157"/>
                </a:cubicBezTo>
                <a:cubicBezTo>
                  <a:pt x="952411" y="2483282"/>
                  <a:pt x="946004" y="2476876"/>
                  <a:pt x="946004" y="2469088"/>
                </a:cubicBezTo>
                <a:cubicBezTo>
                  <a:pt x="945879" y="2461299"/>
                  <a:pt x="952285" y="2454893"/>
                  <a:pt x="960073" y="2454893"/>
                </a:cubicBezTo>
                <a:close/>
                <a:moveTo>
                  <a:pt x="2090106" y="2445975"/>
                </a:moveTo>
                <a:cubicBezTo>
                  <a:pt x="2100658" y="2445975"/>
                  <a:pt x="2109200" y="2454392"/>
                  <a:pt x="2109200" y="2464943"/>
                </a:cubicBezTo>
                <a:cubicBezTo>
                  <a:pt x="2109200" y="2475495"/>
                  <a:pt x="2100783" y="2484037"/>
                  <a:pt x="2090232" y="2484037"/>
                </a:cubicBezTo>
                <a:cubicBezTo>
                  <a:pt x="2079680" y="2484037"/>
                  <a:pt x="2071138" y="2475620"/>
                  <a:pt x="2071138" y="2465069"/>
                </a:cubicBezTo>
                <a:cubicBezTo>
                  <a:pt x="2071138" y="2454517"/>
                  <a:pt x="2079680" y="2445975"/>
                  <a:pt x="2090106" y="2445975"/>
                </a:cubicBezTo>
                <a:close/>
                <a:moveTo>
                  <a:pt x="1112696" y="2426756"/>
                </a:moveTo>
                <a:cubicBezTo>
                  <a:pt x="1122996" y="2426630"/>
                  <a:pt x="1131412" y="2434920"/>
                  <a:pt x="1131412" y="2445221"/>
                </a:cubicBezTo>
                <a:cubicBezTo>
                  <a:pt x="1131538" y="2455396"/>
                  <a:pt x="1123248" y="2463812"/>
                  <a:pt x="1112947" y="2463812"/>
                </a:cubicBezTo>
                <a:cubicBezTo>
                  <a:pt x="1102647" y="2463938"/>
                  <a:pt x="1094231" y="2455648"/>
                  <a:pt x="1094231" y="2445347"/>
                </a:cubicBezTo>
                <a:cubicBezTo>
                  <a:pt x="1094231" y="2435172"/>
                  <a:pt x="1102521" y="2426756"/>
                  <a:pt x="1112696" y="2426756"/>
                </a:cubicBezTo>
                <a:close/>
                <a:moveTo>
                  <a:pt x="1937232" y="2420979"/>
                </a:moveTo>
                <a:cubicBezTo>
                  <a:pt x="1949041" y="2420853"/>
                  <a:pt x="1958713" y="2430400"/>
                  <a:pt x="1958713" y="2442332"/>
                </a:cubicBezTo>
                <a:cubicBezTo>
                  <a:pt x="1958838" y="2454141"/>
                  <a:pt x="1949166" y="2463813"/>
                  <a:pt x="1937359" y="2463813"/>
                </a:cubicBezTo>
                <a:cubicBezTo>
                  <a:pt x="1925550" y="2463938"/>
                  <a:pt x="1915878" y="2454266"/>
                  <a:pt x="1915878" y="2442459"/>
                </a:cubicBezTo>
                <a:cubicBezTo>
                  <a:pt x="1915878" y="2430525"/>
                  <a:pt x="1925425" y="2420979"/>
                  <a:pt x="1937232" y="2420979"/>
                </a:cubicBezTo>
                <a:close/>
                <a:moveTo>
                  <a:pt x="1525089" y="2420977"/>
                </a:moveTo>
                <a:cubicBezTo>
                  <a:pt x="1537148" y="2420977"/>
                  <a:pt x="1547072" y="2430774"/>
                  <a:pt x="1547072" y="2442835"/>
                </a:cubicBezTo>
                <a:cubicBezTo>
                  <a:pt x="1547072" y="2454892"/>
                  <a:pt x="1537275" y="2464816"/>
                  <a:pt x="1525216" y="2464816"/>
                </a:cubicBezTo>
                <a:cubicBezTo>
                  <a:pt x="1513157" y="2464816"/>
                  <a:pt x="1503233" y="2455019"/>
                  <a:pt x="1503233" y="2442960"/>
                </a:cubicBezTo>
                <a:cubicBezTo>
                  <a:pt x="1503107" y="2430901"/>
                  <a:pt x="1512905" y="2421103"/>
                  <a:pt x="1525089" y="2420977"/>
                </a:cubicBezTo>
                <a:close/>
                <a:moveTo>
                  <a:pt x="614885" y="2420725"/>
                </a:moveTo>
                <a:cubicBezTo>
                  <a:pt x="617773" y="2420725"/>
                  <a:pt x="620160" y="2423112"/>
                  <a:pt x="620160" y="2426000"/>
                </a:cubicBezTo>
                <a:cubicBezTo>
                  <a:pt x="620160" y="2428890"/>
                  <a:pt x="617773" y="2431277"/>
                  <a:pt x="614885" y="2431277"/>
                </a:cubicBezTo>
                <a:cubicBezTo>
                  <a:pt x="611870" y="2431277"/>
                  <a:pt x="609483" y="2428890"/>
                  <a:pt x="609483" y="2426000"/>
                </a:cubicBezTo>
                <a:cubicBezTo>
                  <a:pt x="609483" y="2423112"/>
                  <a:pt x="611870" y="2420725"/>
                  <a:pt x="614885" y="2420725"/>
                </a:cubicBezTo>
                <a:close/>
                <a:moveTo>
                  <a:pt x="1439923" y="2417461"/>
                </a:moveTo>
                <a:cubicBezTo>
                  <a:pt x="1451730" y="2417335"/>
                  <a:pt x="1461402" y="2427007"/>
                  <a:pt x="1461402" y="2438814"/>
                </a:cubicBezTo>
                <a:cubicBezTo>
                  <a:pt x="1461529" y="2450748"/>
                  <a:pt x="1451857" y="2460420"/>
                  <a:pt x="1440048" y="2460420"/>
                </a:cubicBezTo>
                <a:cubicBezTo>
                  <a:pt x="1428114" y="2460547"/>
                  <a:pt x="1418442" y="2451000"/>
                  <a:pt x="1418442" y="2439066"/>
                </a:cubicBezTo>
                <a:cubicBezTo>
                  <a:pt x="1418442" y="2427258"/>
                  <a:pt x="1427989" y="2417586"/>
                  <a:pt x="1439923" y="2417461"/>
                </a:cubicBezTo>
                <a:close/>
                <a:moveTo>
                  <a:pt x="749417" y="2417460"/>
                </a:moveTo>
                <a:cubicBezTo>
                  <a:pt x="754315" y="2417335"/>
                  <a:pt x="758335" y="2421354"/>
                  <a:pt x="758335" y="2426253"/>
                </a:cubicBezTo>
                <a:cubicBezTo>
                  <a:pt x="758335" y="2431151"/>
                  <a:pt x="754442" y="2435171"/>
                  <a:pt x="749543" y="2435171"/>
                </a:cubicBezTo>
                <a:cubicBezTo>
                  <a:pt x="744643" y="2435297"/>
                  <a:pt x="740624" y="2431278"/>
                  <a:pt x="740624" y="2426379"/>
                </a:cubicBezTo>
                <a:cubicBezTo>
                  <a:pt x="740624" y="2421479"/>
                  <a:pt x="744643" y="2417586"/>
                  <a:pt x="749417" y="2417460"/>
                </a:cubicBezTo>
                <a:close/>
                <a:moveTo>
                  <a:pt x="1610257" y="2416455"/>
                </a:moveTo>
                <a:cubicBezTo>
                  <a:pt x="1622316" y="2416455"/>
                  <a:pt x="1632240" y="2426252"/>
                  <a:pt x="1632240" y="2438313"/>
                </a:cubicBezTo>
                <a:cubicBezTo>
                  <a:pt x="1632240" y="2450372"/>
                  <a:pt x="1622443" y="2460294"/>
                  <a:pt x="1610384" y="2460294"/>
                </a:cubicBezTo>
                <a:cubicBezTo>
                  <a:pt x="1598325" y="2460294"/>
                  <a:pt x="1588401" y="2450497"/>
                  <a:pt x="1588401" y="2438438"/>
                </a:cubicBezTo>
                <a:cubicBezTo>
                  <a:pt x="1588275" y="2426379"/>
                  <a:pt x="1598073" y="2416455"/>
                  <a:pt x="1610257" y="2416455"/>
                </a:cubicBezTo>
                <a:close/>
                <a:moveTo>
                  <a:pt x="484872" y="2416455"/>
                </a:moveTo>
                <a:cubicBezTo>
                  <a:pt x="487384" y="2416455"/>
                  <a:pt x="489394" y="2418465"/>
                  <a:pt x="489394" y="2420852"/>
                </a:cubicBezTo>
                <a:cubicBezTo>
                  <a:pt x="489394" y="2423365"/>
                  <a:pt x="487384" y="2425375"/>
                  <a:pt x="484997" y="2425375"/>
                </a:cubicBezTo>
                <a:cubicBezTo>
                  <a:pt x="482611" y="2425375"/>
                  <a:pt x="480601" y="2423365"/>
                  <a:pt x="480601" y="2420978"/>
                </a:cubicBezTo>
                <a:cubicBezTo>
                  <a:pt x="480601" y="2418465"/>
                  <a:pt x="482611" y="2416455"/>
                  <a:pt x="484872" y="2416455"/>
                </a:cubicBezTo>
                <a:close/>
                <a:moveTo>
                  <a:pt x="890108" y="2408541"/>
                </a:moveTo>
                <a:cubicBezTo>
                  <a:pt x="896640" y="2408541"/>
                  <a:pt x="901916" y="2413691"/>
                  <a:pt x="901916" y="2420224"/>
                </a:cubicBezTo>
                <a:cubicBezTo>
                  <a:pt x="901916" y="2426756"/>
                  <a:pt x="896765" y="2432033"/>
                  <a:pt x="890234" y="2432033"/>
                </a:cubicBezTo>
                <a:cubicBezTo>
                  <a:pt x="883701" y="2432033"/>
                  <a:pt x="878426" y="2426881"/>
                  <a:pt x="878426" y="2420349"/>
                </a:cubicBezTo>
                <a:cubicBezTo>
                  <a:pt x="878426" y="2413943"/>
                  <a:pt x="883701" y="2408667"/>
                  <a:pt x="890108" y="2408541"/>
                </a:cubicBezTo>
                <a:close/>
                <a:moveTo>
                  <a:pt x="2564930" y="2408290"/>
                </a:moveTo>
                <a:cubicBezTo>
                  <a:pt x="2567819" y="2408290"/>
                  <a:pt x="2570079" y="2410551"/>
                  <a:pt x="2570079" y="2413315"/>
                </a:cubicBezTo>
                <a:cubicBezTo>
                  <a:pt x="2570206" y="2416204"/>
                  <a:pt x="2567819" y="2418464"/>
                  <a:pt x="2565055" y="2418464"/>
                </a:cubicBezTo>
                <a:cubicBezTo>
                  <a:pt x="2562167" y="2418590"/>
                  <a:pt x="2559905" y="2416204"/>
                  <a:pt x="2559905" y="2413440"/>
                </a:cubicBezTo>
                <a:cubicBezTo>
                  <a:pt x="2559905" y="2410551"/>
                  <a:pt x="2562167" y="2408290"/>
                  <a:pt x="2564930" y="2408290"/>
                </a:cubicBezTo>
                <a:close/>
                <a:moveTo>
                  <a:pt x="359508" y="2408290"/>
                </a:moveTo>
                <a:cubicBezTo>
                  <a:pt x="361770" y="2408290"/>
                  <a:pt x="363528" y="2410175"/>
                  <a:pt x="363528" y="2412310"/>
                </a:cubicBezTo>
                <a:cubicBezTo>
                  <a:pt x="363528" y="2414572"/>
                  <a:pt x="361770" y="2416330"/>
                  <a:pt x="359508" y="2416330"/>
                </a:cubicBezTo>
                <a:cubicBezTo>
                  <a:pt x="357248" y="2416455"/>
                  <a:pt x="355489" y="2414572"/>
                  <a:pt x="355489" y="2412435"/>
                </a:cubicBezTo>
                <a:cubicBezTo>
                  <a:pt x="355614" y="2410175"/>
                  <a:pt x="357373" y="2408416"/>
                  <a:pt x="359508" y="2408290"/>
                </a:cubicBezTo>
                <a:close/>
                <a:moveTo>
                  <a:pt x="2435295" y="2407661"/>
                </a:moveTo>
                <a:cubicBezTo>
                  <a:pt x="2441827" y="2407661"/>
                  <a:pt x="2447104" y="2412937"/>
                  <a:pt x="2447104" y="2419344"/>
                </a:cubicBezTo>
                <a:cubicBezTo>
                  <a:pt x="2447104" y="2425876"/>
                  <a:pt x="2441952" y="2431153"/>
                  <a:pt x="2435422" y="2431153"/>
                </a:cubicBezTo>
                <a:cubicBezTo>
                  <a:pt x="2428888" y="2431153"/>
                  <a:pt x="2423613" y="2426002"/>
                  <a:pt x="2423613" y="2419470"/>
                </a:cubicBezTo>
                <a:cubicBezTo>
                  <a:pt x="2423613" y="2412937"/>
                  <a:pt x="2428763" y="2407661"/>
                  <a:pt x="2435295" y="2407661"/>
                </a:cubicBezTo>
                <a:close/>
                <a:moveTo>
                  <a:pt x="2300511" y="2405903"/>
                </a:moveTo>
                <a:cubicBezTo>
                  <a:pt x="2308802" y="2405777"/>
                  <a:pt x="2315585" y="2412561"/>
                  <a:pt x="2315585" y="2420851"/>
                </a:cubicBezTo>
                <a:cubicBezTo>
                  <a:pt x="2315710" y="2429143"/>
                  <a:pt x="2308928" y="2435925"/>
                  <a:pt x="2300636" y="2435925"/>
                </a:cubicBezTo>
                <a:cubicBezTo>
                  <a:pt x="2292346" y="2435925"/>
                  <a:pt x="2285563" y="2429143"/>
                  <a:pt x="2285563" y="2420851"/>
                </a:cubicBezTo>
                <a:cubicBezTo>
                  <a:pt x="2285437" y="2412561"/>
                  <a:pt x="2292221" y="2405777"/>
                  <a:pt x="2300511" y="2405903"/>
                </a:cubicBezTo>
                <a:close/>
                <a:moveTo>
                  <a:pt x="1355510" y="2405778"/>
                </a:moveTo>
                <a:cubicBezTo>
                  <a:pt x="1366942" y="2405778"/>
                  <a:pt x="1376364" y="2415073"/>
                  <a:pt x="1376364" y="2426505"/>
                </a:cubicBezTo>
                <a:cubicBezTo>
                  <a:pt x="1376364" y="2437936"/>
                  <a:pt x="1367067" y="2447358"/>
                  <a:pt x="1355635" y="2447358"/>
                </a:cubicBezTo>
                <a:cubicBezTo>
                  <a:pt x="1344205" y="2447358"/>
                  <a:pt x="1334783" y="2438061"/>
                  <a:pt x="1334783" y="2426630"/>
                </a:cubicBezTo>
                <a:cubicBezTo>
                  <a:pt x="1334783" y="2415200"/>
                  <a:pt x="1344078" y="2405778"/>
                  <a:pt x="1355510" y="2405778"/>
                </a:cubicBezTo>
                <a:close/>
                <a:moveTo>
                  <a:pt x="1694420" y="2403391"/>
                </a:moveTo>
                <a:cubicBezTo>
                  <a:pt x="1706479" y="2403391"/>
                  <a:pt x="1716401" y="2413188"/>
                  <a:pt x="1716401" y="2425249"/>
                </a:cubicBezTo>
                <a:cubicBezTo>
                  <a:pt x="1716401" y="2437306"/>
                  <a:pt x="1706604" y="2447230"/>
                  <a:pt x="1694545" y="2447230"/>
                </a:cubicBezTo>
                <a:cubicBezTo>
                  <a:pt x="1682486" y="2447230"/>
                  <a:pt x="1672562" y="2437433"/>
                  <a:pt x="1672562" y="2425374"/>
                </a:cubicBezTo>
                <a:cubicBezTo>
                  <a:pt x="1672562" y="2413315"/>
                  <a:pt x="1682359" y="2403517"/>
                  <a:pt x="1694420" y="2403391"/>
                </a:cubicBezTo>
                <a:close/>
                <a:moveTo>
                  <a:pt x="2690419" y="2400752"/>
                </a:moveTo>
                <a:cubicBezTo>
                  <a:pt x="2692178" y="2400752"/>
                  <a:pt x="2693561" y="2402134"/>
                  <a:pt x="2693561" y="2403892"/>
                </a:cubicBezTo>
                <a:cubicBezTo>
                  <a:pt x="2693561" y="2405651"/>
                  <a:pt x="2692178" y="2407034"/>
                  <a:pt x="2690419" y="2407034"/>
                </a:cubicBezTo>
                <a:cubicBezTo>
                  <a:pt x="2688661" y="2407034"/>
                  <a:pt x="2687279" y="2405651"/>
                  <a:pt x="2687279" y="2404019"/>
                </a:cubicBezTo>
                <a:cubicBezTo>
                  <a:pt x="2687279" y="2402260"/>
                  <a:pt x="2688661" y="2400878"/>
                  <a:pt x="2690419" y="2400752"/>
                </a:cubicBezTo>
                <a:close/>
                <a:moveTo>
                  <a:pt x="2159822" y="2398492"/>
                </a:moveTo>
                <a:cubicBezTo>
                  <a:pt x="2169369" y="2398492"/>
                  <a:pt x="2177158" y="2406154"/>
                  <a:pt x="2177158" y="2415701"/>
                </a:cubicBezTo>
                <a:cubicBezTo>
                  <a:pt x="2177158" y="2425247"/>
                  <a:pt x="2169494" y="2433036"/>
                  <a:pt x="2159947" y="2433036"/>
                </a:cubicBezTo>
                <a:cubicBezTo>
                  <a:pt x="2150401" y="2433036"/>
                  <a:pt x="2142613" y="2425372"/>
                  <a:pt x="2142613" y="2415827"/>
                </a:cubicBezTo>
                <a:cubicBezTo>
                  <a:pt x="2142613" y="2406279"/>
                  <a:pt x="2150275" y="2398492"/>
                  <a:pt x="2159822" y="2398492"/>
                </a:cubicBezTo>
                <a:close/>
                <a:moveTo>
                  <a:pt x="2812137" y="2390830"/>
                </a:moveTo>
                <a:cubicBezTo>
                  <a:pt x="2812765" y="2390830"/>
                  <a:pt x="2813269" y="2391333"/>
                  <a:pt x="2813269" y="2391960"/>
                </a:cubicBezTo>
                <a:cubicBezTo>
                  <a:pt x="2813269" y="2392588"/>
                  <a:pt x="2812765" y="2393090"/>
                  <a:pt x="2812137" y="2393090"/>
                </a:cubicBezTo>
                <a:cubicBezTo>
                  <a:pt x="2811510" y="2393090"/>
                  <a:pt x="2811007" y="2392588"/>
                  <a:pt x="2811007" y="2391960"/>
                </a:cubicBezTo>
                <a:cubicBezTo>
                  <a:pt x="2811007" y="2391333"/>
                  <a:pt x="2811510" y="2390830"/>
                  <a:pt x="2812137" y="2390830"/>
                </a:cubicBezTo>
                <a:close/>
                <a:moveTo>
                  <a:pt x="1037577" y="2389070"/>
                </a:moveTo>
                <a:cubicBezTo>
                  <a:pt x="1046496" y="2389070"/>
                  <a:pt x="1053781" y="2396230"/>
                  <a:pt x="1053781" y="2405149"/>
                </a:cubicBezTo>
                <a:cubicBezTo>
                  <a:pt x="1053781" y="2414068"/>
                  <a:pt x="1046621" y="2421353"/>
                  <a:pt x="1037702" y="2421353"/>
                </a:cubicBezTo>
                <a:cubicBezTo>
                  <a:pt x="1028784" y="2421353"/>
                  <a:pt x="1021498" y="2414193"/>
                  <a:pt x="1021498" y="2405274"/>
                </a:cubicBezTo>
                <a:cubicBezTo>
                  <a:pt x="1021498" y="2396357"/>
                  <a:pt x="1028658" y="2389070"/>
                  <a:pt x="1037577" y="2389070"/>
                </a:cubicBezTo>
                <a:close/>
                <a:moveTo>
                  <a:pt x="1272856" y="2385930"/>
                </a:moveTo>
                <a:cubicBezTo>
                  <a:pt x="1283909" y="2385930"/>
                  <a:pt x="1292828" y="2394723"/>
                  <a:pt x="1292828" y="2405778"/>
                </a:cubicBezTo>
                <a:cubicBezTo>
                  <a:pt x="1292828" y="2416706"/>
                  <a:pt x="1284036" y="2425750"/>
                  <a:pt x="1272982" y="2425750"/>
                </a:cubicBezTo>
                <a:cubicBezTo>
                  <a:pt x="1261927" y="2425750"/>
                  <a:pt x="1253008" y="2416958"/>
                  <a:pt x="1253008" y="2405904"/>
                </a:cubicBezTo>
                <a:cubicBezTo>
                  <a:pt x="1253008" y="2394975"/>
                  <a:pt x="1261801" y="2385930"/>
                  <a:pt x="1272856" y="2385930"/>
                </a:cubicBezTo>
                <a:close/>
                <a:moveTo>
                  <a:pt x="1776949" y="2382036"/>
                </a:moveTo>
                <a:cubicBezTo>
                  <a:pt x="1789006" y="2382036"/>
                  <a:pt x="1798930" y="2391833"/>
                  <a:pt x="1798930" y="2403892"/>
                </a:cubicBezTo>
                <a:cubicBezTo>
                  <a:pt x="1798930" y="2415951"/>
                  <a:pt x="1789133" y="2425875"/>
                  <a:pt x="1777074" y="2425875"/>
                </a:cubicBezTo>
                <a:cubicBezTo>
                  <a:pt x="1765015" y="2425875"/>
                  <a:pt x="1755091" y="2416078"/>
                  <a:pt x="1755091" y="2404019"/>
                </a:cubicBezTo>
                <a:cubicBezTo>
                  <a:pt x="1755091" y="2391960"/>
                  <a:pt x="1764888" y="2382162"/>
                  <a:pt x="1776949" y="2382036"/>
                </a:cubicBezTo>
                <a:close/>
                <a:moveTo>
                  <a:pt x="2012224" y="2381156"/>
                </a:moveTo>
                <a:cubicBezTo>
                  <a:pt x="2023529" y="2381156"/>
                  <a:pt x="2032825" y="2390326"/>
                  <a:pt x="2032825" y="2401632"/>
                </a:cubicBezTo>
                <a:cubicBezTo>
                  <a:pt x="2032951" y="2412936"/>
                  <a:pt x="2023781" y="2422232"/>
                  <a:pt x="2012350" y="2422232"/>
                </a:cubicBezTo>
                <a:cubicBezTo>
                  <a:pt x="2001045" y="2422358"/>
                  <a:pt x="1991749" y="2413188"/>
                  <a:pt x="1991749" y="2401757"/>
                </a:cubicBezTo>
                <a:cubicBezTo>
                  <a:pt x="1991623" y="2390326"/>
                  <a:pt x="2000793" y="2381156"/>
                  <a:pt x="2012224" y="2381156"/>
                </a:cubicBezTo>
                <a:close/>
                <a:moveTo>
                  <a:pt x="688998" y="2355907"/>
                </a:moveTo>
                <a:cubicBezTo>
                  <a:pt x="694775" y="2355907"/>
                  <a:pt x="699423" y="2360555"/>
                  <a:pt x="699423" y="2366333"/>
                </a:cubicBezTo>
                <a:cubicBezTo>
                  <a:pt x="699423" y="2371986"/>
                  <a:pt x="694775" y="2376760"/>
                  <a:pt x="688998" y="2376760"/>
                </a:cubicBezTo>
                <a:cubicBezTo>
                  <a:pt x="683346" y="2376760"/>
                  <a:pt x="678572" y="2372111"/>
                  <a:pt x="678572" y="2366333"/>
                </a:cubicBezTo>
                <a:cubicBezTo>
                  <a:pt x="678572" y="2360555"/>
                  <a:pt x="683219" y="2355907"/>
                  <a:pt x="688998" y="2355907"/>
                </a:cubicBezTo>
                <a:close/>
                <a:moveTo>
                  <a:pt x="1192713" y="2354777"/>
                </a:moveTo>
                <a:cubicBezTo>
                  <a:pt x="1205022" y="2354651"/>
                  <a:pt x="1214946" y="2364574"/>
                  <a:pt x="1214946" y="2376760"/>
                </a:cubicBezTo>
                <a:cubicBezTo>
                  <a:pt x="1214946" y="2389069"/>
                  <a:pt x="1205022" y="2398993"/>
                  <a:pt x="1192838" y="2398993"/>
                </a:cubicBezTo>
                <a:cubicBezTo>
                  <a:pt x="1180654" y="2399119"/>
                  <a:pt x="1170729" y="2389195"/>
                  <a:pt x="1170604" y="2377010"/>
                </a:cubicBezTo>
                <a:cubicBezTo>
                  <a:pt x="1170479" y="2364826"/>
                  <a:pt x="1180402" y="2354902"/>
                  <a:pt x="1192713" y="2354777"/>
                </a:cubicBezTo>
                <a:close/>
                <a:moveTo>
                  <a:pt x="558986" y="2353270"/>
                </a:moveTo>
                <a:cubicBezTo>
                  <a:pt x="563635" y="2353270"/>
                  <a:pt x="567277" y="2356913"/>
                  <a:pt x="567277" y="2361435"/>
                </a:cubicBezTo>
                <a:cubicBezTo>
                  <a:pt x="567277" y="2365957"/>
                  <a:pt x="563635" y="2369601"/>
                  <a:pt x="559112" y="2369601"/>
                </a:cubicBezTo>
                <a:cubicBezTo>
                  <a:pt x="554590" y="2369601"/>
                  <a:pt x="550946" y="2365957"/>
                  <a:pt x="550946" y="2361435"/>
                </a:cubicBezTo>
                <a:cubicBezTo>
                  <a:pt x="550821" y="2356913"/>
                  <a:pt x="554590" y="2353270"/>
                  <a:pt x="558986" y="2353270"/>
                </a:cubicBezTo>
                <a:close/>
                <a:moveTo>
                  <a:pt x="1856964" y="2352016"/>
                </a:moveTo>
                <a:cubicBezTo>
                  <a:pt x="1869400" y="2352016"/>
                  <a:pt x="1879575" y="2362065"/>
                  <a:pt x="1879575" y="2374502"/>
                </a:cubicBezTo>
                <a:cubicBezTo>
                  <a:pt x="1879575" y="2386937"/>
                  <a:pt x="1869526" y="2397113"/>
                  <a:pt x="1857090" y="2397113"/>
                </a:cubicBezTo>
                <a:cubicBezTo>
                  <a:pt x="1844654" y="2397113"/>
                  <a:pt x="1834479" y="2387063"/>
                  <a:pt x="1834479" y="2374627"/>
                </a:cubicBezTo>
                <a:cubicBezTo>
                  <a:pt x="1834479" y="2362191"/>
                  <a:pt x="1844528" y="2352016"/>
                  <a:pt x="1856964" y="2352016"/>
                </a:cubicBezTo>
                <a:close/>
                <a:moveTo>
                  <a:pt x="824409" y="2350381"/>
                </a:moveTo>
                <a:cubicBezTo>
                  <a:pt x="833078" y="2350381"/>
                  <a:pt x="840112" y="2357416"/>
                  <a:pt x="840112" y="2366083"/>
                </a:cubicBezTo>
                <a:cubicBezTo>
                  <a:pt x="840112" y="2374751"/>
                  <a:pt x="833078" y="2381786"/>
                  <a:pt x="824409" y="2381786"/>
                </a:cubicBezTo>
                <a:cubicBezTo>
                  <a:pt x="815742" y="2381786"/>
                  <a:pt x="808708" y="2374751"/>
                  <a:pt x="808708" y="2366083"/>
                </a:cubicBezTo>
                <a:cubicBezTo>
                  <a:pt x="808708" y="2357416"/>
                  <a:pt x="815742" y="2350381"/>
                  <a:pt x="824409" y="2350381"/>
                </a:cubicBezTo>
                <a:close/>
                <a:moveTo>
                  <a:pt x="433748" y="2346864"/>
                </a:moveTo>
                <a:cubicBezTo>
                  <a:pt x="437138" y="2346739"/>
                  <a:pt x="439777" y="2349501"/>
                  <a:pt x="439777" y="2352768"/>
                </a:cubicBezTo>
                <a:cubicBezTo>
                  <a:pt x="439777" y="2356033"/>
                  <a:pt x="437138" y="2358797"/>
                  <a:pt x="433873" y="2358797"/>
                </a:cubicBezTo>
                <a:cubicBezTo>
                  <a:pt x="430481" y="2358797"/>
                  <a:pt x="427844" y="2356033"/>
                  <a:pt x="427844" y="2352768"/>
                </a:cubicBezTo>
                <a:cubicBezTo>
                  <a:pt x="427844" y="2349501"/>
                  <a:pt x="430481" y="2346739"/>
                  <a:pt x="433748" y="2346864"/>
                </a:cubicBezTo>
                <a:close/>
                <a:moveTo>
                  <a:pt x="2360554" y="2345233"/>
                </a:moveTo>
                <a:cubicBezTo>
                  <a:pt x="2368845" y="2345107"/>
                  <a:pt x="2375628" y="2351891"/>
                  <a:pt x="2375628" y="2360181"/>
                </a:cubicBezTo>
                <a:cubicBezTo>
                  <a:pt x="2375753" y="2368472"/>
                  <a:pt x="2368971" y="2375255"/>
                  <a:pt x="2360679" y="2375255"/>
                </a:cubicBezTo>
                <a:cubicBezTo>
                  <a:pt x="2352389" y="2375380"/>
                  <a:pt x="2345606" y="2368598"/>
                  <a:pt x="2345606" y="2360306"/>
                </a:cubicBezTo>
                <a:cubicBezTo>
                  <a:pt x="2345480" y="2352016"/>
                  <a:pt x="2352264" y="2345233"/>
                  <a:pt x="2360554" y="2345233"/>
                </a:cubicBezTo>
                <a:close/>
                <a:moveTo>
                  <a:pt x="2490566" y="2342216"/>
                </a:moveTo>
                <a:cubicBezTo>
                  <a:pt x="2497223" y="2342216"/>
                  <a:pt x="2502750" y="2347618"/>
                  <a:pt x="2502750" y="2354401"/>
                </a:cubicBezTo>
                <a:cubicBezTo>
                  <a:pt x="2502750" y="2361060"/>
                  <a:pt x="2497349" y="2366586"/>
                  <a:pt x="2490566" y="2366586"/>
                </a:cubicBezTo>
                <a:cubicBezTo>
                  <a:pt x="2483909" y="2366586"/>
                  <a:pt x="2478382" y="2361185"/>
                  <a:pt x="2478382" y="2354401"/>
                </a:cubicBezTo>
                <a:cubicBezTo>
                  <a:pt x="2478255" y="2347744"/>
                  <a:pt x="2483782" y="2342216"/>
                  <a:pt x="2490566" y="2342216"/>
                </a:cubicBezTo>
                <a:close/>
                <a:moveTo>
                  <a:pt x="966229" y="2340081"/>
                </a:moveTo>
                <a:cubicBezTo>
                  <a:pt x="976405" y="2340081"/>
                  <a:pt x="984695" y="2348246"/>
                  <a:pt x="984695" y="2358422"/>
                </a:cubicBezTo>
                <a:cubicBezTo>
                  <a:pt x="984695" y="2368596"/>
                  <a:pt x="976530" y="2376886"/>
                  <a:pt x="966356" y="2376886"/>
                </a:cubicBezTo>
                <a:cubicBezTo>
                  <a:pt x="956181" y="2376886"/>
                  <a:pt x="947890" y="2368722"/>
                  <a:pt x="947890" y="2358547"/>
                </a:cubicBezTo>
                <a:cubicBezTo>
                  <a:pt x="947890" y="2348373"/>
                  <a:pt x="956054" y="2340207"/>
                  <a:pt x="966229" y="2340081"/>
                </a:cubicBezTo>
                <a:close/>
                <a:moveTo>
                  <a:pt x="2225143" y="2339955"/>
                </a:moveTo>
                <a:cubicBezTo>
                  <a:pt x="2236700" y="2339955"/>
                  <a:pt x="2246247" y="2349376"/>
                  <a:pt x="2246247" y="2360933"/>
                </a:cubicBezTo>
                <a:cubicBezTo>
                  <a:pt x="2246247" y="2372489"/>
                  <a:pt x="2236950" y="2382036"/>
                  <a:pt x="2225269" y="2382036"/>
                </a:cubicBezTo>
                <a:cubicBezTo>
                  <a:pt x="2213587" y="2382036"/>
                  <a:pt x="2204165" y="2372614"/>
                  <a:pt x="2204165" y="2361058"/>
                </a:cubicBezTo>
                <a:cubicBezTo>
                  <a:pt x="2204165" y="2349502"/>
                  <a:pt x="2213587" y="2340081"/>
                  <a:pt x="2225143" y="2339955"/>
                </a:cubicBezTo>
                <a:close/>
                <a:moveTo>
                  <a:pt x="312277" y="2337068"/>
                </a:moveTo>
                <a:cubicBezTo>
                  <a:pt x="314789" y="2337068"/>
                  <a:pt x="316799" y="2338952"/>
                  <a:pt x="316799" y="2341465"/>
                </a:cubicBezTo>
                <a:cubicBezTo>
                  <a:pt x="316799" y="2343852"/>
                  <a:pt x="314789" y="2345862"/>
                  <a:pt x="312402" y="2345862"/>
                </a:cubicBezTo>
                <a:cubicBezTo>
                  <a:pt x="309890" y="2345862"/>
                  <a:pt x="307880" y="2343852"/>
                  <a:pt x="307880" y="2341465"/>
                </a:cubicBezTo>
                <a:cubicBezTo>
                  <a:pt x="307880" y="2338952"/>
                  <a:pt x="309890" y="2336942"/>
                  <a:pt x="312277" y="2337068"/>
                </a:cubicBezTo>
                <a:close/>
                <a:moveTo>
                  <a:pt x="2615805" y="2335559"/>
                </a:moveTo>
                <a:cubicBezTo>
                  <a:pt x="2620830" y="2335559"/>
                  <a:pt x="2625100" y="2339704"/>
                  <a:pt x="2625100" y="2344855"/>
                </a:cubicBezTo>
                <a:cubicBezTo>
                  <a:pt x="2625100" y="2350005"/>
                  <a:pt x="2620955" y="2354150"/>
                  <a:pt x="2615805" y="2354150"/>
                </a:cubicBezTo>
                <a:cubicBezTo>
                  <a:pt x="2610654" y="2354150"/>
                  <a:pt x="2606509" y="2350005"/>
                  <a:pt x="2606509" y="2344855"/>
                </a:cubicBezTo>
                <a:cubicBezTo>
                  <a:pt x="2606384" y="2339704"/>
                  <a:pt x="2610529" y="2335559"/>
                  <a:pt x="2615805" y="2335559"/>
                </a:cubicBezTo>
                <a:close/>
                <a:moveTo>
                  <a:pt x="2083196" y="2331664"/>
                </a:moveTo>
                <a:cubicBezTo>
                  <a:pt x="2095758" y="2331664"/>
                  <a:pt x="2106059" y="2341839"/>
                  <a:pt x="2106059" y="2354400"/>
                </a:cubicBezTo>
                <a:cubicBezTo>
                  <a:pt x="2106059" y="2366962"/>
                  <a:pt x="2095884" y="2377263"/>
                  <a:pt x="2083323" y="2377263"/>
                </a:cubicBezTo>
                <a:cubicBezTo>
                  <a:pt x="2070761" y="2377263"/>
                  <a:pt x="2060460" y="2367088"/>
                  <a:pt x="2060460" y="2354527"/>
                </a:cubicBezTo>
                <a:cubicBezTo>
                  <a:pt x="2060460" y="2341965"/>
                  <a:pt x="2070635" y="2331664"/>
                  <a:pt x="2083196" y="2331664"/>
                </a:cubicBezTo>
                <a:close/>
                <a:moveTo>
                  <a:pt x="2737023" y="2329529"/>
                </a:moveTo>
                <a:cubicBezTo>
                  <a:pt x="2738782" y="2329655"/>
                  <a:pt x="2740163" y="2331037"/>
                  <a:pt x="2740163" y="2332669"/>
                </a:cubicBezTo>
                <a:cubicBezTo>
                  <a:pt x="2740163" y="2334428"/>
                  <a:pt x="2738908" y="2335811"/>
                  <a:pt x="2737148" y="2335811"/>
                </a:cubicBezTo>
                <a:cubicBezTo>
                  <a:pt x="2735390" y="2335811"/>
                  <a:pt x="2734008" y="2334428"/>
                  <a:pt x="2734008" y="2332669"/>
                </a:cubicBezTo>
                <a:cubicBezTo>
                  <a:pt x="2734008" y="2330911"/>
                  <a:pt x="2735390" y="2329529"/>
                  <a:pt x="2737023" y="2329529"/>
                </a:cubicBezTo>
                <a:close/>
                <a:moveTo>
                  <a:pt x="1524712" y="2328399"/>
                </a:moveTo>
                <a:cubicBezTo>
                  <a:pt x="1535514" y="2328273"/>
                  <a:pt x="1544308" y="2337066"/>
                  <a:pt x="1544308" y="2347743"/>
                </a:cubicBezTo>
                <a:cubicBezTo>
                  <a:pt x="1544308" y="2358547"/>
                  <a:pt x="1535639" y="2367341"/>
                  <a:pt x="1524837" y="2367341"/>
                </a:cubicBezTo>
                <a:cubicBezTo>
                  <a:pt x="1514034" y="2367467"/>
                  <a:pt x="1505241" y="2358798"/>
                  <a:pt x="1505241" y="2347995"/>
                </a:cubicBezTo>
                <a:cubicBezTo>
                  <a:pt x="1505241" y="2337191"/>
                  <a:pt x="1513908" y="2328524"/>
                  <a:pt x="1524712" y="2328399"/>
                </a:cubicBezTo>
                <a:close/>
                <a:moveTo>
                  <a:pt x="1439672" y="2323751"/>
                </a:moveTo>
                <a:cubicBezTo>
                  <a:pt x="1450476" y="2323751"/>
                  <a:pt x="1459393" y="2332418"/>
                  <a:pt x="1459393" y="2343347"/>
                </a:cubicBezTo>
                <a:cubicBezTo>
                  <a:pt x="1459393" y="2354149"/>
                  <a:pt x="1450726" y="2363068"/>
                  <a:pt x="1439799" y="2363068"/>
                </a:cubicBezTo>
                <a:cubicBezTo>
                  <a:pt x="1428870" y="2363193"/>
                  <a:pt x="1420077" y="2354401"/>
                  <a:pt x="1419951" y="2343472"/>
                </a:cubicBezTo>
                <a:cubicBezTo>
                  <a:pt x="1419951" y="2332670"/>
                  <a:pt x="1428744" y="2323751"/>
                  <a:pt x="1439672" y="2323751"/>
                </a:cubicBezTo>
                <a:close/>
                <a:moveTo>
                  <a:pt x="1609754" y="2322872"/>
                </a:moveTo>
                <a:cubicBezTo>
                  <a:pt x="1620683" y="2322872"/>
                  <a:pt x="1629727" y="2331665"/>
                  <a:pt x="1629727" y="2342720"/>
                </a:cubicBezTo>
                <a:cubicBezTo>
                  <a:pt x="1629727" y="2353774"/>
                  <a:pt x="1620935" y="2362692"/>
                  <a:pt x="1609881" y="2362692"/>
                </a:cubicBezTo>
                <a:cubicBezTo>
                  <a:pt x="1598952" y="2362692"/>
                  <a:pt x="1589907" y="2353900"/>
                  <a:pt x="1589907" y="2342846"/>
                </a:cubicBezTo>
                <a:cubicBezTo>
                  <a:pt x="1589907" y="2331917"/>
                  <a:pt x="1598826" y="2322872"/>
                  <a:pt x="1609754" y="2322872"/>
                </a:cubicBezTo>
                <a:close/>
                <a:moveTo>
                  <a:pt x="1115711" y="2318224"/>
                </a:moveTo>
                <a:cubicBezTo>
                  <a:pt x="1128022" y="2318098"/>
                  <a:pt x="1137945" y="2328021"/>
                  <a:pt x="1137945" y="2340206"/>
                </a:cubicBezTo>
                <a:cubicBezTo>
                  <a:pt x="1137945" y="2352390"/>
                  <a:pt x="1128022" y="2362439"/>
                  <a:pt x="1115836" y="2362439"/>
                </a:cubicBezTo>
                <a:cubicBezTo>
                  <a:pt x="1103527" y="2362439"/>
                  <a:pt x="1093603" y="2352515"/>
                  <a:pt x="1093603" y="2340331"/>
                </a:cubicBezTo>
                <a:cubicBezTo>
                  <a:pt x="1093603" y="2328147"/>
                  <a:pt x="1103400" y="2318224"/>
                  <a:pt x="1115711" y="2318224"/>
                </a:cubicBezTo>
                <a:close/>
                <a:moveTo>
                  <a:pt x="2855224" y="2317218"/>
                </a:moveTo>
                <a:cubicBezTo>
                  <a:pt x="2855852" y="2317218"/>
                  <a:pt x="2856354" y="2317721"/>
                  <a:pt x="2856354" y="2318348"/>
                </a:cubicBezTo>
                <a:cubicBezTo>
                  <a:pt x="2856354" y="2318976"/>
                  <a:pt x="2855852" y="2319478"/>
                  <a:pt x="2855224" y="2319478"/>
                </a:cubicBezTo>
                <a:cubicBezTo>
                  <a:pt x="2854597" y="2319478"/>
                  <a:pt x="2854094" y="2318976"/>
                  <a:pt x="2854094" y="2318348"/>
                </a:cubicBezTo>
                <a:cubicBezTo>
                  <a:pt x="2854094" y="2317721"/>
                  <a:pt x="2854597" y="2317218"/>
                  <a:pt x="2855224" y="2317218"/>
                </a:cubicBezTo>
                <a:close/>
                <a:moveTo>
                  <a:pt x="1933716" y="2313325"/>
                </a:moveTo>
                <a:cubicBezTo>
                  <a:pt x="1946906" y="2313325"/>
                  <a:pt x="1957708" y="2324002"/>
                  <a:pt x="1957708" y="2337191"/>
                </a:cubicBezTo>
                <a:cubicBezTo>
                  <a:pt x="1957708" y="2350382"/>
                  <a:pt x="1947031" y="2361184"/>
                  <a:pt x="1933842" y="2361184"/>
                </a:cubicBezTo>
                <a:cubicBezTo>
                  <a:pt x="1920652" y="2361184"/>
                  <a:pt x="1909850" y="2350507"/>
                  <a:pt x="1909850" y="2337318"/>
                </a:cubicBezTo>
                <a:cubicBezTo>
                  <a:pt x="1909724" y="2324254"/>
                  <a:pt x="1920401" y="2313451"/>
                  <a:pt x="1933716" y="2313325"/>
                </a:cubicBezTo>
                <a:close/>
                <a:moveTo>
                  <a:pt x="1355385" y="2308803"/>
                </a:moveTo>
                <a:cubicBezTo>
                  <a:pt x="1366816" y="2308803"/>
                  <a:pt x="1376112" y="2317973"/>
                  <a:pt x="1376112" y="2329279"/>
                </a:cubicBezTo>
                <a:cubicBezTo>
                  <a:pt x="1376238" y="2340709"/>
                  <a:pt x="1367068" y="2350005"/>
                  <a:pt x="1355637" y="2350005"/>
                </a:cubicBezTo>
                <a:cubicBezTo>
                  <a:pt x="1344330" y="2350131"/>
                  <a:pt x="1335036" y="2340961"/>
                  <a:pt x="1335036" y="2329530"/>
                </a:cubicBezTo>
                <a:cubicBezTo>
                  <a:pt x="1334910" y="2318098"/>
                  <a:pt x="1344080" y="2308929"/>
                  <a:pt x="1355385" y="2308803"/>
                </a:cubicBezTo>
                <a:close/>
                <a:moveTo>
                  <a:pt x="1693792" y="2306794"/>
                </a:moveTo>
                <a:cubicBezTo>
                  <a:pt x="1705599" y="2306668"/>
                  <a:pt x="1715271" y="2316215"/>
                  <a:pt x="1715271" y="2328147"/>
                </a:cubicBezTo>
                <a:cubicBezTo>
                  <a:pt x="1715398" y="2339956"/>
                  <a:pt x="1705724" y="2349628"/>
                  <a:pt x="1693917" y="2349628"/>
                </a:cubicBezTo>
                <a:cubicBezTo>
                  <a:pt x="1681983" y="2349753"/>
                  <a:pt x="1672437" y="2340081"/>
                  <a:pt x="1672311" y="2328274"/>
                </a:cubicBezTo>
                <a:cubicBezTo>
                  <a:pt x="1672311" y="2316466"/>
                  <a:pt x="1681858" y="2306794"/>
                  <a:pt x="1693792" y="2306794"/>
                </a:cubicBezTo>
                <a:close/>
                <a:moveTo>
                  <a:pt x="763235" y="2293730"/>
                </a:moveTo>
                <a:cubicBezTo>
                  <a:pt x="770396" y="2293730"/>
                  <a:pt x="776174" y="2299508"/>
                  <a:pt x="776174" y="2306542"/>
                </a:cubicBezTo>
                <a:cubicBezTo>
                  <a:pt x="776174" y="2313704"/>
                  <a:pt x="770396" y="2319481"/>
                  <a:pt x="763362" y="2319481"/>
                </a:cubicBezTo>
                <a:cubicBezTo>
                  <a:pt x="756200" y="2319481"/>
                  <a:pt x="750423" y="2313704"/>
                  <a:pt x="750423" y="2306669"/>
                </a:cubicBezTo>
                <a:cubicBezTo>
                  <a:pt x="750423" y="2299635"/>
                  <a:pt x="756200" y="2293856"/>
                  <a:pt x="763235" y="2293730"/>
                </a:cubicBezTo>
                <a:close/>
                <a:moveTo>
                  <a:pt x="633224" y="2291468"/>
                </a:moveTo>
                <a:cubicBezTo>
                  <a:pt x="639001" y="2291468"/>
                  <a:pt x="643649" y="2296116"/>
                  <a:pt x="643649" y="2301894"/>
                </a:cubicBezTo>
                <a:cubicBezTo>
                  <a:pt x="643649" y="2307672"/>
                  <a:pt x="639001" y="2312321"/>
                  <a:pt x="633224" y="2312321"/>
                </a:cubicBezTo>
                <a:cubicBezTo>
                  <a:pt x="627445" y="2312321"/>
                  <a:pt x="622798" y="2307672"/>
                  <a:pt x="622798" y="2301894"/>
                </a:cubicBezTo>
                <a:cubicBezTo>
                  <a:pt x="622798" y="2296242"/>
                  <a:pt x="627445" y="2291468"/>
                  <a:pt x="633224" y="2291468"/>
                </a:cubicBezTo>
                <a:close/>
                <a:moveTo>
                  <a:pt x="899401" y="2289962"/>
                </a:moveTo>
                <a:cubicBezTo>
                  <a:pt x="908195" y="2289962"/>
                  <a:pt x="915229" y="2296996"/>
                  <a:pt x="915229" y="2305663"/>
                </a:cubicBezTo>
                <a:cubicBezTo>
                  <a:pt x="915229" y="2314331"/>
                  <a:pt x="908195" y="2321366"/>
                  <a:pt x="899528" y="2321366"/>
                </a:cubicBezTo>
                <a:cubicBezTo>
                  <a:pt x="890734" y="2321366"/>
                  <a:pt x="883700" y="2314331"/>
                  <a:pt x="883700" y="2305663"/>
                </a:cubicBezTo>
                <a:cubicBezTo>
                  <a:pt x="883700" y="2296996"/>
                  <a:pt x="890734" y="2289836"/>
                  <a:pt x="899401" y="2289962"/>
                </a:cubicBezTo>
                <a:close/>
                <a:moveTo>
                  <a:pt x="507861" y="2285941"/>
                </a:moveTo>
                <a:cubicBezTo>
                  <a:pt x="511880" y="2285941"/>
                  <a:pt x="515020" y="2289081"/>
                  <a:pt x="515020" y="2292976"/>
                </a:cubicBezTo>
                <a:cubicBezTo>
                  <a:pt x="515020" y="2296995"/>
                  <a:pt x="511880" y="2300135"/>
                  <a:pt x="507986" y="2300135"/>
                </a:cubicBezTo>
                <a:cubicBezTo>
                  <a:pt x="504217" y="2300135"/>
                  <a:pt x="500952" y="2296995"/>
                  <a:pt x="500952" y="2293101"/>
                </a:cubicBezTo>
                <a:cubicBezTo>
                  <a:pt x="500952" y="2289208"/>
                  <a:pt x="504092" y="2286066"/>
                  <a:pt x="507861" y="2285941"/>
                </a:cubicBezTo>
                <a:close/>
                <a:moveTo>
                  <a:pt x="1273481" y="2284308"/>
                </a:moveTo>
                <a:cubicBezTo>
                  <a:pt x="1285540" y="2284308"/>
                  <a:pt x="1295464" y="2294105"/>
                  <a:pt x="1295464" y="2306164"/>
                </a:cubicBezTo>
                <a:cubicBezTo>
                  <a:pt x="1295464" y="2318223"/>
                  <a:pt x="1285667" y="2328147"/>
                  <a:pt x="1273608" y="2328147"/>
                </a:cubicBezTo>
                <a:cubicBezTo>
                  <a:pt x="1261549" y="2328147"/>
                  <a:pt x="1251625" y="2318350"/>
                  <a:pt x="1251625" y="2306291"/>
                </a:cubicBezTo>
                <a:cubicBezTo>
                  <a:pt x="1251625" y="2294105"/>
                  <a:pt x="1261422" y="2284308"/>
                  <a:pt x="1273481" y="2284308"/>
                </a:cubicBezTo>
                <a:close/>
                <a:moveTo>
                  <a:pt x="2285813" y="2282675"/>
                </a:moveTo>
                <a:cubicBezTo>
                  <a:pt x="2295987" y="2282675"/>
                  <a:pt x="2304277" y="2290840"/>
                  <a:pt x="2304277" y="2301014"/>
                </a:cubicBezTo>
                <a:cubicBezTo>
                  <a:pt x="2304277" y="2311190"/>
                  <a:pt x="2296113" y="2319480"/>
                  <a:pt x="2285938" y="2319480"/>
                </a:cubicBezTo>
                <a:cubicBezTo>
                  <a:pt x="2275764" y="2319480"/>
                  <a:pt x="2267472" y="2311316"/>
                  <a:pt x="2267472" y="2301141"/>
                </a:cubicBezTo>
                <a:cubicBezTo>
                  <a:pt x="2267472" y="2290967"/>
                  <a:pt x="2275637" y="2282800"/>
                  <a:pt x="2285813" y="2282675"/>
                </a:cubicBezTo>
                <a:close/>
                <a:moveTo>
                  <a:pt x="1775690" y="2281796"/>
                </a:moveTo>
                <a:cubicBezTo>
                  <a:pt x="1788126" y="2281796"/>
                  <a:pt x="1798300" y="2291845"/>
                  <a:pt x="1798300" y="2304282"/>
                </a:cubicBezTo>
                <a:cubicBezTo>
                  <a:pt x="1798300" y="2316717"/>
                  <a:pt x="1788251" y="2326893"/>
                  <a:pt x="1775815" y="2326893"/>
                </a:cubicBezTo>
                <a:cubicBezTo>
                  <a:pt x="1763254" y="2326893"/>
                  <a:pt x="1753079" y="2316843"/>
                  <a:pt x="1753079" y="2304407"/>
                </a:cubicBezTo>
                <a:cubicBezTo>
                  <a:pt x="1753079" y="2291971"/>
                  <a:pt x="1763128" y="2281796"/>
                  <a:pt x="1775690" y="2281796"/>
                </a:cubicBezTo>
                <a:close/>
                <a:moveTo>
                  <a:pt x="2415951" y="2280413"/>
                </a:moveTo>
                <a:cubicBezTo>
                  <a:pt x="2424242" y="2280288"/>
                  <a:pt x="2431025" y="2287072"/>
                  <a:pt x="2431025" y="2295362"/>
                </a:cubicBezTo>
                <a:cubicBezTo>
                  <a:pt x="2431025" y="2303654"/>
                  <a:pt x="2424367" y="2310436"/>
                  <a:pt x="2416076" y="2310436"/>
                </a:cubicBezTo>
                <a:cubicBezTo>
                  <a:pt x="2407660" y="2310436"/>
                  <a:pt x="2401003" y="2303779"/>
                  <a:pt x="2400877" y="2295488"/>
                </a:cubicBezTo>
                <a:cubicBezTo>
                  <a:pt x="2400877" y="2287197"/>
                  <a:pt x="2407660" y="2280413"/>
                  <a:pt x="2415951" y="2280413"/>
                </a:cubicBezTo>
                <a:close/>
                <a:moveTo>
                  <a:pt x="2149647" y="2278279"/>
                </a:moveTo>
                <a:cubicBezTo>
                  <a:pt x="2162209" y="2278279"/>
                  <a:pt x="2172510" y="2288454"/>
                  <a:pt x="2172510" y="2301015"/>
                </a:cubicBezTo>
                <a:cubicBezTo>
                  <a:pt x="2172510" y="2313577"/>
                  <a:pt x="2162334" y="2323878"/>
                  <a:pt x="2149772" y="2323878"/>
                </a:cubicBezTo>
                <a:cubicBezTo>
                  <a:pt x="2137211" y="2323878"/>
                  <a:pt x="2126911" y="2313703"/>
                  <a:pt x="2126911" y="2301142"/>
                </a:cubicBezTo>
                <a:cubicBezTo>
                  <a:pt x="2126911" y="2288580"/>
                  <a:pt x="2137086" y="2278279"/>
                  <a:pt x="2149647" y="2278279"/>
                </a:cubicBezTo>
                <a:close/>
                <a:moveTo>
                  <a:pt x="2541061" y="2276519"/>
                </a:moveTo>
                <a:cubicBezTo>
                  <a:pt x="2546213" y="2276519"/>
                  <a:pt x="2550358" y="2280664"/>
                  <a:pt x="2550358" y="2285815"/>
                </a:cubicBezTo>
                <a:cubicBezTo>
                  <a:pt x="2550358" y="2290965"/>
                  <a:pt x="2546213" y="2295110"/>
                  <a:pt x="2541061" y="2295110"/>
                </a:cubicBezTo>
                <a:cubicBezTo>
                  <a:pt x="2535911" y="2295110"/>
                  <a:pt x="2531766" y="2290965"/>
                  <a:pt x="2531766" y="2285815"/>
                </a:cubicBezTo>
                <a:cubicBezTo>
                  <a:pt x="2531766" y="2280664"/>
                  <a:pt x="2535911" y="2276519"/>
                  <a:pt x="2541061" y="2276519"/>
                </a:cubicBezTo>
                <a:close/>
                <a:moveTo>
                  <a:pt x="1042603" y="2275515"/>
                </a:moveTo>
                <a:cubicBezTo>
                  <a:pt x="1054033" y="2275390"/>
                  <a:pt x="1063329" y="2284560"/>
                  <a:pt x="1063329" y="2295991"/>
                </a:cubicBezTo>
                <a:cubicBezTo>
                  <a:pt x="1063329" y="2307296"/>
                  <a:pt x="1054285" y="2316592"/>
                  <a:pt x="1042854" y="2316592"/>
                </a:cubicBezTo>
                <a:cubicBezTo>
                  <a:pt x="1031549" y="2316718"/>
                  <a:pt x="1022253" y="2307548"/>
                  <a:pt x="1022253" y="2296117"/>
                </a:cubicBezTo>
                <a:cubicBezTo>
                  <a:pt x="1022253" y="2284812"/>
                  <a:pt x="1031422" y="2275515"/>
                  <a:pt x="1042603" y="2275515"/>
                </a:cubicBezTo>
                <a:close/>
                <a:moveTo>
                  <a:pt x="387019" y="2274887"/>
                </a:moveTo>
                <a:cubicBezTo>
                  <a:pt x="390662" y="2274887"/>
                  <a:pt x="393677" y="2277902"/>
                  <a:pt x="393677" y="2281545"/>
                </a:cubicBezTo>
                <a:cubicBezTo>
                  <a:pt x="393677" y="2285187"/>
                  <a:pt x="390662" y="2288202"/>
                  <a:pt x="387019" y="2288202"/>
                </a:cubicBezTo>
                <a:cubicBezTo>
                  <a:pt x="383377" y="2288202"/>
                  <a:pt x="380362" y="2285187"/>
                  <a:pt x="380362" y="2281545"/>
                </a:cubicBezTo>
                <a:cubicBezTo>
                  <a:pt x="380362" y="2277777"/>
                  <a:pt x="383251" y="2274887"/>
                  <a:pt x="387019" y="2274887"/>
                </a:cubicBezTo>
                <a:close/>
                <a:moveTo>
                  <a:pt x="2006196" y="2268480"/>
                </a:moveTo>
                <a:cubicBezTo>
                  <a:pt x="2019511" y="2268355"/>
                  <a:pt x="2030439" y="2279157"/>
                  <a:pt x="2030439" y="2292473"/>
                </a:cubicBezTo>
                <a:cubicBezTo>
                  <a:pt x="2030565" y="2305788"/>
                  <a:pt x="2019761" y="2316716"/>
                  <a:pt x="2006447" y="2316716"/>
                </a:cubicBezTo>
                <a:cubicBezTo>
                  <a:pt x="1993132" y="2316842"/>
                  <a:pt x="1982204" y="2306039"/>
                  <a:pt x="1982204" y="2292724"/>
                </a:cubicBezTo>
                <a:cubicBezTo>
                  <a:pt x="1982077" y="2279409"/>
                  <a:pt x="1992880" y="2268480"/>
                  <a:pt x="2006196" y="2268480"/>
                </a:cubicBezTo>
                <a:close/>
                <a:moveTo>
                  <a:pt x="2661904" y="2263455"/>
                </a:moveTo>
                <a:cubicBezTo>
                  <a:pt x="2667305" y="2263455"/>
                  <a:pt x="2671702" y="2267725"/>
                  <a:pt x="2671702" y="2273126"/>
                </a:cubicBezTo>
                <a:cubicBezTo>
                  <a:pt x="2671702" y="2278528"/>
                  <a:pt x="2667430" y="2282924"/>
                  <a:pt x="2662029" y="2282924"/>
                </a:cubicBezTo>
                <a:cubicBezTo>
                  <a:pt x="2656629" y="2282924"/>
                  <a:pt x="2652232" y="2278653"/>
                  <a:pt x="2652232" y="2273252"/>
                </a:cubicBezTo>
                <a:cubicBezTo>
                  <a:pt x="2652232" y="2267852"/>
                  <a:pt x="2656629" y="2263580"/>
                  <a:pt x="2661904" y="2263455"/>
                </a:cubicBezTo>
                <a:close/>
                <a:moveTo>
                  <a:pt x="269444" y="2263330"/>
                </a:moveTo>
                <a:cubicBezTo>
                  <a:pt x="271831" y="2263330"/>
                  <a:pt x="273841" y="2265215"/>
                  <a:pt x="273841" y="2267727"/>
                </a:cubicBezTo>
                <a:cubicBezTo>
                  <a:pt x="273841" y="2270114"/>
                  <a:pt x="271956" y="2272123"/>
                  <a:pt x="269444" y="2272123"/>
                </a:cubicBezTo>
                <a:cubicBezTo>
                  <a:pt x="266932" y="2272123"/>
                  <a:pt x="264922" y="2270114"/>
                  <a:pt x="264922" y="2267727"/>
                </a:cubicBezTo>
                <a:cubicBezTo>
                  <a:pt x="264922" y="2265340"/>
                  <a:pt x="266932" y="2263330"/>
                  <a:pt x="269444" y="2263330"/>
                </a:cubicBezTo>
                <a:close/>
                <a:moveTo>
                  <a:pt x="1854201" y="2254160"/>
                </a:moveTo>
                <a:cubicBezTo>
                  <a:pt x="1863748" y="2254160"/>
                  <a:pt x="1871537" y="2261822"/>
                  <a:pt x="1871537" y="2271368"/>
                </a:cubicBezTo>
                <a:cubicBezTo>
                  <a:pt x="1871537" y="2280915"/>
                  <a:pt x="1863873" y="2288703"/>
                  <a:pt x="1854326" y="2288703"/>
                </a:cubicBezTo>
                <a:cubicBezTo>
                  <a:pt x="1844780" y="2288703"/>
                  <a:pt x="1836992" y="2281040"/>
                  <a:pt x="1836992" y="2271495"/>
                </a:cubicBezTo>
                <a:cubicBezTo>
                  <a:pt x="1836992" y="2261949"/>
                  <a:pt x="1844654" y="2254285"/>
                  <a:pt x="1854201" y="2254160"/>
                </a:cubicBezTo>
                <a:close/>
                <a:moveTo>
                  <a:pt x="1194598" y="2253659"/>
                </a:moveTo>
                <a:cubicBezTo>
                  <a:pt x="1205777" y="2253659"/>
                  <a:pt x="1214821" y="2262578"/>
                  <a:pt x="1214821" y="2273757"/>
                </a:cubicBezTo>
                <a:cubicBezTo>
                  <a:pt x="1214821" y="2284937"/>
                  <a:pt x="1205904" y="2293981"/>
                  <a:pt x="1194723" y="2293981"/>
                </a:cubicBezTo>
                <a:cubicBezTo>
                  <a:pt x="1183544" y="2293981"/>
                  <a:pt x="1174499" y="2284937"/>
                  <a:pt x="1174499" y="2273883"/>
                </a:cubicBezTo>
                <a:cubicBezTo>
                  <a:pt x="1174499" y="2262829"/>
                  <a:pt x="1183418" y="2253784"/>
                  <a:pt x="1194598" y="2253659"/>
                </a:cubicBezTo>
                <a:close/>
                <a:moveTo>
                  <a:pt x="2779480" y="2253531"/>
                </a:moveTo>
                <a:cubicBezTo>
                  <a:pt x="2782370" y="2253531"/>
                  <a:pt x="2784630" y="2255793"/>
                  <a:pt x="2784630" y="2258555"/>
                </a:cubicBezTo>
                <a:cubicBezTo>
                  <a:pt x="2784757" y="2261445"/>
                  <a:pt x="2782495" y="2263705"/>
                  <a:pt x="2779605" y="2263705"/>
                </a:cubicBezTo>
                <a:cubicBezTo>
                  <a:pt x="2776842" y="2263705"/>
                  <a:pt x="2774455" y="2261445"/>
                  <a:pt x="2774455" y="2258681"/>
                </a:cubicBezTo>
                <a:cubicBezTo>
                  <a:pt x="2774455" y="2255793"/>
                  <a:pt x="2776717" y="2253531"/>
                  <a:pt x="2779480" y="2253531"/>
                </a:cubicBezTo>
                <a:close/>
                <a:moveTo>
                  <a:pt x="1524463" y="2241850"/>
                </a:moveTo>
                <a:cubicBezTo>
                  <a:pt x="1530493" y="2241850"/>
                  <a:pt x="1535518" y="2246749"/>
                  <a:pt x="1535518" y="2252904"/>
                </a:cubicBezTo>
                <a:cubicBezTo>
                  <a:pt x="1535518" y="2258934"/>
                  <a:pt x="1530493" y="2263958"/>
                  <a:pt x="1524463" y="2263958"/>
                </a:cubicBezTo>
                <a:cubicBezTo>
                  <a:pt x="1518434" y="2263958"/>
                  <a:pt x="1513409" y="2259059"/>
                  <a:pt x="1513409" y="2252904"/>
                </a:cubicBezTo>
                <a:cubicBezTo>
                  <a:pt x="1513282" y="2246875"/>
                  <a:pt x="1518307" y="2241850"/>
                  <a:pt x="1524463" y="2241850"/>
                </a:cubicBezTo>
                <a:close/>
                <a:moveTo>
                  <a:pt x="2894164" y="2240469"/>
                </a:moveTo>
                <a:cubicBezTo>
                  <a:pt x="2895294" y="2240469"/>
                  <a:pt x="2896174" y="2241349"/>
                  <a:pt x="2896174" y="2242479"/>
                </a:cubicBezTo>
                <a:cubicBezTo>
                  <a:pt x="2896174" y="2243610"/>
                  <a:pt x="2895294" y="2244489"/>
                  <a:pt x="2894164" y="2244489"/>
                </a:cubicBezTo>
                <a:cubicBezTo>
                  <a:pt x="2893034" y="2244489"/>
                  <a:pt x="2892154" y="2243610"/>
                  <a:pt x="2892154" y="2242479"/>
                </a:cubicBezTo>
                <a:cubicBezTo>
                  <a:pt x="2892029" y="2241349"/>
                  <a:pt x="2892908" y="2240469"/>
                  <a:pt x="2894164" y="2240469"/>
                </a:cubicBezTo>
                <a:close/>
                <a:moveTo>
                  <a:pt x="1439295" y="2235947"/>
                </a:moveTo>
                <a:cubicBezTo>
                  <a:pt x="1445827" y="2235947"/>
                  <a:pt x="1451104" y="2241097"/>
                  <a:pt x="1451104" y="2247629"/>
                </a:cubicBezTo>
                <a:cubicBezTo>
                  <a:pt x="1451104" y="2254162"/>
                  <a:pt x="1445952" y="2259438"/>
                  <a:pt x="1439420" y="2259438"/>
                </a:cubicBezTo>
                <a:cubicBezTo>
                  <a:pt x="1432888" y="2259438"/>
                  <a:pt x="1427613" y="2254288"/>
                  <a:pt x="1427613" y="2247756"/>
                </a:cubicBezTo>
                <a:cubicBezTo>
                  <a:pt x="1427613" y="2241349"/>
                  <a:pt x="1432888" y="2236072"/>
                  <a:pt x="1439295" y="2235947"/>
                </a:cubicBezTo>
                <a:close/>
                <a:moveTo>
                  <a:pt x="1609379" y="2235067"/>
                </a:moveTo>
                <a:cubicBezTo>
                  <a:pt x="1615911" y="2235067"/>
                  <a:pt x="1621313" y="2240469"/>
                  <a:pt x="1621313" y="2247001"/>
                </a:cubicBezTo>
                <a:cubicBezTo>
                  <a:pt x="1621313" y="2253658"/>
                  <a:pt x="1616036" y="2259059"/>
                  <a:pt x="1609379" y="2259059"/>
                </a:cubicBezTo>
                <a:cubicBezTo>
                  <a:pt x="1602847" y="2259059"/>
                  <a:pt x="1597445" y="2253783"/>
                  <a:pt x="1597445" y="2247126"/>
                </a:cubicBezTo>
                <a:cubicBezTo>
                  <a:pt x="1597445" y="2240594"/>
                  <a:pt x="1602847" y="2235192"/>
                  <a:pt x="1609379" y="2235067"/>
                </a:cubicBezTo>
                <a:close/>
                <a:moveTo>
                  <a:pt x="707085" y="2229413"/>
                </a:moveTo>
                <a:cubicBezTo>
                  <a:pt x="714245" y="2229413"/>
                  <a:pt x="720149" y="2235318"/>
                  <a:pt x="720149" y="2242479"/>
                </a:cubicBezTo>
                <a:cubicBezTo>
                  <a:pt x="720275" y="2249638"/>
                  <a:pt x="714497" y="2255542"/>
                  <a:pt x="707211" y="2255542"/>
                </a:cubicBezTo>
                <a:cubicBezTo>
                  <a:pt x="700051" y="2255542"/>
                  <a:pt x="694147" y="2249764"/>
                  <a:pt x="694147" y="2242479"/>
                </a:cubicBezTo>
                <a:cubicBezTo>
                  <a:pt x="694147" y="2235192"/>
                  <a:pt x="699926" y="2229288"/>
                  <a:pt x="707085" y="2229413"/>
                </a:cubicBezTo>
                <a:close/>
                <a:moveTo>
                  <a:pt x="837598" y="2229162"/>
                </a:moveTo>
                <a:cubicBezTo>
                  <a:pt x="847271" y="2229037"/>
                  <a:pt x="855309" y="2236951"/>
                  <a:pt x="855309" y="2246748"/>
                </a:cubicBezTo>
                <a:cubicBezTo>
                  <a:pt x="855436" y="2256547"/>
                  <a:pt x="847522" y="2264586"/>
                  <a:pt x="837725" y="2264586"/>
                </a:cubicBezTo>
                <a:cubicBezTo>
                  <a:pt x="827926" y="2264711"/>
                  <a:pt x="819887" y="2256797"/>
                  <a:pt x="819887" y="2247000"/>
                </a:cubicBezTo>
                <a:cubicBezTo>
                  <a:pt x="819887" y="2237202"/>
                  <a:pt x="827801" y="2229162"/>
                  <a:pt x="837598" y="2229162"/>
                </a:cubicBezTo>
                <a:close/>
                <a:moveTo>
                  <a:pt x="974645" y="2224641"/>
                </a:moveTo>
                <a:cubicBezTo>
                  <a:pt x="985824" y="2224641"/>
                  <a:pt x="994869" y="2233560"/>
                  <a:pt x="994869" y="2244739"/>
                </a:cubicBezTo>
                <a:cubicBezTo>
                  <a:pt x="994869" y="2255919"/>
                  <a:pt x="985951" y="2264963"/>
                  <a:pt x="974770" y="2264963"/>
                </a:cubicBezTo>
                <a:cubicBezTo>
                  <a:pt x="963591" y="2264963"/>
                  <a:pt x="954547" y="2256045"/>
                  <a:pt x="954547" y="2244865"/>
                </a:cubicBezTo>
                <a:cubicBezTo>
                  <a:pt x="954547" y="2233811"/>
                  <a:pt x="963591" y="2224766"/>
                  <a:pt x="974645" y="2224641"/>
                </a:cubicBezTo>
                <a:close/>
                <a:moveTo>
                  <a:pt x="582224" y="2222883"/>
                </a:moveTo>
                <a:cubicBezTo>
                  <a:pt x="588129" y="2222883"/>
                  <a:pt x="592902" y="2227530"/>
                  <a:pt x="592902" y="2233434"/>
                </a:cubicBezTo>
                <a:cubicBezTo>
                  <a:pt x="592902" y="2239339"/>
                  <a:pt x="588254" y="2244111"/>
                  <a:pt x="582349" y="2244111"/>
                </a:cubicBezTo>
                <a:cubicBezTo>
                  <a:pt x="576446" y="2244111"/>
                  <a:pt x="571672" y="2239464"/>
                  <a:pt x="571672" y="2233560"/>
                </a:cubicBezTo>
                <a:cubicBezTo>
                  <a:pt x="571672" y="2227656"/>
                  <a:pt x="576319" y="2222883"/>
                  <a:pt x="582224" y="2222883"/>
                </a:cubicBezTo>
                <a:close/>
                <a:moveTo>
                  <a:pt x="2211073" y="2217983"/>
                </a:moveTo>
                <a:cubicBezTo>
                  <a:pt x="2224262" y="2217983"/>
                  <a:pt x="2234939" y="2228660"/>
                  <a:pt x="2235064" y="2241849"/>
                </a:cubicBezTo>
                <a:cubicBezTo>
                  <a:pt x="2235064" y="2255040"/>
                  <a:pt x="2224387" y="2265842"/>
                  <a:pt x="2211198" y="2265842"/>
                </a:cubicBezTo>
                <a:cubicBezTo>
                  <a:pt x="2198009" y="2265842"/>
                  <a:pt x="2187205" y="2255165"/>
                  <a:pt x="2187205" y="2241976"/>
                </a:cubicBezTo>
                <a:cubicBezTo>
                  <a:pt x="2187205" y="2228785"/>
                  <a:pt x="2197882" y="2218108"/>
                  <a:pt x="2211073" y="2217983"/>
                </a:cubicBezTo>
                <a:close/>
                <a:moveTo>
                  <a:pt x="1355636" y="2217731"/>
                </a:moveTo>
                <a:cubicBezTo>
                  <a:pt x="1363298" y="2217731"/>
                  <a:pt x="1369579" y="2224012"/>
                  <a:pt x="1369579" y="2231675"/>
                </a:cubicBezTo>
                <a:cubicBezTo>
                  <a:pt x="1369705" y="2239337"/>
                  <a:pt x="1363423" y="2245618"/>
                  <a:pt x="1355761" y="2245618"/>
                </a:cubicBezTo>
                <a:cubicBezTo>
                  <a:pt x="1347974" y="2245743"/>
                  <a:pt x="1341692" y="2239462"/>
                  <a:pt x="1341692" y="2231800"/>
                </a:cubicBezTo>
                <a:cubicBezTo>
                  <a:pt x="1341692" y="2224138"/>
                  <a:pt x="1347847" y="2217856"/>
                  <a:pt x="1355636" y="2217731"/>
                </a:cubicBezTo>
                <a:close/>
                <a:moveTo>
                  <a:pt x="1693038" y="2215847"/>
                </a:moveTo>
                <a:cubicBezTo>
                  <a:pt x="1701202" y="2215847"/>
                  <a:pt x="1707734" y="2222379"/>
                  <a:pt x="1707734" y="2230418"/>
                </a:cubicBezTo>
                <a:cubicBezTo>
                  <a:pt x="1707734" y="2238583"/>
                  <a:pt x="1701202" y="2245115"/>
                  <a:pt x="1693163" y="2245115"/>
                </a:cubicBezTo>
                <a:cubicBezTo>
                  <a:pt x="1685124" y="2245115"/>
                  <a:pt x="1678466" y="2238583"/>
                  <a:pt x="1678466" y="2230544"/>
                </a:cubicBezTo>
                <a:cubicBezTo>
                  <a:pt x="1678466" y="2222504"/>
                  <a:pt x="1684873" y="2215972"/>
                  <a:pt x="1693038" y="2215847"/>
                </a:cubicBezTo>
                <a:close/>
                <a:moveTo>
                  <a:pt x="2073901" y="2215596"/>
                </a:moveTo>
                <a:cubicBezTo>
                  <a:pt x="2087843" y="2215596"/>
                  <a:pt x="2099275" y="2226776"/>
                  <a:pt x="2099275" y="2240719"/>
                </a:cubicBezTo>
                <a:cubicBezTo>
                  <a:pt x="2099275" y="2254663"/>
                  <a:pt x="2088095" y="2265968"/>
                  <a:pt x="2074152" y="2266093"/>
                </a:cubicBezTo>
                <a:cubicBezTo>
                  <a:pt x="2060208" y="2266219"/>
                  <a:pt x="2048904" y="2254913"/>
                  <a:pt x="2048904" y="2240970"/>
                </a:cubicBezTo>
                <a:cubicBezTo>
                  <a:pt x="2048778" y="2227027"/>
                  <a:pt x="2060083" y="2215721"/>
                  <a:pt x="2073901" y="2215596"/>
                </a:cubicBezTo>
                <a:close/>
                <a:moveTo>
                  <a:pt x="2341462" y="2215471"/>
                </a:moveTo>
                <a:cubicBezTo>
                  <a:pt x="2353144" y="2215471"/>
                  <a:pt x="2362566" y="2224892"/>
                  <a:pt x="2362566" y="2236449"/>
                </a:cubicBezTo>
                <a:cubicBezTo>
                  <a:pt x="2362566" y="2248005"/>
                  <a:pt x="2353144" y="2257426"/>
                  <a:pt x="2341588" y="2257551"/>
                </a:cubicBezTo>
                <a:cubicBezTo>
                  <a:pt x="2330031" y="2257551"/>
                  <a:pt x="2320484" y="2248130"/>
                  <a:pt x="2320484" y="2236574"/>
                </a:cubicBezTo>
                <a:cubicBezTo>
                  <a:pt x="2320484" y="2224892"/>
                  <a:pt x="2329780" y="2215471"/>
                  <a:pt x="2341462" y="2215471"/>
                </a:cubicBezTo>
                <a:close/>
                <a:moveTo>
                  <a:pt x="461633" y="2212832"/>
                </a:moveTo>
                <a:cubicBezTo>
                  <a:pt x="466407" y="2212832"/>
                  <a:pt x="470300" y="2216726"/>
                  <a:pt x="470300" y="2221499"/>
                </a:cubicBezTo>
                <a:cubicBezTo>
                  <a:pt x="470427" y="2226273"/>
                  <a:pt x="466532" y="2230166"/>
                  <a:pt x="461759" y="2230166"/>
                </a:cubicBezTo>
                <a:cubicBezTo>
                  <a:pt x="456986" y="2230166"/>
                  <a:pt x="453092" y="2226273"/>
                  <a:pt x="453092" y="2221499"/>
                </a:cubicBezTo>
                <a:cubicBezTo>
                  <a:pt x="453092" y="2216726"/>
                  <a:pt x="456986" y="2212832"/>
                  <a:pt x="461633" y="2212832"/>
                </a:cubicBezTo>
                <a:close/>
                <a:moveTo>
                  <a:pt x="1119855" y="2212707"/>
                </a:moveTo>
                <a:cubicBezTo>
                  <a:pt x="1131034" y="2212707"/>
                  <a:pt x="1140079" y="2221626"/>
                  <a:pt x="1140079" y="2232805"/>
                </a:cubicBezTo>
                <a:cubicBezTo>
                  <a:pt x="1140079" y="2243985"/>
                  <a:pt x="1131161" y="2253029"/>
                  <a:pt x="1119980" y="2253029"/>
                </a:cubicBezTo>
                <a:cubicBezTo>
                  <a:pt x="1108801" y="2253029"/>
                  <a:pt x="1099757" y="2244111"/>
                  <a:pt x="1099757" y="2232931"/>
                </a:cubicBezTo>
                <a:cubicBezTo>
                  <a:pt x="1099757" y="2221877"/>
                  <a:pt x="1108676" y="2212707"/>
                  <a:pt x="1119855" y="2212707"/>
                </a:cubicBezTo>
                <a:close/>
                <a:moveTo>
                  <a:pt x="2466323" y="2211701"/>
                </a:moveTo>
                <a:cubicBezTo>
                  <a:pt x="2474613" y="2211576"/>
                  <a:pt x="2481397" y="2218360"/>
                  <a:pt x="2481397" y="2226650"/>
                </a:cubicBezTo>
                <a:cubicBezTo>
                  <a:pt x="2481522" y="2235067"/>
                  <a:pt x="2474740" y="2241849"/>
                  <a:pt x="2466448" y="2241849"/>
                </a:cubicBezTo>
                <a:cubicBezTo>
                  <a:pt x="2458158" y="2241849"/>
                  <a:pt x="2451374" y="2235067"/>
                  <a:pt x="2451374" y="2226775"/>
                </a:cubicBezTo>
                <a:cubicBezTo>
                  <a:pt x="2451374" y="2218360"/>
                  <a:pt x="2458032" y="2211701"/>
                  <a:pt x="2466323" y="2211701"/>
                </a:cubicBezTo>
                <a:close/>
                <a:moveTo>
                  <a:pt x="1928565" y="2208687"/>
                </a:moveTo>
                <a:cubicBezTo>
                  <a:pt x="1940372" y="2208687"/>
                  <a:pt x="1949919" y="2218234"/>
                  <a:pt x="1949919" y="2229915"/>
                </a:cubicBezTo>
                <a:cubicBezTo>
                  <a:pt x="1950046" y="2241724"/>
                  <a:pt x="1940499" y="2251270"/>
                  <a:pt x="1928816" y="2251270"/>
                </a:cubicBezTo>
                <a:cubicBezTo>
                  <a:pt x="1917009" y="2251270"/>
                  <a:pt x="1907462" y="2241724"/>
                  <a:pt x="1907462" y="2230041"/>
                </a:cubicBezTo>
                <a:cubicBezTo>
                  <a:pt x="1907462" y="2218234"/>
                  <a:pt x="1916884" y="2208687"/>
                  <a:pt x="1928565" y="2208687"/>
                </a:cubicBezTo>
                <a:close/>
                <a:moveTo>
                  <a:pt x="344812" y="2202910"/>
                </a:moveTo>
                <a:cubicBezTo>
                  <a:pt x="347198" y="2202910"/>
                  <a:pt x="349208" y="2204795"/>
                  <a:pt x="349208" y="2207307"/>
                </a:cubicBezTo>
                <a:cubicBezTo>
                  <a:pt x="349208" y="2209694"/>
                  <a:pt x="347325" y="2211703"/>
                  <a:pt x="344812" y="2211703"/>
                </a:cubicBezTo>
                <a:cubicBezTo>
                  <a:pt x="342426" y="2211703"/>
                  <a:pt x="340416" y="2209694"/>
                  <a:pt x="340416" y="2207307"/>
                </a:cubicBezTo>
                <a:cubicBezTo>
                  <a:pt x="340416" y="2204920"/>
                  <a:pt x="342426" y="2202910"/>
                  <a:pt x="344812" y="2202910"/>
                </a:cubicBezTo>
                <a:close/>
                <a:moveTo>
                  <a:pt x="2586788" y="2201150"/>
                </a:moveTo>
                <a:cubicBezTo>
                  <a:pt x="2593697" y="2201150"/>
                  <a:pt x="2599474" y="2206802"/>
                  <a:pt x="2599474" y="2213711"/>
                </a:cubicBezTo>
                <a:cubicBezTo>
                  <a:pt x="2599474" y="2220746"/>
                  <a:pt x="2593822" y="2226398"/>
                  <a:pt x="2586913" y="2226398"/>
                </a:cubicBezTo>
                <a:cubicBezTo>
                  <a:pt x="2579879" y="2226398"/>
                  <a:pt x="2574226" y="2220746"/>
                  <a:pt x="2574226" y="2213837"/>
                </a:cubicBezTo>
                <a:cubicBezTo>
                  <a:pt x="2574226" y="2206929"/>
                  <a:pt x="2579753" y="2201275"/>
                  <a:pt x="2586788" y="2201150"/>
                </a:cubicBezTo>
                <a:close/>
                <a:moveTo>
                  <a:pt x="231007" y="2190348"/>
                </a:moveTo>
                <a:cubicBezTo>
                  <a:pt x="231760" y="2190348"/>
                  <a:pt x="232388" y="2190850"/>
                  <a:pt x="232388" y="2191605"/>
                </a:cubicBezTo>
                <a:cubicBezTo>
                  <a:pt x="232388" y="2192357"/>
                  <a:pt x="231760" y="2192985"/>
                  <a:pt x="231007" y="2192985"/>
                </a:cubicBezTo>
                <a:cubicBezTo>
                  <a:pt x="230253" y="2192985"/>
                  <a:pt x="229625" y="2192357"/>
                  <a:pt x="229625" y="2191605"/>
                </a:cubicBezTo>
                <a:cubicBezTo>
                  <a:pt x="229625" y="2190850"/>
                  <a:pt x="230253" y="2190223"/>
                  <a:pt x="231007" y="2190348"/>
                </a:cubicBezTo>
                <a:close/>
                <a:moveTo>
                  <a:pt x="2703483" y="2188965"/>
                </a:moveTo>
                <a:cubicBezTo>
                  <a:pt x="2708884" y="2188965"/>
                  <a:pt x="2713281" y="2193236"/>
                  <a:pt x="2713281" y="2198636"/>
                </a:cubicBezTo>
                <a:cubicBezTo>
                  <a:pt x="2713281" y="2204038"/>
                  <a:pt x="2709009" y="2208434"/>
                  <a:pt x="2703608" y="2208434"/>
                </a:cubicBezTo>
                <a:cubicBezTo>
                  <a:pt x="2698208" y="2208434"/>
                  <a:pt x="2693811" y="2204163"/>
                  <a:pt x="2693811" y="2198762"/>
                </a:cubicBezTo>
                <a:cubicBezTo>
                  <a:pt x="2693811" y="2193487"/>
                  <a:pt x="2698208" y="2189090"/>
                  <a:pt x="2703483" y="2188965"/>
                </a:cubicBezTo>
                <a:close/>
                <a:moveTo>
                  <a:pt x="1274613" y="2187962"/>
                </a:moveTo>
                <a:cubicBezTo>
                  <a:pt x="1284160" y="2187962"/>
                  <a:pt x="1291949" y="2195624"/>
                  <a:pt x="1291949" y="2205170"/>
                </a:cubicBezTo>
                <a:cubicBezTo>
                  <a:pt x="1291949" y="2214717"/>
                  <a:pt x="1284286" y="2222505"/>
                  <a:pt x="1274740" y="2222505"/>
                </a:cubicBezTo>
                <a:cubicBezTo>
                  <a:pt x="1265193" y="2222505"/>
                  <a:pt x="1257405" y="2214844"/>
                  <a:pt x="1257405" y="2205297"/>
                </a:cubicBezTo>
                <a:cubicBezTo>
                  <a:pt x="1257279" y="2195751"/>
                  <a:pt x="1265067" y="2187962"/>
                  <a:pt x="1274613" y="2187962"/>
                </a:cubicBezTo>
                <a:close/>
                <a:moveTo>
                  <a:pt x="1773806" y="2186078"/>
                </a:moveTo>
                <a:cubicBezTo>
                  <a:pt x="1783353" y="2186078"/>
                  <a:pt x="1791142" y="2193740"/>
                  <a:pt x="1791142" y="2203286"/>
                </a:cubicBezTo>
                <a:cubicBezTo>
                  <a:pt x="1791142" y="2212833"/>
                  <a:pt x="1783478" y="2220621"/>
                  <a:pt x="1773933" y="2220621"/>
                </a:cubicBezTo>
                <a:cubicBezTo>
                  <a:pt x="1764386" y="2220621"/>
                  <a:pt x="1756597" y="2212958"/>
                  <a:pt x="1756597" y="2203413"/>
                </a:cubicBezTo>
                <a:cubicBezTo>
                  <a:pt x="1756597" y="2193865"/>
                  <a:pt x="1764259" y="2186203"/>
                  <a:pt x="1773806" y="2186078"/>
                </a:cubicBezTo>
                <a:close/>
                <a:moveTo>
                  <a:pt x="2817415" y="2178414"/>
                </a:moveTo>
                <a:cubicBezTo>
                  <a:pt x="2819425" y="2178414"/>
                  <a:pt x="2821185" y="2180047"/>
                  <a:pt x="2821185" y="2182183"/>
                </a:cubicBezTo>
                <a:cubicBezTo>
                  <a:pt x="2821185" y="2184318"/>
                  <a:pt x="2819552" y="2185951"/>
                  <a:pt x="2817415" y="2185951"/>
                </a:cubicBezTo>
                <a:cubicBezTo>
                  <a:pt x="2815405" y="2185951"/>
                  <a:pt x="2813646" y="2184318"/>
                  <a:pt x="2813646" y="2182183"/>
                </a:cubicBezTo>
                <a:cubicBezTo>
                  <a:pt x="2813646" y="2180172"/>
                  <a:pt x="2815279" y="2178414"/>
                  <a:pt x="2817415" y="2178414"/>
                </a:cubicBezTo>
                <a:close/>
                <a:moveTo>
                  <a:pt x="911963" y="2168365"/>
                </a:moveTo>
                <a:cubicBezTo>
                  <a:pt x="922390" y="2168365"/>
                  <a:pt x="930806" y="2176657"/>
                  <a:pt x="930806" y="2187082"/>
                </a:cubicBezTo>
                <a:cubicBezTo>
                  <a:pt x="930806" y="2197383"/>
                  <a:pt x="922515" y="2205925"/>
                  <a:pt x="912090" y="2205925"/>
                </a:cubicBezTo>
                <a:cubicBezTo>
                  <a:pt x="901789" y="2206050"/>
                  <a:pt x="893372" y="2197634"/>
                  <a:pt x="893247" y="2187208"/>
                </a:cubicBezTo>
                <a:cubicBezTo>
                  <a:pt x="893122" y="2176782"/>
                  <a:pt x="901538" y="2168365"/>
                  <a:pt x="911963" y="2168365"/>
                </a:cubicBezTo>
                <a:close/>
                <a:moveTo>
                  <a:pt x="1050140" y="2166732"/>
                </a:moveTo>
                <a:cubicBezTo>
                  <a:pt x="1059560" y="2166732"/>
                  <a:pt x="1067224" y="2174269"/>
                  <a:pt x="1067224" y="2183691"/>
                </a:cubicBezTo>
                <a:cubicBezTo>
                  <a:pt x="1067224" y="2193111"/>
                  <a:pt x="1059687" y="2200774"/>
                  <a:pt x="1050266" y="2200774"/>
                </a:cubicBezTo>
                <a:cubicBezTo>
                  <a:pt x="1040844" y="2200774"/>
                  <a:pt x="1033182" y="2193237"/>
                  <a:pt x="1033182" y="2183816"/>
                </a:cubicBezTo>
                <a:cubicBezTo>
                  <a:pt x="1033182" y="2174394"/>
                  <a:pt x="1040719" y="2166732"/>
                  <a:pt x="1050140" y="2166732"/>
                </a:cubicBezTo>
                <a:close/>
                <a:moveTo>
                  <a:pt x="781324" y="2165476"/>
                </a:moveTo>
                <a:cubicBezTo>
                  <a:pt x="790996" y="2165351"/>
                  <a:pt x="798910" y="2173139"/>
                  <a:pt x="798910" y="2182812"/>
                </a:cubicBezTo>
                <a:cubicBezTo>
                  <a:pt x="798910" y="2192484"/>
                  <a:pt x="791121" y="2200398"/>
                  <a:pt x="781450" y="2200398"/>
                </a:cubicBezTo>
                <a:cubicBezTo>
                  <a:pt x="771778" y="2200398"/>
                  <a:pt x="763864" y="2192610"/>
                  <a:pt x="763864" y="2182937"/>
                </a:cubicBezTo>
                <a:cubicBezTo>
                  <a:pt x="763739" y="2173265"/>
                  <a:pt x="771653" y="2165476"/>
                  <a:pt x="781324" y="2165476"/>
                </a:cubicBezTo>
                <a:close/>
                <a:moveTo>
                  <a:pt x="2928708" y="2163341"/>
                </a:moveTo>
                <a:cubicBezTo>
                  <a:pt x="2929336" y="2163341"/>
                  <a:pt x="2929840" y="2163843"/>
                  <a:pt x="2929840" y="2164471"/>
                </a:cubicBezTo>
                <a:cubicBezTo>
                  <a:pt x="2929840" y="2165099"/>
                  <a:pt x="2929336" y="2165601"/>
                  <a:pt x="2928708" y="2165601"/>
                </a:cubicBezTo>
                <a:cubicBezTo>
                  <a:pt x="2928081" y="2165601"/>
                  <a:pt x="2927578" y="2165099"/>
                  <a:pt x="2927578" y="2164471"/>
                </a:cubicBezTo>
                <a:cubicBezTo>
                  <a:pt x="2927578" y="2163843"/>
                  <a:pt x="2927955" y="2163341"/>
                  <a:pt x="2928708" y="2163341"/>
                </a:cubicBezTo>
                <a:close/>
                <a:moveTo>
                  <a:pt x="1998030" y="2161331"/>
                </a:moveTo>
                <a:cubicBezTo>
                  <a:pt x="2008582" y="2161331"/>
                  <a:pt x="2017124" y="2169748"/>
                  <a:pt x="2017124" y="2180299"/>
                </a:cubicBezTo>
                <a:cubicBezTo>
                  <a:pt x="2017124" y="2190851"/>
                  <a:pt x="2008582" y="2199392"/>
                  <a:pt x="1998156" y="2199392"/>
                </a:cubicBezTo>
                <a:cubicBezTo>
                  <a:pt x="1987604" y="2199392"/>
                  <a:pt x="1979062" y="2190976"/>
                  <a:pt x="1979062" y="2180424"/>
                </a:cubicBezTo>
                <a:cubicBezTo>
                  <a:pt x="1979062" y="2169873"/>
                  <a:pt x="1987479" y="2161331"/>
                  <a:pt x="1998030" y="2161331"/>
                </a:cubicBezTo>
                <a:close/>
                <a:moveTo>
                  <a:pt x="1850432" y="2158567"/>
                </a:moveTo>
                <a:cubicBezTo>
                  <a:pt x="1854577" y="2158567"/>
                  <a:pt x="1857969" y="2161959"/>
                  <a:pt x="1857969" y="2166103"/>
                </a:cubicBezTo>
                <a:cubicBezTo>
                  <a:pt x="1857969" y="2170248"/>
                  <a:pt x="1854577" y="2173639"/>
                  <a:pt x="1850432" y="2173639"/>
                </a:cubicBezTo>
                <a:cubicBezTo>
                  <a:pt x="1846287" y="2173639"/>
                  <a:pt x="1842895" y="2170248"/>
                  <a:pt x="1842895" y="2166103"/>
                </a:cubicBezTo>
                <a:cubicBezTo>
                  <a:pt x="1842895" y="2161959"/>
                  <a:pt x="1846287" y="2158567"/>
                  <a:pt x="1850432" y="2158567"/>
                </a:cubicBezTo>
                <a:close/>
                <a:moveTo>
                  <a:pt x="656463" y="2158567"/>
                </a:moveTo>
                <a:cubicBezTo>
                  <a:pt x="664879" y="2158567"/>
                  <a:pt x="671788" y="2165351"/>
                  <a:pt x="671788" y="2173766"/>
                </a:cubicBezTo>
                <a:cubicBezTo>
                  <a:pt x="671788" y="2182182"/>
                  <a:pt x="665004" y="2189091"/>
                  <a:pt x="656589" y="2189091"/>
                </a:cubicBezTo>
                <a:cubicBezTo>
                  <a:pt x="648173" y="2189091"/>
                  <a:pt x="641264" y="2182308"/>
                  <a:pt x="641264" y="2173893"/>
                </a:cubicBezTo>
                <a:cubicBezTo>
                  <a:pt x="641264" y="2165476"/>
                  <a:pt x="648048" y="2158567"/>
                  <a:pt x="656463" y="2158567"/>
                </a:cubicBezTo>
                <a:close/>
                <a:moveTo>
                  <a:pt x="2136081" y="2158191"/>
                </a:moveTo>
                <a:cubicBezTo>
                  <a:pt x="2149522" y="2158191"/>
                  <a:pt x="2160576" y="2168995"/>
                  <a:pt x="2160576" y="2182435"/>
                </a:cubicBezTo>
                <a:cubicBezTo>
                  <a:pt x="2160702" y="2195876"/>
                  <a:pt x="2149773" y="2206930"/>
                  <a:pt x="2136333" y="2206930"/>
                </a:cubicBezTo>
                <a:cubicBezTo>
                  <a:pt x="2123017" y="2206930"/>
                  <a:pt x="2111963" y="2196128"/>
                  <a:pt x="2111963" y="2182687"/>
                </a:cubicBezTo>
                <a:cubicBezTo>
                  <a:pt x="2111963" y="2169245"/>
                  <a:pt x="2122767" y="2158316"/>
                  <a:pt x="2136081" y="2158191"/>
                </a:cubicBezTo>
                <a:close/>
                <a:moveTo>
                  <a:pt x="1197738" y="2156683"/>
                </a:moveTo>
                <a:cubicBezTo>
                  <a:pt x="1204270" y="2156683"/>
                  <a:pt x="1209545" y="2161959"/>
                  <a:pt x="1209545" y="2168365"/>
                </a:cubicBezTo>
                <a:cubicBezTo>
                  <a:pt x="1209545" y="2174898"/>
                  <a:pt x="1204395" y="2180174"/>
                  <a:pt x="1197863" y="2180174"/>
                </a:cubicBezTo>
                <a:cubicBezTo>
                  <a:pt x="1191331" y="2180174"/>
                  <a:pt x="1186056" y="2175023"/>
                  <a:pt x="1186056" y="2168492"/>
                </a:cubicBezTo>
                <a:cubicBezTo>
                  <a:pt x="1185929" y="2162085"/>
                  <a:pt x="1191206" y="2156808"/>
                  <a:pt x="1197738" y="2156683"/>
                </a:cubicBezTo>
                <a:close/>
                <a:moveTo>
                  <a:pt x="1524086" y="2155426"/>
                </a:moveTo>
                <a:cubicBezTo>
                  <a:pt x="1525343" y="2155426"/>
                  <a:pt x="1526473" y="2156431"/>
                  <a:pt x="1526473" y="2157813"/>
                </a:cubicBezTo>
                <a:cubicBezTo>
                  <a:pt x="1526473" y="2159195"/>
                  <a:pt x="1525468" y="2160325"/>
                  <a:pt x="1524086" y="2160325"/>
                </a:cubicBezTo>
                <a:cubicBezTo>
                  <a:pt x="1522831" y="2160325"/>
                  <a:pt x="1521699" y="2159321"/>
                  <a:pt x="1521699" y="2157938"/>
                </a:cubicBezTo>
                <a:cubicBezTo>
                  <a:pt x="1521574" y="2156556"/>
                  <a:pt x="1522704" y="2155426"/>
                  <a:pt x="1524086" y="2155426"/>
                </a:cubicBezTo>
                <a:close/>
                <a:moveTo>
                  <a:pt x="2266973" y="2153039"/>
                </a:moveTo>
                <a:cubicBezTo>
                  <a:pt x="2280539" y="2153039"/>
                  <a:pt x="2291592" y="2163968"/>
                  <a:pt x="2291592" y="2177534"/>
                </a:cubicBezTo>
                <a:cubicBezTo>
                  <a:pt x="2291592" y="2191100"/>
                  <a:pt x="2280665" y="2202154"/>
                  <a:pt x="2267098" y="2202154"/>
                </a:cubicBezTo>
                <a:cubicBezTo>
                  <a:pt x="2253532" y="2202154"/>
                  <a:pt x="2242478" y="2191226"/>
                  <a:pt x="2242478" y="2177659"/>
                </a:cubicBezTo>
                <a:cubicBezTo>
                  <a:pt x="2242351" y="2163968"/>
                  <a:pt x="2253280" y="2153039"/>
                  <a:pt x="2266973" y="2153039"/>
                </a:cubicBezTo>
                <a:close/>
                <a:moveTo>
                  <a:pt x="536501" y="2152286"/>
                </a:moveTo>
                <a:cubicBezTo>
                  <a:pt x="541525" y="2152286"/>
                  <a:pt x="545670" y="2156306"/>
                  <a:pt x="545670" y="2161330"/>
                </a:cubicBezTo>
                <a:cubicBezTo>
                  <a:pt x="545670" y="2166355"/>
                  <a:pt x="541650" y="2170500"/>
                  <a:pt x="536626" y="2170500"/>
                </a:cubicBezTo>
                <a:cubicBezTo>
                  <a:pt x="531727" y="2170500"/>
                  <a:pt x="527582" y="2166480"/>
                  <a:pt x="527582" y="2161456"/>
                </a:cubicBezTo>
                <a:cubicBezTo>
                  <a:pt x="527582" y="2156431"/>
                  <a:pt x="531601" y="2152411"/>
                  <a:pt x="536501" y="2152286"/>
                </a:cubicBezTo>
                <a:close/>
                <a:moveTo>
                  <a:pt x="1439042" y="2149146"/>
                </a:moveTo>
                <a:cubicBezTo>
                  <a:pt x="1440549" y="2149146"/>
                  <a:pt x="1441679" y="2150276"/>
                  <a:pt x="1441679" y="2151783"/>
                </a:cubicBezTo>
                <a:cubicBezTo>
                  <a:pt x="1441679" y="2153165"/>
                  <a:pt x="1440549" y="2154420"/>
                  <a:pt x="1439042" y="2154420"/>
                </a:cubicBezTo>
                <a:cubicBezTo>
                  <a:pt x="1437535" y="2154420"/>
                  <a:pt x="1436405" y="2153290"/>
                  <a:pt x="1436405" y="2151783"/>
                </a:cubicBezTo>
                <a:cubicBezTo>
                  <a:pt x="1436405" y="2150403"/>
                  <a:pt x="1437660" y="2149146"/>
                  <a:pt x="1439042" y="2149146"/>
                </a:cubicBezTo>
                <a:close/>
                <a:moveTo>
                  <a:pt x="1609001" y="2148267"/>
                </a:moveTo>
                <a:cubicBezTo>
                  <a:pt x="1610634" y="2148267"/>
                  <a:pt x="1611891" y="2149523"/>
                  <a:pt x="1611891" y="2151157"/>
                </a:cubicBezTo>
                <a:cubicBezTo>
                  <a:pt x="1611891" y="2152790"/>
                  <a:pt x="1610634" y="2154045"/>
                  <a:pt x="1609001" y="2154045"/>
                </a:cubicBezTo>
                <a:cubicBezTo>
                  <a:pt x="1607367" y="2154045"/>
                  <a:pt x="1606111" y="2152790"/>
                  <a:pt x="1606111" y="2151157"/>
                </a:cubicBezTo>
                <a:cubicBezTo>
                  <a:pt x="1606111" y="2149649"/>
                  <a:pt x="1607493" y="2148392"/>
                  <a:pt x="1609001" y="2148267"/>
                </a:cubicBezTo>
                <a:close/>
                <a:moveTo>
                  <a:pt x="2391582" y="2146509"/>
                </a:moveTo>
                <a:cubicBezTo>
                  <a:pt x="2403264" y="2146509"/>
                  <a:pt x="2412686" y="2155930"/>
                  <a:pt x="2412686" y="2167487"/>
                </a:cubicBezTo>
                <a:cubicBezTo>
                  <a:pt x="2412686" y="2179168"/>
                  <a:pt x="2403389" y="2188589"/>
                  <a:pt x="2391708" y="2188589"/>
                </a:cubicBezTo>
                <a:cubicBezTo>
                  <a:pt x="2380026" y="2188589"/>
                  <a:pt x="2370604" y="2179168"/>
                  <a:pt x="2370604" y="2167612"/>
                </a:cubicBezTo>
                <a:cubicBezTo>
                  <a:pt x="2370604" y="2155930"/>
                  <a:pt x="2380026" y="2146509"/>
                  <a:pt x="2391582" y="2146509"/>
                </a:cubicBezTo>
                <a:close/>
                <a:moveTo>
                  <a:pt x="420557" y="2141108"/>
                </a:moveTo>
                <a:cubicBezTo>
                  <a:pt x="423699" y="2141108"/>
                  <a:pt x="426336" y="2143746"/>
                  <a:pt x="426336" y="2146887"/>
                </a:cubicBezTo>
                <a:cubicBezTo>
                  <a:pt x="426336" y="2150027"/>
                  <a:pt x="423699" y="2152664"/>
                  <a:pt x="420557" y="2152664"/>
                </a:cubicBezTo>
                <a:cubicBezTo>
                  <a:pt x="417417" y="2152664"/>
                  <a:pt x="414780" y="2150027"/>
                  <a:pt x="414780" y="2146887"/>
                </a:cubicBezTo>
                <a:cubicBezTo>
                  <a:pt x="414780" y="2143746"/>
                  <a:pt x="417417" y="2141108"/>
                  <a:pt x="420557" y="2141108"/>
                </a:cubicBezTo>
                <a:close/>
                <a:moveTo>
                  <a:pt x="2511417" y="2135956"/>
                </a:moveTo>
                <a:cubicBezTo>
                  <a:pt x="2521593" y="2135956"/>
                  <a:pt x="2529883" y="2144121"/>
                  <a:pt x="2529883" y="2154297"/>
                </a:cubicBezTo>
                <a:cubicBezTo>
                  <a:pt x="2529883" y="2164471"/>
                  <a:pt x="2521719" y="2172761"/>
                  <a:pt x="2511544" y="2172761"/>
                </a:cubicBezTo>
                <a:cubicBezTo>
                  <a:pt x="2501370" y="2172761"/>
                  <a:pt x="2493078" y="2164596"/>
                  <a:pt x="2493078" y="2154422"/>
                </a:cubicBezTo>
                <a:cubicBezTo>
                  <a:pt x="2493078" y="2144247"/>
                  <a:pt x="2501243" y="2135956"/>
                  <a:pt x="2511417" y="2135956"/>
                </a:cubicBezTo>
                <a:close/>
                <a:moveTo>
                  <a:pt x="1356013" y="2129173"/>
                </a:moveTo>
                <a:cubicBezTo>
                  <a:pt x="1358275" y="2129173"/>
                  <a:pt x="1360033" y="2131058"/>
                  <a:pt x="1360033" y="2133193"/>
                </a:cubicBezTo>
                <a:cubicBezTo>
                  <a:pt x="1360033" y="2135455"/>
                  <a:pt x="1358148" y="2137212"/>
                  <a:pt x="1356013" y="2137212"/>
                </a:cubicBezTo>
                <a:cubicBezTo>
                  <a:pt x="1353751" y="2137212"/>
                  <a:pt x="1351993" y="2135328"/>
                  <a:pt x="1351993" y="2133193"/>
                </a:cubicBezTo>
                <a:cubicBezTo>
                  <a:pt x="1351993" y="2130931"/>
                  <a:pt x="1353751" y="2129173"/>
                  <a:pt x="1356013" y="2129173"/>
                </a:cubicBezTo>
                <a:close/>
                <a:moveTo>
                  <a:pt x="1692032" y="2127542"/>
                </a:moveTo>
                <a:cubicBezTo>
                  <a:pt x="1694417" y="2127542"/>
                  <a:pt x="1696427" y="2129427"/>
                  <a:pt x="1696427" y="2131939"/>
                </a:cubicBezTo>
                <a:cubicBezTo>
                  <a:pt x="1696427" y="2134326"/>
                  <a:pt x="1694417" y="2136335"/>
                  <a:pt x="1692032" y="2136335"/>
                </a:cubicBezTo>
                <a:cubicBezTo>
                  <a:pt x="1689645" y="2136335"/>
                  <a:pt x="1687635" y="2134326"/>
                  <a:pt x="1687635" y="2131939"/>
                </a:cubicBezTo>
                <a:cubicBezTo>
                  <a:pt x="1687635" y="2129552"/>
                  <a:pt x="1689520" y="2127542"/>
                  <a:pt x="1692032" y="2127542"/>
                </a:cubicBezTo>
                <a:close/>
                <a:moveTo>
                  <a:pt x="307755" y="2127163"/>
                </a:moveTo>
                <a:cubicBezTo>
                  <a:pt x="309640" y="2127163"/>
                  <a:pt x="311273" y="2128796"/>
                  <a:pt x="311273" y="2130680"/>
                </a:cubicBezTo>
                <a:cubicBezTo>
                  <a:pt x="311273" y="2132565"/>
                  <a:pt x="309765" y="2134197"/>
                  <a:pt x="307755" y="2134197"/>
                </a:cubicBezTo>
                <a:cubicBezTo>
                  <a:pt x="305745" y="2134197"/>
                  <a:pt x="304113" y="2132565"/>
                  <a:pt x="304113" y="2130680"/>
                </a:cubicBezTo>
                <a:cubicBezTo>
                  <a:pt x="304113" y="2128670"/>
                  <a:pt x="305620" y="2127163"/>
                  <a:pt x="307755" y="2127163"/>
                </a:cubicBezTo>
                <a:close/>
                <a:moveTo>
                  <a:pt x="2627361" y="2125279"/>
                </a:moveTo>
                <a:cubicBezTo>
                  <a:pt x="2634898" y="2125279"/>
                  <a:pt x="2640928" y="2131308"/>
                  <a:pt x="2640928" y="2138720"/>
                </a:cubicBezTo>
                <a:cubicBezTo>
                  <a:pt x="2640928" y="2146131"/>
                  <a:pt x="2634898" y="2152285"/>
                  <a:pt x="2627487" y="2152285"/>
                </a:cubicBezTo>
                <a:cubicBezTo>
                  <a:pt x="2620075" y="2152285"/>
                  <a:pt x="2613920" y="2146256"/>
                  <a:pt x="2613920" y="2138845"/>
                </a:cubicBezTo>
                <a:cubicBezTo>
                  <a:pt x="2613920" y="2131434"/>
                  <a:pt x="2619950" y="2125404"/>
                  <a:pt x="2627361" y="2125279"/>
                </a:cubicBezTo>
                <a:close/>
                <a:moveTo>
                  <a:pt x="2740289" y="2113220"/>
                </a:moveTo>
                <a:cubicBezTo>
                  <a:pt x="2745063" y="2113094"/>
                  <a:pt x="2748956" y="2116989"/>
                  <a:pt x="2748956" y="2121761"/>
                </a:cubicBezTo>
                <a:cubicBezTo>
                  <a:pt x="2749082" y="2126535"/>
                  <a:pt x="2745188" y="2130430"/>
                  <a:pt x="2740415" y="2130430"/>
                </a:cubicBezTo>
                <a:cubicBezTo>
                  <a:pt x="2735641" y="2130555"/>
                  <a:pt x="2731747" y="2126661"/>
                  <a:pt x="2731747" y="2121888"/>
                </a:cubicBezTo>
                <a:cubicBezTo>
                  <a:pt x="2731622" y="2117114"/>
                  <a:pt x="2735516" y="2113220"/>
                  <a:pt x="2740289" y="2113220"/>
                </a:cubicBezTo>
                <a:close/>
                <a:moveTo>
                  <a:pt x="197215" y="2111838"/>
                </a:moveTo>
                <a:cubicBezTo>
                  <a:pt x="197968" y="2111838"/>
                  <a:pt x="198597" y="2112466"/>
                  <a:pt x="198597" y="2113220"/>
                </a:cubicBezTo>
                <a:cubicBezTo>
                  <a:pt x="198597" y="2113973"/>
                  <a:pt x="197968" y="2114602"/>
                  <a:pt x="197215" y="2114602"/>
                </a:cubicBezTo>
                <a:cubicBezTo>
                  <a:pt x="196461" y="2114602"/>
                  <a:pt x="195833" y="2113973"/>
                  <a:pt x="195833" y="2113220"/>
                </a:cubicBezTo>
                <a:cubicBezTo>
                  <a:pt x="195833" y="2112591"/>
                  <a:pt x="196461" y="2111963"/>
                  <a:pt x="197215" y="2111838"/>
                </a:cubicBezTo>
                <a:close/>
                <a:moveTo>
                  <a:pt x="1126137" y="2110457"/>
                </a:moveTo>
                <a:cubicBezTo>
                  <a:pt x="1132670" y="2110457"/>
                  <a:pt x="1137945" y="2115607"/>
                  <a:pt x="1137945" y="2122139"/>
                </a:cubicBezTo>
                <a:cubicBezTo>
                  <a:pt x="1137945" y="2128672"/>
                  <a:pt x="1132795" y="2133948"/>
                  <a:pt x="1126263" y="2133948"/>
                </a:cubicBezTo>
                <a:cubicBezTo>
                  <a:pt x="1119731" y="2133948"/>
                  <a:pt x="1114455" y="2128672"/>
                  <a:pt x="1114455" y="2122266"/>
                </a:cubicBezTo>
                <a:cubicBezTo>
                  <a:pt x="1114329" y="2115859"/>
                  <a:pt x="1119605" y="2110582"/>
                  <a:pt x="1126137" y="2110457"/>
                </a:cubicBezTo>
                <a:close/>
                <a:moveTo>
                  <a:pt x="986454" y="2108194"/>
                </a:moveTo>
                <a:cubicBezTo>
                  <a:pt x="997005" y="2108194"/>
                  <a:pt x="1005547" y="2116611"/>
                  <a:pt x="1005547" y="2127162"/>
                </a:cubicBezTo>
                <a:cubicBezTo>
                  <a:pt x="1005547" y="2137714"/>
                  <a:pt x="997131" y="2146255"/>
                  <a:pt x="986579" y="2146255"/>
                </a:cubicBezTo>
                <a:cubicBezTo>
                  <a:pt x="976153" y="2146255"/>
                  <a:pt x="967486" y="2137839"/>
                  <a:pt x="967486" y="2127287"/>
                </a:cubicBezTo>
                <a:cubicBezTo>
                  <a:pt x="967361" y="2116736"/>
                  <a:pt x="975902" y="2108194"/>
                  <a:pt x="986454" y="2108194"/>
                </a:cubicBezTo>
                <a:close/>
                <a:moveTo>
                  <a:pt x="1921781" y="2106310"/>
                </a:moveTo>
                <a:cubicBezTo>
                  <a:pt x="1928941" y="2106310"/>
                  <a:pt x="1934845" y="2112214"/>
                  <a:pt x="1934845" y="2119374"/>
                </a:cubicBezTo>
                <a:cubicBezTo>
                  <a:pt x="1934845" y="2126534"/>
                  <a:pt x="1928941" y="2132438"/>
                  <a:pt x="1921781" y="2132438"/>
                </a:cubicBezTo>
                <a:cubicBezTo>
                  <a:pt x="1914622" y="2132438"/>
                  <a:pt x="1908717" y="2126534"/>
                  <a:pt x="1908717" y="2119374"/>
                </a:cubicBezTo>
                <a:cubicBezTo>
                  <a:pt x="1908717" y="2112214"/>
                  <a:pt x="1914496" y="2106310"/>
                  <a:pt x="1921781" y="2106310"/>
                </a:cubicBezTo>
                <a:close/>
                <a:moveTo>
                  <a:pt x="855310" y="2104553"/>
                </a:moveTo>
                <a:cubicBezTo>
                  <a:pt x="865611" y="2104553"/>
                  <a:pt x="874153" y="2112845"/>
                  <a:pt x="874153" y="2123270"/>
                </a:cubicBezTo>
                <a:cubicBezTo>
                  <a:pt x="874153" y="2133571"/>
                  <a:pt x="865862" y="2142113"/>
                  <a:pt x="855437" y="2142113"/>
                </a:cubicBezTo>
                <a:cubicBezTo>
                  <a:pt x="845136" y="2142238"/>
                  <a:pt x="836594" y="2133822"/>
                  <a:pt x="836594" y="2123396"/>
                </a:cubicBezTo>
                <a:cubicBezTo>
                  <a:pt x="836594" y="2113095"/>
                  <a:pt x="844885" y="2104553"/>
                  <a:pt x="855310" y="2104553"/>
                </a:cubicBezTo>
                <a:close/>
                <a:moveTo>
                  <a:pt x="2850578" y="2099905"/>
                </a:moveTo>
                <a:cubicBezTo>
                  <a:pt x="2852588" y="2099905"/>
                  <a:pt x="2854348" y="2101538"/>
                  <a:pt x="2854348" y="2103674"/>
                </a:cubicBezTo>
                <a:cubicBezTo>
                  <a:pt x="2854348" y="2105809"/>
                  <a:pt x="2852715" y="2107442"/>
                  <a:pt x="2850578" y="2107442"/>
                </a:cubicBezTo>
                <a:cubicBezTo>
                  <a:pt x="2848442" y="2107442"/>
                  <a:pt x="2846809" y="2105684"/>
                  <a:pt x="2846809" y="2103674"/>
                </a:cubicBezTo>
                <a:cubicBezTo>
                  <a:pt x="2846809" y="2101663"/>
                  <a:pt x="2848568" y="2099905"/>
                  <a:pt x="2850578" y="2099905"/>
                </a:cubicBezTo>
                <a:close/>
                <a:moveTo>
                  <a:pt x="2061340" y="2098900"/>
                </a:moveTo>
                <a:cubicBezTo>
                  <a:pt x="2074781" y="2098900"/>
                  <a:pt x="2085710" y="2109704"/>
                  <a:pt x="2085710" y="2123144"/>
                </a:cubicBezTo>
                <a:cubicBezTo>
                  <a:pt x="2085710" y="2136710"/>
                  <a:pt x="2074906" y="2147639"/>
                  <a:pt x="2061466" y="2147639"/>
                </a:cubicBezTo>
                <a:cubicBezTo>
                  <a:pt x="2048025" y="2147764"/>
                  <a:pt x="2037096" y="2136837"/>
                  <a:pt x="2037096" y="2123396"/>
                </a:cubicBezTo>
                <a:cubicBezTo>
                  <a:pt x="2037096" y="2109954"/>
                  <a:pt x="2047900" y="2099025"/>
                  <a:pt x="2061340" y="2098900"/>
                </a:cubicBezTo>
                <a:close/>
                <a:moveTo>
                  <a:pt x="730827" y="2096514"/>
                </a:moveTo>
                <a:cubicBezTo>
                  <a:pt x="740499" y="2096514"/>
                  <a:pt x="748413" y="2104303"/>
                  <a:pt x="748413" y="2113975"/>
                </a:cubicBezTo>
                <a:cubicBezTo>
                  <a:pt x="748413" y="2123647"/>
                  <a:pt x="740624" y="2131561"/>
                  <a:pt x="730952" y="2131561"/>
                </a:cubicBezTo>
                <a:cubicBezTo>
                  <a:pt x="721406" y="2131561"/>
                  <a:pt x="713492" y="2123773"/>
                  <a:pt x="713492" y="2114100"/>
                </a:cubicBezTo>
                <a:cubicBezTo>
                  <a:pt x="713492" y="2104554"/>
                  <a:pt x="721279" y="2096639"/>
                  <a:pt x="730827" y="2096514"/>
                </a:cubicBezTo>
                <a:close/>
                <a:moveTo>
                  <a:pt x="1771169" y="2096136"/>
                </a:moveTo>
                <a:cubicBezTo>
                  <a:pt x="1773556" y="2096136"/>
                  <a:pt x="1775566" y="2098021"/>
                  <a:pt x="1775566" y="2100533"/>
                </a:cubicBezTo>
                <a:cubicBezTo>
                  <a:pt x="1775566" y="2102920"/>
                  <a:pt x="1773681" y="2104929"/>
                  <a:pt x="1771169" y="2104929"/>
                </a:cubicBezTo>
                <a:cubicBezTo>
                  <a:pt x="1768782" y="2104929"/>
                  <a:pt x="1766772" y="2102920"/>
                  <a:pt x="1766772" y="2100533"/>
                </a:cubicBezTo>
                <a:cubicBezTo>
                  <a:pt x="1766772" y="2098146"/>
                  <a:pt x="1768782" y="2096136"/>
                  <a:pt x="1771169" y="2096136"/>
                </a:cubicBezTo>
                <a:close/>
                <a:moveTo>
                  <a:pt x="1276499" y="2094754"/>
                </a:moveTo>
                <a:cubicBezTo>
                  <a:pt x="1280644" y="2094754"/>
                  <a:pt x="1284036" y="2098146"/>
                  <a:pt x="1284036" y="2102291"/>
                </a:cubicBezTo>
                <a:cubicBezTo>
                  <a:pt x="1284036" y="2106436"/>
                  <a:pt x="1280644" y="2109828"/>
                  <a:pt x="1276499" y="2109828"/>
                </a:cubicBezTo>
                <a:cubicBezTo>
                  <a:pt x="1272353" y="2109828"/>
                  <a:pt x="1268961" y="2106436"/>
                  <a:pt x="1268961" y="2102291"/>
                </a:cubicBezTo>
                <a:cubicBezTo>
                  <a:pt x="1268961" y="2098146"/>
                  <a:pt x="1272353" y="2094754"/>
                  <a:pt x="1276499" y="2094754"/>
                </a:cubicBezTo>
                <a:close/>
                <a:moveTo>
                  <a:pt x="2192357" y="2092368"/>
                </a:moveTo>
                <a:cubicBezTo>
                  <a:pt x="2206801" y="2092242"/>
                  <a:pt x="2218484" y="2103925"/>
                  <a:pt x="2218610" y="2118369"/>
                </a:cubicBezTo>
                <a:cubicBezTo>
                  <a:pt x="2218610" y="2132815"/>
                  <a:pt x="2207053" y="2144497"/>
                  <a:pt x="2192607" y="2144623"/>
                </a:cubicBezTo>
                <a:cubicBezTo>
                  <a:pt x="2178161" y="2144748"/>
                  <a:pt x="2166354" y="2133067"/>
                  <a:pt x="2166354" y="2118621"/>
                </a:cubicBezTo>
                <a:cubicBezTo>
                  <a:pt x="2166354" y="2104175"/>
                  <a:pt x="2178036" y="2092494"/>
                  <a:pt x="2192357" y="2092368"/>
                </a:cubicBezTo>
                <a:close/>
                <a:moveTo>
                  <a:pt x="611620" y="2089480"/>
                </a:moveTo>
                <a:cubicBezTo>
                  <a:pt x="618277" y="2089480"/>
                  <a:pt x="623679" y="2094755"/>
                  <a:pt x="623679" y="2101413"/>
                </a:cubicBezTo>
                <a:cubicBezTo>
                  <a:pt x="623679" y="2107945"/>
                  <a:pt x="618277" y="2113347"/>
                  <a:pt x="611745" y="2113347"/>
                </a:cubicBezTo>
                <a:cubicBezTo>
                  <a:pt x="605213" y="2113347"/>
                  <a:pt x="599812" y="2108072"/>
                  <a:pt x="599812" y="2101413"/>
                </a:cubicBezTo>
                <a:cubicBezTo>
                  <a:pt x="599686" y="2094755"/>
                  <a:pt x="605088" y="2089353"/>
                  <a:pt x="611620" y="2089480"/>
                </a:cubicBezTo>
                <a:close/>
                <a:moveTo>
                  <a:pt x="2316841" y="2083827"/>
                </a:moveTo>
                <a:cubicBezTo>
                  <a:pt x="2330407" y="2083827"/>
                  <a:pt x="2341460" y="2094756"/>
                  <a:pt x="2341460" y="2108322"/>
                </a:cubicBezTo>
                <a:cubicBezTo>
                  <a:pt x="2341460" y="2121888"/>
                  <a:pt x="2330533" y="2132942"/>
                  <a:pt x="2316966" y="2132942"/>
                </a:cubicBezTo>
                <a:cubicBezTo>
                  <a:pt x="2303400" y="2132942"/>
                  <a:pt x="2292346" y="2122014"/>
                  <a:pt x="2292346" y="2108447"/>
                </a:cubicBezTo>
                <a:cubicBezTo>
                  <a:pt x="2292219" y="2094881"/>
                  <a:pt x="2303274" y="2083827"/>
                  <a:pt x="2316841" y="2083827"/>
                </a:cubicBezTo>
                <a:close/>
                <a:moveTo>
                  <a:pt x="2958731" y="2082444"/>
                </a:moveTo>
                <a:cubicBezTo>
                  <a:pt x="2959988" y="2082444"/>
                  <a:pt x="2960993" y="2083449"/>
                  <a:pt x="2960993" y="2084706"/>
                </a:cubicBezTo>
                <a:cubicBezTo>
                  <a:pt x="2960993" y="2085961"/>
                  <a:pt x="2960113" y="2086966"/>
                  <a:pt x="2958857" y="2086966"/>
                </a:cubicBezTo>
                <a:cubicBezTo>
                  <a:pt x="2957600" y="2086966"/>
                  <a:pt x="2956595" y="2085961"/>
                  <a:pt x="2956595" y="2084706"/>
                </a:cubicBezTo>
                <a:cubicBezTo>
                  <a:pt x="2956595" y="2083449"/>
                  <a:pt x="2957475" y="2082444"/>
                  <a:pt x="2958731" y="2082444"/>
                </a:cubicBezTo>
                <a:close/>
                <a:moveTo>
                  <a:pt x="496556" y="2076540"/>
                </a:moveTo>
                <a:cubicBezTo>
                  <a:pt x="501833" y="2076540"/>
                  <a:pt x="506103" y="2080810"/>
                  <a:pt x="506103" y="2086087"/>
                </a:cubicBezTo>
                <a:cubicBezTo>
                  <a:pt x="506103" y="2091363"/>
                  <a:pt x="501833" y="2095633"/>
                  <a:pt x="496556" y="2095633"/>
                </a:cubicBezTo>
                <a:cubicBezTo>
                  <a:pt x="491281" y="2095759"/>
                  <a:pt x="487010" y="2091489"/>
                  <a:pt x="487010" y="2086212"/>
                </a:cubicBezTo>
                <a:cubicBezTo>
                  <a:pt x="487010" y="2080937"/>
                  <a:pt x="491281" y="2076665"/>
                  <a:pt x="496556" y="2076540"/>
                </a:cubicBezTo>
                <a:close/>
                <a:moveTo>
                  <a:pt x="2435924" y="2073652"/>
                </a:moveTo>
                <a:cubicBezTo>
                  <a:pt x="2447606" y="2073652"/>
                  <a:pt x="2457028" y="2083073"/>
                  <a:pt x="2457028" y="2094630"/>
                </a:cubicBezTo>
                <a:cubicBezTo>
                  <a:pt x="2457028" y="2106186"/>
                  <a:pt x="2447606" y="2115732"/>
                  <a:pt x="2436050" y="2115732"/>
                </a:cubicBezTo>
                <a:cubicBezTo>
                  <a:pt x="2424493" y="2115732"/>
                  <a:pt x="2414946" y="2106311"/>
                  <a:pt x="2414946" y="2094755"/>
                </a:cubicBezTo>
                <a:cubicBezTo>
                  <a:pt x="2414946" y="2083199"/>
                  <a:pt x="2424368" y="2073777"/>
                  <a:pt x="2435924" y="2073652"/>
                </a:cubicBezTo>
                <a:close/>
                <a:moveTo>
                  <a:pt x="384508" y="2064231"/>
                </a:moveTo>
                <a:cubicBezTo>
                  <a:pt x="387523" y="2064231"/>
                  <a:pt x="389910" y="2066618"/>
                  <a:pt x="389910" y="2069506"/>
                </a:cubicBezTo>
                <a:cubicBezTo>
                  <a:pt x="389910" y="2072396"/>
                  <a:pt x="387648" y="2074782"/>
                  <a:pt x="384634" y="2074782"/>
                </a:cubicBezTo>
                <a:cubicBezTo>
                  <a:pt x="381745" y="2074782"/>
                  <a:pt x="379358" y="2072396"/>
                  <a:pt x="379358" y="2069506"/>
                </a:cubicBezTo>
                <a:cubicBezTo>
                  <a:pt x="379358" y="2066618"/>
                  <a:pt x="381618" y="2064231"/>
                  <a:pt x="384508" y="2064231"/>
                </a:cubicBezTo>
                <a:close/>
                <a:moveTo>
                  <a:pt x="2550986" y="2059959"/>
                </a:moveTo>
                <a:cubicBezTo>
                  <a:pt x="2561287" y="2059959"/>
                  <a:pt x="2569829" y="2068249"/>
                  <a:pt x="2569829" y="2078675"/>
                </a:cubicBezTo>
                <a:cubicBezTo>
                  <a:pt x="2569955" y="2089102"/>
                  <a:pt x="2561538" y="2097518"/>
                  <a:pt x="2551113" y="2097518"/>
                </a:cubicBezTo>
                <a:cubicBezTo>
                  <a:pt x="2540687" y="2097518"/>
                  <a:pt x="2532270" y="2089227"/>
                  <a:pt x="2532270" y="2078802"/>
                </a:cubicBezTo>
                <a:cubicBezTo>
                  <a:pt x="2532270" y="2068501"/>
                  <a:pt x="2540687" y="2059959"/>
                  <a:pt x="2550986" y="2059959"/>
                </a:cubicBezTo>
                <a:close/>
                <a:moveTo>
                  <a:pt x="1202636" y="2058705"/>
                </a:moveTo>
                <a:cubicBezTo>
                  <a:pt x="1203389" y="2058705"/>
                  <a:pt x="1204019" y="2059208"/>
                  <a:pt x="1204019" y="2059963"/>
                </a:cubicBezTo>
                <a:cubicBezTo>
                  <a:pt x="1204019" y="2060716"/>
                  <a:pt x="1203389" y="2061344"/>
                  <a:pt x="1202636" y="2061344"/>
                </a:cubicBezTo>
                <a:cubicBezTo>
                  <a:pt x="1201882" y="2061344"/>
                  <a:pt x="1201254" y="2060716"/>
                  <a:pt x="1201254" y="2059963"/>
                </a:cubicBezTo>
                <a:cubicBezTo>
                  <a:pt x="1201254" y="2059208"/>
                  <a:pt x="1201882" y="2058705"/>
                  <a:pt x="1202636" y="2058705"/>
                </a:cubicBezTo>
                <a:close/>
                <a:moveTo>
                  <a:pt x="1060942" y="2057446"/>
                </a:moveTo>
                <a:cubicBezTo>
                  <a:pt x="1066344" y="2057320"/>
                  <a:pt x="1070740" y="2061717"/>
                  <a:pt x="1070740" y="2067118"/>
                </a:cubicBezTo>
                <a:cubicBezTo>
                  <a:pt x="1070740" y="2072520"/>
                  <a:pt x="1066469" y="2076916"/>
                  <a:pt x="1061067" y="2076916"/>
                </a:cubicBezTo>
                <a:cubicBezTo>
                  <a:pt x="1055667" y="2076916"/>
                  <a:pt x="1051271" y="2072645"/>
                  <a:pt x="1051271" y="2067244"/>
                </a:cubicBezTo>
                <a:cubicBezTo>
                  <a:pt x="1051271" y="2061843"/>
                  <a:pt x="1055667" y="2057446"/>
                  <a:pt x="1060942" y="2057446"/>
                </a:cubicBezTo>
                <a:close/>
                <a:moveTo>
                  <a:pt x="1844780" y="2056190"/>
                </a:moveTo>
                <a:cubicBezTo>
                  <a:pt x="1845659" y="2056190"/>
                  <a:pt x="1846412" y="2056819"/>
                  <a:pt x="1846412" y="2057698"/>
                </a:cubicBezTo>
                <a:cubicBezTo>
                  <a:pt x="1846412" y="2058452"/>
                  <a:pt x="1845785" y="2059205"/>
                  <a:pt x="1844905" y="2059205"/>
                </a:cubicBezTo>
                <a:cubicBezTo>
                  <a:pt x="1844025" y="2059205"/>
                  <a:pt x="1843272" y="2058577"/>
                  <a:pt x="1843272" y="2057698"/>
                </a:cubicBezTo>
                <a:cubicBezTo>
                  <a:pt x="1843272" y="2056819"/>
                  <a:pt x="1844025" y="2056065"/>
                  <a:pt x="1844780" y="2056190"/>
                </a:cubicBezTo>
                <a:close/>
                <a:moveTo>
                  <a:pt x="1438919" y="2055311"/>
                </a:moveTo>
                <a:cubicBezTo>
                  <a:pt x="1439044" y="2055311"/>
                  <a:pt x="1439169" y="2055437"/>
                  <a:pt x="1439169" y="2055563"/>
                </a:cubicBezTo>
                <a:cubicBezTo>
                  <a:pt x="1439169" y="2055689"/>
                  <a:pt x="1439044" y="2055814"/>
                  <a:pt x="1438919" y="2055814"/>
                </a:cubicBezTo>
                <a:cubicBezTo>
                  <a:pt x="1438792" y="2055814"/>
                  <a:pt x="1438667" y="2055689"/>
                  <a:pt x="1438667" y="2055563"/>
                </a:cubicBezTo>
                <a:cubicBezTo>
                  <a:pt x="1438667" y="2055437"/>
                  <a:pt x="1438792" y="2055311"/>
                  <a:pt x="1438919" y="2055311"/>
                </a:cubicBezTo>
                <a:close/>
                <a:moveTo>
                  <a:pt x="1608624" y="2054683"/>
                </a:moveTo>
                <a:cubicBezTo>
                  <a:pt x="1608749" y="2054683"/>
                  <a:pt x="1608874" y="2054808"/>
                  <a:pt x="1608874" y="2054934"/>
                </a:cubicBezTo>
                <a:cubicBezTo>
                  <a:pt x="1608874" y="2055060"/>
                  <a:pt x="1608749" y="2055185"/>
                  <a:pt x="1608624" y="2055185"/>
                </a:cubicBezTo>
                <a:cubicBezTo>
                  <a:pt x="1608497" y="2055185"/>
                  <a:pt x="1608372" y="2055060"/>
                  <a:pt x="1608372" y="2054934"/>
                </a:cubicBezTo>
                <a:cubicBezTo>
                  <a:pt x="1608372" y="2054808"/>
                  <a:pt x="1608372" y="2054683"/>
                  <a:pt x="1608624" y="2054683"/>
                </a:cubicBezTo>
                <a:close/>
                <a:moveTo>
                  <a:pt x="1986474" y="2052925"/>
                </a:moveTo>
                <a:cubicBezTo>
                  <a:pt x="1992504" y="2052925"/>
                  <a:pt x="1997529" y="2057949"/>
                  <a:pt x="1997529" y="2063979"/>
                </a:cubicBezTo>
                <a:cubicBezTo>
                  <a:pt x="1997529" y="2070009"/>
                  <a:pt x="1992629" y="2075033"/>
                  <a:pt x="1986474" y="2075033"/>
                </a:cubicBezTo>
                <a:cubicBezTo>
                  <a:pt x="1980445" y="2075033"/>
                  <a:pt x="1975420" y="2070134"/>
                  <a:pt x="1975420" y="2063979"/>
                </a:cubicBezTo>
                <a:cubicBezTo>
                  <a:pt x="1975295" y="2057824"/>
                  <a:pt x="1980318" y="2052799"/>
                  <a:pt x="1986474" y="2052925"/>
                </a:cubicBezTo>
                <a:close/>
                <a:moveTo>
                  <a:pt x="275346" y="2048529"/>
                </a:moveTo>
                <a:cubicBezTo>
                  <a:pt x="277105" y="2048529"/>
                  <a:pt x="278487" y="2050036"/>
                  <a:pt x="278487" y="2051669"/>
                </a:cubicBezTo>
                <a:cubicBezTo>
                  <a:pt x="278487" y="2053428"/>
                  <a:pt x="277105" y="2054810"/>
                  <a:pt x="275346" y="2054810"/>
                </a:cubicBezTo>
                <a:cubicBezTo>
                  <a:pt x="273588" y="2054810"/>
                  <a:pt x="272206" y="2053428"/>
                  <a:pt x="272206" y="2051669"/>
                </a:cubicBezTo>
                <a:cubicBezTo>
                  <a:pt x="272206" y="2050036"/>
                  <a:pt x="273588" y="2048654"/>
                  <a:pt x="275346" y="2048529"/>
                </a:cubicBezTo>
                <a:close/>
                <a:moveTo>
                  <a:pt x="929550" y="2048152"/>
                </a:moveTo>
                <a:cubicBezTo>
                  <a:pt x="938217" y="2048152"/>
                  <a:pt x="945251" y="2055186"/>
                  <a:pt x="945251" y="2063853"/>
                </a:cubicBezTo>
                <a:cubicBezTo>
                  <a:pt x="945251" y="2072522"/>
                  <a:pt x="938217" y="2079681"/>
                  <a:pt x="929550" y="2079681"/>
                </a:cubicBezTo>
                <a:cubicBezTo>
                  <a:pt x="920756" y="2079681"/>
                  <a:pt x="913722" y="2072647"/>
                  <a:pt x="913722" y="2063979"/>
                </a:cubicBezTo>
                <a:cubicBezTo>
                  <a:pt x="913722" y="2055312"/>
                  <a:pt x="920756" y="2048152"/>
                  <a:pt x="929550" y="2048152"/>
                </a:cubicBezTo>
                <a:close/>
                <a:moveTo>
                  <a:pt x="2662784" y="2044007"/>
                </a:moveTo>
                <a:cubicBezTo>
                  <a:pt x="2672331" y="2044007"/>
                  <a:pt x="2680120" y="2051669"/>
                  <a:pt x="2680120" y="2061215"/>
                </a:cubicBezTo>
                <a:cubicBezTo>
                  <a:pt x="2680120" y="2070762"/>
                  <a:pt x="2672456" y="2078550"/>
                  <a:pt x="2662911" y="2078550"/>
                </a:cubicBezTo>
                <a:cubicBezTo>
                  <a:pt x="2653363" y="2078550"/>
                  <a:pt x="2645575" y="2070887"/>
                  <a:pt x="2645575" y="2061342"/>
                </a:cubicBezTo>
                <a:cubicBezTo>
                  <a:pt x="2645575" y="2051794"/>
                  <a:pt x="2653237" y="2044007"/>
                  <a:pt x="2662784" y="2044007"/>
                </a:cubicBezTo>
                <a:close/>
                <a:moveTo>
                  <a:pt x="2117866" y="2039860"/>
                </a:moveTo>
                <a:cubicBezTo>
                  <a:pt x="2128669" y="2039735"/>
                  <a:pt x="2137587" y="2048528"/>
                  <a:pt x="2137587" y="2059456"/>
                </a:cubicBezTo>
                <a:cubicBezTo>
                  <a:pt x="2137712" y="2070259"/>
                  <a:pt x="2128920" y="2079178"/>
                  <a:pt x="2117991" y="2079178"/>
                </a:cubicBezTo>
                <a:cubicBezTo>
                  <a:pt x="2107189" y="2079304"/>
                  <a:pt x="2098270" y="2070511"/>
                  <a:pt x="2098270" y="2059582"/>
                </a:cubicBezTo>
                <a:cubicBezTo>
                  <a:pt x="2098270" y="2048779"/>
                  <a:pt x="2107064" y="2039860"/>
                  <a:pt x="2117866" y="2039860"/>
                </a:cubicBezTo>
                <a:close/>
                <a:moveTo>
                  <a:pt x="805316" y="2034208"/>
                </a:moveTo>
                <a:cubicBezTo>
                  <a:pt x="816495" y="2034208"/>
                  <a:pt x="825540" y="2043127"/>
                  <a:pt x="825540" y="2054306"/>
                </a:cubicBezTo>
                <a:cubicBezTo>
                  <a:pt x="825540" y="2065486"/>
                  <a:pt x="816622" y="2074530"/>
                  <a:pt x="805441" y="2074530"/>
                </a:cubicBezTo>
                <a:cubicBezTo>
                  <a:pt x="794262" y="2074530"/>
                  <a:pt x="785218" y="2065486"/>
                  <a:pt x="785218" y="2054432"/>
                </a:cubicBezTo>
                <a:cubicBezTo>
                  <a:pt x="785218" y="2043252"/>
                  <a:pt x="794137" y="2034208"/>
                  <a:pt x="805316" y="2034208"/>
                </a:cubicBezTo>
                <a:close/>
                <a:moveTo>
                  <a:pt x="1356767" y="2032576"/>
                </a:moveTo>
                <a:cubicBezTo>
                  <a:pt x="1357017" y="2032576"/>
                  <a:pt x="1357269" y="2032828"/>
                  <a:pt x="1357269" y="2033079"/>
                </a:cubicBezTo>
                <a:cubicBezTo>
                  <a:pt x="1357269" y="2033329"/>
                  <a:pt x="1357017" y="2033581"/>
                  <a:pt x="1356767" y="2033581"/>
                </a:cubicBezTo>
                <a:cubicBezTo>
                  <a:pt x="1356515" y="2033581"/>
                  <a:pt x="1356264" y="2033456"/>
                  <a:pt x="1356264" y="2033204"/>
                </a:cubicBezTo>
                <a:cubicBezTo>
                  <a:pt x="1356264" y="2032953"/>
                  <a:pt x="1356390" y="2032701"/>
                  <a:pt x="1356767" y="2032576"/>
                </a:cubicBezTo>
                <a:close/>
                <a:moveTo>
                  <a:pt x="168072" y="2031696"/>
                </a:moveTo>
                <a:cubicBezTo>
                  <a:pt x="168825" y="2031696"/>
                  <a:pt x="169453" y="2032199"/>
                  <a:pt x="169453" y="2032951"/>
                </a:cubicBezTo>
                <a:cubicBezTo>
                  <a:pt x="169453" y="2033706"/>
                  <a:pt x="168950" y="2034333"/>
                  <a:pt x="168197" y="2034333"/>
                </a:cubicBezTo>
                <a:cubicBezTo>
                  <a:pt x="167443" y="2034460"/>
                  <a:pt x="166815" y="2033831"/>
                  <a:pt x="166815" y="2033078"/>
                </a:cubicBezTo>
                <a:cubicBezTo>
                  <a:pt x="166815" y="2032324"/>
                  <a:pt x="167443" y="2031821"/>
                  <a:pt x="168072" y="2031696"/>
                </a:cubicBezTo>
                <a:close/>
                <a:moveTo>
                  <a:pt x="1690524" y="2031571"/>
                </a:moveTo>
                <a:cubicBezTo>
                  <a:pt x="1690775" y="2031571"/>
                  <a:pt x="1691027" y="2031823"/>
                  <a:pt x="1691027" y="2032074"/>
                </a:cubicBezTo>
                <a:cubicBezTo>
                  <a:pt x="1691027" y="2032199"/>
                  <a:pt x="1690775" y="2032451"/>
                  <a:pt x="1690524" y="2032451"/>
                </a:cubicBezTo>
                <a:cubicBezTo>
                  <a:pt x="1690272" y="2032451"/>
                  <a:pt x="1690147" y="2032199"/>
                  <a:pt x="1690147" y="2031949"/>
                </a:cubicBezTo>
                <a:cubicBezTo>
                  <a:pt x="1690147" y="2031697"/>
                  <a:pt x="1690272" y="2031571"/>
                  <a:pt x="1690524" y="2031571"/>
                </a:cubicBezTo>
                <a:close/>
                <a:moveTo>
                  <a:pt x="2772068" y="2029686"/>
                </a:moveTo>
                <a:cubicBezTo>
                  <a:pt x="2779229" y="2029686"/>
                  <a:pt x="2785134" y="2035590"/>
                  <a:pt x="2785134" y="2042750"/>
                </a:cubicBezTo>
                <a:cubicBezTo>
                  <a:pt x="2785134" y="2049910"/>
                  <a:pt x="2779229" y="2055814"/>
                  <a:pt x="2772068" y="2055814"/>
                </a:cubicBezTo>
                <a:cubicBezTo>
                  <a:pt x="2764908" y="2055814"/>
                  <a:pt x="2759004" y="2049910"/>
                  <a:pt x="2759004" y="2042750"/>
                </a:cubicBezTo>
                <a:cubicBezTo>
                  <a:pt x="2758878" y="2035464"/>
                  <a:pt x="2764783" y="2029686"/>
                  <a:pt x="2772068" y="2029686"/>
                </a:cubicBezTo>
                <a:close/>
                <a:moveTo>
                  <a:pt x="2241848" y="2024034"/>
                </a:moveTo>
                <a:cubicBezTo>
                  <a:pt x="2255666" y="2023908"/>
                  <a:pt x="2266970" y="2035088"/>
                  <a:pt x="2266970" y="2048905"/>
                </a:cubicBezTo>
                <a:cubicBezTo>
                  <a:pt x="2267097" y="2062723"/>
                  <a:pt x="2255916" y="2074028"/>
                  <a:pt x="2242100" y="2074028"/>
                </a:cubicBezTo>
                <a:cubicBezTo>
                  <a:pt x="2228282" y="2074153"/>
                  <a:pt x="2216977" y="2062974"/>
                  <a:pt x="2216977" y="2049157"/>
                </a:cubicBezTo>
                <a:cubicBezTo>
                  <a:pt x="2216977" y="2035464"/>
                  <a:pt x="2228156" y="2024160"/>
                  <a:pt x="2241848" y="2024034"/>
                </a:cubicBezTo>
                <a:close/>
                <a:moveTo>
                  <a:pt x="686863" y="2023154"/>
                </a:moveTo>
                <a:cubicBezTo>
                  <a:pt x="696786" y="2023029"/>
                  <a:pt x="704826" y="2031068"/>
                  <a:pt x="704826" y="2040992"/>
                </a:cubicBezTo>
                <a:cubicBezTo>
                  <a:pt x="704826" y="2050790"/>
                  <a:pt x="696913" y="2058829"/>
                  <a:pt x="686989" y="2058954"/>
                </a:cubicBezTo>
                <a:cubicBezTo>
                  <a:pt x="677064" y="2058954"/>
                  <a:pt x="669025" y="2051041"/>
                  <a:pt x="669025" y="2041118"/>
                </a:cubicBezTo>
                <a:cubicBezTo>
                  <a:pt x="669025" y="2031194"/>
                  <a:pt x="676939" y="2023154"/>
                  <a:pt x="686863" y="2023154"/>
                </a:cubicBezTo>
                <a:close/>
                <a:moveTo>
                  <a:pt x="2879092" y="2015994"/>
                </a:moveTo>
                <a:cubicBezTo>
                  <a:pt x="2883112" y="2015994"/>
                  <a:pt x="2886377" y="2019259"/>
                  <a:pt x="2886377" y="2023280"/>
                </a:cubicBezTo>
                <a:cubicBezTo>
                  <a:pt x="2886377" y="2027299"/>
                  <a:pt x="2883112" y="2030565"/>
                  <a:pt x="2879092" y="2030565"/>
                </a:cubicBezTo>
                <a:cubicBezTo>
                  <a:pt x="2875073" y="2030565"/>
                  <a:pt x="2871806" y="2027299"/>
                  <a:pt x="2871806" y="2023280"/>
                </a:cubicBezTo>
                <a:cubicBezTo>
                  <a:pt x="2871806" y="2019259"/>
                  <a:pt x="2875073" y="2015994"/>
                  <a:pt x="2879092" y="2015994"/>
                </a:cubicBezTo>
                <a:close/>
                <a:moveTo>
                  <a:pt x="572802" y="2011597"/>
                </a:moveTo>
                <a:cubicBezTo>
                  <a:pt x="580465" y="2011597"/>
                  <a:pt x="586620" y="2017752"/>
                  <a:pt x="586620" y="2025289"/>
                </a:cubicBezTo>
                <a:cubicBezTo>
                  <a:pt x="586620" y="2032951"/>
                  <a:pt x="580465" y="2039107"/>
                  <a:pt x="572928" y="2039107"/>
                </a:cubicBezTo>
                <a:cubicBezTo>
                  <a:pt x="565265" y="2039107"/>
                  <a:pt x="559110" y="2032951"/>
                  <a:pt x="559110" y="2025416"/>
                </a:cubicBezTo>
                <a:cubicBezTo>
                  <a:pt x="559110" y="2017879"/>
                  <a:pt x="565265" y="2011722"/>
                  <a:pt x="572802" y="2011597"/>
                </a:cubicBezTo>
                <a:close/>
                <a:moveTo>
                  <a:pt x="2360053" y="2010592"/>
                </a:moveTo>
                <a:cubicBezTo>
                  <a:pt x="2373494" y="2010467"/>
                  <a:pt x="2384548" y="2021395"/>
                  <a:pt x="2384548" y="2034836"/>
                </a:cubicBezTo>
                <a:cubicBezTo>
                  <a:pt x="2384674" y="2048402"/>
                  <a:pt x="2373745" y="2059331"/>
                  <a:pt x="2360304" y="2059331"/>
                </a:cubicBezTo>
                <a:cubicBezTo>
                  <a:pt x="2346864" y="2059456"/>
                  <a:pt x="2335935" y="2048528"/>
                  <a:pt x="2335935" y="2035088"/>
                </a:cubicBezTo>
                <a:cubicBezTo>
                  <a:pt x="2335935" y="2021647"/>
                  <a:pt x="2346864" y="2010718"/>
                  <a:pt x="2360053" y="2010592"/>
                </a:cubicBezTo>
                <a:close/>
                <a:moveTo>
                  <a:pt x="1135810" y="2003306"/>
                </a:moveTo>
                <a:cubicBezTo>
                  <a:pt x="1137947" y="2003306"/>
                  <a:pt x="1139580" y="2004939"/>
                  <a:pt x="1139580" y="2007075"/>
                </a:cubicBezTo>
                <a:cubicBezTo>
                  <a:pt x="1139580" y="2009085"/>
                  <a:pt x="1137820" y="2010843"/>
                  <a:pt x="1135810" y="2010843"/>
                </a:cubicBezTo>
                <a:cubicBezTo>
                  <a:pt x="1133800" y="2010843"/>
                  <a:pt x="1132042" y="2009085"/>
                  <a:pt x="1132042" y="2007075"/>
                </a:cubicBezTo>
                <a:cubicBezTo>
                  <a:pt x="1132042" y="2005064"/>
                  <a:pt x="1133675" y="2003306"/>
                  <a:pt x="1135810" y="2003306"/>
                </a:cubicBezTo>
                <a:close/>
                <a:moveTo>
                  <a:pt x="2984356" y="2001171"/>
                </a:moveTo>
                <a:cubicBezTo>
                  <a:pt x="2985611" y="2001171"/>
                  <a:pt x="2986616" y="2002051"/>
                  <a:pt x="2986616" y="2003306"/>
                </a:cubicBezTo>
                <a:cubicBezTo>
                  <a:pt x="2986616" y="2004563"/>
                  <a:pt x="2985611" y="2005568"/>
                  <a:pt x="2984356" y="2005568"/>
                </a:cubicBezTo>
                <a:cubicBezTo>
                  <a:pt x="2983099" y="2005568"/>
                  <a:pt x="2982094" y="2004563"/>
                  <a:pt x="2982094" y="2003306"/>
                </a:cubicBezTo>
                <a:cubicBezTo>
                  <a:pt x="2982094" y="2002176"/>
                  <a:pt x="2983099" y="2001171"/>
                  <a:pt x="2984356" y="2001171"/>
                </a:cubicBezTo>
                <a:close/>
                <a:moveTo>
                  <a:pt x="1911230" y="1999413"/>
                </a:moveTo>
                <a:cubicBezTo>
                  <a:pt x="1913994" y="1999413"/>
                  <a:pt x="1916129" y="2001675"/>
                  <a:pt x="1916129" y="2004312"/>
                </a:cubicBezTo>
                <a:cubicBezTo>
                  <a:pt x="1916255" y="2007075"/>
                  <a:pt x="1913994" y="2009210"/>
                  <a:pt x="1911357" y="2009210"/>
                </a:cubicBezTo>
                <a:cubicBezTo>
                  <a:pt x="1908592" y="2009210"/>
                  <a:pt x="1906457" y="2006950"/>
                  <a:pt x="1906457" y="2004312"/>
                </a:cubicBezTo>
                <a:cubicBezTo>
                  <a:pt x="1906457" y="2001548"/>
                  <a:pt x="1908592" y="1999413"/>
                  <a:pt x="1911230" y="1999413"/>
                </a:cubicBezTo>
                <a:close/>
                <a:moveTo>
                  <a:pt x="462010" y="1998534"/>
                </a:moveTo>
                <a:cubicBezTo>
                  <a:pt x="467285" y="1998534"/>
                  <a:pt x="471556" y="2002804"/>
                  <a:pt x="471556" y="2008081"/>
                </a:cubicBezTo>
                <a:cubicBezTo>
                  <a:pt x="471682" y="2013356"/>
                  <a:pt x="467412" y="2017627"/>
                  <a:pt x="462135" y="2017627"/>
                </a:cubicBezTo>
                <a:cubicBezTo>
                  <a:pt x="456860" y="2017627"/>
                  <a:pt x="452589" y="2013483"/>
                  <a:pt x="452589" y="2008206"/>
                </a:cubicBezTo>
                <a:cubicBezTo>
                  <a:pt x="452589" y="2002931"/>
                  <a:pt x="456860" y="1998659"/>
                  <a:pt x="462010" y="1998534"/>
                </a:cubicBezTo>
                <a:close/>
                <a:moveTo>
                  <a:pt x="2474235" y="1997278"/>
                </a:moveTo>
                <a:cubicBezTo>
                  <a:pt x="2486043" y="1997278"/>
                  <a:pt x="2495590" y="2006825"/>
                  <a:pt x="2495590" y="2018506"/>
                </a:cubicBezTo>
                <a:cubicBezTo>
                  <a:pt x="2495590" y="2030315"/>
                  <a:pt x="2486043" y="2039861"/>
                  <a:pt x="2474360" y="2039861"/>
                </a:cubicBezTo>
                <a:cubicBezTo>
                  <a:pt x="2462553" y="2039861"/>
                  <a:pt x="2453006" y="2030315"/>
                  <a:pt x="2453006" y="2018632"/>
                </a:cubicBezTo>
                <a:cubicBezTo>
                  <a:pt x="2453006" y="2006825"/>
                  <a:pt x="2462553" y="1997278"/>
                  <a:pt x="2474235" y="1997278"/>
                </a:cubicBezTo>
                <a:close/>
                <a:moveTo>
                  <a:pt x="1279889" y="1996271"/>
                </a:moveTo>
                <a:cubicBezTo>
                  <a:pt x="1280015" y="1996271"/>
                  <a:pt x="1280140" y="1996397"/>
                  <a:pt x="1280140" y="1996523"/>
                </a:cubicBezTo>
                <a:cubicBezTo>
                  <a:pt x="1280140" y="1996649"/>
                  <a:pt x="1280015" y="1996774"/>
                  <a:pt x="1279889" y="1996774"/>
                </a:cubicBezTo>
                <a:cubicBezTo>
                  <a:pt x="1279763" y="1996774"/>
                  <a:pt x="1279638" y="1996649"/>
                  <a:pt x="1279638" y="1996523"/>
                </a:cubicBezTo>
                <a:cubicBezTo>
                  <a:pt x="1279638" y="1996397"/>
                  <a:pt x="1279763" y="1996271"/>
                  <a:pt x="1279889" y="1996271"/>
                </a:cubicBezTo>
                <a:close/>
                <a:moveTo>
                  <a:pt x="2043504" y="1989489"/>
                </a:moveTo>
                <a:cubicBezTo>
                  <a:pt x="2049534" y="1989489"/>
                  <a:pt x="2054559" y="1994389"/>
                  <a:pt x="2054559" y="2000543"/>
                </a:cubicBezTo>
                <a:cubicBezTo>
                  <a:pt x="2054559" y="2006698"/>
                  <a:pt x="2049659" y="2011723"/>
                  <a:pt x="2043504" y="2011723"/>
                </a:cubicBezTo>
                <a:cubicBezTo>
                  <a:pt x="2037474" y="2011723"/>
                  <a:pt x="2032449" y="2006824"/>
                  <a:pt x="2032449" y="2000669"/>
                </a:cubicBezTo>
                <a:cubicBezTo>
                  <a:pt x="2032449" y="1994514"/>
                  <a:pt x="2037349" y="1989489"/>
                  <a:pt x="2043504" y="1989489"/>
                </a:cubicBezTo>
                <a:close/>
                <a:moveTo>
                  <a:pt x="1003535" y="1988735"/>
                </a:moveTo>
                <a:cubicBezTo>
                  <a:pt x="1012329" y="1988735"/>
                  <a:pt x="1019363" y="1995770"/>
                  <a:pt x="1019363" y="2004437"/>
                </a:cubicBezTo>
                <a:cubicBezTo>
                  <a:pt x="1019363" y="2013105"/>
                  <a:pt x="1012329" y="2020139"/>
                  <a:pt x="1003662" y="2020139"/>
                </a:cubicBezTo>
                <a:cubicBezTo>
                  <a:pt x="994868" y="2020139"/>
                  <a:pt x="987834" y="2013105"/>
                  <a:pt x="987834" y="2004437"/>
                </a:cubicBezTo>
                <a:cubicBezTo>
                  <a:pt x="987834" y="1995770"/>
                  <a:pt x="994743" y="1988610"/>
                  <a:pt x="1003535" y="1988735"/>
                </a:cubicBezTo>
                <a:close/>
                <a:moveTo>
                  <a:pt x="354234" y="1983711"/>
                </a:moveTo>
                <a:cubicBezTo>
                  <a:pt x="357626" y="1983711"/>
                  <a:pt x="360390" y="1986475"/>
                  <a:pt x="360390" y="1989866"/>
                </a:cubicBezTo>
                <a:cubicBezTo>
                  <a:pt x="360390" y="1993258"/>
                  <a:pt x="357626" y="1996021"/>
                  <a:pt x="354234" y="1996021"/>
                </a:cubicBezTo>
                <a:cubicBezTo>
                  <a:pt x="350717" y="1996021"/>
                  <a:pt x="347954" y="1993258"/>
                  <a:pt x="347954" y="1989866"/>
                </a:cubicBezTo>
                <a:cubicBezTo>
                  <a:pt x="347828" y="1986475"/>
                  <a:pt x="350717" y="1983711"/>
                  <a:pt x="354234" y="1983711"/>
                </a:cubicBezTo>
                <a:close/>
                <a:moveTo>
                  <a:pt x="2584776" y="1981700"/>
                </a:moveTo>
                <a:cubicBezTo>
                  <a:pt x="2595077" y="1981575"/>
                  <a:pt x="2603619" y="1989992"/>
                  <a:pt x="2603619" y="2000417"/>
                </a:cubicBezTo>
                <a:cubicBezTo>
                  <a:pt x="2603745" y="2010718"/>
                  <a:pt x="2595328" y="2019260"/>
                  <a:pt x="2584903" y="2019260"/>
                </a:cubicBezTo>
                <a:cubicBezTo>
                  <a:pt x="2574602" y="2019385"/>
                  <a:pt x="2566060" y="2010969"/>
                  <a:pt x="2566060" y="2000544"/>
                </a:cubicBezTo>
                <a:cubicBezTo>
                  <a:pt x="2566060" y="1990117"/>
                  <a:pt x="2574351" y="1981700"/>
                  <a:pt x="2584776" y="1981700"/>
                </a:cubicBezTo>
                <a:close/>
                <a:moveTo>
                  <a:pt x="879807" y="1974666"/>
                </a:moveTo>
                <a:cubicBezTo>
                  <a:pt x="890860" y="1974666"/>
                  <a:pt x="899779" y="1983459"/>
                  <a:pt x="899779" y="1994514"/>
                </a:cubicBezTo>
                <a:cubicBezTo>
                  <a:pt x="899779" y="2005442"/>
                  <a:pt x="890986" y="2014486"/>
                  <a:pt x="879932" y="2014486"/>
                </a:cubicBezTo>
                <a:cubicBezTo>
                  <a:pt x="868878" y="2014486"/>
                  <a:pt x="859959" y="2005694"/>
                  <a:pt x="859959" y="1994639"/>
                </a:cubicBezTo>
                <a:cubicBezTo>
                  <a:pt x="859959" y="1983585"/>
                  <a:pt x="868753" y="1974666"/>
                  <a:pt x="879807" y="1974666"/>
                </a:cubicBezTo>
                <a:close/>
                <a:moveTo>
                  <a:pt x="248214" y="1968889"/>
                </a:moveTo>
                <a:cubicBezTo>
                  <a:pt x="249345" y="1968889"/>
                  <a:pt x="250224" y="1969769"/>
                  <a:pt x="250224" y="1970899"/>
                </a:cubicBezTo>
                <a:cubicBezTo>
                  <a:pt x="250224" y="1972030"/>
                  <a:pt x="249345" y="1972909"/>
                  <a:pt x="248214" y="1972909"/>
                </a:cubicBezTo>
                <a:cubicBezTo>
                  <a:pt x="247084" y="1972909"/>
                  <a:pt x="246205" y="1972030"/>
                  <a:pt x="246205" y="1970899"/>
                </a:cubicBezTo>
                <a:cubicBezTo>
                  <a:pt x="246205" y="1969769"/>
                  <a:pt x="247084" y="1968889"/>
                  <a:pt x="248214" y="1968889"/>
                </a:cubicBezTo>
                <a:close/>
                <a:moveTo>
                  <a:pt x="2166982" y="1968261"/>
                </a:moveTo>
                <a:cubicBezTo>
                  <a:pt x="2178916" y="1968261"/>
                  <a:pt x="2188713" y="1977933"/>
                  <a:pt x="2188713" y="1989867"/>
                </a:cubicBezTo>
                <a:cubicBezTo>
                  <a:pt x="2188713" y="2001801"/>
                  <a:pt x="2179041" y="2011598"/>
                  <a:pt x="2167107" y="2011598"/>
                </a:cubicBezTo>
                <a:cubicBezTo>
                  <a:pt x="2155175" y="2011598"/>
                  <a:pt x="2145376" y="2001926"/>
                  <a:pt x="2145376" y="1989992"/>
                </a:cubicBezTo>
                <a:cubicBezTo>
                  <a:pt x="2145376" y="1977933"/>
                  <a:pt x="2155048" y="1968261"/>
                  <a:pt x="2166982" y="1968261"/>
                </a:cubicBezTo>
                <a:close/>
                <a:moveTo>
                  <a:pt x="2692808" y="1961854"/>
                </a:moveTo>
                <a:cubicBezTo>
                  <a:pt x="2703610" y="1961729"/>
                  <a:pt x="2712404" y="1970397"/>
                  <a:pt x="2712404" y="1981200"/>
                </a:cubicBezTo>
                <a:cubicBezTo>
                  <a:pt x="2712404" y="1992003"/>
                  <a:pt x="2703735" y="2000797"/>
                  <a:pt x="2692933" y="2000797"/>
                </a:cubicBezTo>
                <a:cubicBezTo>
                  <a:pt x="2682130" y="2000922"/>
                  <a:pt x="2673337" y="1992255"/>
                  <a:pt x="2673337" y="1981451"/>
                </a:cubicBezTo>
                <a:cubicBezTo>
                  <a:pt x="2673337" y="1970774"/>
                  <a:pt x="2682004" y="1961980"/>
                  <a:pt x="2692808" y="1961854"/>
                </a:cubicBezTo>
                <a:close/>
                <a:moveTo>
                  <a:pt x="762357" y="1957834"/>
                </a:moveTo>
                <a:cubicBezTo>
                  <a:pt x="774918" y="1957834"/>
                  <a:pt x="785219" y="1968009"/>
                  <a:pt x="785219" y="1980570"/>
                </a:cubicBezTo>
                <a:cubicBezTo>
                  <a:pt x="785219" y="1993131"/>
                  <a:pt x="775043" y="2003432"/>
                  <a:pt x="762482" y="2003432"/>
                </a:cubicBezTo>
                <a:cubicBezTo>
                  <a:pt x="749920" y="2003432"/>
                  <a:pt x="739621" y="1993257"/>
                  <a:pt x="739621" y="1980695"/>
                </a:cubicBezTo>
                <a:cubicBezTo>
                  <a:pt x="739621" y="1968134"/>
                  <a:pt x="749795" y="1957959"/>
                  <a:pt x="762357" y="1957834"/>
                </a:cubicBezTo>
                <a:close/>
                <a:moveTo>
                  <a:pt x="143954" y="1950172"/>
                </a:moveTo>
                <a:cubicBezTo>
                  <a:pt x="144583" y="1950172"/>
                  <a:pt x="145085" y="1950674"/>
                  <a:pt x="145085" y="1951302"/>
                </a:cubicBezTo>
                <a:cubicBezTo>
                  <a:pt x="145085" y="1951930"/>
                  <a:pt x="144583" y="1952432"/>
                  <a:pt x="143954" y="1952432"/>
                </a:cubicBezTo>
                <a:cubicBezTo>
                  <a:pt x="143326" y="1952432"/>
                  <a:pt x="142824" y="1951930"/>
                  <a:pt x="142824" y="1951302"/>
                </a:cubicBezTo>
                <a:cubicBezTo>
                  <a:pt x="142824" y="1950674"/>
                  <a:pt x="143326" y="1950172"/>
                  <a:pt x="143954" y="1950172"/>
                </a:cubicBezTo>
                <a:close/>
                <a:moveTo>
                  <a:pt x="2284306" y="1948162"/>
                </a:moveTo>
                <a:cubicBezTo>
                  <a:pt x="2299255" y="1948037"/>
                  <a:pt x="2311439" y="1960095"/>
                  <a:pt x="2311439" y="1975043"/>
                </a:cubicBezTo>
                <a:cubicBezTo>
                  <a:pt x="2311565" y="1989992"/>
                  <a:pt x="2299506" y="2002176"/>
                  <a:pt x="2284558" y="2002176"/>
                </a:cubicBezTo>
                <a:cubicBezTo>
                  <a:pt x="2269610" y="2002301"/>
                  <a:pt x="2257426" y="1990243"/>
                  <a:pt x="2257426" y="1975295"/>
                </a:cubicBezTo>
                <a:cubicBezTo>
                  <a:pt x="2257299" y="1960347"/>
                  <a:pt x="2269358" y="1948162"/>
                  <a:pt x="2284306" y="1948162"/>
                </a:cubicBezTo>
                <a:close/>
                <a:moveTo>
                  <a:pt x="1210801" y="1946403"/>
                </a:moveTo>
                <a:cubicBezTo>
                  <a:pt x="1210927" y="1946403"/>
                  <a:pt x="1211052" y="1946655"/>
                  <a:pt x="1211052" y="1946655"/>
                </a:cubicBezTo>
                <a:cubicBezTo>
                  <a:pt x="1211052" y="1946781"/>
                  <a:pt x="1210927" y="1946906"/>
                  <a:pt x="1210801" y="1946906"/>
                </a:cubicBezTo>
                <a:cubicBezTo>
                  <a:pt x="1210675" y="1946906"/>
                  <a:pt x="1210550" y="1946781"/>
                  <a:pt x="1210550" y="1946655"/>
                </a:cubicBezTo>
                <a:cubicBezTo>
                  <a:pt x="1210550" y="1946529"/>
                  <a:pt x="1210675" y="1946529"/>
                  <a:pt x="1210801" y="1946403"/>
                </a:cubicBezTo>
                <a:close/>
                <a:moveTo>
                  <a:pt x="2798574" y="1945022"/>
                </a:moveTo>
                <a:cubicBezTo>
                  <a:pt x="2807743" y="1945022"/>
                  <a:pt x="2815280" y="1952434"/>
                  <a:pt x="2815280" y="1961603"/>
                </a:cubicBezTo>
                <a:cubicBezTo>
                  <a:pt x="2815280" y="1970773"/>
                  <a:pt x="2807869" y="1978310"/>
                  <a:pt x="2798699" y="1978310"/>
                </a:cubicBezTo>
                <a:cubicBezTo>
                  <a:pt x="2789529" y="1978310"/>
                  <a:pt x="2781992" y="1970898"/>
                  <a:pt x="2781992" y="1961729"/>
                </a:cubicBezTo>
                <a:cubicBezTo>
                  <a:pt x="2781992" y="1952559"/>
                  <a:pt x="2789404" y="1945022"/>
                  <a:pt x="2798574" y="1945022"/>
                </a:cubicBezTo>
                <a:close/>
                <a:moveTo>
                  <a:pt x="1835861" y="1944143"/>
                </a:moveTo>
                <a:cubicBezTo>
                  <a:pt x="1835987" y="1944143"/>
                  <a:pt x="1836113" y="1944268"/>
                  <a:pt x="1836113" y="1944394"/>
                </a:cubicBezTo>
                <a:cubicBezTo>
                  <a:pt x="1836113" y="1944520"/>
                  <a:pt x="1835987" y="1944645"/>
                  <a:pt x="1835861" y="1944645"/>
                </a:cubicBezTo>
                <a:cubicBezTo>
                  <a:pt x="1835735" y="1944645"/>
                  <a:pt x="1835610" y="1944520"/>
                  <a:pt x="1835610" y="1944394"/>
                </a:cubicBezTo>
                <a:cubicBezTo>
                  <a:pt x="1835610" y="1944268"/>
                  <a:pt x="1835735" y="1944143"/>
                  <a:pt x="1835861" y="1944143"/>
                </a:cubicBezTo>
                <a:close/>
                <a:moveTo>
                  <a:pt x="649680" y="1943388"/>
                </a:moveTo>
                <a:cubicBezTo>
                  <a:pt x="661236" y="1943388"/>
                  <a:pt x="670783" y="1952809"/>
                  <a:pt x="670783" y="1964366"/>
                </a:cubicBezTo>
                <a:cubicBezTo>
                  <a:pt x="670783" y="1976047"/>
                  <a:pt x="661362" y="1985468"/>
                  <a:pt x="649805" y="1985468"/>
                </a:cubicBezTo>
                <a:cubicBezTo>
                  <a:pt x="638123" y="1985468"/>
                  <a:pt x="628702" y="1976047"/>
                  <a:pt x="628702" y="1964491"/>
                </a:cubicBezTo>
                <a:cubicBezTo>
                  <a:pt x="628577" y="1952809"/>
                  <a:pt x="637997" y="1943388"/>
                  <a:pt x="649680" y="1943388"/>
                </a:cubicBezTo>
                <a:close/>
                <a:moveTo>
                  <a:pt x="1077523" y="1939871"/>
                </a:moveTo>
                <a:cubicBezTo>
                  <a:pt x="1080287" y="1939871"/>
                  <a:pt x="1082422" y="1942133"/>
                  <a:pt x="1082422" y="1944771"/>
                </a:cubicBezTo>
                <a:cubicBezTo>
                  <a:pt x="1082548" y="1947534"/>
                  <a:pt x="1080287" y="1949671"/>
                  <a:pt x="1077650" y="1949671"/>
                </a:cubicBezTo>
                <a:cubicBezTo>
                  <a:pt x="1075012" y="1949796"/>
                  <a:pt x="1072751" y="1947534"/>
                  <a:pt x="1072751" y="1944896"/>
                </a:cubicBezTo>
                <a:cubicBezTo>
                  <a:pt x="1072751" y="1942133"/>
                  <a:pt x="1074886" y="1939996"/>
                  <a:pt x="1077523" y="1939871"/>
                </a:cubicBezTo>
                <a:close/>
                <a:moveTo>
                  <a:pt x="1969012" y="1936229"/>
                </a:moveTo>
                <a:cubicBezTo>
                  <a:pt x="1971902" y="1936229"/>
                  <a:pt x="1974289" y="1938616"/>
                  <a:pt x="1974289" y="1941504"/>
                </a:cubicBezTo>
                <a:cubicBezTo>
                  <a:pt x="1974289" y="1944520"/>
                  <a:pt x="1971902" y="1946906"/>
                  <a:pt x="1969012" y="1946906"/>
                </a:cubicBezTo>
                <a:cubicBezTo>
                  <a:pt x="1966124" y="1946906"/>
                  <a:pt x="1963737" y="1944520"/>
                  <a:pt x="1963737" y="1941631"/>
                </a:cubicBezTo>
                <a:cubicBezTo>
                  <a:pt x="1963737" y="1938741"/>
                  <a:pt x="1966124" y="1936354"/>
                  <a:pt x="1969012" y="1936229"/>
                </a:cubicBezTo>
                <a:close/>
                <a:moveTo>
                  <a:pt x="2396984" y="1931456"/>
                </a:moveTo>
                <a:cubicBezTo>
                  <a:pt x="2411681" y="1931456"/>
                  <a:pt x="2423615" y="1943265"/>
                  <a:pt x="2423615" y="1957961"/>
                </a:cubicBezTo>
                <a:cubicBezTo>
                  <a:pt x="2423615" y="1972658"/>
                  <a:pt x="2411806" y="1984591"/>
                  <a:pt x="2397109" y="1984591"/>
                </a:cubicBezTo>
                <a:cubicBezTo>
                  <a:pt x="2382537" y="1984591"/>
                  <a:pt x="2370478" y="1972783"/>
                  <a:pt x="2370478" y="1958086"/>
                </a:cubicBezTo>
                <a:cubicBezTo>
                  <a:pt x="2370478" y="1943515"/>
                  <a:pt x="2382286" y="1931581"/>
                  <a:pt x="2396984" y="1931456"/>
                </a:cubicBezTo>
                <a:close/>
                <a:moveTo>
                  <a:pt x="2902584" y="1930953"/>
                </a:moveTo>
                <a:cubicBezTo>
                  <a:pt x="2908362" y="1930953"/>
                  <a:pt x="2913010" y="1935600"/>
                  <a:pt x="2913010" y="1941379"/>
                </a:cubicBezTo>
                <a:cubicBezTo>
                  <a:pt x="2913136" y="1947032"/>
                  <a:pt x="2908487" y="1951805"/>
                  <a:pt x="2902710" y="1951805"/>
                </a:cubicBezTo>
                <a:cubicBezTo>
                  <a:pt x="2897057" y="1951805"/>
                  <a:pt x="2892283" y="1947157"/>
                  <a:pt x="2892283" y="1941379"/>
                </a:cubicBezTo>
                <a:cubicBezTo>
                  <a:pt x="2892283" y="1935600"/>
                  <a:pt x="2896931" y="1930953"/>
                  <a:pt x="2902584" y="1930953"/>
                </a:cubicBezTo>
                <a:close/>
                <a:moveTo>
                  <a:pt x="540395" y="1930701"/>
                </a:moveTo>
                <a:cubicBezTo>
                  <a:pt x="549188" y="1930576"/>
                  <a:pt x="556349" y="1937736"/>
                  <a:pt x="556349" y="1946530"/>
                </a:cubicBezTo>
                <a:cubicBezTo>
                  <a:pt x="556349" y="1955322"/>
                  <a:pt x="549188" y="1962482"/>
                  <a:pt x="540395" y="1962482"/>
                </a:cubicBezTo>
                <a:cubicBezTo>
                  <a:pt x="531601" y="1962608"/>
                  <a:pt x="524441" y="1955447"/>
                  <a:pt x="524441" y="1946655"/>
                </a:cubicBezTo>
                <a:cubicBezTo>
                  <a:pt x="524316" y="1937863"/>
                  <a:pt x="531476" y="1930701"/>
                  <a:pt x="540395" y="1930701"/>
                </a:cubicBezTo>
                <a:close/>
                <a:moveTo>
                  <a:pt x="954546" y="1922661"/>
                </a:moveTo>
                <a:cubicBezTo>
                  <a:pt x="961204" y="1922536"/>
                  <a:pt x="966731" y="1927937"/>
                  <a:pt x="966731" y="1934720"/>
                </a:cubicBezTo>
                <a:cubicBezTo>
                  <a:pt x="966731" y="1941378"/>
                  <a:pt x="961204" y="1946905"/>
                  <a:pt x="954546" y="1946905"/>
                </a:cubicBezTo>
                <a:cubicBezTo>
                  <a:pt x="947889" y="1946905"/>
                  <a:pt x="942362" y="1941504"/>
                  <a:pt x="942362" y="1934720"/>
                </a:cubicBezTo>
                <a:cubicBezTo>
                  <a:pt x="942362" y="1927937"/>
                  <a:pt x="947763" y="1922410"/>
                  <a:pt x="954546" y="1922661"/>
                </a:cubicBezTo>
                <a:close/>
                <a:moveTo>
                  <a:pt x="433747" y="1921657"/>
                </a:moveTo>
                <a:cubicBezTo>
                  <a:pt x="437138" y="1921657"/>
                  <a:pt x="439902" y="1924421"/>
                  <a:pt x="439902" y="1927812"/>
                </a:cubicBezTo>
                <a:cubicBezTo>
                  <a:pt x="439902" y="1931204"/>
                  <a:pt x="437138" y="1933968"/>
                  <a:pt x="433747" y="1933968"/>
                </a:cubicBezTo>
                <a:cubicBezTo>
                  <a:pt x="430230" y="1933968"/>
                  <a:pt x="427466" y="1931204"/>
                  <a:pt x="427466" y="1927812"/>
                </a:cubicBezTo>
                <a:cubicBezTo>
                  <a:pt x="427466" y="1924421"/>
                  <a:pt x="430230" y="1921657"/>
                  <a:pt x="433747" y="1921657"/>
                </a:cubicBezTo>
                <a:close/>
                <a:moveTo>
                  <a:pt x="3005208" y="1917512"/>
                </a:moveTo>
                <a:cubicBezTo>
                  <a:pt x="3007093" y="1917512"/>
                  <a:pt x="3008601" y="1918893"/>
                  <a:pt x="3008601" y="1920778"/>
                </a:cubicBezTo>
                <a:cubicBezTo>
                  <a:pt x="3008601" y="1922538"/>
                  <a:pt x="3007218" y="1924045"/>
                  <a:pt x="3005334" y="1924045"/>
                </a:cubicBezTo>
                <a:cubicBezTo>
                  <a:pt x="3003576" y="1924045"/>
                  <a:pt x="3002068" y="1922538"/>
                  <a:pt x="3002068" y="1920778"/>
                </a:cubicBezTo>
                <a:cubicBezTo>
                  <a:pt x="3002068" y="1918893"/>
                  <a:pt x="3003576" y="1917385"/>
                  <a:pt x="3005208" y="1917512"/>
                </a:cubicBezTo>
                <a:close/>
                <a:moveTo>
                  <a:pt x="2091990" y="1916381"/>
                </a:moveTo>
                <a:cubicBezTo>
                  <a:pt x="2099779" y="1916256"/>
                  <a:pt x="2106186" y="1922663"/>
                  <a:pt x="2106186" y="1930450"/>
                </a:cubicBezTo>
                <a:cubicBezTo>
                  <a:pt x="2106311" y="1938239"/>
                  <a:pt x="2099905" y="1944646"/>
                  <a:pt x="2092117" y="1944646"/>
                </a:cubicBezTo>
                <a:cubicBezTo>
                  <a:pt x="2084328" y="1944771"/>
                  <a:pt x="2077922" y="1938364"/>
                  <a:pt x="2077922" y="1930577"/>
                </a:cubicBezTo>
                <a:cubicBezTo>
                  <a:pt x="2077796" y="1922788"/>
                  <a:pt x="2084203" y="1916381"/>
                  <a:pt x="2091990" y="1916381"/>
                </a:cubicBezTo>
                <a:close/>
                <a:moveTo>
                  <a:pt x="2506142" y="1915754"/>
                </a:moveTo>
                <a:cubicBezTo>
                  <a:pt x="2519206" y="1915754"/>
                  <a:pt x="2529758" y="1926306"/>
                  <a:pt x="2529883" y="1939370"/>
                </a:cubicBezTo>
                <a:cubicBezTo>
                  <a:pt x="2529883" y="1952434"/>
                  <a:pt x="2519331" y="1963111"/>
                  <a:pt x="2506267" y="1963111"/>
                </a:cubicBezTo>
                <a:cubicBezTo>
                  <a:pt x="2493203" y="1963111"/>
                  <a:pt x="2482526" y="1952559"/>
                  <a:pt x="2482526" y="1939495"/>
                </a:cubicBezTo>
                <a:cubicBezTo>
                  <a:pt x="2482526" y="1926431"/>
                  <a:pt x="2493078" y="1915879"/>
                  <a:pt x="2506142" y="1915754"/>
                </a:cubicBezTo>
                <a:close/>
                <a:moveTo>
                  <a:pt x="329111" y="1904574"/>
                </a:moveTo>
                <a:cubicBezTo>
                  <a:pt x="331246" y="1904574"/>
                  <a:pt x="332879" y="1906207"/>
                  <a:pt x="332879" y="1908343"/>
                </a:cubicBezTo>
                <a:cubicBezTo>
                  <a:pt x="332879" y="1910353"/>
                  <a:pt x="331121" y="1912111"/>
                  <a:pt x="329111" y="1912111"/>
                </a:cubicBezTo>
                <a:cubicBezTo>
                  <a:pt x="327101" y="1912111"/>
                  <a:pt x="325342" y="1910353"/>
                  <a:pt x="325342" y="1908343"/>
                </a:cubicBezTo>
                <a:cubicBezTo>
                  <a:pt x="325342" y="1906332"/>
                  <a:pt x="327101" y="1904574"/>
                  <a:pt x="329111" y="1904574"/>
                </a:cubicBezTo>
                <a:close/>
                <a:moveTo>
                  <a:pt x="838352" y="1900177"/>
                </a:moveTo>
                <a:cubicBezTo>
                  <a:pt x="849406" y="1900177"/>
                  <a:pt x="858325" y="1908970"/>
                  <a:pt x="858325" y="1920025"/>
                </a:cubicBezTo>
                <a:cubicBezTo>
                  <a:pt x="858325" y="1930953"/>
                  <a:pt x="849532" y="1939997"/>
                  <a:pt x="838478" y="1939997"/>
                </a:cubicBezTo>
                <a:cubicBezTo>
                  <a:pt x="827424" y="1939997"/>
                  <a:pt x="818505" y="1931205"/>
                  <a:pt x="818505" y="1920150"/>
                </a:cubicBezTo>
                <a:cubicBezTo>
                  <a:pt x="818380" y="1909096"/>
                  <a:pt x="827297" y="1900177"/>
                  <a:pt x="838352" y="1900177"/>
                </a:cubicBezTo>
                <a:close/>
                <a:moveTo>
                  <a:pt x="2612664" y="1899172"/>
                </a:moveTo>
                <a:cubicBezTo>
                  <a:pt x="2624096" y="1899172"/>
                  <a:pt x="2633518" y="1908342"/>
                  <a:pt x="2633518" y="1919898"/>
                </a:cubicBezTo>
                <a:cubicBezTo>
                  <a:pt x="2633518" y="1931330"/>
                  <a:pt x="2624221" y="1940751"/>
                  <a:pt x="2612791" y="1940751"/>
                </a:cubicBezTo>
                <a:cubicBezTo>
                  <a:pt x="2601359" y="1940751"/>
                  <a:pt x="2591937" y="1931455"/>
                  <a:pt x="2591937" y="1920025"/>
                </a:cubicBezTo>
                <a:cubicBezTo>
                  <a:pt x="2591937" y="1908467"/>
                  <a:pt x="2601234" y="1899172"/>
                  <a:pt x="2612664" y="1899172"/>
                </a:cubicBezTo>
                <a:close/>
                <a:moveTo>
                  <a:pt x="2207933" y="1893520"/>
                </a:moveTo>
                <a:cubicBezTo>
                  <a:pt x="2219867" y="1893520"/>
                  <a:pt x="2229664" y="1903067"/>
                  <a:pt x="2229664" y="1915126"/>
                </a:cubicBezTo>
                <a:cubicBezTo>
                  <a:pt x="2229789" y="1927060"/>
                  <a:pt x="2219992" y="1936857"/>
                  <a:pt x="2208058" y="1936857"/>
                </a:cubicBezTo>
                <a:cubicBezTo>
                  <a:pt x="2196125" y="1936857"/>
                  <a:pt x="2186453" y="1927185"/>
                  <a:pt x="2186327" y="1915251"/>
                </a:cubicBezTo>
                <a:cubicBezTo>
                  <a:pt x="2186327" y="1903192"/>
                  <a:pt x="2195999" y="1893395"/>
                  <a:pt x="2207933" y="1893520"/>
                </a:cubicBezTo>
                <a:close/>
                <a:moveTo>
                  <a:pt x="1151635" y="1885103"/>
                </a:moveTo>
                <a:cubicBezTo>
                  <a:pt x="1151762" y="1885103"/>
                  <a:pt x="1151887" y="1885228"/>
                  <a:pt x="1151887" y="1885354"/>
                </a:cubicBezTo>
                <a:cubicBezTo>
                  <a:pt x="1151887" y="1885480"/>
                  <a:pt x="1151762" y="1885605"/>
                  <a:pt x="1151635" y="1885605"/>
                </a:cubicBezTo>
                <a:cubicBezTo>
                  <a:pt x="1151510" y="1885605"/>
                  <a:pt x="1151385" y="1885480"/>
                  <a:pt x="1151385" y="1885354"/>
                </a:cubicBezTo>
                <a:cubicBezTo>
                  <a:pt x="1151385" y="1885228"/>
                  <a:pt x="1151510" y="1885103"/>
                  <a:pt x="1151635" y="1885103"/>
                </a:cubicBezTo>
                <a:close/>
                <a:moveTo>
                  <a:pt x="226232" y="1885103"/>
                </a:moveTo>
                <a:cubicBezTo>
                  <a:pt x="227990" y="1885103"/>
                  <a:pt x="229497" y="1886485"/>
                  <a:pt x="229497" y="1888368"/>
                </a:cubicBezTo>
                <a:cubicBezTo>
                  <a:pt x="229622" y="1890253"/>
                  <a:pt x="228115" y="1891760"/>
                  <a:pt x="226232" y="1891760"/>
                </a:cubicBezTo>
                <a:cubicBezTo>
                  <a:pt x="224472" y="1891760"/>
                  <a:pt x="222965" y="1890378"/>
                  <a:pt x="222965" y="1888495"/>
                </a:cubicBezTo>
                <a:cubicBezTo>
                  <a:pt x="222965" y="1886610"/>
                  <a:pt x="224347" y="1885228"/>
                  <a:pt x="226232" y="1885103"/>
                </a:cubicBezTo>
                <a:close/>
                <a:moveTo>
                  <a:pt x="1894525" y="1882340"/>
                </a:moveTo>
                <a:cubicBezTo>
                  <a:pt x="1894650" y="1882340"/>
                  <a:pt x="1894776" y="1882465"/>
                  <a:pt x="1894776" y="1882591"/>
                </a:cubicBezTo>
                <a:cubicBezTo>
                  <a:pt x="1894776" y="1882717"/>
                  <a:pt x="1894650" y="1882842"/>
                  <a:pt x="1894525" y="1882842"/>
                </a:cubicBezTo>
                <a:cubicBezTo>
                  <a:pt x="1894398" y="1882842"/>
                  <a:pt x="1894273" y="1882717"/>
                  <a:pt x="1894273" y="1882591"/>
                </a:cubicBezTo>
                <a:cubicBezTo>
                  <a:pt x="1894273" y="1882591"/>
                  <a:pt x="1894525" y="1882465"/>
                  <a:pt x="1894525" y="1882340"/>
                </a:cubicBezTo>
                <a:close/>
                <a:moveTo>
                  <a:pt x="2717175" y="1880330"/>
                </a:moveTo>
                <a:cubicBezTo>
                  <a:pt x="2727852" y="1880205"/>
                  <a:pt x="2736645" y="1888872"/>
                  <a:pt x="2736645" y="1899674"/>
                </a:cubicBezTo>
                <a:cubicBezTo>
                  <a:pt x="2736771" y="1910478"/>
                  <a:pt x="2727977" y="1919270"/>
                  <a:pt x="2717300" y="1919270"/>
                </a:cubicBezTo>
                <a:cubicBezTo>
                  <a:pt x="2706498" y="1919270"/>
                  <a:pt x="2697704" y="1910603"/>
                  <a:pt x="2697704" y="1899801"/>
                </a:cubicBezTo>
                <a:cubicBezTo>
                  <a:pt x="2697704" y="1888997"/>
                  <a:pt x="2706371" y="1880330"/>
                  <a:pt x="2717175" y="1880330"/>
                </a:cubicBezTo>
                <a:close/>
                <a:moveTo>
                  <a:pt x="726931" y="1878195"/>
                </a:moveTo>
                <a:cubicBezTo>
                  <a:pt x="740749" y="1878069"/>
                  <a:pt x="751928" y="1889249"/>
                  <a:pt x="752053" y="1903066"/>
                </a:cubicBezTo>
                <a:cubicBezTo>
                  <a:pt x="752180" y="1916885"/>
                  <a:pt x="741001" y="1928189"/>
                  <a:pt x="727183" y="1928189"/>
                </a:cubicBezTo>
                <a:cubicBezTo>
                  <a:pt x="713366" y="1928189"/>
                  <a:pt x="702186" y="1917010"/>
                  <a:pt x="702061" y="1903192"/>
                </a:cubicBezTo>
                <a:cubicBezTo>
                  <a:pt x="702061" y="1889375"/>
                  <a:pt x="713240" y="1878195"/>
                  <a:pt x="726931" y="1878195"/>
                </a:cubicBezTo>
                <a:close/>
                <a:moveTo>
                  <a:pt x="2319226" y="1872039"/>
                </a:moveTo>
                <a:cubicBezTo>
                  <a:pt x="2333044" y="1871914"/>
                  <a:pt x="2344474" y="1883219"/>
                  <a:pt x="2344474" y="1897162"/>
                </a:cubicBezTo>
                <a:cubicBezTo>
                  <a:pt x="2344474" y="1911106"/>
                  <a:pt x="2333295" y="1922536"/>
                  <a:pt x="2319351" y="1922536"/>
                </a:cubicBezTo>
                <a:cubicBezTo>
                  <a:pt x="2305409" y="1922536"/>
                  <a:pt x="2294103" y="1911357"/>
                  <a:pt x="2293978" y="1897413"/>
                </a:cubicBezTo>
                <a:cubicBezTo>
                  <a:pt x="2293852" y="1883471"/>
                  <a:pt x="2305157" y="1872165"/>
                  <a:pt x="2319226" y="1872039"/>
                </a:cubicBezTo>
                <a:close/>
                <a:moveTo>
                  <a:pt x="1029413" y="1871412"/>
                </a:moveTo>
                <a:cubicBezTo>
                  <a:pt x="1031172" y="1871412"/>
                  <a:pt x="1032554" y="1872794"/>
                  <a:pt x="1032554" y="1874552"/>
                </a:cubicBezTo>
                <a:cubicBezTo>
                  <a:pt x="1032554" y="1876311"/>
                  <a:pt x="1031047" y="1877694"/>
                  <a:pt x="1029413" y="1877694"/>
                </a:cubicBezTo>
                <a:cubicBezTo>
                  <a:pt x="1027655" y="1877819"/>
                  <a:pt x="1026273" y="1876311"/>
                  <a:pt x="1026273" y="1874679"/>
                </a:cubicBezTo>
                <a:cubicBezTo>
                  <a:pt x="1026273" y="1872920"/>
                  <a:pt x="1027655" y="1871537"/>
                  <a:pt x="1029413" y="1871412"/>
                </a:cubicBezTo>
                <a:close/>
                <a:moveTo>
                  <a:pt x="2016745" y="1869276"/>
                </a:moveTo>
                <a:cubicBezTo>
                  <a:pt x="2017752" y="1869276"/>
                  <a:pt x="2018505" y="1870029"/>
                  <a:pt x="2018505" y="1871034"/>
                </a:cubicBezTo>
                <a:cubicBezTo>
                  <a:pt x="2018505" y="1872040"/>
                  <a:pt x="2017752" y="1872793"/>
                  <a:pt x="2016745" y="1872793"/>
                </a:cubicBezTo>
                <a:cubicBezTo>
                  <a:pt x="2015740" y="1872793"/>
                  <a:pt x="2014987" y="1872040"/>
                  <a:pt x="2014987" y="1871034"/>
                </a:cubicBezTo>
                <a:cubicBezTo>
                  <a:pt x="2014987" y="1870029"/>
                  <a:pt x="2015740" y="1869276"/>
                  <a:pt x="2016745" y="1869276"/>
                </a:cubicBezTo>
                <a:close/>
                <a:moveTo>
                  <a:pt x="124610" y="1866512"/>
                </a:moveTo>
                <a:cubicBezTo>
                  <a:pt x="125615" y="1866512"/>
                  <a:pt x="126368" y="1867265"/>
                  <a:pt x="126368" y="1868270"/>
                </a:cubicBezTo>
                <a:cubicBezTo>
                  <a:pt x="126368" y="1869276"/>
                  <a:pt x="125615" y="1870029"/>
                  <a:pt x="124610" y="1870029"/>
                </a:cubicBezTo>
                <a:cubicBezTo>
                  <a:pt x="123605" y="1870029"/>
                  <a:pt x="122851" y="1869276"/>
                  <a:pt x="122851" y="1868270"/>
                </a:cubicBezTo>
                <a:cubicBezTo>
                  <a:pt x="122851" y="1867265"/>
                  <a:pt x="123730" y="1866512"/>
                  <a:pt x="124610" y="1866512"/>
                </a:cubicBezTo>
                <a:close/>
                <a:moveTo>
                  <a:pt x="619406" y="1865382"/>
                </a:moveTo>
                <a:cubicBezTo>
                  <a:pt x="630085" y="1865382"/>
                  <a:pt x="638752" y="1873924"/>
                  <a:pt x="638752" y="1884601"/>
                </a:cubicBezTo>
                <a:cubicBezTo>
                  <a:pt x="638752" y="1895280"/>
                  <a:pt x="630210" y="1903947"/>
                  <a:pt x="619533" y="1903947"/>
                </a:cubicBezTo>
                <a:cubicBezTo>
                  <a:pt x="608854" y="1903947"/>
                  <a:pt x="600187" y="1895405"/>
                  <a:pt x="600187" y="1884727"/>
                </a:cubicBezTo>
                <a:cubicBezTo>
                  <a:pt x="600187" y="1874049"/>
                  <a:pt x="608729" y="1865507"/>
                  <a:pt x="619406" y="1865382"/>
                </a:cubicBezTo>
                <a:close/>
                <a:moveTo>
                  <a:pt x="2819803" y="1865004"/>
                </a:moveTo>
                <a:cubicBezTo>
                  <a:pt x="2827592" y="1865004"/>
                  <a:pt x="2833997" y="1871286"/>
                  <a:pt x="2833997" y="1879073"/>
                </a:cubicBezTo>
                <a:cubicBezTo>
                  <a:pt x="2834122" y="1886862"/>
                  <a:pt x="2827717" y="1893269"/>
                  <a:pt x="2819928" y="1893269"/>
                </a:cubicBezTo>
                <a:cubicBezTo>
                  <a:pt x="2812141" y="1893394"/>
                  <a:pt x="2805734" y="1886987"/>
                  <a:pt x="2805734" y="1879200"/>
                </a:cubicBezTo>
                <a:cubicBezTo>
                  <a:pt x="2805734" y="1871286"/>
                  <a:pt x="2812016" y="1864879"/>
                  <a:pt x="2819803" y="1865004"/>
                </a:cubicBezTo>
                <a:close/>
                <a:moveTo>
                  <a:pt x="2921300" y="1853072"/>
                </a:moveTo>
                <a:cubicBezTo>
                  <a:pt x="2924189" y="1852946"/>
                  <a:pt x="2926449" y="1855333"/>
                  <a:pt x="2926449" y="1858097"/>
                </a:cubicBezTo>
                <a:cubicBezTo>
                  <a:pt x="2926449" y="1860985"/>
                  <a:pt x="2924189" y="1863246"/>
                  <a:pt x="2921300" y="1863246"/>
                </a:cubicBezTo>
                <a:cubicBezTo>
                  <a:pt x="2918536" y="1863246"/>
                  <a:pt x="2916275" y="1860985"/>
                  <a:pt x="2916275" y="1858222"/>
                </a:cubicBezTo>
                <a:cubicBezTo>
                  <a:pt x="2916275" y="1855333"/>
                  <a:pt x="2918536" y="1853072"/>
                  <a:pt x="2921300" y="1853072"/>
                </a:cubicBezTo>
                <a:close/>
                <a:moveTo>
                  <a:pt x="514268" y="1851815"/>
                </a:moveTo>
                <a:cubicBezTo>
                  <a:pt x="521805" y="1851815"/>
                  <a:pt x="527834" y="1857844"/>
                  <a:pt x="527834" y="1865256"/>
                </a:cubicBezTo>
                <a:cubicBezTo>
                  <a:pt x="527834" y="1872792"/>
                  <a:pt x="521805" y="1878821"/>
                  <a:pt x="514393" y="1878821"/>
                </a:cubicBezTo>
                <a:cubicBezTo>
                  <a:pt x="506982" y="1878821"/>
                  <a:pt x="500827" y="1872792"/>
                  <a:pt x="500827" y="1865381"/>
                </a:cubicBezTo>
                <a:cubicBezTo>
                  <a:pt x="500827" y="1857970"/>
                  <a:pt x="506856" y="1851940"/>
                  <a:pt x="514268" y="1851815"/>
                </a:cubicBezTo>
                <a:close/>
                <a:moveTo>
                  <a:pt x="2426754" y="1849931"/>
                </a:moveTo>
                <a:cubicBezTo>
                  <a:pt x="2442204" y="1849931"/>
                  <a:pt x="2454892" y="1862493"/>
                  <a:pt x="2454892" y="1877944"/>
                </a:cubicBezTo>
                <a:cubicBezTo>
                  <a:pt x="2454892" y="1893520"/>
                  <a:pt x="2442455" y="1906206"/>
                  <a:pt x="2426879" y="1906206"/>
                </a:cubicBezTo>
                <a:cubicBezTo>
                  <a:pt x="2411303" y="1906206"/>
                  <a:pt x="2398617" y="1893770"/>
                  <a:pt x="2398617" y="1878194"/>
                </a:cubicBezTo>
                <a:cubicBezTo>
                  <a:pt x="2398491" y="1862743"/>
                  <a:pt x="2411053" y="1850056"/>
                  <a:pt x="2426754" y="1849931"/>
                </a:cubicBezTo>
                <a:close/>
                <a:moveTo>
                  <a:pt x="2131057" y="1846917"/>
                </a:moveTo>
                <a:cubicBezTo>
                  <a:pt x="2135328" y="1846917"/>
                  <a:pt x="2138846" y="1850434"/>
                  <a:pt x="2138846" y="1854705"/>
                </a:cubicBezTo>
                <a:cubicBezTo>
                  <a:pt x="2138971" y="1858976"/>
                  <a:pt x="2135454" y="1862493"/>
                  <a:pt x="2131183" y="1862493"/>
                </a:cubicBezTo>
                <a:cubicBezTo>
                  <a:pt x="2126912" y="1862619"/>
                  <a:pt x="2123394" y="1859102"/>
                  <a:pt x="2123394" y="1854831"/>
                </a:cubicBezTo>
                <a:cubicBezTo>
                  <a:pt x="2123394" y="1850560"/>
                  <a:pt x="2126912" y="1847042"/>
                  <a:pt x="2131057" y="1846917"/>
                </a:cubicBezTo>
                <a:close/>
                <a:moveTo>
                  <a:pt x="24117" y="1846539"/>
                </a:moveTo>
                <a:cubicBezTo>
                  <a:pt x="24872" y="1846539"/>
                  <a:pt x="25500" y="1847167"/>
                  <a:pt x="25500" y="1847921"/>
                </a:cubicBezTo>
                <a:cubicBezTo>
                  <a:pt x="25500" y="1848674"/>
                  <a:pt x="24872" y="1849303"/>
                  <a:pt x="24117" y="1849303"/>
                </a:cubicBezTo>
                <a:cubicBezTo>
                  <a:pt x="23490" y="1849303"/>
                  <a:pt x="22862" y="1848674"/>
                  <a:pt x="22862" y="1847921"/>
                </a:cubicBezTo>
                <a:cubicBezTo>
                  <a:pt x="22862" y="1847167"/>
                  <a:pt x="23490" y="1846539"/>
                  <a:pt x="24117" y="1846539"/>
                </a:cubicBezTo>
                <a:close/>
                <a:moveTo>
                  <a:pt x="914727" y="1839254"/>
                </a:moveTo>
                <a:cubicBezTo>
                  <a:pt x="925654" y="1839254"/>
                  <a:pt x="934699" y="1848047"/>
                  <a:pt x="934699" y="1859102"/>
                </a:cubicBezTo>
                <a:cubicBezTo>
                  <a:pt x="934699" y="1870156"/>
                  <a:pt x="925906" y="1879074"/>
                  <a:pt x="914852" y="1879074"/>
                </a:cubicBezTo>
                <a:cubicBezTo>
                  <a:pt x="903923" y="1879074"/>
                  <a:pt x="894879" y="1870282"/>
                  <a:pt x="894879" y="1859227"/>
                </a:cubicBezTo>
                <a:cubicBezTo>
                  <a:pt x="894879" y="1848298"/>
                  <a:pt x="903798" y="1839379"/>
                  <a:pt x="914727" y="1839254"/>
                </a:cubicBezTo>
                <a:close/>
                <a:moveTo>
                  <a:pt x="411263" y="1837369"/>
                </a:moveTo>
                <a:cubicBezTo>
                  <a:pt x="415660" y="1837369"/>
                  <a:pt x="419428" y="1841012"/>
                  <a:pt x="419428" y="1845534"/>
                </a:cubicBezTo>
                <a:cubicBezTo>
                  <a:pt x="419428" y="1850056"/>
                  <a:pt x="415785" y="1853699"/>
                  <a:pt x="411263" y="1853699"/>
                </a:cubicBezTo>
                <a:cubicBezTo>
                  <a:pt x="406866" y="1853699"/>
                  <a:pt x="403098" y="1850056"/>
                  <a:pt x="403098" y="1845534"/>
                </a:cubicBezTo>
                <a:cubicBezTo>
                  <a:pt x="403098" y="1841012"/>
                  <a:pt x="406740" y="1837369"/>
                  <a:pt x="411263" y="1837369"/>
                </a:cubicBezTo>
                <a:close/>
                <a:moveTo>
                  <a:pt x="3021790" y="1835737"/>
                </a:moveTo>
                <a:cubicBezTo>
                  <a:pt x="3022543" y="1835612"/>
                  <a:pt x="3023173" y="1836239"/>
                  <a:pt x="3023173" y="1836994"/>
                </a:cubicBezTo>
                <a:cubicBezTo>
                  <a:pt x="3023173" y="1837746"/>
                  <a:pt x="3022543" y="1838375"/>
                  <a:pt x="3021790" y="1838375"/>
                </a:cubicBezTo>
                <a:cubicBezTo>
                  <a:pt x="3021036" y="1838375"/>
                  <a:pt x="3020408" y="1837746"/>
                  <a:pt x="3020408" y="1836994"/>
                </a:cubicBezTo>
                <a:cubicBezTo>
                  <a:pt x="3020408" y="1836239"/>
                  <a:pt x="3020911" y="1835612"/>
                  <a:pt x="3021790" y="1835737"/>
                </a:cubicBezTo>
                <a:close/>
                <a:moveTo>
                  <a:pt x="2531517" y="1835235"/>
                </a:moveTo>
                <a:cubicBezTo>
                  <a:pt x="2544079" y="1835235"/>
                  <a:pt x="2554380" y="1845410"/>
                  <a:pt x="2554380" y="1857971"/>
                </a:cubicBezTo>
                <a:cubicBezTo>
                  <a:pt x="2554380" y="1870532"/>
                  <a:pt x="2544204" y="1880833"/>
                  <a:pt x="2531642" y="1880833"/>
                </a:cubicBezTo>
                <a:cubicBezTo>
                  <a:pt x="2519081" y="1880833"/>
                  <a:pt x="2508781" y="1870658"/>
                  <a:pt x="2508781" y="1858096"/>
                </a:cubicBezTo>
                <a:cubicBezTo>
                  <a:pt x="2508781" y="1845535"/>
                  <a:pt x="2518956" y="1835360"/>
                  <a:pt x="2531517" y="1835235"/>
                </a:cubicBezTo>
                <a:close/>
                <a:moveTo>
                  <a:pt x="309892" y="1819783"/>
                </a:moveTo>
                <a:cubicBezTo>
                  <a:pt x="312906" y="1819783"/>
                  <a:pt x="315419" y="1822295"/>
                  <a:pt x="315419" y="1825310"/>
                </a:cubicBezTo>
                <a:cubicBezTo>
                  <a:pt x="315419" y="1828325"/>
                  <a:pt x="312906" y="1830837"/>
                  <a:pt x="309892" y="1830837"/>
                </a:cubicBezTo>
                <a:cubicBezTo>
                  <a:pt x="306877" y="1830837"/>
                  <a:pt x="304365" y="1828325"/>
                  <a:pt x="304365" y="1825310"/>
                </a:cubicBezTo>
                <a:cubicBezTo>
                  <a:pt x="304365" y="1822295"/>
                  <a:pt x="306752" y="1819783"/>
                  <a:pt x="309892" y="1819783"/>
                </a:cubicBezTo>
                <a:close/>
                <a:moveTo>
                  <a:pt x="2240216" y="1819532"/>
                </a:moveTo>
                <a:cubicBezTo>
                  <a:pt x="2249512" y="1819407"/>
                  <a:pt x="2257049" y="1826944"/>
                  <a:pt x="2257049" y="1836239"/>
                </a:cubicBezTo>
                <a:cubicBezTo>
                  <a:pt x="2257175" y="1845410"/>
                  <a:pt x="2249638" y="1853072"/>
                  <a:pt x="2240343" y="1853072"/>
                </a:cubicBezTo>
                <a:cubicBezTo>
                  <a:pt x="2231046" y="1853197"/>
                  <a:pt x="2223509" y="1845660"/>
                  <a:pt x="2223509" y="1836365"/>
                </a:cubicBezTo>
                <a:cubicBezTo>
                  <a:pt x="2223509" y="1826944"/>
                  <a:pt x="2231046" y="1819407"/>
                  <a:pt x="2240216" y="1819532"/>
                </a:cubicBezTo>
                <a:close/>
                <a:moveTo>
                  <a:pt x="805316" y="1816392"/>
                </a:moveTo>
                <a:cubicBezTo>
                  <a:pt x="819134" y="1816266"/>
                  <a:pt x="830438" y="1827446"/>
                  <a:pt x="830438" y="1841263"/>
                </a:cubicBezTo>
                <a:cubicBezTo>
                  <a:pt x="830565" y="1855081"/>
                  <a:pt x="819386" y="1866386"/>
                  <a:pt x="805568" y="1866386"/>
                </a:cubicBezTo>
                <a:cubicBezTo>
                  <a:pt x="791750" y="1866511"/>
                  <a:pt x="780446" y="1855332"/>
                  <a:pt x="780446" y="1841515"/>
                </a:cubicBezTo>
                <a:cubicBezTo>
                  <a:pt x="780446" y="1827697"/>
                  <a:pt x="791500" y="1816518"/>
                  <a:pt x="805316" y="1816392"/>
                </a:cubicBezTo>
                <a:close/>
                <a:moveTo>
                  <a:pt x="2634397" y="1815890"/>
                </a:moveTo>
                <a:cubicBezTo>
                  <a:pt x="2646331" y="1815890"/>
                  <a:pt x="2656128" y="1825562"/>
                  <a:pt x="2656128" y="1837496"/>
                </a:cubicBezTo>
                <a:cubicBezTo>
                  <a:pt x="2656128" y="1849430"/>
                  <a:pt x="2646456" y="1859227"/>
                  <a:pt x="2634522" y="1859227"/>
                </a:cubicBezTo>
                <a:cubicBezTo>
                  <a:pt x="2622589" y="1859227"/>
                  <a:pt x="2612791" y="1849555"/>
                  <a:pt x="2612791" y="1837621"/>
                </a:cubicBezTo>
                <a:cubicBezTo>
                  <a:pt x="2612791" y="1825562"/>
                  <a:pt x="2622463" y="1815765"/>
                  <a:pt x="2634397" y="1815890"/>
                </a:cubicBezTo>
                <a:close/>
                <a:moveTo>
                  <a:pt x="1104532" y="1811241"/>
                </a:moveTo>
                <a:cubicBezTo>
                  <a:pt x="1106291" y="1811241"/>
                  <a:pt x="1107673" y="1812623"/>
                  <a:pt x="1107673" y="1814381"/>
                </a:cubicBezTo>
                <a:cubicBezTo>
                  <a:pt x="1107673" y="1816140"/>
                  <a:pt x="1106291" y="1817522"/>
                  <a:pt x="1104532" y="1817522"/>
                </a:cubicBezTo>
                <a:cubicBezTo>
                  <a:pt x="1102774" y="1817522"/>
                  <a:pt x="1101392" y="1816140"/>
                  <a:pt x="1101392" y="1814381"/>
                </a:cubicBezTo>
                <a:cubicBezTo>
                  <a:pt x="1101392" y="1812748"/>
                  <a:pt x="1102774" y="1811366"/>
                  <a:pt x="1104532" y="1811241"/>
                </a:cubicBezTo>
                <a:close/>
                <a:moveTo>
                  <a:pt x="1941253" y="1811116"/>
                </a:moveTo>
                <a:cubicBezTo>
                  <a:pt x="1941379" y="1811116"/>
                  <a:pt x="1941505" y="1811242"/>
                  <a:pt x="1941505" y="1811368"/>
                </a:cubicBezTo>
                <a:cubicBezTo>
                  <a:pt x="1941505" y="1811494"/>
                  <a:pt x="1941379" y="1811619"/>
                  <a:pt x="1941253" y="1811619"/>
                </a:cubicBezTo>
                <a:cubicBezTo>
                  <a:pt x="1941127" y="1811619"/>
                  <a:pt x="1941002" y="1811494"/>
                  <a:pt x="1941002" y="1811368"/>
                </a:cubicBezTo>
                <a:cubicBezTo>
                  <a:pt x="1941002" y="1811242"/>
                  <a:pt x="1941127" y="1811242"/>
                  <a:pt x="1941253" y="1811116"/>
                </a:cubicBezTo>
                <a:close/>
                <a:moveTo>
                  <a:pt x="209652" y="1799937"/>
                </a:moveTo>
                <a:cubicBezTo>
                  <a:pt x="212289" y="1799937"/>
                  <a:pt x="214551" y="1802199"/>
                  <a:pt x="214551" y="1804836"/>
                </a:cubicBezTo>
                <a:cubicBezTo>
                  <a:pt x="214551" y="1807599"/>
                  <a:pt x="212289" y="1809735"/>
                  <a:pt x="209652" y="1809735"/>
                </a:cubicBezTo>
                <a:cubicBezTo>
                  <a:pt x="207014" y="1809735"/>
                  <a:pt x="204753" y="1807474"/>
                  <a:pt x="204753" y="1804836"/>
                </a:cubicBezTo>
                <a:cubicBezTo>
                  <a:pt x="204753" y="1802199"/>
                  <a:pt x="206888" y="1799937"/>
                  <a:pt x="209652" y="1799937"/>
                </a:cubicBezTo>
                <a:close/>
                <a:moveTo>
                  <a:pt x="699547" y="1798177"/>
                </a:moveTo>
                <a:cubicBezTo>
                  <a:pt x="712862" y="1798052"/>
                  <a:pt x="723791" y="1808854"/>
                  <a:pt x="723791" y="1822170"/>
                </a:cubicBezTo>
                <a:cubicBezTo>
                  <a:pt x="723916" y="1835484"/>
                  <a:pt x="713114" y="1846413"/>
                  <a:pt x="699798" y="1846413"/>
                </a:cubicBezTo>
                <a:cubicBezTo>
                  <a:pt x="686484" y="1846538"/>
                  <a:pt x="675555" y="1835736"/>
                  <a:pt x="675555" y="1822421"/>
                </a:cubicBezTo>
                <a:cubicBezTo>
                  <a:pt x="675555" y="1809106"/>
                  <a:pt x="686232" y="1798303"/>
                  <a:pt x="699547" y="1798177"/>
                </a:cubicBezTo>
                <a:close/>
                <a:moveTo>
                  <a:pt x="2735641" y="1796923"/>
                </a:moveTo>
                <a:cubicBezTo>
                  <a:pt x="2746568" y="1796798"/>
                  <a:pt x="2755362" y="1805591"/>
                  <a:pt x="2755487" y="1816519"/>
                </a:cubicBezTo>
                <a:cubicBezTo>
                  <a:pt x="2755487" y="1827322"/>
                  <a:pt x="2746695" y="1836241"/>
                  <a:pt x="2735892" y="1836241"/>
                </a:cubicBezTo>
                <a:cubicBezTo>
                  <a:pt x="2725089" y="1836367"/>
                  <a:pt x="2716171" y="1827574"/>
                  <a:pt x="2716171" y="1816645"/>
                </a:cubicBezTo>
                <a:cubicBezTo>
                  <a:pt x="2716045" y="1805716"/>
                  <a:pt x="2724838" y="1796798"/>
                  <a:pt x="2735641" y="1796923"/>
                </a:cubicBezTo>
                <a:close/>
                <a:moveTo>
                  <a:pt x="2053553" y="1793655"/>
                </a:moveTo>
                <a:cubicBezTo>
                  <a:pt x="2053678" y="1793655"/>
                  <a:pt x="2053930" y="1793907"/>
                  <a:pt x="2053930" y="1794158"/>
                </a:cubicBezTo>
                <a:cubicBezTo>
                  <a:pt x="2053930" y="1794410"/>
                  <a:pt x="2053803" y="1794660"/>
                  <a:pt x="2053553" y="1794660"/>
                </a:cubicBezTo>
                <a:cubicBezTo>
                  <a:pt x="2053175" y="1794660"/>
                  <a:pt x="2053050" y="1794410"/>
                  <a:pt x="2053050" y="1794158"/>
                </a:cubicBezTo>
                <a:cubicBezTo>
                  <a:pt x="2053050" y="1793907"/>
                  <a:pt x="2053175" y="1793655"/>
                  <a:pt x="2053553" y="1793655"/>
                </a:cubicBezTo>
                <a:close/>
                <a:moveTo>
                  <a:pt x="2345982" y="1788255"/>
                </a:moveTo>
                <a:cubicBezTo>
                  <a:pt x="2361559" y="1788255"/>
                  <a:pt x="2374120" y="1800691"/>
                  <a:pt x="2374247" y="1816268"/>
                </a:cubicBezTo>
                <a:cubicBezTo>
                  <a:pt x="2374247" y="1831844"/>
                  <a:pt x="2361810" y="1844530"/>
                  <a:pt x="2346234" y="1844530"/>
                </a:cubicBezTo>
                <a:cubicBezTo>
                  <a:pt x="2330658" y="1844530"/>
                  <a:pt x="2318097" y="1832094"/>
                  <a:pt x="2317972" y="1816518"/>
                </a:cubicBezTo>
                <a:cubicBezTo>
                  <a:pt x="2317846" y="1801068"/>
                  <a:pt x="2330408" y="1788380"/>
                  <a:pt x="2345982" y="1788255"/>
                </a:cubicBezTo>
                <a:close/>
                <a:moveTo>
                  <a:pt x="991978" y="1788255"/>
                </a:moveTo>
                <a:cubicBezTo>
                  <a:pt x="997380" y="1788255"/>
                  <a:pt x="1001776" y="1792525"/>
                  <a:pt x="1001776" y="1797927"/>
                </a:cubicBezTo>
                <a:cubicBezTo>
                  <a:pt x="1001776" y="1803329"/>
                  <a:pt x="997505" y="1807726"/>
                  <a:pt x="992105" y="1807726"/>
                </a:cubicBezTo>
                <a:cubicBezTo>
                  <a:pt x="986703" y="1807851"/>
                  <a:pt x="982307" y="1803454"/>
                  <a:pt x="982307" y="1798052"/>
                </a:cubicBezTo>
                <a:cubicBezTo>
                  <a:pt x="982307" y="1792652"/>
                  <a:pt x="986703" y="1788255"/>
                  <a:pt x="991978" y="1788255"/>
                </a:cubicBezTo>
                <a:close/>
                <a:moveTo>
                  <a:pt x="110414" y="1781596"/>
                </a:moveTo>
                <a:cubicBezTo>
                  <a:pt x="111922" y="1781596"/>
                  <a:pt x="113052" y="1782726"/>
                  <a:pt x="113052" y="1784233"/>
                </a:cubicBezTo>
                <a:cubicBezTo>
                  <a:pt x="113052" y="1785615"/>
                  <a:pt x="111922" y="1786870"/>
                  <a:pt x="110414" y="1786870"/>
                </a:cubicBezTo>
                <a:cubicBezTo>
                  <a:pt x="108907" y="1786870"/>
                  <a:pt x="107777" y="1785740"/>
                  <a:pt x="107777" y="1784233"/>
                </a:cubicBezTo>
                <a:cubicBezTo>
                  <a:pt x="107650" y="1782726"/>
                  <a:pt x="108907" y="1781596"/>
                  <a:pt x="110414" y="1781596"/>
                </a:cubicBezTo>
                <a:close/>
                <a:moveTo>
                  <a:pt x="596293" y="1780466"/>
                </a:moveTo>
                <a:cubicBezTo>
                  <a:pt x="608603" y="1780341"/>
                  <a:pt x="618527" y="1790264"/>
                  <a:pt x="618527" y="1802449"/>
                </a:cubicBezTo>
                <a:cubicBezTo>
                  <a:pt x="618652" y="1814759"/>
                  <a:pt x="608728" y="1824683"/>
                  <a:pt x="596544" y="1824683"/>
                </a:cubicBezTo>
                <a:cubicBezTo>
                  <a:pt x="584235" y="1824808"/>
                  <a:pt x="574311" y="1814884"/>
                  <a:pt x="574311" y="1802700"/>
                </a:cubicBezTo>
                <a:cubicBezTo>
                  <a:pt x="574311" y="1790390"/>
                  <a:pt x="584108" y="1780466"/>
                  <a:pt x="596293" y="1780466"/>
                </a:cubicBezTo>
                <a:close/>
                <a:moveTo>
                  <a:pt x="2835757" y="1778708"/>
                </a:moveTo>
                <a:cubicBezTo>
                  <a:pt x="2844927" y="1778708"/>
                  <a:pt x="2852464" y="1786120"/>
                  <a:pt x="2852464" y="1795289"/>
                </a:cubicBezTo>
                <a:cubicBezTo>
                  <a:pt x="2852464" y="1804459"/>
                  <a:pt x="2845052" y="1811996"/>
                  <a:pt x="2835882" y="1811996"/>
                </a:cubicBezTo>
                <a:cubicBezTo>
                  <a:pt x="2826838" y="1811996"/>
                  <a:pt x="2819301" y="1804584"/>
                  <a:pt x="2819301" y="1795415"/>
                </a:cubicBezTo>
                <a:cubicBezTo>
                  <a:pt x="2819301" y="1786245"/>
                  <a:pt x="2826713" y="1778708"/>
                  <a:pt x="2835757" y="1778708"/>
                </a:cubicBezTo>
                <a:close/>
                <a:moveTo>
                  <a:pt x="2448988" y="1767905"/>
                </a:moveTo>
                <a:cubicBezTo>
                  <a:pt x="2464439" y="1767905"/>
                  <a:pt x="2477000" y="1780215"/>
                  <a:pt x="2477000" y="1795666"/>
                </a:cubicBezTo>
                <a:cubicBezTo>
                  <a:pt x="2477126" y="1811117"/>
                  <a:pt x="2464689" y="1823679"/>
                  <a:pt x="2449239" y="1823679"/>
                </a:cubicBezTo>
                <a:cubicBezTo>
                  <a:pt x="2433789" y="1823804"/>
                  <a:pt x="2421228" y="1811368"/>
                  <a:pt x="2421228" y="1795918"/>
                </a:cubicBezTo>
                <a:cubicBezTo>
                  <a:pt x="2421102" y="1780592"/>
                  <a:pt x="2433537" y="1768030"/>
                  <a:pt x="2448988" y="1767905"/>
                </a:cubicBezTo>
                <a:close/>
                <a:moveTo>
                  <a:pt x="2934991" y="1767150"/>
                </a:moveTo>
                <a:cubicBezTo>
                  <a:pt x="2938760" y="1767150"/>
                  <a:pt x="2941900" y="1770165"/>
                  <a:pt x="2941900" y="1773934"/>
                </a:cubicBezTo>
                <a:cubicBezTo>
                  <a:pt x="2941900" y="1777701"/>
                  <a:pt x="2938885" y="1780841"/>
                  <a:pt x="2935118" y="1780841"/>
                </a:cubicBezTo>
                <a:cubicBezTo>
                  <a:pt x="2931348" y="1780841"/>
                  <a:pt x="2928208" y="1777827"/>
                  <a:pt x="2928208" y="1774059"/>
                </a:cubicBezTo>
                <a:cubicBezTo>
                  <a:pt x="2928208" y="1770165"/>
                  <a:pt x="2931223" y="1767150"/>
                  <a:pt x="2934991" y="1767150"/>
                </a:cubicBezTo>
                <a:close/>
                <a:moveTo>
                  <a:pt x="495047" y="1765517"/>
                </a:moveTo>
                <a:cubicBezTo>
                  <a:pt x="504343" y="1765392"/>
                  <a:pt x="511880" y="1772929"/>
                  <a:pt x="511880" y="1782224"/>
                </a:cubicBezTo>
                <a:cubicBezTo>
                  <a:pt x="511880" y="1791520"/>
                  <a:pt x="504468" y="1799057"/>
                  <a:pt x="495173" y="1799057"/>
                </a:cubicBezTo>
                <a:cubicBezTo>
                  <a:pt x="485877" y="1799182"/>
                  <a:pt x="478340" y="1791645"/>
                  <a:pt x="478340" y="1782350"/>
                </a:cubicBezTo>
                <a:cubicBezTo>
                  <a:pt x="478215" y="1773054"/>
                  <a:pt x="485752" y="1765517"/>
                  <a:pt x="495047" y="1765517"/>
                </a:cubicBezTo>
                <a:close/>
                <a:moveTo>
                  <a:pt x="11932" y="1762126"/>
                </a:moveTo>
                <a:cubicBezTo>
                  <a:pt x="12685" y="1762126"/>
                  <a:pt x="13313" y="1762754"/>
                  <a:pt x="13313" y="1763508"/>
                </a:cubicBezTo>
                <a:cubicBezTo>
                  <a:pt x="13313" y="1764261"/>
                  <a:pt x="12685" y="1764890"/>
                  <a:pt x="11932" y="1764890"/>
                </a:cubicBezTo>
                <a:cubicBezTo>
                  <a:pt x="11178" y="1764890"/>
                  <a:pt x="10550" y="1764261"/>
                  <a:pt x="10550" y="1763508"/>
                </a:cubicBezTo>
                <a:cubicBezTo>
                  <a:pt x="10550" y="1762754"/>
                  <a:pt x="11178" y="1762126"/>
                  <a:pt x="11932" y="1762126"/>
                </a:cubicBezTo>
                <a:close/>
                <a:moveTo>
                  <a:pt x="2160324" y="1761750"/>
                </a:moveTo>
                <a:cubicBezTo>
                  <a:pt x="2167484" y="1761750"/>
                  <a:pt x="2173388" y="1767654"/>
                  <a:pt x="2173388" y="1774814"/>
                </a:cubicBezTo>
                <a:cubicBezTo>
                  <a:pt x="2173388" y="1781974"/>
                  <a:pt x="2167484" y="1787878"/>
                  <a:pt x="2160324" y="1787878"/>
                </a:cubicBezTo>
                <a:cubicBezTo>
                  <a:pt x="2153165" y="1787878"/>
                  <a:pt x="2147260" y="1781974"/>
                  <a:pt x="2147260" y="1774814"/>
                </a:cubicBezTo>
                <a:cubicBezTo>
                  <a:pt x="2147260" y="1767529"/>
                  <a:pt x="2153038" y="1761750"/>
                  <a:pt x="2160324" y="1761750"/>
                </a:cubicBezTo>
                <a:close/>
                <a:moveTo>
                  <a:pt x="884955" y="1759866"/>
                </a:moveTo>
                <a:cubicBezTo>
                  <a:pt x="895758" y="1759741"/>
                  <a:pt x="904550" y="1768409"/>
                  <a:pt x="904550" y="1779211"/>
                </a:cubicBezTo>
                <a:cubicBezTo>
                  <a:pt x="904677" y="1790015"/>
                  <a:pt x="896009" y="1798808"/>
                  <a:pt x="885207" y="1798808"/>
                </a:cubicBezTo>
                <a:cubicBezTo>
                  <a:pt x="874403" y="1798934"/>
                  <a:pt x="865736" y="1790267"/>
                  <a:pt x="865611" y="1779463"/>
                </a:cubicBezTo>
                <a:cubicBezTo>
                  <a:pt x="865611" y="1768659"/>
                  <a:pt x="874278" y="1759866"/>
                  <a:pt x="884955" y="1759866"/>
                </a:cubicBezTo>
                <a:close/>
                <a:moveTo>
                  <a:pt x="1180277" y="1753710"/>
                </a:moveTo>
                <a:cubicBezTo>
                  <a:pt x="1180403" y="1753710"/>
                  <a:pt x="1180528" y="1753835"/>
                  <a:pt x="1180528" y="1753962"/>
                </a:cubicBezTo>
                <a:cubicBezTo>
                  <a:pt x="1180528" y="1754087"/>
                  <a:pt x="1180403" y="1754212"/>
                  <a:pt x="1180277" y="1754212"/>
                </a:cubicBezTo>
                <a:cubicBezTo>
                  <a:pt x="1180151" y="1754212"/>
                  <a:pt x="1180026" y="1754087"/>
                  <a:pt x="1180026" y="1753962"/>
                </a:cubicBezTo>
                <a:cubicBezTo>
                  <a:pt x="1180026" y="1753835"/>
                  <a:pt x="1180026" y="1753710"/>
                  <a:pt x="1180277" y="1753710"/>
                </a:cubicBezTo>
                <a:close/>
                <a:moveTo>
                  <a:pt x="395184" y="1750821"/>
                </a:moveTo>
                <a:cubicBezTo>
                  <a:pt x="401213" y="1750821"/>
                  <a:pt x="406238" y="1755720"/>
                  <a:pt x="406238" y="1761875"/>
                </a:cubicBezTo>
                <a:cubicBezTo>
                  <a:pt x="406238" y="1767905"/>
                  <a:pt x="401338" y="1772929"/>
                  <a:pt x="395184" y="1772929"/>
                </a:cubicBezTo>
                <a:cubicBezTo>
                  <a:pt x="389154" y="1772929"/>
                  <a:pt x="384130" y="1768030"/>
                  <a:pt x="384130" y="1761875"/>
                </a:cubicBezTo>
                <a:cubicBezTo>
                  <a:pt x="384130" y="1755720"/>
                  <a:pt x="389029" y="1750821"/>
                  <a:pt x="395184" y="1750821"/>
                </a:cubicBezTo>
                <a:close/>
                <a:moveTo>
                  <a:pt x="2550108" y="1750695"/>
                </a:moveTo>
                <a:cubicBezTo>
                  <a:pt x="2563422" y="1750570"/>
                  <a:pt x="2574351" y="1761372"/>
                  <a:pt x="2574351" y="1774688"/>
                </a:cubicBezTo>
                <a:cubicBezTo>
                  <a:pt x="2574477" y="1788002"/>
                  <a:pt x="2563674" y="1798931"/>
                  <a:pt x="2550359" y="1798931"/>
                </a:cubicBezTo>
                <a:cubicBezTo>
                  <a:pt x="2537044" y="1799056"/>
                  <a:pt x="2526115" y="1788254"/>
                  <a:pt x="2526115" y="1774939"/>
                </a:cubicBezTo>
                <a:cubicBezTo>
                  <a:pt x="2526115" y="1761624"/>
                  <a:pt x="2536919" y="1750820"/>
                  <a:pt x="2550108" y="1750695"/>
                </a:cubicBezTo>
                <a:close/>
                <a:moveTo>
                  <a:pt x="3033348" y="1750570"/>
                </a:moveTo>
                <a:cubicBezTo>
                  <a:pt x="3034478" y="1750570"/>
                  <a:pt x="3035358" y="1751450"/>
                  <a:pt x="3035358" y="1752580"/>
                </a:cubicBezTo>
                <a:cubicBezTo>
                  <a:pt x="3035358" y="1753711"/>
                  <a:pt x="3034478" y="1754590"/>
                  <a:pt x="3033348" y="1754590"/>
                </a:cubicBezTo>
                <a:cubicBezTo>
                  <a:pt x="3032218" y="1754590"/>
                  <a:pt x="3031338" y="1753711"/>
                  <a:pt x="3031338" y="1752580"/>
                </a:cubicBezTo>
                <a:cubicBezTo>
                  <a:pt x="3031338" y="1751450"/>
                  <a:pt x="3032218" y="1750570"/>
                  <a:pt x="3033348" y="1750570"/>
                </a:cubicBezTo>
                <a:close/>
                <a:moveTo>
                  <a:pt x="781324" y="1734366"/>
                </a:moveTo>
                <a:cubicBezTo>
                  <a:pt x="795267" y="1734366"/>
                  <a:pt x="806697" y="1745545"/>
                  <a:pt x="806697" y="1759489"/>
                </a:cubicBezTo>
                <a:cubicBezTo>
                  <a:pt x="806824" y="1773432"/>
                  <a:pt x="795518" y="1784737"/>
                  <a:pt x="781574" y="1784862"/>
                </a:cubicBezTo>
                <a:cubicBezTo>
                  <a:pt x="767757" y="1784862"/>
                  <a:pt x="756326" y="1773683"/>
                  <a:pt x="756326" y="1759739"/>
                </a:cubicBezTo>
                <a:cubicBezTo>
                  <a:pt x="756326" y="1745797"/>
                  <a:pt x="767505" y="1734491"/>
                  <a:pt x="781324" y="1734366"/>
                </a:cubicBezTo>
                <a:close/>
                <a:moveTo>
                  <a:pt x="1070741" y="1733360"/>
                </a:moveTo>
                <a:cubicBezTo>
                  <a:pt x="1072374" y="1733360"/>
                  <a:pt x="1073630" y="1734615"/>
                  <a:pt x="1073630" y="1736250"/>
                </a:cubicBezTo>
                <a:cubicBezTo>
                  <a:pt x="1073630" y="1737882"/>
                  <a:pt x="1072374" y="1739138"/>
                  <a:pt x="1070741" y="1739138"/>
                </a:cubicBezTo>
                <a:cubicBezTo>
                  <a:pt x="1069107" y="1739138"/>
                  <a:pt x="1067852" y="1737882"/>
                  <a:pt x="1067852" y="1736250"/>
                </a:cubicBezTo>
                <a:cubicBezTo>
                  <a:pt x="1067852" y="1734615"/>
                  <a:pt x="1069107" y="1733360"/>
                  <a:pt x="1070741" y="1733360"/>
                </a:cubicBezTo>
                <a:close/>
                <a:moveTo>
                  <a:pt x="296325" y="1733235"/>
                </a:moveTo>
                <a:cubicBezTo>
                  <a:pt x="300597" y="1733235"/>
                  <a:pt x="304114" y="1736752"/>
                  <a:pt x="304114" y="1741024"/>
                </a:cubicBezTo>
                <a:cubicBezTo>
                  <a:pt x="304239" y="1745294"/>
                  <a:pt x="300722" y="1748811"/>
                  <a:pt x="296452" y="1748811"/>
                </a:cubicBezTo>
                <a:cubicBezTo>
                  <a:pt x="292180" y="1748937"/>
                  <a:pt x="288663" y="1745419"/>
                  <a:pt x="288663" y="1741149"/>
                </a:cubicBezTo>
                <a:cubicBezTo>
                  <a:pt x="288663" y="1736877"/>
                  <a:pt x="292055" y="1733360"/>
                  <a:pt x="296325" y="1733235"/>
                </a:cubicBezTo>
                <a:close/>
                <a:moveTo>
                  <a:pt x="1974415" y="1732606"/>
                </a:moveTo>
                <a:cubicBezTo>
                  <a:pt x="1974665" y="1732481"/>
                  <a:pt x="1974917" y="1732733"/>
                  <a:pt x="1974917" y="1732983"/>
                </a:cubicBezTo>
                <a:cubicBezTo>
                  <a:pt x="1974917" y="1733235"/>
                  <a:pt x="1974665" y="1733486"/>
                  <a:pt x="1974415" y="1733486"/>
                </a:cubicBezTo>
                <a:cubicBezTo>
                  <a:pt x="1974164" y="1733361"/>
                  <a:pt x="1973912" y="1733235"/>
                  <a:pt x="1973912" y="1732983"/>
                </a:cubicBezTo>
                <a:cubicBezTo>
                  <a:pt x="1973912" y="1732733"/>
                  <a:pt x="1974164" y="1732481"/>
                  <a:pt x="1974415" y="1732606"/>
                </a:cubicBezTo>
                <a:close/>
                <a:moveTo>
                  <a:pt x="2263580" y="1730973"/>
                </a:moveTo>
                <a:cubicBezTo>
                  <a:pt x="2276519" y="1730848"/>
                  <a:pt x="2286944" y="1741273"/>
                  <a:pt x="2286944" y="1754087"/>
                </a:cubicBezTo>
                <a:cubicBezTo>
                  <a:pt x="2287071" y="1766900"/>
                  <a:pt x="2276644" y="1777452"/>
                  <a:pt x="2263831" y="1777452"/>
                </a:cubicBezTo>
                <a:cubicBezTo>
                  <a:pt x="2250894" y="1777578"/>
                  <a:pt x="2240468" y="1767152"/>
                  <a:pt x="2240468" y="1754338"/>
                </a:cubicBezTo>
                <a:cubicBezTo>
                  <a:pt x="2240342" y="1741525"/>
                  <a:pt x="2250767" y="1731098"/>
                  <a:pt x="2263580" y="1730973"/>
                </a:cubicBezTo>
                <a:close/>
                <a:moveTo>
                  <a:pt x="2649971" y="1730848"/>
                </a:moveTo>
                <a:cubicBezTo>
                  <a:pt x="2662533" y="1730848"/>
                  <a:pt x="2672834" y="1741022"/>
                  <a:pt x="2672834" y="1753584"/>
                </a:cubicBezTo>
                <a:cubicBezTo>
                  <a:pt x="2672834" y="1766145"/>
                  <a:pt x="2662659" y="1776446"/>
                  <a:pt x="2650098" y="1776446"/>
                </a:cubicBezTo>
                <a:cubicBezTo>
                  <a:pt x="2637536" y="1776446"/>
                  <a:pt x="2627235" y="1766272"/>
                  <a:pt x="2627235" y="1753711"/>
                </a:cubicBezTo>
                <a:cubicBezTo>
                  <a:pt x="2627235" y="1741149"/>
                  <a:pt x="2637410" y="1730848"/>
                  <a:pt x="2649971" y="1730848"/>
                </a:cubicBezTo>
                <a:close/>
                <a:moveTo>
                  <a:pt x="198346" y="1715397"/>
                </a:moveTo>
                <a:cubicBezTo>
                  <a:pt x="201109" y="1715397"/>
                  <a:pt x="203244" y="1717659"/>
                  <a:pt x="203244" y="1720296"/>
                </a:cubicBezTo>
                <a:cubicBezTo>
                  <a:pt x="203244" y="1723059"/>
                  <a:pt x="201109" y="1725194"/>
                  <a:pt x="198471" y="1725194"/>
                </a:cubicBezTo>
                <a:cubicBezTo>
                  <a:pt x="195707" y="1725194"/>
                  <a:pt x="193572" y="1722934"/>
                  <a:pt x="193572" y="1720296"/>
                </a:cubicBezTo>
                <a:cubicBezTo>
                  <a:pt x="193572" y="1717659"/>
                  <a:pt x="195707" y="1715397"/>
                  <a:pt x="198346" y="1715397"/>
                </a:cubicBezTo>
                <a:close/>
                <a:moveTo>
                  <a:pt x="680330" y="1713136"/>
                </a:moveTo>
                <a:cubicBezTo>
                  <a:pt x="694774" y="1713010"/>
                  <a:pt x="706583" y="1724693"/>
                  <a:pt x="706583" y="1739137"/>
                </a:cubicBezTo>
                <a:cubicBezTo>
                  <a:pt x="706708" y="1753583"/>
                  <a:pt x="695026" y="1765391"/>
                  <a:pt x="680580" y="1765391"/>
                </a:cubicBezTo>
                <a:cubicBezTo>
                  <a:pt x="666134" y="1765516"/>
                  <a:pt x="654327" y="1753835"/>
                  <a:pt x="654327" y="1739389"/>
                </a:cubicBezTo>
                <a:cubicBezTo>
                  <a:pt x="654202" y="1724943"/>
                  <a:pt x="665884" y="1713261"/>
                  <a:pt x="680330" y="1713136"/>
                </a:cubicBezTo>
                <a:close/>
                <a:moveTo>
                  <a:pt x="2748578" y="1710876"/>
                </a:moveTo>
                <a:cubicBezTo>
                  <a:pt x="2760512" y="1710751"/>
                  <a:pt x="2770184" y="1720423"/>
                  <a:pt x="2770184" y="1732230"/>
                </a:cubicBezTo>
                <a:cubicBezTo>
                  <a:pt x="2770184" y="1744039"/>
                  <a:pt x="2760639" y="1753711"/>
                  <a:pt x="2748830" y="1753711"/>
                </a:cubicBezTo>
                <a:cubicBezTo>
                  <a:pt x="2736896" y="1753836"/>
                  <a:pt x="2727224" y="1744289"/>
                  <a:pt x="2727224" y="1732357"/>
                </a:cubicBezTo>
                <a:cubicBezTo>
                  <a:pt x="2727224" y="1720423"/>
                  <a:pt x="2736771" y="1710751"/>
                  <a:pt x="2748578" y="1710876"/>
                </a:cubicBezTo>
                <a:close/>
                <a:moveTo>
                  <a:pt x="2078046" y="1708364"/>
                </a:moveTo>
                <a:cubicBezTo>
                  <a:pt x="2080433" y="1708364"/>
                  <a:pt x="2082318" y="1710249"/>
                  <a:pt x="2082318" y="1712509"/>
                </a:cubicBezTo>
                <a:cubicBezTo>
                  <a:pt x="2082318" y="1714896"/>
                  <a:pt x="2080558" y="1716781"/>
                  <a:pt x="2078172" y="1716781"/>
                </a:cubicBezTo>
                <a:cubicBezTo>
                  <a:pt x="2075912" y="1716781"/>
                  <a:pt x="2074027" y="1715022"/>
                  <a:pt x="2074027" y="1712635"/>
                </a:cubicBezTo>
                <a:cubicBezTo>
                  <a:pt x="2074027" y="1710374"/>
                  <a:pt x="2075912" y="1708489"/>
                  <a:pt x="2078046" y="1708364"/>
                </a:cubicBezTo>
                <a:close/>
                <a:moveTo>
                  <a:pt x="966606" y="1706856"/>
                </a:moveTo>
                <a:cubicBezTo>
                  <a:pt x="972008" y="1706856"/>
                  <a:pt x="976404" y="1711126"/>
                  <a:pt x="976404" y="1716527"/>
                </a:cubicBezTo>
                <a:cubicBezTo>
                  <a:pt x="976530" y="1721929"/>
                  <a:pt x="972133" y="1726325"/>
                  <a:pt x="966731" y="1726325"/>
                </a:cubicBezTo>
                <a:cubicBezTo>
                  <a:pt x="961331" y="1726325"/>
                  <a:pt x="956934" y="1722054"/>
                  <a:pt x="956934" y="1716653"/>
                </a:cubicBezTo>
                <a:cubicBezTo>
                  <a:pt x="956934" y="1711252"/>
                  <a:pt x="961204" y="1706981"/>
                  <a:pt x="966606" y="1706856"/>
                </a:cubicBezTo>
                <a:close/>
                <a:moveTo>
                  <a:pt x="2364575" y="1704469"/>
                </a:moveTo>
                <a:cubicBezTo>
                  <a:pt x="2380527" y="1704343"/>
                  <a:pt x="2393465" y="1717156"/>
                  <a:pt x="2393465" y="1733109"/>
                </a:cubicBezTo>
                <a:cubicBezTo>
                  <a:pt x="2393591" y="1749061"/>
                  <a:pt x="2380779" y="1762000"/>
                  <a:pt x="2364825" y="1762000"/>
                </a:cubicBezTo>
                <a:cubicBezTo>
                  <a:pt x="2348872" y="1762125"/>
                  <a:pt x="2335935" y="1749313"/>
                  <a:pt x="2335935" y="1733360"/>
                </a:cubicBezTo>
                <a:cubicBezTo>
                  <a:pt x="2335808" y="1717406"/>
                  <a:pt x="2348747" y="1704594"/>
                  <a:pt x="2364575" y="1704469"/>
                </a:cubicBezTo>
                <a:close/>
                <a:moveTo>
                  <a:pt x="580843" y="1696680"/>
                </a:moveTo>
                <a:cubicBezTo>
                  <a:pt x="593154" y="1696555"/>
                  <a:pt x="603077" y="1706477"/>
                  <a:pt x="603077" y="1718662"/>
                </a:cubicBezTo>
                <a:cubicBezTo>
                  <a:pt x="603077" y="1730972"/>
                  <a:pt x="593154" y="1740895"/>
                  <a:pt x="580968" y="1740895"/>
                </a:cubicBezTo>
                <a:cubicBezTo>
                  <a:pt x="568659" y="1740895"/>
                  <a:pt x="558860" y="1730972"/>
                  <a:pt x="558735" y="1718788"/>
                </a:cubicBezTo>
                <a:cubicBezTo>
                  <a:pt x="558735" y="1706604"/>
                  <a:pt x="568659" y="1696680"/>
                  <a:pt x="580843" y="1696680"/>
                </a:cubicBezTo>
                <a:close/>
                <a:moveTo>
                  <a:pt x="101243" y="1695425"/>
                </a:moveTo>
                <a:cubicBezTo>
                  <a:pt x="103378" y="1695425"/>
                  <a:pt x="105263" y="1697309"/>
                  <a:pt x="105263" y="1699445"/>
                </a:cubicBezTo>
                <a:cubicBezTo>
                  <a:pt x="105263" y="1701706"/>
                  <a:pt x="103378" y="1703464"/>
                  <a:pt x="101243" y="1703464"/>
                </a:cubicBezTo>
                <a:cubicBezTo>
                  <a:pt x="98983" y="1703464"/>
                  <a:pt x="97224" y="1701580"/>
                  <a:pt x="97224" y="1699445"/>
                </a:cubicBezTo>
                <a:cubicBezTo>
                  <a:pt x="97224" y="1697309"/>
                  <a:pt x="98983" y="1695425"/>
                  <a:pt x="101243" y="1695425"/>
                </a:cubicBezTo>
                <a:close/>
                <a:moveTo>
                  <a:pt x="2846435" y="1694043"/>
                </a:moveTo>
                <a:cubicBezTo>
                  <a:pt x="2855605" y="1694043"/>
                  <a:pt x="2863142" y="1701455"/>
                  <a:pt x="2863142" y="1710624"/>
                </a:cubicBezTo>
                <a:cubicBezTo>
                  <a:pt x="2863142" y="1719794"/>
                  <a:pt x="2855730" y="1727331"/>
                  <a:pt x="2846560" y="1727331"/>
                </a:cubicBezTo>
                <a:cubicBezTo>
                  <a:pt x="2837516" y="1727331"/>
                  <a:pt x="2829979" y="1719919"/>
                  <a:pt x="2829979" y="1710750"/>
                </a:cubicBezTo>
                <a:cubicBezTo>
                  <a:pt x="2829979" y="1701580"/>
                  <a:pt x="2837266" y="1694168"/>
                  <a:pt x="2846435" y="1694043"/>
                </a:cubicBezTo>
                <a:close/>
                <a:moveTo>
                  <a:pt x="2463935" y="1683993"/>
                </a:moveTo>
                <a:cubicBezTo>
                  <a:pt x="2479386" y="1683868"/>
                  <a:pt x="2491821" y="1696303"/>
                  <a:pt x="2491947" y="1711754"/>
                </a:cubicBezTo>
                <a:cubicBezTo>
                  <a:pt x="2492073" y="1727204"/>
                  <a:pt x="2479636" y="1739766"/>
                  <a:pt x="2464186" y="1739766"/>
                </a:cubicBezTo>
                <a:cubicBezTo>
                  <a:pt x="2448736" y="1739891"/>
                  <a:pt x="2436300" y="1727455"/>
                  <a:pt x="2436175" y="1712004"/>
                </a:cubicBezTo>
                <a:cubicBezTo>
                  <a:pt x="2436048" y="1696555"/>
                  <a:pt x="2448484" y="1684118"/>
                  <a:pt x="2463935" y="1683993"/>
                </a:cubicBezTo>
                <a:close/>
                <a:moveTo>
                  <a:pt x="2178916" y="1681482"/>
                </a:moveTo>
                <a:cubicBezTo>
                  <a:pt x="2184569" y="1681482"/>
                  <a:pt x="2189092" y="1686004"/>
                  <a:pt x="2189092" y="1691656"/>
                </a:cubicBezTo>
                <a:cubicBezTo>
                  <a:pt x="2189092" y="1697183"/>
                  <a:pt x="2184569" y="1701831"/>
                  <a:pt x="2178916" y="1701831"/>
                </a:cubicBezTo>
                <a:cubicBezTo>
                  <a:pt x="2173389" y="1701831"/>
                  <a:pt x="2168741" y="1697309"/>
                  <a:pt x="2168741" y="1691656"/>
                </a:cubicBezTo>
                <a:cubicBezTo>
                  <a:pt x="2168741" y="1686004"/>
                  <a:pt x="2173263" y="1681356"/>
                  <a:pt x="2178916" y="1681482"/>
                </a:cubicBezTo>
                <a:close/>
                <a:moveTo>
                  <a:pt x="2943534" y="1681356"/>
                </a:moveTo>
                <a:cubicBezTo>
                  <a:pt x="2947805" y="1681356"/>
                  <a:pt x="2951323" y="1684873"/>
                  <a:pt x="2951323" y="1689143"/>
                </a:cubicBezTo>
                <a:cubicBezTo>
                  <a:pt x="2951448" y="1693415"/>
                  <a:pt x="2947931" y="1696932"/>
                  <a:pt x="2943659" y="1696932"/>
                </a:cubicBezTo>
                <a:cubicBezTo>
                  <a:pt x="2939389" y="1696932"/>
                  <a:pt x="2935871" y="1693415"/>
                  <a:pt x="2935871" y="1689143"/>
                </a:cubicBezTo>
                <a:cubicBezTo>
                  <a:pt x="2935871" y="1684873"/>
                  <a:pt x="2939389" y="1681481"/>
                  <a:pt x="2943534" y="1681356"/>
                </a:cubicBezTo>
                <a:close/>
                <a:moveTo>
                  <a:pt x="865736" y="1677964"/>
                </a:moveTo>
                <a:cubicBezTo>
                  <a:pt x="875912" y="1677964"/>
                  <a:pt x="884202" y="1686129"/>
                  <a:pt x="884202" y="1696303"/>
                </a:cubicBezTo>
                <a:cubicBezTo>
                  <a:pt x="884202" y="1706479"/>
                  <a:pt x="876037" y="1714769"/>
                  <a:pt x="865863" y="1714769"/>
                </a:cubicBezTo>
                <a:cubicBezTo>
                  <a:pt x="855688" y="1714769"/>
                  <a:pt x="847522" y="1706604"/>
                  <a:pt x="847397" y="1696430"/>
                </a:cubicBezTo>
                <a:cubicBezTo>
                  <a:pt x="847397" y="1686255"/>
                  <a:pt x="855688" y="1677964"/>
                  <a:pt x="865736" y="1677964"/>
                </a:cubicBezTo>
                <a:close/>
                <a:moveTo>
                  <a:pt x="482611" y="1677839"/>
                </a:moveTo>
                <a:cubicBezTo>
                  <a:pt x="493790" y="1677839"/>
                  <a:pt x="502835" y="1686883"/>
                  <a:pt x="502835" y="1697937"/>
                </a:cubicBezTo>
                <a:cubicBezTo>
                  <a:pt x="502835" y="1709117"/>
                  <a:pt x="493790" y="1718161"/>
                  <a:pt x="482736" y="1718161"/>
                </a:cubicBezTo>
                <a:cubicBezTo>
                  <a:pt x="471557" y="1718161"/>
                  <a:pt x="462513" y="1709243"/>
                  <a:pt x="462513" y="1698063"/>
                </a:cubicBezTo>
                <a:cubicBezTo>
                  <a:pt x="462513" y="1686883"/>
                  <a:pt x="471432" y="1677839"/>
                  <a:pt x="482611" y="1677839"/>
                </a:cubicBezTo>
                <a:close/>
                <a:moveTo>
                  <a:pt x="4520" y="1677084"/>
                </a:moveTo>
                <a:cubicBezTo>
                  <a:pt x="5275" y="1677084"/>
                  <a:pt x="6028" y="1677713"/>
                  <a:pt x="6028" y="1678593"/>
                </a:cubicBezTo>
                <a:cubicBezTo>
                  <a:pt x="6028" y="1679346"/>
                  <a:pt x="5275" y="1680099"/>
                  <a:pt x="4395" y="1680099"/>
                </a:cubicBezTo>
                <a:cubicBezTo>
                  <a:pt x="3641" y="1680099"/>
                  <a:pt x="2888" y="1679471"/>
                  <a:pt x="2888" y="1678593"/>
                </a:cubicBezTo>
                <a:cubicBezTo>
                  <a:pt x="2888" y="1677713"/>
                  <a:pt x="3641" y="1676959"/>
                  <a:pt x="4520" y="1677084"/>
                </a:cubicBezTo>
                <a:close/>
                <a:moveTo>
                  <a:pt x="1151762" y="1673442"/>
                </a:moveTo>
                <a:cubicBezTo>
                  <a:pt x="1151888" y="1673442"/>
                  <a:pt x="1152013" y="1673567"/>
                  <a:pt x="1152013" y="1673694"/>
                </a:cubicBezTo>
                <a:cubicBezTo>
                  <a:pt x="1152013" y="1673819"/>
                  <a:pt x="1151888" y="1673944"/>
                  <a:pt x="1151762" y="1673944"/>
                </a:cubicBezTo>
                <a:cubicBezTo>
                  <a:pt x="1151636" y="1673944"/>
                  <a:pt x="1151511" y="1673819"/>
                  <a:pt x="1151511" y="1673694"/>
                </a:cubicBezTo>
                <a:cubicBezTo>
                  <a:pt x="1151511" y="1673567"/>
                  <a:pt x="1151636" y="1673442"/>
                  <a:pt x="1151762" y="1673442"/>
                </a:cubicBezTo>
                <a:close/>
                <a:moveTo>
                  <a:pt x="3040131" y="1665527"/>
                </a:moveTo>
                <a:cubicBezTo>
                  <a:pt x="3041261" y="1665527"/>
                  <a:pt x="3042141" y="1666407"/>
                  <a:pt x="3042141" y="1667537"/>
                </a:cubicBezTo>
                <a:cubicBezTo>
                  <a:pt x="3042141" y="1668667"/>
                  <a:pt x="3041261" y="1669547"/>
                  <a:pt x="3040131" y="1669547"/>
                </a:cubicBezTo>
                <a:cubicBezTo>
                  <a:pt x="3039001" y="1669547"/>
                  <a:pt x="3038121" y="1668667"/>
                  <a:pt x="3038121" y="1667537"/>
                </a:cubicBezTo>
                <a:cubicBezTo>
                  <a:pt x="3038121" y="1666407"/>
                  <a:pt x="3039001" y="1665527"/>
                  <a:pt x="3040131" y="1665527"/>
                </a:cubicBezTo>
                <a:close/>
                <a:moveTo>
                  <a:pt x="2562042" y="1665026"/>
                </a:moveTo>
                <a:cubicBezTo>
                  <a:pt x="2576110" y="1665026"/>
                  <a:pt x="2587541" y="1676331"/>
                  <a:pt x="2587541" y="1690401"/>
                </a:cubicBezTo>
                <a:cubicBezTo>
                  <a:pt x="2587541" y="1704469"/>
                  <a:pt x="2576237" y="1715900"/>
                  <a:pt x="2562168" y="1715900"/>
                </a:cubicBezTo>
                <a:cubicBezTo>
                  <a:pt x="2548224" y="1715900"/>
                  <a:pt x="2536793" y="1704595"/>
                  <a:pt x="2536667" y="1690526"/>
                </a:cubicBezTo>
                <a:cubicBezTo>
                  <a:pt x="2536667" y="1676457"/>
                  <a:pt x="2547972" y="1665026"/>
                  <a:pt x="2562042" y="1665026"/>
                </a:cubicBezTo>
                <a:close/>
                <a:moveTo>
                  <a:pt x="385259" y="1663015"/>
                </a:moveTo>
                <a:cubicBezTo>
                  <a:pt x="393048" y="1662890"/>
                  <a:pt x="399453" y="1669297"/>
                  <a:pt x="399453" y="1677084"/>
                </a:cubicBezTo>
                <a:cubicBezTo>
                  <a:pt x="399580" y="1684873"/>
                  <a:pt x="393173" y="1691280"/>
                  <a:pt x="385385" y="1691280"/>
                </a:cubicBezTo>
                <a:cubicBezTo>
                  <a:pt x="377597" y="1691405"/>
                  <a:pt x="371191" y="1684998"/>
                  <a:pt x="371191" y="1677211"/>
                </a:cubicBezTo>
                <a:cubicBezTo>
                  <a:pt x="371191" y="1669297"/>
                  <a:pt x="377472" y="1663015"/>
                  <a:pt x="385259" y="1663015"/>
                </a:cubicBezTo>
                <a:close/>
                <a:moveTo>
                  <a:pt x="1051394" y="1650831"/>
                </a:moveTo>
                <a:cubicBezTo>
                  <a:pt x="1052775" y="1650831"/>
                  <a:pt x="1053906" y="1651836"/>
                  <a:pt x="1053906" y="1653218"/>
                </a:cubicBezTo>
                <a:cubicBezTo>
                  <a:pt x="1053906" y="1654474"/>
                  <a:pt x="1052901" y="1655605"/>
                  <a:pt x="1051520" y="1655605"/>
                </a:cubicBezTo>
                <a:cubicBezTo>
                  <a:pt x="1050138" y="1655605"/>
                  <a:pt x="1049008" y="1654600"/>
                  <a:pt x="1049008" y="1653218"/>
                </a:cubicBezTo>
                <a:cubicBezTo>
                  <a:pt x="1049008" y="1651961"/>
                  <a:pt x="1050138" y="1650831"/>
                  <a:pt x="1051394" y="1650831"/>
                </a:cubicBezTo>
                <a:close/>
                <a:moveTo>
                  <a:pt x="767002" y="1650831"/>
                </a:moveTo>
                <a:cubicBezTo>
                  <a:pt x="780694" y="1650831"/>
                  <a:pt x="791874" y="1661885"/>
                  <a:pt x="791874" y="1675576"/>
                </a:cubicBezTo>
                <a:cubicBezTo>
                  <a:pt x="791874" y="1689268"/>
                  <a:pt x="780820" y="1700448"/>
                  <a:pt x="767128" y="1700448"/>
                </a:cubicBezTo>
                <a:cubicBezTo>
                  <a:pt x="753436" y="1700448"/>
                  <a:pt x="742257" y="1689394"/>
                  <a:pt x="742257" y="1675702"/>
                </a:cubicBezTo>
                <a:cubicBezTo>
                  <a:pt x="742132" y="1662010"/>
                  <a:pt x="753186" y="1650831"/>
                  <a:pt x="767002" y="1650831"/>
                </a:cubicBezTo>
                <a:close/>
                <a:moveTo>
                  <a:pt x="1992878" y="1649576"/>
                </a:moveTo>
                <a:cubicBezTo>
                  <a:pt x="1993005" y="1649576"/>
                  <a:pt x="1993130" y="1649701"/>
                  <a:pt x="1993130" y="1649826"/>
                </a:cubicBezTo>
                <a:cubicBezTo>
                  <a:pt x="1993255" y="1649953"/>
                  <a:pt x="1993130" y="1650078"/>
                  <a:pt x="1993005" y="1650078"/>
                </a:cubicBezTo>
                <a:cubicBezTo>
                  <a:pt x="1992878" y="1650078"/>
                  <a:pt x="1992753" y="1649953"/>
                  <a:pt x="1992753" y="1649826"/>
                </a:cubicBezTo>
                <a:cubicBezTo>
                  <a:pt x="1992753" y="1649701"/>
                  <a:pt x="1992878" y="1649576"/>
                  <a:pt x="1992878" y="1649576"/>
                </a:cubicBezTo>
                <a:close/>
                <a:moveTo>
                  <a:pt x="2277398" y="1648696"/>
                </a:moveTo>
                <a:cubicBezTo>
                  <a:pt x="2289332" y="1648571"/>
                  <a:pt x="2299004" y="1658243"/>
                  <a:pt x="2299004" y="1670050"/>
                </a:cubicBezTo>
                <a:cubicBezTo>
                  <a:pt x="2299129" y="1681859"/>
                  <a:pt x="2289457" y="1691531"/>
                  <a:pt x="2277650" y="1691531"/>
                </a:cubicBezTo>
                <a:cubicBezTo>
                  <a:pt x="2265841" y="1691656"/>
                  <a:pt x="2256169" y="1681984"/>
                  <a:pt x="2256169" y="1670177"/>
                </a:cubicBezTo>
                <a:cubicBezTo>
                  <a:pt x="2256169" y="1658368"/>
                  <a:pt x="2265716" y="1648696"/>
                  <a:pt x="2277398" y="1648696"/>
                </a:cubicBezTo>
                <a:close/>
                <a:moveTo>
                  <a:pt x="288789" y="1645807"/>
                </a:moveTo>
                <a:cubicBezTo>
                  <a:pt x="294566" y="1645807"/>
                  <a:pt x="299214" y="1650454"/>
                  <a:pt x="299214" y="1656233"/>
                </a:cubicBezTo>
                <a:cubicBezTo>
                  <a:pt x="299214" y="1661885"/>
                  <a:pt x="294566" y="1666658"/>
                  <a:pt x="288789" y="1666658"/>
                </a:cubicBezTo>
                <a:cubicBezTo>
                  <a:pt x="283010" y="1666658"/>
                  <a:pt x="278362" y="1662011"/>
                  <a:pt x="278362" y="1656233"/>
                </a:cubicBezTo>
                <a:cubicBezTo>
                  <a:pt x="278237" y="1650454"/>
                  <a:pt x="282885" y="1645807"/>
                  <a:pt x="288789" y="1645807"/>
                </a:cubicBezTo>
                <a:close/>
                <a:moveTo>
                  <a:pt x="2659266" y="1644927"/>
                </a:moveTo>
                <a:cubicBezTo>
                  <a:pt x="2672457" y="1644927"/>
                  <a:pt x="2683259" y="1655604"/>
                  <a:pt x="2683259" y="1668794"/>
                </a:cubicBezTo>
                <a:cubicBezTo>
                  <a:pt x="2683259" y="1681984"/>
                  <a:pt x="2672582" y="1692786"/>
                  <a:pt x="2659393" y="1692786"/>
                </a:cubicBezTo>
                <a:cubicBezTo>
                  <a:pt x="2646204" y="1692786"/>
                  <a:pt x="2635400" y="1682109"/>
                  <a:pt x="2635400" y="1668920"/>
                </a:cubicBezTo>
                <a:cubicBezTo>
                  <a:pt x="2635400" y="1655730"/>
                  <a:pt x="2646077" y="1645052"/>
                  <a:pt x="2659266" y="1644927"/>
                </a:cubicBezTo>
                <a:close/>
                <a:moveTo>
                  <a:pt x="192694" y="1627970"/>
                </a:moveTo>
                <a:cubicBezTo>
                  <a:pt x="196714" y="1627970"/>
                  <a:pt x="199980" y="1631235"/>
                  <a:pt x="199980" y="1635255"/>
                </a:cubicBezTo>
                <a:cubicBezTo>
                  <a:pt x="199980" y="1639275"/>
                  <a:pt x="196714" y="1642541"/>
                  <a:pt x="192694" y="1642541"/>
                </a:cubicBezTo>
                <a:cubicBezTo>
                  <a:pt x="188549" y="1642541"/>
                  <a:pt x="185282" y="1639275"/>
                  <a:pt x="185282" y="1635255"/>
                </a:cubicBezTo>
                <a:cubicBezTo>
                  <a:pt x="185282" y="1631235"/>
                  <a:pt x="188549" y="1627970"/>
                  <a:pt x="192694" y="1627970"/>
                </a:cubicBezTo>
                <a:close/>
                <a:moveTo>
                  <a:pt x="669401" y="1627718"/>
                </a:moveTo>
                <a:cubicBezTo>
                  <a:pt x="684349" y="1627593"/>
                  <a:pt x="696534" y="1639651"/>
                  <a:pt x="696534" y="1654599"/>
                </a:cubicBezTo>
                <a:cubicBezTo>
                  <a:pt x="696659" y="1669547"/>
                  <a:pt x="684600" y="1681606"/>
                  <a:pt x="669653" y="1681732"/>
                </a:cubicBezTo>
                <a:cubicBezTo>
                  <a:pt x="654704" y="1681857"/>
                  <a:pt x="642520" y="1669798"/>
                  <a:pt x="642520" y="1654851"/>
                </a:cubicBezTo>
                <a:cubicBezTo>
                  <a:pt x="642393" y="1639902"/>
                  <a:pt x="654452" y="1627843"/>
                  <a:pt x="669401" y="1627718"/>
                </a:cubicBezTo>
                <a:close/>
                <a:moveTo>
                  <a:pt x="2090607" y="1625708"/>
                </a:moveTo>
                <a:cubicBezTo>
                  <a:pt x="2092114" y="1625708"/>
                  <a:pt x="2093244" y="1626838"/>
                  <a:pt x="2093244" y="1628345"/>
                </a:cubicBezTo>
                <a:cubicBezTo>
                  <a:pt x="2093244" y="1629852"/>
                  <a:pt x="2092114" y="1630982"/>
                  <a:pt x="2090607" y="1630982"/>
                </a:cubicBezTo>
                <a:cubicBezTo>
                  <a:pt x="2089227" y="1630982"/>
                  <a:pt x="2087970" y="1629852"/>
                  <a:pt x="2087970" y="1628345"/>
                </a:cubicBezTo>
                <a:cubicBezTo>
                  <a:pt x="2087970" y="1626838"/>
                  <a:pt x="2089227" y="1625708"/>
                  <a:pt x="2090607" y="1625708"/>
                </a:cubicBezTo>
                <a:close/>
                <a:moveTo>
                  <a:pt x="2755740" y="1624453"/>
                </a:moveTo>
                <a:cubicBezTo>
                  <a:pt x="2768301" y="1624453"/>
                  <a:pt x="2778476" y="1634627"/>
                  <a:pt x="2778603" y="1647189"/>
                </a:cubicBezTo>
                <a:cubicBezTo>
                  <a:pt x="2778603" y="1659750"/>
                  <a:pt x="2768427" y="1670051"/>
                  <a:pt x="2755865" y="1670051"/>
                </a:cubicBezTo>
                <a:cubicBezTo>
                  <a:pt x="2743303" y="1670051"/>
                  <a:pt x="2733004" y="1659875"/>
                  <a:pt x="2733004" y="1647314"/>
                </a:cubicBezTo>
                <a:cubicBezTo>
                  <a:pt x="2732878" y="1634753"/>
                  <a:pt x="2743178" y="1624453"/>
                  <a:pt x="2755740" y="1624453"/>
                </a:cubicBezTo>
                <a:close/>
                <a:moveTo>
                  <a:pt x="953541" y="1623824"/>
                </a:moveTo>
                <a:cubicBezTo>
                  <a:pt x="958314" y="1623698"/>
                  <a:pt x="962208" y="1627593"/>
                  <a:pt x="962208" y="1632365"/>
                </a:cubicBezTo>
                <a:cubicBezTo>
                  <a:pt x="962333" y="1637139"/>
                  <a:pt x="958440" y="1641032"/>
                  <a:pt x="953667" y="1641032"/>
                </a:cubicBezTo>
                <a:cubicBezTo>
                  <a:pt x="948894" y="1641159"/>
                  <a:pt x="945000" y="1637264"/>
                  <a:pt x="945000" y="1632492"/>
                </a:cubicBezTo>
                <a:cubicBezTo>
                  <a:pt x="945000" y="1627718"/>
                  <a:pt x="948894" y="1623824"/>
                  <a:pt x="953541" y="1623824"/>
                </a:cubicBezTo>
                <a:close/>
                <a:moveTo>
                  <a:pt x="2374875" y="1619427"/>
                </a:moveTo>
                <a:cubicBezTo>
                  <a:pt x="2390953" y="1619427"/>
                  <a:pt x="2404142" y="1632366"/>
                  <a:pt x="2404142" y="1648570"/>
                </a:cubicBezTo>
                <a:cubicBezTo>
                  <a:pt x="2404142" y="1664649"/>
                  <a:pt x="2391204" y="1677838"/>
                  <a:pt x="2375000" y="1677838"/>
                </a:cubicBezTo>
                <a:cubicBezTo>
                  <a:pt x="2358921" y="1677838"/>
                  <a:pt x="2345732" y="1664774"/>
                  <a:pt x="2345732" y="1648695"/>
                </a:cubicBezTo>
                <a:cubicBezTo>
                  <a:pt x="2345732" y="1632616"/>
                  <a:pt x="2358796" y="1619427"/>
                  <a:pt x="2374875" y="1619427"/>
                </a:cubicBezTo>
                <a:close/>
                <a:moveTo>
                  <a:pt x="96973" y="1609630"/>
                </a:moveTo>
                <a:cubicBezTo>
                  <a:pt x="99486" y="1609630"/>
                  <a:pt x="101622" y="1611640"/>
                  <a:pt x="101622" y="1614278"/>
                </a:cubicBezTo>
                <a:cubicBezTo>
                  <a:pt x="101622" y="1616790"/>
                  <a:pt x="99611" y="1618927"/>
                  <a:pt x="96973" y="1618927"/>
                </a:cubicBezTo>
                <a:cubicBezTo>
                  <a:pt x="94461" y="1618927"/>
                  <a:pt x="92326" y="1616917"/>
                  <a:pt x="92326" y="1614278"/>
                </a:cubicBezTo>
                <a:cubicBezTo>
                  <a:pt x="92326" y="1611765"/>
                  <a:pt x="94461" y="1609630"/>
                  <a:pt x="96973" y="1609630"/>
                </a:cubicBezTo>
                <a:close/>
                <a:moveTo>
                  <a:pt x="572928" y="1609127"/>
                </a:moveTo>
                <a:cubicBezTo>
                  <a:pt x="586621" y="1609127"/>
                  <a:pt x="597800" y="1620181"/>
                  <a:pt x="597800" y="1633872"/>
                </a:cubicBezTo>
                <a:cubicBezTo>
                  <a:pt x="597800" y="1647564"/>
                  <a:pt x="586746" y="1658744"/>
                  <a:pt x="573053" y="1658744"/>
                </a:cubicBezTo>
                <a:cubicBezTo>
                  <a:pt x="559361" y="1658744"/>
                  <a:pt x="548182" y="1647690"/>
                  <a:pt x="548182" y="1633998"/>
                </a:cubicBezTo>
                <a:cubicBezTo>
                  <a:pt x="548182" y="1620181"/>
                  <a:pt x="559111" y="1609127"/>
                  <a:pt x="572928" y="1609127"/>
                </a:cubicBezTo>
                <a:close/>
                <a:moveTo>
                  <a:pt x="2851582" y="1607495"/>
                </a:moveTo>
                <a:cubicBezTo>
                  <a:pt x="2861631" y="1607495"/>
                  <a:pt x="2869795" y="1615534"/>
                  <a:pt x="2869795" y="1625583"/>
                </a:cubicBezTo>
                <a:cubicBezTo>
                  <a:pt x="2869795" y="1635632"/>
                  <a:pt x="2861756" y="1643797"/>
                  <a:pt x="2851707" y="1643797"/>
                </a:cubicBezTo>
                <a:cubicBezTo>
                  <a:pt x="2841659" y="1643797"/>
                  <a:pt x="2833494" y="1635758"/>
                  <a:pt x="2833494" y="1625709"/>
                </a:cubicBezTo>
                <a:cubicBezTo>
                  <a:pt x="2833494" y="1615659"/>
                  <a:pt x="2841533" y="1607495"/>
                  <a:pt x="2851582" y="1607495"/>
                </a:cubicBezTo>
                <a:close/>
                <a:moveTo>
                  <a:pt x="2186829" y="1597696"/>
                </a:moveTo>
                <a:cubicBezTo>
                  <a:pt x="2191853" y="1597696"/>
                  <a:pt x="2195998" y="1601716"/>
                  <a:pt x="2195998" y="1606740"/>
                </a:cubicBezTo>
                <a:cubicBezTo>
                  <a:pt x="2195998" y="1611640"/>
                  <a:pt x="2191979" y="1615785"/>
                  <a:pt x="2186954" y="1615785"/>
                </a:cubicBezTo>
                <a:cubicBezTo>
                  <a:pt x="2181930" y="1615785"/>
                  <a:pt x="2177785" y="1611765"/>
                  <a:pt x="2177785" y="1606740"/>
                </a:cubicBezTo>
                <a:cubicBezTo>
                  <a:pt x="2177785" y="1601716"/>
                  <a:pt x="2181805" y="1597696"/>
                  <a:pt x="2186829" y="1597696"/>
                </a:cubicBezTo>
                <a:close/>
                <a:moveTo>
                  <a:pt x="2471347" y="1597445"/>
                </a:moveTo>
                <a:cubicBezTo>
                  <a:pt x="2487551" y="1597445"/>
                  <a:pt x="2500867" y="1610634"/>
                  <a:pt x="2500867" y="1626838"/>
                </a:cubicBezTo>
                <a:cubicBezTo>
                  <a:pt x="2500867" y="1643043"/>
                  <a:pt x="2487677" y="1656358"/>
                  <a:pt x="2471472" y="1656358"/>
                </a:cubicBezTo>
                <a:cubicBezTo>
                  <a:pt x="2455268" y="1656483"/>
                  <a:pt x="2442079" y="1643294"/>
                  <a:pt x="2441954" y="1627090"/>
                </a:cubicBezTo>
                <a:cubicBezTo>
                  <a:pt x="2441827" y="1610886"/>
                  <a:pt x="2455018" y="1597570"/>
                  <a:pt x="2471347" y="1597445"/>
                </a:cubicBezTo>
                <a:close/>
                <a:moveTo>
                  <a:pt x="2947175" y="1596440"/>
                </a:moveTo>
                <a:cubicBezTo>
                  <a:pt x="2951320" y="1596440"/>
                  <a:pt x="2954712" y="1599831"/>
                  <a:pt x="2954712" y="1603976"/>
                </a:cubicBezTo>
                <a:cubicBezTo>
                  <a:pt x="2954712" y="1608121"/>
                  <a:pt x="2951320" y="1611512"/>
                  <a:pt x="2947175" y="1611512"/>
                </a:cubicBezTo>
                <a:cubicBezTo>
                  <a:pt x="2943030" y="1611512"/>
                  <a:pt x="2939638" y="1608121"/>
                  <a:pt x="2939638" y="1603976"/>
                </a:cubicBezTo>
                <a:cubicBezTo>
                  <a:pt x="2939638" y="1599831"/>
                  <a:pt x="2943030" y="1596440"/>
                  <a:pt x="2947175" y="1596440"/>
                </a:cubicBezTo>
                <a:close/>
                <a:moveTo>
                  <a:pt x="857196" y="1594556"/>
                </a:moveTo>
                <a:cubicBezTo>
                  <a:pt x="866616" y="1594431"/>
                  <a:pt x="874280" y="1602093"/>
                  <a:pt x="874280" y="1611515"/>
                </a:cubicBezTo>
                <a:cubicBezTo>
                  <a:pt x="874280" y="1620936"/>
                  <a:pt x="866743" y="1628598"/>
                  <a:pt x="857322" y="1628598"/>
                </a:cubicBezTo>
                <a:cubicBezTo>
                  <a:pt x="847900" y="1628598"/>
                  <a:pt x="840238" y="1621061"/>
                  <a:pt x="840238" y="1611640"/>
                </a:cubicBezTo>
                <a:cubicBezTo>
                  <a:pt x="840238" y="1602093"/>
                  <a:pt x="847900" y="1594556"/>
                  <a:pt x="857196" y="1594556"/>
                </a:cubicBezTo>
                <a:close/>
                <a:moveTo>
                  <a:pt x="477084" y="1591541"/>
                </a:moveTo>
                <a:cubicBezTo>
                  <a:pt x="488893" y="1591541"/>
                  <a:pt x="498565" y="1601088"/>
                  <a:pt x="498565" y="1612895"/>
                </a:cubicBezTo>
                <a:cubicBezTo>
                  <a:pt x="498691" y="1624704"/>
                  <a:pt x="489018" y="1634376"/>
                  <a:pt x="477211" y="1634376"/>
                </a:cubicBezTo>
                <a:cubicBezTo>
                  <a:pt x="465402" y="1634501"/>
                  <a:pt x="455730" y="1624829"/>
                  <a:pt x="455730" y="1613022"/>
                </a:cubicBezTo>
                <a:cubicBezTo>
                  <a:pt x="455605" y="1601088"/>
                  <a:pt x="465277" y="1591416"/>
                  <a:pt x="477084" y="1591541"/>
                </a:cubicBezTo>
                <a:close/>
                <a:moveTo>
                  <a:pt x="1759" y="1591541"/>
                </a:moveTo>
                <a:cubicBezTo>
                  <a:pt x="2764" y="1591541"/>
                  <a:pt x="3517" y="1592295"/>
                  <a:pt x="3517" y="1593299"/>
                </a:cubicBezTo>
                <a:cubicBezTo>
                  <a:pt x="3517" y="1594305"/>
                  <a:pt x="2764" y="1595058"/>
                  <a:pt x="1759" y="1595058"/>
                </a:cubicBezTo>
                <a:cubicBezTo>
                  <a:pt x="754" y="1595058"/>
                  <a:pt x="0" y="1594305"/>
                  <a:pt x="0" y="1593299"/>
                </a:cubicBezTo>
                <a:cubicBezTo>
                  <a:pt x="0" y="1592295"/>
                  <a:pt x="754" y="1591541"/>
                  <a:pt x="1759" y="1591541"/>
                </a:cubicBezTo>
                <a:close/>
                <a:moveTo>
                  <a:pt x="3042264" y="1580236"/>
                </a:moveTo>
                <a:cubicBezTo>
                  <a:pt x="3043394" y="1580236"/>
                  <a:pt x="3044273" y="1581116"/>
                  <a:pt x="3044273" y="1582246"/>
                </a:cubicBezTo>
                <a:cubicBezTo>
                  <a:pt x="3044273" y="1583376"/>
                  <a:pt x="3043394" y="1584256"/>
                  <a:pt x="3042264" y="1584256"/>
                </a:cubicBezTo>
                <a:cubicBezTo>
                  <a:pt x="3041134" y="1584256"/>
                  <a:pt x="3040254" y="1583376"/>
                  <a:pt x="3040254" y="1582246"/>
                </a:cubicBezTo>
                <a:cubicBezTo>
                  <a:pt x="3040254" y="1581241"/>
                  <a:pt x="3041134" y="1580236"/>
                  <a:pt x="3042264" y="1580236"/>
                </a:cubicBezTo>
                <a:close/>
                <a:moveTo>
                  <a:pt x="2566942" y="1578729"/>
                </a:moveTo>
                <a:cubicBezTo>
                  <a:pt x="2581513" y="1578729"/>
                  <a:pt x="2593573" y="1590537"/>
                  <a:pt x="2593573" y="1605234"/>
                </a:cubicBezTo>
                <a:cubicBezTo>
                  <a:pt x="2593573" y="1619930"/>
                  <a:pt x="2581764" y="1631864"/>
                  <a:pt x="2567067" y="1631864"/>
                </a:cubicBezTo>
                <a:cubicBezTo>
                  <a:pt x="2552495" y="1631864"/>
                  <a:pt x="2540562" y="1620056"/>
                  <a:pt x="2540436" y="1605359"/>
                </a:cubicBezTo>
                <a:cubicBezTo>
                  <a:pt x="2540436" y="1590788"/>
                  <a:pt x="2552244" y="1578854"/>
                  <a:pt x="2566942" y="1578729"/>
                </a:cubicBezTo>
                <a:close/>
                <a:moveTo>
                  <a:pt x="381618" y="1575964"/>
                </a:moveTo>
                <a:cubicBezTo>
                  <a:pt x="390537" y="1575839"/>
                  <a:pt x="397696" y="1582999"/>
                  <a:pt x="397696" y="1591792"/>
                </a:cubicBezTo>
                <a:cubicBezTo>
                  <a:pt x="397823" y="1600585"/>
                  <a:pt x="390662" y="1607745"/>
                  <a:pt x="381869" y="1607745"/>
                </a:cubicBezTo>
                <a:cubicBezTo>
                  <a:pt x="373076" y="1607871"/>
                  <a:pt x="365916" y="1600710"/>
                  <a:pt x="365916" y="1591918"/>
                </a:cubicBezTo>
                <a:cubicBezTo>
                  <a:pt x="365916" y="1583124"/>
                  <a:pt x="372950" y="1575964"/>
                  <a:pt x="381618" y="1575964"/>
                </a:cubicBezTo>
                <a:close/>
                <a:moveTo>
                  <a:pt x="1047251" y="1566670"/>
                </a:moveTo>
                <a:cubicBezTo>
                  <a:pt x="1048131" y="1566670"/>
                  <a:pt x="1048759" y="1567298"/>
                  <a:pt x="1048759" y="1568177"/>
                </a:cubicBezTo>
                <a:cubicBezTo>
                  <a:pt x="1048759" y="1568931"/>
                  <a:pt x="1048131" y="1569684"/>
                  <a:pt x="1047251" y="1569684"/>
                </a:cubicBezTo>
                <a:cubicBezTo>
                  <a:pt x="1046497" y="1569684"/>
                  <a:pt x="1045744" y="1569057"/>
                  <a:pt x="1045744" y="1568177"/>
                </a:cubicBezTo>
                <a:cubicBezTo>
                  <a:pt x="1045744" y="1567298"/>
                  <a:pt x="1046497" y="1566670"/>
                  <a:pt x="1047251" y="1566670"/>
                </a:cubicBezTo>
                <a:close/>
                <a:moveTo>
                  <a:pt x="761728" y="1566418"/>
                </a:moveTo>
                <a:cubicBezTo>
                  <a:pt x="775043" y="1566293"/>
                  <a:pt x="785972" y="1577095"/>
                  <a:pt x="785972" y="1590411"/>
                </a:cubicBezTo>
                <a:cubicBezTo>
                  <a:pt x="786097" y="1603725"/>
                  <a:pt x="775295" y="1614654"/>
                  <a:pt x="761979" y="1614654"/>
                </a:cubicBezTo>
                <a:cubicBezTo>
                  <a:pt x="748665" y="1614779"/>
                  <a:pt x="737861" y="1603977"/>
                  <a:pt x="737736" y="1590661"/>
                </a:cubicBezTo>
                <a:cubicBezTo>
                  <a:pt x="737736" y="1577347"/>
                  <a:pt x="748539" y="1566418"/>
                  <a:pt x="761728" y="1566418"/>
                </a:cubicBezTo>
                <a:close/>
                <a:moveTo>
                  <a:pt x="2282046" y="1564283"/>
                </a:moveTo>
                <a:cubicBezTo>
                  <a:pt x="2293478" y="1564283"/>
                  <a:pt x="2302900" y="1573452"/>
                  <a:pt x="2302900" y="1585009"/>
                </a:cubicBezTo>
                <a:cubicBezTo>
                  <a:pt x="2302900" y="1596440"/>
                  <a:pt x="2293603" y="1605862"/>
                  <a:pt x="2282171" y="1605862"/>
                </a:cubicBezTo>
                <a:cubicBezTo>
                  <a:pt x="2270741" y="1605987"/>
                  <a:pt x="2261319" y="1596692"/>
                  <a:pt x="2261319" y="1585136"/>
                </a:cubicBezTo>
                <a:cubicBezTo>
                  <a:pt x="2261319" y="1573578"/>
                  <a:pt x="2270614" y="1564283"/>
                  <a:pt x="2282046" y="1564283"/>
                </a:cubicBezTo>
                <a:close/>
                <a:moveTo>
                  <a:pt x="286904" y="1559007"/>
                </a:moveTo>
                <a:cubicBezTo>
                  <a:pt x="293436" y="1559007"/>
                  <a:pt x="298838" y="1564282"/>
                  <a:pt x="298838" y="1570941"/>
                </a:cubicBezTo>
                <a:cubicBezTo>
                  <a:pt x="298838" y="1577472"/>
                  <a:pt x="293562" y="1582874"/>
                  <a:pt x="286904" y="1582874"/>
                </a:cubicBezTo>
                <a:cubicBezTo>
                  <a:pt x="280372" y="1582874"/>
                  <a:pt x="274971" y="1577598"/>
                  <a:pt x="274971" y="1570941"/>
                </a:cubicBezTo>
                <a:cubicBezTo>
                  <a:pt x="274971" y="1564409"/>
                  <a:pt x="280247" y="1559007"/>
                  <a:pt x="286904" y="1559007"/>
                </a:cubicBezTo>
                <a:close/>
                <a:moveTo>
                  <a:pt x="2662031" y="1558881"/>
                </a:moveTo>
                <a:cubicBezTo>
                  <a:pt x="2675723" y="1558881"/>
                  <a:pt x="2686903" y="1569935"/>
                  <a:pt x="2686903" y="1583626"/>
                </a:cubicBezTo>
                <a:cubicBezTo>
                  <a:pt x="2687030" y="1597319"/>
                  <a:pt x="2675975" y="1608498"/>
                  <a:pt x="2662282" y="1608498"/>
                </a:cubicBezTo>
                <a:cubicBezTo>
                  <a:pt x="2648590" y="1608498"/>
                  <a:pt x="2637410" y="1597444"/>
                  <a:pt x="2637410" y="1583753"/>
                </a:cubicBezTo>
                <a:cubicBezTo>
                  <a:pt x="2637410" y="1570060"/>
                  <a:pt x="2648465" y="1558881"/>
                  <a:pt x="2662031" y="1558881"/>
                </a:cubicBezTo>
                <a:close/>
                <a:moveTo>
                  <a:pt x="667014" y="1542426"/>
                </a:moveTo>
                <a:cubicBezTo>
                  <a:pt x="681962" y="1542300"/>
                  <a:pt x="694272" y="1554485"/>
                  <a:pt x="694272" y="1569559"/>
                </a:cubicBezTo>
                <a:cubicBezTo>
                  <a:pt x="694272" y="1584506"/>
                  <a:pt x="682213" y="1596817"/>
                  <a:pt x="667139" y="1596817"/>
                </a:cubicBezTo>
                <a:cubicBezTo>
                  <a:pt x="652191" y="1596817"/>
                  <a:pt x="639881" y="1584758"/>
                  <a:pt x="639881" y="1569684"/>
                </a:cubicBezTo>
                <a:cubicBezTo>
                  <a:pt x="639754" y="1554611"/>
                  <a:pt x="651940" y="1542426"/>
                  <a:pt x="667014" y="1542426"/>
                </a:cubicBezTo>
                <a:close/>
                <a:moveTo>
                  <a:pt x="192316" y="1541672"/>
                </a:moveTo>
                <a:cubicBezTo>
                  <a:pt x="196838" y="1541672"/>
                  <a:pt x="200482" y="1545314"/>
                  <a:pt x="200482" y="1549837"/>
                </a:cubicBezTo>
                <a:cubicBezTo>
                  <a:pt x="200482" y="1554484"/>
                  <a:pt x="196838" y="1558128"/>
                  <a:pt x="192316" y="1558128"/>
                </a:cubicBezTo>
                <a:cubicBezTo>
                  <a:pt x="187793" y="1558128"/>
                  <a:pt x="184151" y="1554484"/>
                  <a:pt x="184151" y="1549962"/>
                </a:cubicBezTo>
                <a:cubicBezTo>
                  <a:pt x="184151" y="1545440"/>
                  <a:pt x="187793" y="1541797"/>
                  <a:pt x="192316" y="1541672"/>
                </a:cubicBezTo>
                <a:close/>
                <a:moveTo>
                  <a:pt x="2090357" y="1540918"/>
                </a:moveTo>
                <a:cubicBezTo>
                  <a:pt x="2091612" y="1540918"/>
                  <a:pt x="2092617" y="1541923"/>
                  <a:pt x="2092617" y="1543180"/>
                </a:cubicBezTo>
                <a:cubicBezTo>
                  <a:pt x="2092617" y="1544435"/>
                  <a:pt x="2091612" y="1545440"/>
                  <a:pt x="2090357" y="1545440"/>
                </a:cubicBezTo>
                <a:cubicBezTo>
                  <a:pt x="2089100" y="1545440"/>
                  <a:pt x="2088095" y="1544435"/>
                  <a:pt x="2088095" y="1543180"/>
                </a:cubicBezTo>
                <a:cubicBezTo>
                  <a:pt x="2088095" y="1541923"/>
                  <a:pt x="2089100" y="1540918"/>
                  <a:pt x="2090357" y="1540918"/>
                </a:cubicBezTo>
                <a:close/>
                <a:moveTo>
                  <a:pt x="953292" y="1540290"/>
                </a:moveTo>
                <a:cubicBezTo>
                  <a:pt x="957312" y="1540290"/>
                  <a:pt x="960452" y="1543430"/>
                  <a:pt x="960452" y="1547324"/>
                </a:cubicBezTo>
                <a:cubicBezTo>
                  <a:pt x="960452" y="1551217"/>
                  <a:pt x="957312" y="1554358"/>
                  <a:pt x="953417" y="1554358"/>
                </a:cubicBezTo>
                <a:cubicBezTo>
                  <a:pt x="949398" y="1554358"/>
                  <a:pt x="946258" y="1551217"/>
                  <a:pt x="946258" y="1547324"/>
                </a:cubicBezTo>
                <a:cubicBezTo>
                  <a:pt x="946258" y="1543304"/>
                  <a:pt x="949398" y="1540163"/>
                  <a:pt x="953292" y="1540290"/>
                </a:cubicBezTo>
                <a:close/>
                <a:moveTo>
                  <a:pt x="2756996" y="1538657"/>
                </a:moveTo>
                <a:cubicBezTo>
                  <a:pt x="2769933" y="1538532"/>
                  <a:pt x="2780485" y="1549083"/>
                  <a:pt x="2780485" y="1562021"/>
                </a:cubicBezTo>
                <a:cubicBezTo>
                  <a:pt x="2780612" y="1574959"/>
                  <a:pt x="2770060" y="1585511"/>
                  <a:pt x="2757121" y="1585511"/>
                </a:cubicBezTo>
                <a:cubicBezTo>
                  <a:pt x="2744057" y="1585511"/>
                  <a:pt x="2733506" y="1575085"/>
                  <a:pt x="2733506" y="1562147"/>
                </a:cubicBezTo>
                <a:cubicBezTo>
                  <a:pt x="2733380" y="1549083"/>
                  <a:pt x="2743932" y="1538532"/>
                  <a:pt x="2756996" y="1538657"/>
                </a:cubicBezTo>
                <a:close/>
                <a:moveTo>
                  <a:pt x="2376632" y="1534261"/>
                </a:moveTo>
                <a:cubicBezTo>
                  <a:pt x="2392837" y="1534261"/>
                  <a:pt x="2405901" y="1547325"/>
                  <a:pt x="2406027" y="1563404"/>
                </a:cubicBezTo>
                <a:cubicBezTo>
                  <a:pt x="2406027" y="1579483"/>
                  <a:pt x="2392963" y="1592547"/>
                  <a:pt x="2376884" y="1592672"/>
                </a:cubicBezTo>
                <a:cubicBezTo>
                  <a:pt x="2360806" y="1592672"/>
                  <a:pt x="2347617" y="1579608"/>
                  <a:pt x="2347617" y="1563529"/>
                </a:cubicBezTo>
                <a:cubicBezTo>
                  <a:pt x="2347490" y="1547325"/>
                  <a:pt x="2360554" y="1534261"/>
                  <a:pt x="2376632" y="1534261"/>
                </a:cubicBezTo>
                <a:close/>
                <a:moveTo>
                  <a:pt x="97979" y="1524338"/>
                </a:moveTo>
                <a:cubicBezTo>
                  <a:pt x="100492" y="1524338"/>
                  <a:pt x="102628" y="1526348"/>
                  <a:pt x="102628" y="1528986"/>
                </a:cubicBezTo>
                <a:cubicBezTo>
                  <a:pt x="102628" y="1531498"/>
                  <a:pt x="100618" y="1533634"/>
                  <a:pt x="97979" y="1533634"/>
                </a:cubicBezTo>
                <a:cubicBezTo>
                  <a:pt x="95467" y="1533634"/>
                  <a:pt x="93332" y="1531498"/>
                  <a:pt x="93332" y="1528986"/>
                </a:cubicBezTo>
                <a:cubicBezTo>
                  <a:pt x="93332" y="1526473"/>
                  <a:pt x="95467" y="1524338"/>
                  <a:pt x="97979" y="1524338"/>
                </a:cubicBezTo>
                <a:close/>
                <a:moveTo>
                  <a:pt x="572677" y="1522955"/>
                </a:moveTo>
                <a:cubicBezTo>
                  <a:pt x="586871" y="1522955"/>
                  <a:pt x="598302" y="1534386"/>
                  <a:pt x="598428" y="1548580"/>
                </a:cubicBezTo>
                <a:cubicBezTo>
                  <a:pt x="598428" y="1562774"/>
                  <a:pt x="586997" y="1574206"/>
                  <a:pt x="572803" y="1574331"/>
                </a:cubicBezTo>
                <a:cubicBezTo>
                  <a:pt x="558609" y="1574331"/>
                  <a:pt x="547052" y="1562901"/>
                  <a:pt x="547052" y="1548706"/>
                </a:cubicBezTo>
                <a:cubicBezTo>
                  <a:pt x="546927" y="1534511"/>
                  <a:pt x="558357" y="1522955"/>
                  <a:pt x="572677" y="1522955"/>
                </a:cubicBezTo>
                <a:close/>
                <a:moveTo>
                  <a:pt x="2851331" y="1522202"/>
                </a:moveTo>
                <a:cubicBezTo>
                  <a:pt x="2861380" y="1522202"/>
                  <a:pt x="2869544" y="1530241"/>
                  <a:pt x="2869544" y="1540290"/>
                </a:cubicBezTo>
                <a:cubicBezTo>
                  <a:pt x="2869544" y="1550339"/>
                  <a:pt x="2861505" y="1558504"/>
                  <a:pt x="2851456" y="1558504"/>
                </a:cubicBezTo>
                <a:cubicBezTo>
                  <a:pt x="2841408" y="1558504"/>
                  <a:pt x="2833243" y="1550465"/>
                  <a:pt x="2833243" y="1540416"/>
                </a:cubicBezTo>
                <a:cubicBezTo>
                  <a:pt x="2833243" y="1530366"/>
                  <a:pt x="2841282" y="1522202"/>
                  <a:pt x="2851331" y="1522202"/>
                </a:cubicBezTo>
                <a:close/>
                <a:moveTo>
                  <a:pt x="2183939" y="1512530"/>
                </a:moveTo>
                <a:cubicBezTo>
                  <a:pt x="2188838" y="1512530"/>
                  <a:pt x="2192983" y="1516550"/>
                  <a:pt x="2192983" y="1521574"/>
                </a:cubicBezTo>
                <a:cubicBezTo>
                  <a:pt x="2192983" y="1526473"/>
                  <a:pt x="2188964" y="1530618"/>
                  <a:pt x="2183939" y="1530618"/>
                </a:cubicBezTo>
                <a:cubicBezTo>
                  <a:pt x="2178915" y="1530618"/>
                  <a:pt x="2174770" y="1526599"/>
                  <a:pt x="2174770" y="1521574"/>
                </a:cubicBezTo>
                <a:cubicBezTo>
                  <a:pt x="2174770" y="1516550"/>
                  <a:pt x="2178790" y="1512530"/>
                  <a:pt x="2183939" y="1512530"/>
                </a:cubicBezTo>
                <a:close/>
                <a:moveTo>
                  <a:pt x="2470970" y="1511398"/>
                </a:moveTo>
                <a:cubicBezTo>
                  <a:pt x="2487677" y="1511398"/>
                  <a:pt x="2501243" y="1524964"/>
                  <a:pt x="2501370" y="1541671"/>
                </a:cubicBezTo>
                <a:cubicBezTo>
                  <a:pt x="2501370" y="1558377"/>
                  <a:pt x="2487803" y="1572070"/>
                  <a:pt x="2471095" y="1572070"/>
                </a:cubicBezTo>
                <a:cubicBezTo>
                  <a:pt x="2454389" y="1572070"/>
                  <a:pt x="2440697" y="1558504"/>
                  <a:pt x="2440697" y="1541796"/>
                </a:cubicBezTo>
                <a:cubicBezTo>
                  <a:pt x="2440697" y="1525090"/>
                  <a:pt x="2454138" y="1511523"/>
                  <a:pt x="2470970" y="1511398"/>
                </a:cubicBezTo>
                <a:close/>
                <a:moveTo>
                  <a:pt x="2945543" y="1511148"/>
                </a:moveTo>
                <a:cubicBezTo>
                  <a:pt x="2949688" y="1511148"/>
                  <a:pt x="2953080" y="1514539"/>
                  <a:pt x="2953080" y="1518684"/>
                </a:cubicBezTo>
                <a:cubicBezTo>
                  <a:pt x="2953080" y="1522829"/>
                  <a:pt x="2949688" y="1526220"/>
                  <a:pt x="2945543" y="1526220"/>
                </a:cubicBezTo>
                <a:cubicBezTo>
                  <a:pt x="2941398" y="1526220"/>
                  <a:pt x="2938006" y="1522829"/>
                  <a:pt x="2938006" y="1518684"/>
                </a:cubicBezTo>
                <a:cubicBezTo>
                  <a:pt x="2938006" y="1514539"/>
                  <a:pt x="2941398" y="1511148"/>
                  <a:pt x="2945543" y="1511148"/>
                </a:cubicBezTo>
                <a:close/>
                <a:moveTo>
                  <a:pt x="859709" y="1509263"/>
                </a:moveTo>
                <a:cubicBezTo>
                  <a:pt x="869130" y="1509138"/>
                  <a:pt x="876792" y="1516800"/>
                  <a:pt x="876792" y="1526222"/>
                </a:cubicBezTo>
                <a:cubicBezTo>
                  <a:pt x="876918" y="1535643"/>
                  <a:pt x="869255" y="1543305"/>
                  <a:pt x="859834" y="1543305"/>
                </a:cubicBezTo>
                <a:cubicBezTo>
                  <a:pt x="850412" y="1543305"/>
                  <a:pt x="842750" y="1535768"/>
                  <a:pt x="842750" y="1526347"/>
                </a:cubicBezTo>
                <a:cubicBezTo>
                  <a:pt x="842625" y="1516925"/>
                  <a:pt x="850287" y="1509263"/>
                  <a:pt x="859709" y="1509263"/>
                </a:cubicBezTo>
                <a:close/>
                <a:moveTo>
                  <a:pt x="3895" y="1506248"/>
                </a:moveTo>
                <a:cubicBezTo>
                  <a:pt x="4899" y="1506248"/>
                  <a:pt x="5653" y="1507001"/>
                  <a:pt x="5653" y="1508006"/>
                </a:cubicBezTo>
                <a:cubicBezTo>
                  <a:pt x="5653" y="1509011"/>
                  <a:pt x="4899" y="1509765"/>
                  <a:pt x="3895" y="1509765"/>
                </a:cubicBezTo>
                <a:cubicBezTo>
                  <a:pt x="2890" y="1509765"/>
                  <a:pt x="2136" y="1509011"/>
                  <a:pt x="2136" y="1508006"/>
                </a:cubicBezTo>
                <a:cubicBezTo>
                  <a:pt x="2136" y="1507001"/>
                  <a:pt x="2890" y="1506248"/>
                  <a:pt x="3895" y="1506248"/>
                </a:cubicBezTo>
                <a:close/>
                <a:moveTo>
                  <a:pt x="478467" y="1506247"/>
                </a:moveTo>
                <a:cubicBezTo>
                  <a:pt x="490399" y="1506122"/>
                  <a:pt x="500073" y="1515669"/>
                  <a:pt x="500073" y="1527601"/>
                </a:cubicBezTo>
                <a:cubicBezTo>
                  <a:pt x="500198" y="1539410"/>
                  <a:pt x="490525" y="1549082"/>
                  <a:pt x="478718" y="1549082"/>
                </a:cubicBezTo>
                <a:cubicBezTo>
                  <a:pt x="466784" y="1549207"/>
                  <a:pt x="457112" y="1539535"/>
                  <a:pt x="457112" y="1527728"/>
                </a:cubicBezTo>
                <a:cubicBezTo>
                  <a:pt x="457112" y="1515919"/>
                  <a:pt x="466658" y="1506247"/>
                  <a:pt x="478467" y="1506247"/>
                </a:cubicBezTo>
                <a:close/>
                <a:moveTo>
                  <a:pt x="3039502" y="1495322"/>
                </a:moveTo>
                <a:cubicBezTo>
                  <a:pt x="3040509" y="1495322"/>
                  <a:pt x="3041262" y="1496075"/>
                  <a:pt x="3041262" y="1497080"/>
                </a:cubicBezTo>
                <a:cubicBezTo>
                  <a:pt x="3041262" y="1498086"/>
                  <a:pt x="3040509" y="1498839"/>
                  <a:pt x="3039502" y="1498839"/>
                </a:cubicBezTo>
                <a:cubicBezTo>
                  <a:pt x="3038497" y="1498839"/>
                  <a:pt x="3037744" y="1498086"/>
                  <a:pt x="3037744" y="1497080"/>
                </a:cubicBezTo>
                <a:cubicBezTo>
                  <a:pt x="3037744" y="1496075"/>
                  <a:pt x="3038497" y="1495322"/>
                  <a:pt x="3039502" y="1495322"/>
                </a:cubicBezTo>
                <a:close/>
                <a:moveTo>
                  <a:pt x="2564930" y="1493560"/>
                </a:moveTo>
                <a:cubicBezTo>
                  <a:pt x="2579502" y="1493560"/>
                  <a:pt x="2591559" y="1505367"/>
                  <a:pt x="2591559" y="1520065"/>
                </a:cubicBezTo>
                <a:cubicBezTo>
                  <a:pt x="2591559" y="1534761"/>
                  <a:pt x="2579752" y="1546695"/>
                  <a:pt x="2565056" y="1546695"/>
                </a:cubicBezTo>
                <a:cubicBezTo>
                  <a:pt x="2550485" y="1546695"/>
                  <a:pt x="2538426" y="1534887"/>
                  <a:pt x="2538426" y="1520190"/>
                </a:cubicBezTo>
                <a:cubicBezTo>
                  <a:pt x="2538300" y="1505494"/>
                  <a:pt x="2550233" y="1493560"/>
                  <a:pt x="2564930" y="1493560"/>
                </a:cubicBezTo>
                <a:close/>
                <a:moveTo>
                  <a:pt x="384632" y="1490547"/>
                </a:moveTo>
                <a:cubicBezTo>
                  <a:pt x="393551" y="1490547"/>
                  <a:pt x="400836" y="1497707"/>
                  <a:pt x="400836" y="1506626"/>
                </a:cubicBezTo>
                <a:cubicBezTo>
                  <a:pt x="400836" y="1515545"/>
                  <a:pt x="393676" y="1522830"/>
                  <a:pt x="384757" y="1522830"/>
                </a:cubicBezTo>
                <a:cubicBezTo>
                  <a:pt x="375838" y="1522830"/>
                  <a:pt x="368553" y="1515670"/>
                  <a:pt x="368553" y="1506751"/>
                </a:cubicBezTo>
                <a:cubicBezTo>
                  <a:pt x="368553" y="1497832"/>
                  <a:pt x="375713" y="1490547"/>
                  <a:pt x="384632" y="1490547"/>
                </a:cubicBezTo>
                <a:close/>
                <a:moveTo>
                  <a:pt x="1058430" y="1482633"/>
                </a:moveTo>
                <a:cubicBezTo>
                  <a:pt x="1059057" y="1482633"/>
                  <a:pt x="1059561" y="1483135"/>
                  <a:pt x="1059561" y="1483763"/>
                </a:cubicBezTo>
                <a:cubicBezTo>
                  <a:pt x="1059561" y="1484391"/>
                  <a:pt x="1059057" y="1484894"/>
                  <a:pt x="1058430" y="1484894"/>
                </a:cubicBezTo>
                <a:cubicBezTo>
                  <a:pt x="1057802" y="1484894"/>
                  <a:pt x="1057300" y="1484391"/>
                  <a:pt x="1057300" y="1483763"/>
                </a:cubicBezTo>
                <a:cubicBezTo>
                  <a:pt x="1057300" y="1483135"/>
                  <a:pt x="1057802" y="1482633"/>
                  <a:pt x="1058430" y="1482633"/>
                </a:cubicBezTo>
                <a:close/>
                <a:moveTo>
                  <a:pt x="766249" y="1481001"/>
                </a:moveTo>
                <a:cubicBezTo>
                  <a:pt x="779691" y="1480876"/>
                  <a:pt x="790745" y="1491803"/>
                  <a:pt x="790745" y="1505245"/>
                </a:cubicBezTo>
                <a:cubicBezTo>
                  <a:pt x="790745" y="1518811"/>
                  <a:pt x="779942" y="1529740"/>
                  <a:pt x="766501" y="1529740"/>
                </a:cubicBezTo>
                <a:cubicBezTo>
                  <a:pt x="753060" y="1529865"/>
                  <a:pt x="742006" y="1518936"/>
                  <a:pt x="742006" y="1505496"/>
                </a:cubicBezTo>
                <a:cubicBezTo>
                  <a:pt x="742006" y="1492055"/>
                  <a:pt x="752809" y="1481126"/>
                  <a:pt x="766249" y="1481001"/>
                </a:cubicBezTo>
                <a:close/>
                <a:moveTo>
                  <a:pt x="1984840" y="1480120"/>
                </a:moveTo>
                <a:cubicBezTo>
                  <a:pt x="1984966" y="1480120"/>
                  <a:pt x="1985092" y="1480245"/>
                  <a:pt x="1985092" y="1480371"/>
                </a:cubicBezTo>
                <a:cubicBezTo>
                  <a:pt x="1985092" y="1480497"/>
                  <a:pt x="1984966" y="1480623"/>
                  <a:pt x="1984840" y="1480623"/>
                </a:cubicBezTo>
                <a:cubicBezTo>
                  <a:pt x="1984714" y="1480623"/>
                  <a:pt x="1984589" y="1480497"/>
                  <a:pt x="1984589" y="1480371"/>
                </a:cubicBezTo>
                <a:cubicBezTo>
                  <a:pt x="1984589" y="1480245"/>
                  <a:pt x="1984714" y="1480245"/>
                  <a:pt x="1984840" y="1480120"/>
                </a:cubicBezTo>
                <a:close/>
                <a:moveTo>
                  <a:pt x="2277022" y="1478487"/>
                </a:moveTo>
                <a:cubicBezTo>
                  <a:pt x="2288829" y="1478362"/>
                  <a:pt x="2298501" y="1488034"/>
                  <a:pt x="2298501" y="1499841"/>
                </a:cubicBezTo>
                <a:cubicBezTo>
                  <a:pt x="2298628" y="1511650"/>
                  <a:pt x="2288956" y="1521322"/>
                  <a:pt x="2277147" y="1521322"/>
                </a:cubicBezTo>
                <a:cubicBezTo>
                  <a:pt x="2265213" y="1521447"/>
                  <a:pt x="2255541" y="1511775"/>
                  <a:pt x="2255541" y="1499968"/>
                </a:cubicBezTo>
                <a:cubicBezTo>
                  <a:pt x="2255541" y="1488159"/>
                  <a:pt x="2265088" y="1478487"/>
                  <a:pt x="2277022" y="1478487"/>
                </a:cubicBezTo>
                <a:close/>
                <a:moveTo>
                  <a:pt x="291049" y="1473087"/>
                </a:moveTo>
                <a:cubicBezTo>
                  <a:pt x="298084" y="1473087"/>
                  <a:pt x="303736" y="1478739"/>
                  <a:pt x="303736" y="1485648"/>
                </a:cubicBezTo>
                <a:cubicBezTo>
                  <a:pt x="303736" y="1492683"/>
                  <a:pt x="298084" y="1498335"/>
                  <a:pt x="291174" y="1498335"/>
                </a:cubicBezTo>
                <a:cubicBezTo>
                  <a:pt x="284140" y="1498335"/>
                  <a:pt x="278487" y="1492683"/>
                  <a:pt x="278487" y="1485774"/>
                </a:cubicBezTo>
                <a:cubicBezTo>
                  <a:pt x="278361" y="1478866"/>
                  <a:pt x="284015" y="1473212"/>
                  <a:pt x="291049" y="1473087"/>
                </a:cubicBezTo>
                <a:close/>
                <a:moveTo>
                  <a:pt x="2658514" y="1472584"/>
                </a:moveTo>
                <a:cubicBezTo>
                  <a:pt x="2672834" y="1472458"/>
                  <a:pt x="2684516" y="1484014"/>
                  <a:pt x="2684516" y="1498335"/>
                </a:cubicBezTo>
                <a:cubicBezTo>
                  <a:pt x="2684642" y="1512655"/>
                  <a:pt x="2673085" y="1524338"/>
                  <a:pt x="2658766" y="1524338"/>
                </a:cubicBezTo>
                <a:cubicBezTo>
                  <a:pt x="2644445" y="1524463"/>
                  <a:pt x="2632763" y="1512907"/>
                  <a:pt x="2632763" y="1498587"/>
                </a:cubicBezTo>
                <a:cubicBezTo>
                  <a:pt x="2632763" y="1484266"/>
                  <a:pt x="2644320" y="1472584"/>
                  <a:pt x="2658514" y="1472584"/>
                </a:cubicBezTo>
                <a:close/>
                <a:moveTo>
                  <a:pt x="673169" y="1457259"/>
                </a:moveTo>
                <a:cubicBezTo>
                  <a:pt x="688117" y="1457259"/>
                  <a:pt x="700427" y="1469318"/>
                  <a:pt x="700427" y="1484392"/>
                </a:cubicBezTo>
                <a:cubicBezTo>
                  <a:pt x="700427" y="1499465"/>
                  <a:pt x="688368" y="1511775"/>
                  <a:pt x="673294" y="1511775"/>
                </a:cubicBezTo>
                <a:cubicBezTo>
                  <a:pt x="658221" y="1511775"/>
                  <a:pt x="645911" y="1499716"/>
                  <a:pt x="645911" y="1484643"/>
                </a:cubicBezTo>
                <a:cubicBezTo>
                  <a:pt x="645784" y="1469568"/>
                  <a:pt x="657970" y="1457384"/>
                  <a:pt x="673169" y="1457259"/>
                </a:cubicBezTo>
                <a:close/>
                <a:moveTo>
                  <a:pt x="965600" y="1456630"/>
                </a:moveTo>
                <a:cubicBezTo>
                  <a:pt x="969118" y="1456630"/>
                  <a:pt x="971882" y="1459394"/>
                  <a:pt x="971882" y="1462785"/>
                </a:cubicBezTo>
                <a:cubicBezTo>
                  <a:pt x="971882" y="1466302"/>
                  <a:pt x="969118" y="1469066"/>
                  <a:pt x="965726" y="1469066"/>
                </a:cubicBezTo>
                <a:cubicBezTo>
                  <a:pt x="962335" y="1469066"/>
                  <a:pt x="959571" y="1466302"/>
                  <a:pt x="959571" y="1462911"/>
                </a:cubicBezTo>
                <a:cubicBezTo>
                  <a:pt x="959571" y="1459519"/>
                  <a:pt x="962335" y="1456755"/>
                  <a:pt x="965600" y="1456630"/>
                </a:cubicBezTo>
                <a:close/>
                <a:moveTo>
                  <a:pt x="2077293" y="1456379"/>
                </a:moveTo>
                <a:cubicBezTo>
                  <a:pt x="2078675" y="1456379"/>
                  <a:pt x="2079805" y="1457384"/>
                  <a:pt x="2079805" y="1458766"/>
                </a:cubicBezTo>
                <a:cubicBezTo>
                  <a:pt x="2079805" y="1460147"/>
                  <a:pt x="2078800" y="1461278"/>
                  <a:pt x="2077418" y="1461278"/>
                </a:cubicBezTo>
                <a:cubicBezTo>
                  <a:pt x="2076036" y="1461278"/>
                  <a:pt x="2074906" y="1460273"/>
                  <a:pt x="2074906" y="1458891"/>
                </a:cubicBezTo>
                <a:cubicBezTo>
                  <a:pt x="2074906" y="1457634"/>
                  <a:pt x="2076036" y="1456504"/>
                  <a:pt x="2077293" y="1456379"/>
                </a:cubicBezTo>
                <a:close/>
                <a:moveTo>
                  <a:pt x="197465" y="1456254"/>
                </a:moveTo>
                <a:cubicBezTo>
                  <a:pt x="202239" y="1456128"/>
                  <a:pt x="206132" y="1460023"/>
                  <a:pt x="206132" y="1464795"/>
                </a:cubicBezTo>
                <a:cubicBezTo>
                  <a:pt x="206132" y="1469569"/>
                  <a:pt x="202364" y="1473464"/>
                  <a:pt x="197590" y="1473464"/>
                </a:cubicBezTo>
                <a:cubicBezTo>
                  <a:pt x="192818" y="1473589"/>
                  <a:pt x="188923" y="1469694"/>
                  <a:pt x="188923" y="1464922"/>
                </a:cubicBezTo>
                <a:cubicBezTo>
                  <a:pt x="188798" y="1460148"/>
                  <a:pt x="192692" y="1456254"/>
                  <a:pt x="197465" y="1456254"/>
                </a:cubicBezTo>
                <a:close/>
                <a:moveTo>
                  <a:pt x="2752222" y="1452987"/>
                </a:moveTo>
                <a:cubicBezTo>
                  <a:pt x="2765412" y="1452987"/>
                  <a:pt x="2776214" y="1463664"/>
                  <a:pt x="2776214" y="1476854"/>
                </a:cubicBezTo>
                <a:cubicBezTo>
                  <a:pt x="2776214" y="1490044"/>
                  <a:pt x="2765537" y="1500846"/>
                  <a:pt x="2752348" y="1500846"/>
                </a:cubicBezTo>
                <a:cubicBezTo>
                  <a:pt x="2739158" y="1500846"/>
                  <a:pt x="2728356" y="1490169"/>
                  <a:pt x="2728356" y="1476980"/>
                </a:cubicBezTo>
                <a:cubicBezTo>
                  <a:pt x="2728230" y="1463790"/>
                  <a:pt x="2738907" y="1452987"/>
                  <a:pt x="2752222" y="1452987"/>
                </a:cubicBezTo>
                <a:close/>
                <a:moveTo>
                  <a:pt x="2369976" y="1448717"/>
                </a:moveTo>
                <a:cubicBezTo>
                  <a:pt x="2386305" y="1448591"/>
                  <a:pt x="2399746" y="1461907"/>
                  <a:pt x="2399746" y="1478236"/>
                </a:cubicBezTo>
                <a:cubicBezTo>
                  <a:pt x="2399872" y="1494692"/>
                  <a:pt x="2386557" y="1508008"/>
                  <a:pt x="2370227" y="1508008"/>
                </a:cubicBezTo>
                <a:cubicBezTo>
                  <a:pt x="2353897" y="1508133"/>
                  <a:pt x="2340456" y="1494817"/>
                  <a:pt x="2340456" y="1478488"/>
                </a:cubicBezTo>
                <a:cubicBezTo>
                  <a:pt x="2340456" y="1462157"/>
                  <a:pt x="2353645" y="1448717"/>
                  <a:pt x="2369976" y="1448717"/>
                </a:cubicBezTo>
                <a:close/>
                <a:moveTo>
                  <a:pt x="104134" y="1439044"/>
                </a:moveTo>
                <a:cubicBezTo>
                  <a:pt x="106897" y="1439044"/>
                  <a:pt x="109033" y="1441306"/>
                  <a:pt x="109033" y="1443943"/>
                </a:cubicBezTo>
                <a:cubicBezTo>
                  <a:pt x="109033" y="1446706"/>
                  <a:pt x="106771" y="1448841"/>
                  <a:pt x="104134" y="1448841"/>
                </a:cubicBezTo>
                <a:cubicBezTo>
                  <a:pt x="101370" y="1448841"/>
                  <a:pt x="99235" y="1446581"/>
                  <a:pt x="99235" y="1443943"/>
                </a:cubicBezTo>
                <a:cubicBezTo>
                  <a:pt x="99235" y="1441306"/>
                  <a:pt x="101370" y="1439044"/>
                  <a:pt x="104134" y="1439044"/>
                </a:cubicBezTo>
                <a:close/>
                <a:moveTo>
                  <a:pt x="579963" y="1438040"/>
                </a:moveTo>
                <a:cubicBezTo>
                  <a:pt x="594157" y="1438040"/>
                  <a:pt x="605714" y="1449471"/>
                  <a:pt x="605714" y="1463665"/>
                </a:cubicBezTo>
                <a:cubicBezTo>
                  <a:pt x="605714" y="1477859"/>
                  <a:pt x="594284" y="1489416"/>
                  <a:pt x="580088" y="1489416"/>
                </a:cubicBezTo>
                <a:cubicBezTo>
                  <a:pt x="565894" y="1489416"/>
                  <a:pt x="554338" y="1477986"/>
                  <a:pt x="554338" y="1463791"/>
                </a:cubicBezTo>
                <a:cubicBezTo>
                  <a:pt x="554338" y="1449596"/>
                  <a:pt x="565769" y="1438040"/>
                  <a:pt x="579963" y="1438040"/>
                </a:cubicBezTo>
                <a:close/>
                <a:moveTo>
                  <a:pt x="2845551" y="1437663"/>
                </a:moveTo>
                <a:cubicBezTo>
                  <a:pt x="2855349" y="1437538"/>
                  <a:pt x="2863389" y="1445452"/>
                  <a:pt x="2863389" y="1455249"/>
                </a:cubicBezTo>
                <a:cubicBezTo>
                  <a:pt x="2863389" y="1465048"/>
                  <a:pt x="2855475" y="1473087"/>
                  <a:pt x="2845676" y="1473087"/>
                </a:cubicBezTo>
                <a:cubicBezTo>
                  <a:pt x="2835879" y="1473087"/>
                  <a:pt x="2827840" y="1465173"/>
                  <a:pt x="2827840" y="1455375"/>
                </a:cubicBezTo>
                <a:cubicBezTo>
                  <a:pt x="2827840" y="1445577"/>
                  <a:pt x="2835754" y="1437538"/>
                  <a:pt x="2845551" y="1437663"/>
                </a:cubicBezTo>
                <a:close/>
                <a:moveTo>
                  <a:pt x="2169871" y="1427614"/>
                </a:moveTo>
                <a:cubicBezTo>
                  <a:pt x="2175273" y="1427614"/>
                  <a:pt x="2179670" y="1431884"/>
                  <a:pt x="2179670" y="1437285"/>
                </a:cubicBezTo>
                <a:cubicBezTo>
                  <a:pt x="2179670" y="1442687"/>
                  <a:pt x="2175398" y="1447083"/>
                  <a:pt x="2169996" y="1447083"/>
                </a:cubicBezTo>
                <a:cubicBezTo>
                  <a:pt x="2164596" y="1447083"/>
                  <a:pt x="2160199" y="1442812"/>
                  <a:pt x="2160199" y="1437411"/>
                </a:cubicBezTo>
                <a:cubicBezTo>
                  <a:pt x="2160074" y="1432136"/>
                  <a:pt x="2164469" y="1427739"/>
                  <a:pt x="2169871" y="1427614"/>
                </a:cubicBezTo>
                <a:close/>
                <a:moveTo>
                  <a:pt x="2938760" y="1426861"/>
                </a:moveTo>
                <a:cubicBezTo>
                  <a:pt x="2942529" y="1426861"/>
                  <a:pt x="2945669" y="1429875"/>
                  <a:pt x="2945669" y="1433644"/>
                </a:cubicBezTo>
                <a:cubicBezTo>
                  <a:pt x="2945794" y="1437412"/>
                  <a:pt x="2942654" y="1440552"/>
                  <a:pt x="2938886" y="1440552"/>
                </a:cubicBezTo>
                <a:cubicBezTo>
                  <a:pt x="2935117" y="1440552"/>
                  <a:pt x="2931977" y="1437537"/>
                  <a:pt x="2931977" y="1433770"/>
                </a:cubicBezTo>
                <a:cubicBezTo>
                  <a:pt x="2931977" y="1429875"/>
                  <a:pt x="2935117" y="1426861"/>
                  <a:pt x="2938760" y="1426861"/>
                </a:cubicBezTo>
                <a:close/>
                <a:moveTo>
                  <a:pt x="2462930" y="1426106"/>
                </a:moveTo>
                <a:cubicBezTo>
                  <a:pt x="2479889" y="1425980"/>
                  <a:pt x="2493706" y="1439798"/>
                  <a:pt x="2493831" y="1456756"/>
                </a:cubicBezTo>
                <a:cubicBezTo>
                  <a:pt x="2493831" y="1473713"/>
                  <a:pt x="2480139" y="1487532"/>
                  <a:pt x="2463181" y="1487657"/>
                </a:cubicBezTo>
                <a:cubicBezTo>
                  <a:pt x="2446224" y="1487657"/>
                  <a:pt x="2432280" y="1473965"/>
                  <a:pt x="2432280" y="1457007"/>
                </a:cubicBezTo>
                <a:cubicBezTo>
                  <a:pt x="2432280" y="1439923"/>
                  <a:pt x="2445972" y="1426106"/>
                  <a:pt x="2462930" y="1426106"/>
                </a:cubicBezTo>
                <a:close/>
                <a:moveTo>
                  <a:pt x="872898" y="1425479"/>
                </a:moveTo>
                <a:cubicBezTo>
                  <a:pt x="882067" y="1425479"/>
                  <a:pt x="889604" y="1432891"/>
                  <a:pt x="889604" y="1442060"/>
                </a:cubicBezTo>
                <a:cubicBezTo>
                  <a:pt x="889604" y="1451230"/>
                  <a:pt x="882192" y="1458767"/>
                  <a:pt x="873023" y="1458767"/>
                </a:cubicBezTo>
                <a:cubicBezTo>
                  <a:pt x="863979" y="1458767"/>
                  <a:pt x="856442" y="1451355"/>
                  <a:pt x="856442" y="1442186"/>
                </a:cubicBezTo>
                <a:cubicBezTo>
                  <a:pt x="856442" y="1433016"/>
                  <a:pt x="863853" y="1425604"/>
                  <a:pt x="872898" y="1425479"/>
                </a:cubicBezTo>
                <a:close/>
                <a:moveTo>
                  <a:pt x="486882" y="1421333"/>
                </a:moveTo>
                <a:cubicBezTo>
                  <a:pt x="498691" y="1421208"/>
                  <a:pt x="508363" y="1430880"/>
                  <a:pt x="508363" y="1442687"/>
                </a:cubicBezTo>
                <a:cubicBezTo>
                  <a:pt x="508363" y="1454496"/>
                  <a:pt x="498816" y="1464168"/>
                  <a:pt x="487009" y="1464168"/>
                </a:cubicBezTo>
                <a:cubicBezTo>
                  <a:pt x="475200" y="1464293"/>
                  <a:pt x="465528" y="1454746"/>
                  <a:pt x="465528" y="1442814"/>
                </a:cubicBezTo>
                <a:cubicBezTo>
                  <a:pt x="465403" y="1431005"/>
                  <a:pt x="475075" y="1421333"/>
                  <a:pt x="486882" y="1421333"/>
                </a:cubicBezTo>
                <a:close/>
                <a:moveTo>
                  <a:pt x="10677" y="1421333"/>
                </a:moveTo>
                <a:cubicBezTo>
                  <a:pt x="11682" y="1421333"/>
                  <a:pt x="12435" y="1422087"/>
                  <a:pt x="12435" y="1423092"/>
                </a:cubicBezTo>
                <a:cubicBezTo>
                  <a:pt x="12435" y="1424097"/>
                  <a:pt x="11682" y="1424850"/>
                  <a:pt x="10677" y="1424850"/>
                </a:cubicBezTo>
                <a:cubicBezTo>
                  <a:pt x="9672" y="1424850"/>
                  <a:pt x="8918" y="1424097"/>
                  <a:pt x="8918" y="1423092"/>
                </a:cubicBezTo>
                <a:cubicBezTo>
                  <a:pt x="8918" y="1422087"/>
                  <a:pt x="9797" y="1421207"/>
                  <a:pt x="10677" y="1421333"/>
                </a:cubicBezTo>
                <a:close/>
                <a:moveTo>
                  <a:pt x="3032090" y="1410153"/>
                </a:moveTo>
                <a:cubicBezTo>
                  <a:pt x="3033220" y="1410153"/>
                  <a:pt x="3034100" y="1411033"/>
                  <a:pt x="3034100" y="1412163"/>
                </a:cubicBezTo>
                <a:cubicBezTo>
                  <a:pt x="3034100" y="1413293"/>
                  <a:pt x="3033220" y="1414173"/>
                  <a:pt x="3032090" y="1414173"/>
                </a:cubicBezTo>
                <a:cubicBezTo>
                  <a:pt x="3030960" y="1414173"/>
                  <a:pt x="3030080" y="1413293"/>
                  <a:pt x="3030080" y="1412163"/>
                </a:cubicBezTo>
                <a:cubicBezTo>
                  <a:pt x="3030080" y="1411033"/>
                  <a:pt x="3030960" y="1410153"/>
                  <a:pt x="3032090" y="1410153"/>
                </a:cubicBezTo>
                <a:close/>
                <a:moveTo>
                  <a:pt x="2555760" y="1408017"/>
                </a:moveTo>
                <a:cubicBezTo>
                  <a:pt x="2570834" y="1408017"/>
                  <a:pt x="2583018" y="1420076"/>
                  <a:pt x="2583143" y="1435150"/>
                </a:cubicBezTo>
                <a:cubicBezTo>
                  <a:pt x="2583143" y="1450223"/>
                  <a:pt x="2571084" y="1462534"/>
                  <a:pt x="2556010" y="1462534"/>
                </a:cubicBezTo>
                <a:cubicBezTo>
                  <a:pt x="2541062" y="1462534"/>
                  <a:pt x="2528752" y="1450475"/>
                  <a:pt x="2528752" y="1435401"/>
                </a:cubicBezTo>
                <a:cubicBezTo>
                  <a:pt x="2528752" y="1420328"/>
                  <a:pt x="2540811" y="1408142"/>
                  <a:pt x="2555760" y="1408017"/>
                </a:cubicBezTo>
                <a:close/>
                <a:moveTo>
                  <a:pt x="393803" y="1406008"/>
                </a:moveTo>
                <a:cubicBezTo>
                  <a:pt x="402595" y="1405883"/>
                  <a:pt x="409755" y="1413043"/>
                  <a:pt x="409755" y="1421836"/>
                </a:cubicBezTo>
                <a:cubicBezTo>
                  <a:pt x="409755" y="1430629"/>
                  <a:pt x="402720" y="1437789"/>
                  <a:pt x="393928" y="1437789"/>
                </a:cubicBezTo>
                <a:cubicBezTo>
                  <a:pt x="385134" y="1437915"/>
                  <a:pt x="377975" y="1430754"/>
                  <a:pt x="377975" y="1421962"/>
                </a:cubicBezTo>
                <a:cubicBezTo>
                  <a:pt x="377975" y="1413168"/>
                  <a:pt x="385134" y="1406008"/>
                  <a:pt x="393803" y="1406008"/>
                </a:cubicBezTo>
                <a:close/>
                <a:moveTo>
                  <a:pt x="1084559" y="1401486"/>
                </a:moveTo>
                <a:cubicBezTo>
                  <a:pt x="1085186" y="1401486"/>
                  <a:pt x="1085690" y="1401988"/>
                  <a:pt x="1085690" y="1402616"/>
                </a:cubicBezTo>
                <a:cubicBezTo>
                  <a:pt x="1085690" y="1403244"/>
                  <a:pt x="1085186" y="1403747"/>
                  <a:pt x="1084559" y="1403747"/>
                </a:cubicBezTo>
                <a:cubicBezTo>
                  <a:pt x="1083931" y="1403747"/>
                  <a:pt x="1083429" y="1403244"/>
                  <a:pt x="1083429" y="1402616"/>
                </a:cubicBezTo>
                <a:cubicBezTo>
                  <a:pt x="1083429" y="1401988"/>
                  <a:pt x="1083931" y="1401611"/>
                  <a:pt x="1084559" y="1401486"/>
                </a:cubicBezTo>
                <a:close/>
                <a:moveTo>
                  <a:pt x="780192" y="1396336"/>
                </a:moveTo>
                <a:cubicBezTo>
                  <a:pt x="794010" y="1396211"/>
                  <a:pt x="805314" y="1407390"/>
                  <a:pt x="805314" y="1421207"/>
                </a:cubicBezTo>
                <a:cubicBezTo>
                  <a:pt x="805441" y="1435025"/>
                  <a:pt x="794261" y="1446330"/>
                  <a:pt x="780444" y="1446330"/>
                </a:cubicBezTo>
                <a:cubicBezTo>
                  <a:pt x="766626" y="1446456"/>
                  <a:pt x="755322" y="1435276"/>
                  <a:pt x="755322" y="1421459"/>
                </a:cubicBezTo>
                <a:cubicBezTo>
                  <a:pt x="755322" y="1407641"/>
                  <a:pt x="766376" y="1396336"/>
                  <a:pt x="780192" y="1396336"/>
                </a:cubicBezTo>
                <a:close/>
                <a:moveTo>
                  <a:pt x="2262323" y="1392693"/>
                </a:moveTo>
                <a:cubicBezTo>
                  <a:pt x="2275137" y="1392568"/>
                  <a:pt x="2285689" y="1402993"/>
                  <a:pt x="2285689" y="1415807"/>
                </a:cubicBezTo>
                <a:cubicBezTo>
                  <a:pt x="2285689" y="1428746"/>
                  <a:pt x="2275262" y="1439172"/>
                  <a:pt x="2262449" y="1439172"/>
                </a:cubicBezTo>
                <a:cubicBezTo>
                  <a:pt x="2249637" y="1439298"/>
                  <a:pt x="2239210" y="1428871"/>
                  <a:pt x="2239210" y="1416058"/>
                </a:cubicBezTo>
                <a:cubicBezTo>
                  <a:pt x="2239210" y="1403245"/>
                  <a:pt x="2249511" y="1392818"/>
                  <a:pt x="2262323" y="1392693"/>
                </a:cubicBezTo>
                <a:close/>
                <a:moveTo>
                  <a:pt x="300970" y="1388422"/>
                </a:moveTo>
                <a:cubicBezTo>
                  <a:pt x="308004" y="1388422"/>
                  <a:pt x="313657" y="1394074"/>
                  <a:pt x="313657" y="1400983"/>
                </a:cubicBezTo>
                <a:cubicBezTo>
                  <a:pt x="313657" y="1408018"/>
                  <a:pt x="308004" y="1413670"/>
                  <a:pt x="301095" y="1413670"/>
                </a:cubicBezTo>
                <a:cubicBezTo>
                  <a:pt x="294061" y="1413670"/>
                  <a:pt x="288409" y="1408143"/>
                  <a:pt x="288409" y="1401109"/>
                </a:cubicBezTo>
                <a:cubicBezTo>
                  <a:pt x="288409" y="1394199"/>
                  <a:pt x="293936" y="1388547"/>
                  <a:pt x="300970" y="1388422"/>
                </a:cubicBezTo>
                <a:close/>
                <a:moveTo>
                  <a:pt x="2648840" y="1386914"/>
                </a:moveTo>
                <a:cubicBezTo>
                  <a:pt x="2663662" y="1386914"/>
                  <a:pt x="2675721" y="1398848"/>
                  <a:pt x="2675721" y="1413670"/>
                </a:cubicBezTo>
                <a:cubicBezTo>
                  <a:pt x="2675721" y="1428493"/>
                  <a:pt x="2663789" y="1440552"/>
                  <a:pt x="2648966" y="1440552"/>
                </a:cubicBezTo>
                <a:cubicBezTo>
                  <a:pt x="2634144" y="1440677"/>
                  <a:pt x="2622085" y="1428743"/>
                  <a:pt x="2622085" y="1413921"/>
                </a:cubicBezTo>
                <a:cubicBezTo>
                  <a:pt x="2621958" y="1399098"/>
                  <a:pt x="2634017" y="1387039"/>
                  <a:pt x="2648840" y="1386914"/>
                </a:cubicBezTo>
                <a:close/>
                <a:moveTo>
                  <a:pt x="2052045" y="1377116"/>
                </a:moveTo>
                <a:cubicBezTo>
                  <a:pt x="2052295" y="1377116"/>
                  <a:pt x="2052422" y="1377368"/>
                  <a:pt x="2052422" y="1377618"/>
                </a:cubicBezTo>
                <a:cubicBezTo>
                  <a:pt x="2052547" y="1377870"/>
                  <a:pt x="2052295" y="1378121"/>
                  <a:pt x="2052045" y="1378121"/>
                </a:cubicBezTo>
                <a:cubicBezTo>
                  <a:pt x="2051667" y="1378121"/>
                  <a:pt x="2051542" y="1377870"/>
                  <a:pt x="2051542" y="1377618"/>
                </a:cubicBezTo>
                <a:cubicBezTo>
                  <a:pt x="2051542" y="1377368"/>
                  <a:pt x="2051667" y="1377116"/>
                  <a:pt x="2052045" y="1377116"/>
                </a:cubicBezTo>
                <a:close/>
                <a:moveTo>
                  <a:pt x="990598" y="1375106"/>
                </a:moveTo>
                <a:cubicBezTo>
                  <a:pt x="994116" y="1375106"/>
                  <a:pt x="997005" y="1377995"/>
                  <a:pt x="997005" y="1381512"/>
                </a:cubicBezTo>
                <a:cubicBezTo>
                  <a:pt x="997005" y="1385029"/>
                  <a:pt x="994116" y="1387917"/>
                  <a:pt x="990598" y="1387917"/>
                </a:cubicBezTo>
                <a:cubicBezTo>
                  <a:pt x="987081" y="1387917"/>
                  <a:pt x="984192" y="1385029"/>
                  <a:pt x="984192" y="1381512"/>
                </a:cubicBezTo>
                <a:cubicBezTo>
                  <a:pt x="984192" y="1377870"/>
                  <a:pt x="986956" y="1374981"/>
                  <a:pt x="990598" y="1375106"/>
                </a:cubicBezTo>
                <a:close/>
                <a:moveTo>
                  <a:pt x="687614" y="1373096"/>
                </a:moveTo>
                <a:cubicBezTo>
                  <a:pt x="702688" y="1373096"/>
                  <a:pt x="715124" y="1385280"/>
                  <a:pt x="715124" y="1400481"/>
                </a:cubicBezTo>
                <a:cubicBezTo>
                  <a:pt x="715124" y="1415555"/>
                  <a:pt x="702940" y="1427990"/>
                  <a:pt x="687740" y="1427990"/>
                </a:cubicBezTo>
                <a:cubicBezTo>
                  <a:pt x="672666" y="1427990"/>
                  <a:pt x="660231" y="1415805"/>
                  <a:pt x="660231" y="1400606"/>
                </a:cubicBezTo>
                <a:cubicBezTo>
                  <a:pt x="660104" y="1385407"/>
                  <a:pt x="672415" y="1373096"/>
                  <a:pt x="687614" y="1373096"/>
                </a:cubicBezTo>
                <a:close/>
                <a:moveTo>
                  <a:pt x="208017" y="1371338"/>
                </a:moveTo>
                <a:cubicBezTo>
                  <a:pt x="212916" y="1371338"/>
                  <a:pt x="216936" y="1375232"/>
                  <a:pt x="216936" y="1380131"/>
                </a:cubicBezTo>
                <a:cubicBezTo>
                  <a:pt x="216936" y="1385029"/>
                  <a:pt x="213041" y="1389049"/>
                  <a:pt x="208144" y="1389049"/>
                </a:cubicBezTo>
                <a:cubicBezTo>
                  <a:pt x="203244" y="1389049"/>
                  <a:pt x="199225" y="1385155"/>
                  <a:pt x="199225" y="1380257"/>
                </a:cubicBezTo>
                <a:cubicBezTo>
                  <a:pt x="199225" y="1375357"/>
                  <a:pt x="203119" y="1371338"/>
                  <a:pt x="208017" y="1371338"/>
                </a:cubicBezTo>
                <a:close/>
                <a:moveTo>
                  <a:pt x="2741544" y="1367695"/>
                </a:moveTo>
                <a:cubicBezTo>
                  <a:pt x="2755111" y="1367695"/>
                  <a:pt x="2766165" y="1378624"/>
                  <a:pt x="2766165" y="1392190"/>
                </a:cubicBezTo>
                <a:cubicBezTo>
                  <a:pt x="2766165" y="1405756"/>
                  <a:pt x="2755236" y="1416810"/>
                  <a:pt x="2741670" y="1416810"/>
                </a:cubicBezTo>
                <a:cubicBezTo>
                  <a:pt x="2728103" y="1416810"/>
                  <a:pt x="2717049" y="1405881"/>
                  <a:pt x="2717049" y="1392315"/>
                </a:cubicBezTo>
                <a:cubicBezTo>
                  <a:pt x="2717049" y="1378749"/>
                  <a:pt x="2727978" y="1367695"/>
                  <a:pt x="2741544" y="1367695"/>
                </a:cubicBezTo>
                <a:close/>
                <a:moveTo>
                  <a:pt x="2355028" y="1364303"/>
                </a:moveTo>
                <a:cubicBezTo>
                  <a:pt x="2371610" y="1364303"/>
                  <a:pt x="2385051" y="1377744"/>
                  <a:pt x="2385176" y="1394325"/>
                </a:cubicBezTo>
                <a:cubicBezTo>
                  <a:pt x="2385176" y="1411031"/>
                  <a:pt x="2371735" y="1424598"/>
                  <a:pt x="2355154" y="1424598"/>
                </a:cubicBezTo>
                <a:cubicBezTo>
                  <a:pt x="2338447" y="1424598"/>
                  <a:pt x="2324880" y="1411157"/>
                  <a:pt x="2324880" y="1394576"/>
                </a:cubicBezTo>
                <a:cubicBezTo>
                  <a:pt x="2324880" y="1377995"/>
                  <a:pt x="2338322" y="1364428"/>
                  <a:pt x="2355028" y="1364303"/>
                </a:cubicBezTo>
                <a:close/>
                <a:moveTo>
                  <a:pt x="594784" y="1354632"/>
                </a:moveTo>
                <a:cubicBezTo>
                  <a:pt x="608602" y="1354507"/>
                  <a:pt x="619906" y="1365686"/>
                  <a:pt x="619906" y="1379503"/>
                </a:cubicBezTo>
                <a:cubicBezTo>
                  <a:pt x="620033" y="1393321"/>
                  <a:pt x="608854" y="1404626"/>
                  <a:pt x="595036" y="1404626"/>
                </a:cubicBezTo>
                <a:cubicBezTo>
                  <a:pt x="581219" y="1404752"/>
                  <a:pt x="569914" y="1393572"/>
                  <a:pt x="569914" y="1379755"/>
                </a:cubicBezTo>
                <a:cubicBezTo>
                  <a:pt x="569914" y="1365937"/>
                  <a:pt x="580968" y="1354757"/>
                  <a:pt x="594784" y="1354632"/>
                </a:cubicBezTo>
                <a:close/>
                <a:moveTo>
                  <a:pt x="115188" y="1354380"/>
                </a:moveTo>
                <a:cubicBezTo>
                  <a:pt x="118076" y="1354380"/>
                  <a:pt x="120338" y="1356641"/>
                  <a:pt x="120338" y="1359404"/>
                </a:cubicBezTo>
                <a:cubicBezTo>
                  <a:pt x="120338" y="1362294"/>
                  <a:pt x="118076" y="1364554"/>
                  <a:pt x="115188" y="1364554"/>
                </a:cubicBezTo>
                <a:cubicBezTo>
                  <a:pt x="112424" y="1364554"/>
                  <a:pt x="110164" y="1362168"/>
                  <a:pt x="110164" y="1359404"/>
                </a:cubicBezTo>
                <a:cubicBezTo>
                  <a:pt x="110037" y="1356641"/>
                  <a:pt x="112424" y="1354380"/>
                  <a:pt x="115188" y="1354380"/>
                </a:cubicBezTo>
                <a:close/>
                <a:moveTo>
                  <a:pt x="2834248" y="1352872"/>
                </a:moveTo>
                <a:cubicBezTo>
                  <a:pt x="2844046" y="1352747"/>
                  <a:pt x="2852211" y="1360786"/>
                  <a:pt x="2852211" y="1370710"/>
                </a:cubicBezTo>
                <a:cubicBezTo>
                  <a:pt x="2852338" y="1380632"/>
                  <a:pt x="2844297" y="1388672"/>
                  <a:pt x="2834374" y="1388672"/>
                </a:cubicBezTo>
                <a:cubicBezTo>
                  <a:pt x="2824451" y="1388798"/>
                  <a:pt x="2816411" y="1380759"/>
                  <a:pt x="2816411" y="1370835"/>
                </a:cubicBezTo>
                <a:cubicBezTo>
                  <a:pt x="2816411" y="1360911"/>
                  <a:pt x="2824451" y="1352872"/>
                  <a:pt x="2834248" y="1352872"/>
                </a:cubicBezTo>
                <a:close/>
                <a:moveTo>
                  <a:pt x="2145377" y="1352119"/>
                </a:moveTo>
                <a:cubicBezTo>
                  <a:pt x="2147514" y="1352119"/>
                  <a:pt x="2149147" y="1353877"/>
                  <a:pt x="2149147" y="1355888"/>
                </a:cubicBezTo>
                <a:cubicBezTo>
                  <a:pt x="2149147" y="1358023"/>
                  <a:pt x="2147387" y="1359656"/>
                  <a:pt x="2145377" y="1359656"/>
                </a:cubicBezTo>
                <a:cubicBezTo>
                  <a:pt x="2143367" y="1359656"/>
                  <a:pt x="2141608" y="1358023"/>
                  <a:pt x="2141608" y="1355888"/>
                </a:cubicBezTo>
                <a:cubicBezTo>
                  <a:pt x="2141608" y="1353752"/>
                  <a:pt x="2143241" y="1352119"/>
                  <a:pt x="2145377" y="1352119"/>
                </a:cubicBezTo>
                <a:close/>
                <a:moveTo>
                  <a:pt x="897014" y="1343074"/>
                </a:moveTo>
                <a:cubicBezTo>
                  <a:pt x="906560" y="1343074"/>
                  <a:pt x="914349" y="1350736"/>
                  <a:pt x="914349" y="1360282"/>
                </a:cubicBezTo>
                <a:cubicBezTo>
                  <a:pt x="914349" y="1369829"/>
                  <a:pt x="906687" y="1377617"/>
                  <a:pt x="897140" y="1377617"/>
                </a:cubicBezTo>
                <a:cubicBezTo>
                  <a:pt x="887594" y="1377617"/>
                  <a:pt x="879805" y="1369954"/>
                  <a:pt x="879805" y="1360409"/>
                </a:cubicBezTo>
                <a:cubicBezTo>
                  <a:pt x="879680" y="1350862"/>
                  <a:pt x="887342" y="1343074"/>
                  <a:pt x="897014" y="1343074"/>
                </a:cubicBezTo>
                <a:close/>
                <a:moveTo>
                  <a:pt x="2447606" y="1342948"/>
                </a:moveTo>
                <a:cubicBezTo>
                  <a:pt x="2464188" y="1342948"/>
                  <a:pt x="2477754" y="1356389"/>
                  <a:pt x="2477754" y="1372970"/>
                </a:cubicBezTo>
                <a:cubicBezTo>
                  <a:pt x="2477754" y="1389552"/>
                  <a:pt x="2464313" y="1403118"/>
                  <a:pt x="2447732" y="1403118"/>
                </a:cubicBezTo>
                <a:cubicBezTo>
                  <a:pt x="2431025" y="1403118"/>
                  <a:pt x="2417458" y="1389677"/>
                  <a:pt x="2417458" y="1373096"/>
                </a:cubicBezTo>
                <a:cubicBezTo>
                  <a:pt x="2417458" y="1356514"/>
                  <a:pt x="2430773" y="1342948"/>
                  <a:pt x="2447606" y="1342948"/>
                </a:cubicBezTo>
                <a:close/>
                <a:moveTo>
                  <a:pt x="2927079" y="1341944"/>
                </a:moveTo>
                <a:cubicBezTo>
                  <a:pt x="2931098" y="1341944"/>
                  <a:pt x="2934364" y="1345209"/>
                  <a:pt x="2934364" y="1349230"/>
                </a:cubicBezTo>
                <a:cubicBezTo>
                  <a:pt x="2934364" y="1353250"/>
                  <a:pt x="2931098" y="1356515"/>
                  <a:pt x="2927079" y="1356515"/>
                </a:cubicBezTo>
                <a:cubicBezTo>
                  <a:pt x="2923059" y="1356515"/>
                  <a:pt x="2919793" y="1353250"/>
                  <a:pt x="2919793" y="1349230"/>
                </a:cubicBezTo>
                <a:cubicBezTo>
                  <a:pt x="2919793" y="1345209"/>
                  <a:pt x="2923059" y="1341944"/>
                  <a:pt x="2927079" y="1341944"/>
                </a:cubicBezTo>
                <a:close/>
                <a:moveTo>
                  <a:pt x="502083" y="1338177"/>
                </a:moveTo>
                <a:cubicBezTo>
                  <a:pt x="513514" y="1338177"/>
                  <a:pt x="522936" y="1347472"/>
                  <a:pt x="522936" y="1358903"/>
                </a:cubicBezTo>
                <a:cubicBezTo>
                  <a:pt x="522936" y="1370335"/>
                  <a:pt x="513640" y="1379756"/>
                  <a:pt x="502208" y="1379756"/>
                </a:cubicBezTo>
                <a:cubicBezTo>
                  <a:pt x="490778" y="1379756"/>
                  <a:pt x="481356" y="1370587"/>
                  <a:pt x="481356" y="1359030"/>
                </a:cubicBezTo>
                <a:cubicBezTo>
                  <a:pt x="481356" y="1347472"/>
                  <a:pt x="490652" y="1338177"/>
                  <a:pt x="502083" y="1338177"/>
                </a:cubicBezTo>
                <a:close/>
                <a:moveTo>
                  <a:pt x="22357" y="1336794"/>
                </a:moveTo>
                <a:cubicBezTo>
                  <a:pt x="23363" y="1336794"/>
                  <a:pt x="24116" y="1337548"/>
                  <a:pt x="24116" y="1338552"/>
                </a:cubicBezTo>
                <a:cubicBezTo>
                  <a:pt x="24116" y="1339558"/>
                  <a:pt x="23363" y="1340311"/>
                  <a:pt x="22357" y="1340311"/>
                </a:cubicBezTo>
                <a:cubicBezTo>
                  <a:pt x="21478" y="1340311"/>
                  <a:pt x="20599" y="1339558"/>
                  <a:pt x="20599" y="1338552"/>
                </a:cubicBezTo>
                <a:cubicBezTo>
                  <a:pt x="20599" y="1337548"/>
                  <a:pt x="21353" y="1336794"/>
                  <a:pt x="22357" y="1336794"/>
                </a:cubicBezTo>
                <a:close/>
                <a:moveTo>
                  <a:pt x="3019907" y="1325740"/>
                </a:moveTo>
                <a:cubicBezTo>
                  <a:pt x="3021037" y="1325740"/>
                  <a:pt x="3021916" y="1326620"/>
                  <a:pt x="3021916" y="1327750"/>
                </a:cubicBezTo>
                <a:cubicBezTo>
                  <a:pt x="3021916" y="1328880"/>
                  <a:pt x="3021037" y="1329760"/>
                  <a:pt x="3019907" y="1329760"/>
                </a:cubicBezTo>
                <a:cubicBezTo>
                  <a:pt x="3018777" y="1329760"/>
                  <a:pt x="3017897" y="1328880"/>
                  <a:pt x="3017897" y="1327750"/>
                </a:cubicBezTo>
                <a:cubicBezTo>
                  <a:pt x="3017897" y="1326620"/>
                  <a:pt x="3018777" y="1325740"/>
                  <a:pt x="3019907" y="1325740"/>
                </a:cubicBezTo>
                <a:close/>
                <a:moveTo>
                  <a:pt x="1917510" y="1324359"/>
                </a:moveTo>
                <a:cubicBezTo>
                  <a:pt x="1917636" y="1324359"/>
                  <a:pt x="1917762" y="1324610"/>
                  <a:pt x="1917762" y="1324610"/>
                </a:cubicBezTo>
                <a:cubicBezTo>
                  <a:pt x="1917762" y="1324736"/>
                  <a:pt x="1917636" y="1324862"/>
                  <a:pt x="1917510" y="1324862"/>
                </a:cubicBezTo>
                <a:cubicBezTo>
                  <a:pt x="1917384" y="1324862"/>
                  <a:pt x="1917259" y="1324736"/>
                  <a:pt x="1917259" y="1324610"/>
                </a:cubicBezTo>
                <a:cubicBezTo>
                  <a:pt x="1917259" y="1324484"/>
                  <a:pt x="1917384" y="1324359"/>
                  <a:pt x="1917510" y="1324359"/>
                </a:cubicBezTo>
                <a:close/>
                <a:moveTo>
                  <a:pt x="2540058" y="1323731"/>
                </a:moveTo>
                <a:cubicBezTo>
                  <a:pt x="2555382" y="1323731"/>
                  <a:pt x="2567693" y="1336042"/>
                  <a:pt x="2567818" y="1351367"/>
                </a:cubicBezTo>
                <a:cubicBezTo>
                  <a:pt x="2567818" y="1366692"/>
                  <a:pt x="2555509" y="1379128"/>
                  <a:pt x="2540183" y="1379128"/>
                </a:cubicBezTo>
                <a:cubicBezTo>
                  <a:pt x="2524859" y="1379254"/>
                  <a:pt x="2512423" y="1366943"/>
                  <a:pt x="2512423" y="1351618"/>
                </a:cubicBezTo>
                <a:cubicBezTo>
                  <a:pt x="2512423" y="1336293"/>
                  <a:pt x="2524734" y="1323856"/>
                  <a:pt x="2540058" y="1323731"/>
                </a:cubicBezTo>
                <a:close/>
                <a:moveTo>
                  <a:pt x="409379" y="1322222"/>
                </a:moveTo>
                <a:cubicBezTo>
                  <a:pt x="418172" y="1322097"/>
                  <a:pt x="425331" y="1329257"/>
                  <a:pt x="425331" y="1338050"/>
                </a:cubicBezTo>
                <a:cubicBezTo>
                  <a:pt x="425457" y="1346843"/>
                  <a:pt x="418297" y="1354003"/>
                  <a:pt x="409504" y="1354003"/>
                </a:cubicBezTo>
                <a:cubicBezTo>
                  <a:pt x="400711" y="1354129"/>
                  <a:pt x="393551" y="1346968"/>
                  <a:pt x="393551" y="1338176"/>
                </a:cubicBezTo>
                <a:cubicBezTo>
                  <a:pt x="393551" y="1329382"/>
                  <a:pt x="400585" y="1322222"/>
                  <a:pt x="409379" y="1322222"/>
                </a:cubicBezTo>
                <a:close/>
                <a:moveTo>
                  <a:pt x="2238458" y="1322097"/>
                </a:moveTo>
                <a:cubicBezTo>
                  <a:pt x="2245115" y="1322097"/>
                  <a:pt x="2250517" y="1327372"/>
                  <a:pt x="2250517" y="1334030"/>
                </a:cubicBezTo>
                <a:cubicBezTo>
                  <a:pt x="2250517" y="1340688"/>
                  <a:pt x="2245240" y="1346089"/>
                  <a:pt x="2238583" y="1346089"/>
                </a:cubicBezTo>
                <a:cubicBezTo>
                  <a:pt x="2232051" y="1346089"/>
                  <a:pt x="2226649" y="1340813"/>
                  <a:pt x="2226649" y="1334156"/>
                </a:cubicBezTo>
                <a:cubicBezTo>
                  <a:pt x="2226649" y="1327624"/>
                  <a:pt x="2231924" y="1322222"/>
                  <a:pt x="2238458" y="1322097"/>
                </a:cubicBezTo>
                <a:close/>
                <a:moveTo>
                  <a:pt x="803556" y="1314308"/>
                </a:moveTo>
                <a:cubicBezTo>
                  <a:pt x="817375" y="1314183"/>
                  <a:pt x="828679" y="1325362"/>
                  <a:pt x="828679" y="1339179"/>
                </a:cubicBezTo>
                <a:cubicBezTo>
                  <a:pt x="828806" y="1352997"/>
                  <a:pt x="817625" y="1364302"/>
                  <a:pt x="803808" y="1364302"/>
                </a:cubicBezTo>
                <a:cubicBezTo>
                  <a:pt x="789990" y="1364428"/>
                  <a:pt x="778685" y="1353248"/>
                  <a:pt x="778685" y="1339431"/>
                </a:cubicBezTo>
                <a:cubicBezTo>
                  <a:pt x="778560" y="1325613"/>
                  <a:pt x="789739" y="1314308"/>
                  <a:pt x="803556" y="1314308"/>
                </a:cubicBezTo>
                <a:close/>
                <a:moveTo>
                  <a:pt x="316674" y="1304637"/>
                </a:moveTo>
                <a:cubicBezTo>
                  <a:pt x="323708" y="1304637"/>
                  <a:pt x="329361" y="1310164"/>
                  <a:pt x="329361" y="1317198"/>
                </a:cubicBezTo>
                <a:cubicBezTo>
                  <a:pt x="329361" y="1324107"/>
                  <a:pt x="323834" y="1329885"/>
                  <a:pt x="316799" y="1329885"/>
                </a:cubicBezTo>
                <a:cubicBezTo>
                  <a:pt x="309765" y="1329885"/>
                  <a:pt x="304113" y="1324358"/>
                  <a:pt x="304113" y="1317324"/>
                </a:cubicBezTo>
                <a:cubicBezTo>
                  <a:pt x="304113" y="1310414"/>
                  <a:pt x="309765" y="1304637"/>
                  <a:pt x="316674" y="1304637"/>
                </a:cubicBezTo>
                <a:close/>
                <a:moveTo>
                  <a:pt x="2632638" y="1303380"/>
                </a:moveTo>
                <a:cubicBezTo>
                  <a:pt x="2647461" y="1303254"/>
                  <a:pt x="2659521" y="1315188"/>
                  <a:pt x="2659521" y="1330011"/>
                </a:cubicBezTo>
                <a:cubicBezTo>
                  <a:pt x="2659521" y="1344834"/>
                  <a:pt x="2647587" y="1356893"/>
                  <a:pt x="2632763" y="1356893"/>
                </a:cubicBezTo>
                <a:cubicBezTo>
                  <a:pt x="2617941" y="1356893"/>
                  <a:pt x="2605882" y="1344959"/>
                  <a:pt x="2605882" y="1330137"/>
                </a:cubicBezTo>
                <a:cubicBezTo>
                  <a:pt x="2605882" y="1315313"/>
                  <a:pt x="2617816" y="1303380"/>
                  <a:pt x="2632638" y="1303380"/>
                </a:cubicBezTo>
                <a:close/>
                <a:moveTo>
                  <a:pt x="1027277" y="1302751"/>
                </a:moveTo>
                <a:cubicBezTo>
                  <a:pt x="1028283" y="1302751"/>
                  <a:pt x="1029036" y="1303504"/>
                  <a:pt x="1029036" y="1304509"/>
                </a:cubicBezTo>
                <a:cubicBezTo>
                  <a:pt x="1029036" y="1305515"/>
                  <a:pt x="1028283" y="1306268"/>
                  <a:pt x="1027277" y="1306268"/>
                </a:cubicBezTo>
                <a:cubicBezTo>
                  <a:pt x="1026272" y="1306268"/>
                  <a:pt x="1025519" y="1305515"/>
                  <a:pt x="1025519" y="1304509"/>
                </a:cubicBezTo>
                <a:cubicBezTo>
                  <a:pt x="1025519" y="1303504"/>
                  <a:pt x="1026272" y="1302751"/>
                  <a:pt x="1027277" y="1302751"/>
                </a:cubicBezTo>
                <a:close/>
                <a:moveTo>
                  <a:pt x="2014486" y="1299485"/>
                </a:moveTo>
                <a:cubicBezTo>
                  <a:pt x="2015366" y="1299485"/>
                  <a:pt x="2016119" y="1300114"/>
                  <a:pt x="2016119" y="1300992"/>
                </a:cubicBezTo>
                <a:cubicBezTo>
                  <a:pt x="2016119" y="1301872"/>
                  <a:pt x="2015491" y="1302500"/>
                  <a:pt x="2014612" y="1302500"/>
                </a:cubicBezTo>
                <a:cubicBezTo>
                  <a:pt x="2013732" y="1302500"/>
                  <a:pt x="2013104" y="1301872"/>
                  <a:pt x="2013104" y="1300992"/>
                </a:cubicBezTo>
                <a:cubicBezTo>
                  <a:pt x="2013104" y="1300114"/>
                  <a:pt x="2013859" y="1299360"/>
                  <a:pt x="2014486" y="1299485"/>
                </a:cubicBezTo>
                <a:close/>
                <a:moveTo>
                  <a:pt x="710349" y="1290442"/>
                </a:moveTo>
                <a:cubicBezTo>
                  <a:pt x="725800" y="1290316"/>
                  <a:pt x="738362" y="1302752"/>
                  <a:pt x="738362" y="1318203"/>
                </a:cubicBezTo>
                <a:cubicBezTo>
                  <a:pt x="738487" y="1333654"/>
                  <a:pt x="726051" y="1346216"/>
                  <a:pt x="710600" y="1346216"/>
                </a:cubicBezTo>
                <a:cubicBezTo>
                  <a:pt x="695150" y="1346216"/>
                  <a:pt x="682589" y="1333780"/>
                  <a:pt x="682589" y="1318454"/>
                </a:cubicBezTo>
                <a:cubicBezTo>
                  <a:pt x="682462" y="1303129"/>
                  <a:pt x="694899" y="1290567"/>
                  <a:pt x="710349" y="1290442"/>
                </a:cubicBezTo>
                <a:close/>
                <a:moveTo>
                  <a:pt x="223971" y="1287553"/>
                </a:moveTo>
                <a:cubicBezTo>
                  <a:pt x="228869" y="1287427"/>
                  <a:pt x="232889" y="1291447"/>
                  <a:pt x="232889" y="1296346"/>
                </a:cubicBezTo>
                <a:cubicBezTo>
                  <a:pt x="232889" y="1301244"/>
                  <a:pt x="228996" y="1305263"/>
                  <a:pt x="224097" y="1305263"/>
                </a:cubicBezTo>
                <a:cubicBezTo>
                  <a:pt x="219197" y="1305390"/>
                  <a:pt x="215178" y="1301370"/>
                  <a:pt x="215178" y="1296471"/>
                </a:cubicBezTo>
                <a:cubicBezTo>
                  <a:pt x="215178" y="1291572"/>
                  <a:pt x="219197" y="1287678"/>
                  <a:pt x="223971" y="1287553"/>
                </a:cubicBezTo>
                <a:close/>
                <a:moveTo>
                  <a:pt x="2331539" y="1286297"/>
                </a:moveTo>
                <a:cubicBezTo>
                  <a:pt x="2345984" y="1286171"/>
                  <a:pt x="2357793" y="1297854"/>
                  <a:pt x="2357793" y="1312299"/>
                </a:cubicBezTo>
                <a:cubicBezTo>
                  <a:pt x="2357793" y="1326744"/>
                  <a:pt x="2346236" y="1338552"/>
                  <a:pt x="2331789" y="1338552"/>
                </a:cubicBezTo>
                <a:cubicBezTo>
                  <a:pt x="2317343" y="1338677"/>
                  <a:pt x="2305536" y="1326996"/>
                  <a:pt x="2305536" y="1312550"/>
                </a:cubicBezTo>
                <a:cubicBezTo>
                  <a:pt x="2305410" y="1298229"/>
                  <a:pt x="2317092" y="1286422"/>
                  <a:pt x="2331539" y="1286297"/>
                </a:cubicBezTo>
                <a:close/>
                <a:moveTo>
                  <a:pt x="2725090" y="1285292"/>
                </a:moveTo>
                <a:cubicBezTo>
                  <a:pt x="2738029" y="1285167"/>
                  <a:pt x="2748454" y="1295592"/>
                  <a:pt x="2748454" y="1308406"/>
                </a:cubicBezTo>
                <a:cubicBezTo>
                  <a:pt x="2748581" y="1321345"/>
                  <a:pt x="2738154" y="1331771"/>
                  <a:pt x="2725342" y="1331771"/>
                </a:cubicBezTo>
                <a:cubicBezTo>
                  <a:pt x="2712403" y="1331897"/>
                  <a:pt x="2701976" y="1321470"/>
                  <a:pt x="2701976" y="1308657"/>
                </a:cubicBezTo>
                <a:cubicBezTo>
                  <a:pt x="2701976" y="1295844"/>
                  <a:pt x="2712276" y="1285417"/>
                  <a:pt x="2725090" y="1285292"/>
                </a:cubicBezTo>
                <a:close/>
                <a:moveTo>
                  <a:pt x="931183" y="1274489"/>
                </a:moveTo>
                <a:cubicBezTo>
                  <a:pt x="935453" y="1274489"/>
                  <a:pt x="938970" y="1278006"/>
                  <a:pt x="938970" y="1282278"/>
                </a:cubicBezTo>
                <a:cubicBezTo>
                  <a:pt x="939097" y="1286548"/>
                  <a:pt x="935580" y="1290065"/>
                  <a:pt x="931308" y="1290065"/>
                </a:cubicBezTo>
                <a:cubicBezTo>
                  <a:pt x="927038" y="1290065"/>
                  <a:pt x="923519" y="1286548"/>
                  <a:pt x="923519" y="1282278"/>
                </a:cubicBezTo>
                <a:cubicBezTo>
                  <a:pt x="923394" y="1278006"/>
                  <a:pt x="926911" y="1274489"/>
                  <a:pt x="931183" y="1274489"/>
                </a:cubicBezTo>
                <a:close/>
                <a:moveTo>
                  <a:pt x="617271" y="1273483"/>
                </a:moveTo>
                <a:cubicBezTo>
                  <a:pt x="630462" y="1273483"/>
                  <a:pt x="641264" y="1284160"/>
                  <a:pt x="641264" y="1297350"/>
                </a:cubicBezTo>
                <a:cubicBezTo>
                  <a:pt x="641264" y="1310540"/>
                  <a:pt x="630587" y="1321342"/>
                  <a:pt x="617398" y="1321342"/>
                </a:cubicBezTo>
                <a:cubicBezTo>
                  <a:pt x="604207" y="1321342"/>
                  <a:pt x="593530" y="1310665"/>
                  <a:pt x="593405" y="1297476"/>
                </a:cubicBezTo>
                <a:cubicBezTo>
                  <a:pt x="593405" y="1284286"/>
                  <a:pt x="604082" y="1273608"/>
                  <a:pt x="617271" y="1273483"/>
                </a:cubicBezTo>
                <a:close/>
                <a:moveTo>
                  <a:pt x="131392" y="1271097"/>
                </a:moveTo>
                <a:cubicBezTo>
                  <a:pt x="133905" y="1271097"/>
                  <a:pt x="136040" y="1273107"/>
                  <a:pt x="136040" y="1275745"/>
                </a:cubicBezTo>
                <a:cubicBezTo>
                  <a:pt x="136040" y="1278257"/>
                  <a:pt x="133905" y="1280393"/>
                  <a:pt x="131392" y="1280393"/>
                </a:cubicBezTo>
                <a:cubicBezTo>
                  <a:pt x="128880" y="1280393"/>
                  <a:pt x="126745" y="1278257"/>
                  <a:pt x="126745" y="1275745"/>
                </a:cubicBezTo>
                <a:cubicBezTo>
                  <a:pt x="126745" y="1273107"/>
                  <a:pt x="128755" y="1271097"/>
                  <a:pt x="131392" y="1271097"/>
                </a:cubicBezTo>
                <a:close/>
                <a:moveTo>
                  <a:pt x="2110582" y="1270469"/>
                </a:moveTo>
                <a:cubicBezTo>
                  <a:pt x="2114727" y="1270469"/>
                  <a:pt x="2118119" y="1273860"/>
                  <a:pt x="2118119" y="1278005"/>
                </a:cubicBezTo>
                <a:cubicBezTo>
                  <a:pt x="2118119" y="1282150"/>
                  <a:pt x="2114727" y="1285541"/>
                  <a:pt x="2110582" y="1285541"/>
                </a:cubicBezTo>
                <a:cubicBezTo>
                  <a:pt x="2106437" y="1285541"/>
                  <a:pt x="2103045" y="1282150"/>
                  <a:pt x="2103045" y="1278005"/>
                </a:cubicBezTo>
                <a:cubicBezTo>
                  <a:pt x="2103045" y="1273860"/>
                  <a:pt x="2106437" y="1270469"/>
                  <a:pt x="2110582" y="1270469"/>
                </a:cubicBezTo>
                <a:close/>
                <a:moveTo>
                  <a:pt x="2817669" y="1270092"/>
                </a:moveTo>
                <a:cubicBezTo>
                  <a:pt x="2827089" y="1270092"/>
                  <a:pt x="2834752" y="1277629"/>
                  <a:pt x="2834752" y="1287050"/>
                </a:cubicBezTo>
                <a:cubicBezTo>
                  <a:pt x="2834878" y="1296471"/>
                  <a:pt x="2827215" y="1304134"/>
                  <a:pt x="2817794" y="1304134"/>
                </a:cubicBezTo>
                <a:cubicBezTo>
                  <a:pt x="2808372" y="1304134"/>
                  <a:pt x="2800710" y="1296597"/>
                  <a:pt x="2800710" y="1287176"/>
                </a:cubicBezTo>
                <a:cubicBezTo>
                  <a:pt x="2800710" y="1277754"/>
                  <a:pt x="2808372" y="1270092"/>
                  <a:pt x="2817669" y="1270092"/>
                </a:cubicBezTo>
                <a:close/>
                <a:moveTo>
                  <a:pt x="2424493" y="1260169"/>
                </a:moveTo>
                <a:cubicBezTo>
                  <a:pt x="2441450" y="1260043"/>
                  <a:pt x="2455393" y="1273861"/>
                  <a:pt x="2455393" y="1290819"/>
                </a:cubicBezTo>
                <a:cubicBezTo>
                  <a:pt x="2455519" y="1307776"/>
                  <a:pt x="2441702" y="1321595"/>
                  <a:pt x="2424743" y="1321720"/>
                </a:cubicBezTo>
                <a:cubicBezTo>
                  <a:pt x="2407785" y="1321845"/>
                  <a:pt x="2393843" y="1308028"/>
                  <a:pt x="2393843" y="1291070"/>
                </a:cubicBezTo>
                <a:cubicBezTo>
                  <a:pt x="2393716" y="1273986"/>
                  <a:pt x="2407534" y="1260169"/>
                  <a:pt x="2424493" y="1260169"/>
                </a:cubicBezTo>
                <a:close/>
                <a:moveTo>
                  <a:pt x="2910245" y="1258285"/>
                </a:moveTo>
                <a:cubicBezTo>
                  <a:pt x="2914390" y="1258285"/>
                  <a:pt x="2917656" y="1261551"/>
                  <a:pt x="2917656" y="1265571"/>
                </a:cubicBezTo>
                <a:cubicBezTo>
                  <a:pt x="2917656" y="1269591"/>
                  <a:pt x="2914390" y="1272856"/>
                  <a:pt x="2910371" y="1272856"/>
                </a:cubicBezTo>
                <a:cubicBezTo>
                  <a:pt x="2906351" y="1272856"/>
                  <a:pt x="2903085" y="1269591"/>
                  <a:pt x="2903085" y="1265571"/>
                </a:cubicBezTo>
                <a:cubicBezTo>
                  <a:pt x="2903085" y="1261677"/>
                  <a:pt x="2906351" y="1258285"/>
                  <a:pt x="2910245" y="1258285"/>
                </a:cubicBezTo>
                <a:close/>
                <a:moveTo>
                  <a:pt x="1864250" y="1258033"/>
                </a:moveTo>
                <a:cubicBezTo>
                  <a:pt x="1864375" y="1258033"/>
                  <a:pt x="1864501" y="1258158"/>
                  <a:pt x="1864501" y="1258284"/>
                </a:cubicBezTo>
                <a:cubicBezTo>
                  <a:pt x="1864501" y="1258410"/>
                  <a:pt x="1864375" y="1258536"/>
                  <a:pt x="1864250" y="1258536"/>
                </a:cubicBezTo>
                <a:cubicBezTo>
                  <a:pt x="1864123" y="1258536"/>
                  <a:pt x="1863998" y="1258410"/>
                  <a:pt x="1863998" y="1258284"/>
                </a:cubicBezTo>
                <a:cubicBezTo>
                  <a:pt x="1863998" y="1258158"/>
                  <a:pt x="1863998" y="1258033"/>
                  <a:pt x="1864250" y="1258033"/>
                </a:cubicBezTo>
                <a:close/>
                <a:moveTo>
                  <a:pt x="524189" y="1257028"/>
                </a:moveTo>
                <a:cubicBezTo>
                  <a:pt x="534991" y="1257028"/>
                  <a:pt x="543785" y="1265695"/>
                  <a:pt x="543785" y="1276498"/>
                </a:cubicBezTo>
                <a:cubicBezTo>
                  <a:pt x="543785" y="1287175"/>
                  <a:pt x="535117" y="1295968"/>
                  <a:pt x="524315" y="1295968"/>
                </a:cubicBezTo>
                <a:cubicBezTo>
                  <a:pt x="513512" y="1296094"/>
                  <a:pt x="504719" y="1287426"/>
                  <a:pt x="504719" y="1276624"/>
                </a:cubicBezTo>
                <a:cubicBezTo>
                  <a:pt x="504719" y="1265820"/>
                  <a:pt x="513386" y="1257153"/>
                  <a:pt x="524189" y="1257028"/>
                </a:cubicBezTo>
                <a:close/>
                <a:moveTo>
                  <a:pt x="38688" y="1253386"/>
                </a:moveTo>
                <a:cubicBezTo>
                  <a:pt x="39568" y="1253386"/>
                  <a:pt x="40196" y="1254014"/>
                  <a:pt x="40196" y="1254893"/>
                </a:cubicBezTo>
                <a:cubicBezTo>
                  <a:pt x="40196" y="1255773"/>
                  <a:pt x="39568" y="1256400"/>
                  <a:pt x="38688" y="1256400"/>
                </a:cubicBezTo>
                <a:cubicBezTo>
                  <a:pt x="37809" y="1256400"/>
                  <a:pt x="37181" y="1255773"/>
                  <a:pt x="37181" y="1254893"/>
                </a:cubicBezTo>
                <a:cubicBezTo>
                  <a:pt x="37181" y="1254014"/>
                  <a:pt x="37809" y="1253386"/>
                  <a:pt x="38688" y="1253386"/>
                </a:cubicBezTo>
                <a:close/>
                <a:moveTo>
                  <a:pt x="835966" y="1242080"/>
                </a:moveTo>
                <a:cubicBezTo>
                  <a:pt x="846141" y="1242080"/>
                  <a:pt x="854431" y="1250245"/>
                  <a:pt x="854431" y="1260419"/>
                </a:cubicBezTo>
                <a:cubicBezTo>
                  <a:pt x="854431" y="1270595"/>
                  <a:pt x="846266" y="1278885"/>
                  <a:pt x="836092" y="1278885"/>
                </a:cubicBezTo>
                <a:cubicBezTo>
                  <a:pt x="825917" y="1278885"/>
                  <a:pt x="817626" y="1270720"/>
                  <a:pt x="817626" y="1260546"/>
                </a:cubicBezTo>
                <a:cubicBezTo>
                  <a:pt x="817626" y="1250371"/>
                  <a:pt x="825790" y="1242080"/>
                  <a:pt x="835966" y="1242080"/>
                </a:cubicBezTo>
                <a:close/>
                <a:moveTo>
                  <a:pt x="431234" y="1240322"/>
                </a:moveTo>
                <a:cubicBezTo>
                  <a:pt x="439650" y="1240322"/>
                  <a:pt x="446559" y="1247106"/>
                  <a:pt x="446559" y="1255521"/>
                </a:cubicBezTo>
                <a:cubicBezTo>
                  <a:pt x="446685" y="1263937"/>
                  <a:pt x="439776" y="1270846"/>
                  <a:pt x="431360" y="1270846"/>
                </a:cubicBezTo>
                <a:cubicBezTo>
                  <a:pt x="422944" y="1270846"/>
                  <a:pt x="416035" y="1264062"/>
                  <a:pt x="416035" y="1255647"/>
                </a:cubicBezTo>
                <a:cubicBezTo>
                  <a:pt x="416035" y="1247231"/>
                  <a:pt x="422819" y="1240447"/>
                  <a:pt x="431234" y="1240322"/>
                </a:cubicBezTo>
                <a:close/>
                <a:moveTo>
                  <a:pt x="2517322" y="1239443"/>
                </a:moveTo>
                <a:cubicBezTo>
                  <a:pt x="2533903" y="1239317"/>
                  <a:pt x="2547344" y="1252758"/>
                  <a:pt x="2547344" y="1269214"/>
                </a:cubicBezTo>
                <a:cubicBezTo>
                  <a:pt x="2547470" y="1285795"/>
                  <a:pt x="2534028" y="1299236"/>
                  <a:pt x="2517574" y="1299236"/>
                </a:cubicBezTo>
                <a:cubicBezTo>
                  <a:pt x="2500992" y="1299236"/>
                  <a:pt x="2487677" y="1285920"/>
                  <a:pt x="2487551" y="1269464"/>
                </a:cubicBezTo>
                <a:cubicBezTo>
                  <a:pt x="2487551" y="1252883"/>
                  <a:pt x="2500866" y="1239568"/>
                  <a:pt x="2517322" y="1239443"/>
                </a:cubicBezTo>
                <a:close/>
                <a:moveTo>
                  <a:pt x="2205670" y="1238814"/>
                </a:moveTo>
                <a:cubicBezTo>
                  <a:pt x="2214839" y="1238814"/>
                  <a:pt x="2222376" y="1246226"/>
                  <a:pt x="2222376" y="1255395"/>
                </a:cubicBezTo>
                <a:cubicBezTo>
                  <a:pt x="2222376" y="1264565"/>
                  <a:pt x="2214966" y="1272102"/>
                  <a:pt x="2205795" y="1272102"/>
                </a:cubicBezTo>
                <a:cubicBezTo>
                  <a:pt x="2196625" y="1272102"/>
                  <a:pt x="2189089" y="1264690"/>
                  <a:pt x="2189089" y="1255521"/>
                </a:cubicBezTo>
                <a:cubicBezTo>
                  <a:pt x="2188963" y="1246351"/>
                  <a:pt x="2196375" y="1238939"/>
                  <a:pt x="2205670" y="1238814"/>
                </a:cubicBezTo>
                <a:close/>
                <a:moveTo>
                  <a:pt x="3002822" y="1236930"/>
                </a:moveTo>
                <a:cubicBezTo>
                  <a:pt x="3006841" y="1236930"/>
                  <a:pt x="3010107" y="1240195"/>
                  <a:pt x="3010107" y="1244215"/>
                </a:cubicBezTo>
                <a:cubicBezTo>
                  <a:pt x="3010107" y="1248235"/>
                  <a:pt x="3006841" y="1251501"/>
                  <a:pt x="3002822" y="1251501"/>
                </a:cubicBezTo>
                <a:cubicBezTo>
                  <a:pt x="2998802" y="1251501"/>
                  <a:pt x="2995536" y="1248235"/>
                  <a:pt x="2995536" y="1244215"/>
                </a:cubicBezTo>
                <a:cubicBezTo>
                  <a:pt x="2995536" y="1240195"/>
                  <a:pt x="2998802" y="1236803"/>
                  <a:pt x="3002822" y="1236930"/>
                </a:cubicBezTo>
                <a:close/>
                <a:moveTo>
                  <a:pt x="1075011" y="1230397"/>
                </a:moveTo>
                <a:cubicBezTo>
                  <a:pt x="1076895" y="1230397"/>
                  <a:pt x="1078528" y="1231904"/>
                  <a:pt x="1078528" y="1233914"/>
                </a:cubicBezTo>
                <a:cubicBezTo>
                  <a:pt x="1078528" y="1235798"/>
                  <a:pt x="1077021" y="1237431"/>
                  <a:pt x="1075011" y="1237431"/>
                </a:cubicBezTo>
                <a:cubicBezTo>
                  <a:pt x="1073126" y="1237431"/>
                  <a:pt x="1071494" y="1235924"/>
                  <a:pt x="1071494" y="1233914"/>
                </a:cubicBezTo>
                <a:cubicBezTo>
                  <a:pt x="1071494" y="1232029"/>
                  <a:pt x="1073001" y="1230397"/>
                  <a:pt x="1075011" y="1230397"/>
                </a:cubicBezTo>
                <a:close/>
                <a:moveTo>
                  <a:pt x="1966375" y="1226629"/>
                </a:moveTo>
                <a:cubicBezTo>
                  <a:pt x="1968762" y="1226503"/>
                  <a:pt x="1970647" y="1228388"/>
                  <a:pt x="1970647" y="1230775"/>
                </a:cubicBezTo>
                <a:cubicBezTo>
                  <a:pt x="1970772" y="1233035"/>
                  <a:pt x="1968888" y="1234920"/>
                  <a:pt x="1966501" y="1234920"/>
                </a:cubicBezTo>
                <a:cubicBezTo>
                  <a:pt x="1964115" y="1234920"/>
                  <a:pt x="1962230" y="1233161"/>
                  <a:pt x="1962230" y="1230775"/>
                </a:cubicBezTo>
                <a:cubicBezTo>
                  <a:pt x="1962230" y="1228388"/>
                  <a:pt x="1964115" y="1226503"/>
                  <a:pt x="1966375" y="1226629"/>
                </a:cubicBezTo>
                <a:close/>
                <a:moveTo>
                  <a:pt x="338280" y="1222108"/>
                </a:moveTo>
                <a:cubicBezTo>
                  <a:pt x="345189" y="1222108"/>
                  <a:pt x="350967" y="1227760"/>
                  <a:pt x="350967" y="1234669"/>
                </a:cubicBezTo>
                <a:cubicBezTo>
                  <a:pt x="350967" y="1241704"/>
                  <a:pt x="345314" y="1247356"/>
                  <a:pt x="338405" y="1247356"/>
                </a:cubicBezTo>
                <a:cubicBezTo>
                  <a:pt x="331371" y="1247356"/>
                  <a:pt x="325719" y="1241704"/>
                  <a:pt x="325719" y="1234795"/>
                </a:cubicBezTo>
                <a:cubicBezTo>
                  <a:pt x="325719" y="1227885"/>
                  <a:pt x="331371" y="1222233"/>
                  <a:pt x="338280" y="1222108"/>
                </a:cubicBezTo>
                <a:close/>
                <a:moveTo>
                  <a:pt x="2610278" y="1219470"/>
                </a:moveTo>
                <a:cubicBezTo>
                  <a:pt x="2625854" y="1219470"/>
                  <a:pt x="2638541" y="1232031"/>
                  <a:pt x="2638666" y="1247733"/>
                </a:cubicBezTo>
                <a:cubicBezTo>
                  <a:pt x="2638666" y="1263309"/>
                  <a:pt x="2626105" y="1276122"/>
                  <a:pt x="2610403" y="1276122"/>
                </a:cubicBezTo>
                <a:cubicBezTo>
                  <a:pt x="2594827" y="1276122"/>
                  <a:pt x="2582140" y="1263561"/>
                  <a:pt x="2582015" y="1247858"/>
                </a:cubicBezTo>
                <a:cubicBezTo>
                  <a:pt x="2581888" y="1232282"/>
                  <a:pt x="2594576" y="1219470"/>
                  <a:pt x="2610278" y="1219470"/>
                </a:cubicBezTo>
                <a:close/>
                <a:moveTo>
                  <a:pt x="741126" y="1211053"/>
                </a:moveTo>
                <a:cubicBezTo>
                  <a:pt x="756576" y="1210927"/>
                  <a:pt x="769012" y="1223363"/>
                  <a:pt x="769138" y="1238814"/>
                </a:cubicBezTo>
                <a:cubicBezTo>
                  <a:pt x="769263" y="1254265"/>
                  <a:pt x="756827" y="1266827"/>
                  <a:pt x="741378" y="1266827"/>
                </a:cubicBezTo>
                <a:cubicBezTo>
                  <a:pt x="725927" y="1266827"/>
                  <a:pt x="713366" y="1254391"/>
                  <a:pt x="713366" y="1239065"/>
                </a:cubicBezTo>
                <a:cubicBezTo>
                  <a:pt x="713366" y="1223615"/>
                  <a:pt x="725802" y="1211053"/>
                  <a:pt x="741126" y="1211053"/>
                </a:cubicBezTo>
                <a:close/>
                <a:moveTo>
                  <a:pt x="245199" y="1205777"/>
                </a:moveTo>
                <a:cubicBezTo>
                  <a:pt x="249847" y="1205777"/>
                  <a:pt x="253491" y="1209419"/>
                  <a:pt x="253491" y="1213941"/>
                </a:cubicBezTo>
                <a:cubicBezTo>
                  <a:pt x="253491" y="1218463"/>
                  <a:pt x="249847" y="1222107"/>
                  <a:pt x="245325" y="1222107"/>
                </a:cubicBezTo>
                <a:cubicBezTo>
                  <a:pt x="240802" y="1222107"/>
                  <a:pt x="237160" y="1218463"/>
                  <a:pt x="237160" y="1213941"/>
                </a:cubicBezTo>
                <a:cubicBezTo>
                  <a:pt x="237160" y="1209419"/>
                  <a:pt x="240802" y="1205777"/>
                  <a:pt x="245199" y="1205777"/>
                </a:cubicBezTo>
                <a:close/>
                <a:moveTo>
                  <a:pt x="2300134" y="1204145"/>
                </a:moveTo>
                <a:cubicBezTo>
                  <a:pt x="2316212" y="1204145"/>
                  <a:pt x="2329401" y="1217084"/>
                  <a:pt x="2329401" y="1233288"/>
                </a:cubicBezTo>
                <a:cubicBezTo>
                  <a:pt x="2329401" y="1249367"/>
                  <a:pt x="2316337" y="1262431"/>
                  <a:pt x="2300259" y="1262556"/>
                </a:cubicBezTo>
                <a:cubicBezTo>
                  <a:pt x="2284180" y="1262556"/>
                  <a:pt x="2270991" y="1249618"/>
                  <a:pt x="2270991" y="1233413"/>
                </a:cubicBezTo>
                <a:cubicBezTo>
                  <a:pt x="2270991" y="1217209"/>
                  <a:pt x="2283930" y="1204145"/>
                  <a:pt x="2300134" y="1204145"/>
                </a:cubicBezTo>
                <a:close/>
                <a:moveTo>
                  <a:pt x="1799936" y="1202135"/>
                </a:moveTo>
                <a:cubicBezTo>
                  <a:pt x="1800062" y="1202135"/>
                  <a:pt x="1800188" y="1202260"/>
                  <a:pt x="1800188" y="1202387"/>
                </a:cubicBezTo>
                <a:cubicBezTo>
                  <a:pt x="1800188" y="1202512"/>
                  <a:pt x="1800062" y="1202638"/>
                  <a:pt x="1799936" y="1202638"/>
                </a:cubicBezTo>
                <a:cubicBezTo>
                  <a:pt x="1799810" y="1202638"/>
                  <a:pt x="1799685" y="1202512"/>
                  <a:pt x="1799685" y="1202387"/>
                </a:cubicBezTo>
                <a:cubicBezTo>
                  <a:pt x="1799685" y="1202260"/>
                  <a:pt x="1799685" y="1202260"/>
                  <a:pt x="1799936" y="1202135"/>
                </a:cubicBezTo>
                <a:close/>
                <a:moveTo>
                  <a:pt x="2702978" y="1201254"/>
                </a:moveTo>
                <a:cubicBezTo>
                  <a:pt x="2716796" y="1201129"/>
                  <a:pt x="2728100" y="1212308"/>
                  <a:pt x="2728100" y="1226125"/>
                </a:cubicBezTo>
                <a:cubicBezTo>
                  <a:pt x="2728227" y="1239943"/>
                  <a:pt x="2717047" y="1251248"/>
                  <a:pt x="2703230" y="1251248"/>
                </a:cubicBezTo>
                <a:cubicBezTo>
                  <a:pt x="2689413" y="1251374"/>
                  <a:pt x="2678107" y="1240194"/>
                  <a:pt x="2678107" y="1226377"/>
                </a:cubicBezTo>
                <a:cubicBezTo>
                  <a:pt x="2678107" y="1212559"/>
                  <a:pt x="2689161" y="1201254"/>
                  <a:pt x="2702978" y="1201254"/>
                </a:cubicBezTo>
                <a:close/>
                <a:moveTo>
                  <a:pt x="975148" y="1198367"/>
                </a:moveTo>
                <a:cubicBezTo>
                  <a:pt x="981177" y="1198367"/>
                  <a:pt x="986077" y="1203140"/>
                  <a:pt x="986077" y="1209170"/>
                </a:cubicBezTo>
                <a:cubicBezTo>
                  <a:pt x="986077" y="1215199"/>
                  <a:pt x="981304" y="1220098"/>
                  <a:pt x="975274" y="1220098"/>
                </a:cubicBezTo>
                <a:cubicBezTo>
                  <a:pt x="969245" y="1220098"/>
                  <a:pt x="964345" y="1215325"/>
                  <a:pt x="964345" y="1209296"/>
                </a:cubicBezTo>
                <a:cubicBezTo>
                  <a:pt x="964220" y="1203266"/>
                  <a:pt x="969118" y="1198367"/>
                  <a:pt x="975148" y="1198367"/>
                </a:cubicBezTo>
                <a:close/>
                <a:moveTo>
                  <a:pt x="2066240" y="1192587"/>
                </a:moveTo>
                <a:cubicBezTo>
                  <a:pt x="2073275" y="1192587"/>
                  <a:pt x="2079052" y="1198364"/>
                  <a:pt x="2079052" y="1205399"/>
                </a:cubicBezTo>
                <a:cubicBezTo>
                  <a:pt x="2079052" y="1212433"/>
                  <a:pt x="2073275" y="1218212"/>
                  <a:pt x="2066240" y="1218212"/>
                </a:cubicBezTo>
                <a:cubicBezTo>
                  <a:pt x="2059079" y="1218212"/>
                  <a:pt x="2053301" y="1212433"/>
                  <a:pt x="2053301" y="1205399"/>
                </a:cubicBezTo>
                <a:cubicBezTo>
                  <a:pt x="2053301" y="1198239"/>
                  <a:pt x="2058954" y="1192460"/>
                  <a:pt x="2066240" y="1192587"/>
                </a:cubicBezTo>
                <a:close/>
                <a:moveTo>
                  <a:pt x="646915" y="1190076"/>
                </a:moveTo>
                <a:cubicBezTo>
                  <a:pt x="662114" y="1190076"/>
                  <a:pt x="674424" y="1202260"/>
                  <a:pt x="674424" y="1217461"/>
                </a:cubicBezTo>
                <a:cubicBezTo>
                  <a:pt x="674424" y="1232535"/>
                  <a:pt x="662240" y="1244970"/>
                  <a:pt x="647041" y="1244970"/>
                </a:cubicBezTo>
                <a:cubicBezTo>
                  <a:pt x="631967" y="1244970"/>
                  <a:pt x="619531" y="1232785"/>
                  <a:pt x="619531" y="1217586"/>
                </a:cubicBezTo>
                <a:cubicBezTo>
                  <a:pt x="619531" y="1202387"/>
                  <a:pt x="631715" y="1190201"/>
                  <a:pt x="646915" y="1190076"/>
                </a:cubicBezTo>
                <a:close/>
                <a:moveTo>
                  <a:pt x="152623" y="1188945"/>
                </a:moveTo>
                <a:cubicBezTo>
                  <a:pt x="154884" y="1188945"/>
                  <a:pt x="156643" y="1190830"/>
                  <a:pt x="156643" y="1192965"/>
                </a:cubicBezTo>
                <a:cubicBezTo>
                  <a:pt x="156643" y="1195227"/>
                  <a:pt x="154884" y="1196985"/>
                  <a:pt x="152623" y="1196985"/>
                </a:cubicBezTo>
                <a:cubicBezTo>
                  <a:pt x="150361" y="1197110"/>
                  <a:pt x="148603" y="1195227"/>
                  <a:pt x="148603" y="1193090"/>
                </a:cubicBezTo>
                <a:cubicBezTo>
                  <a:pt x="148477" y="1190830"/>
                  <a:pt x="150361" y="1189070"/>
                  <a:pt x="152623" y="1188945"/>
                </a:cubicBezTo>
                <a:close/>
                <a:moveTo>
                  <a:pt x="2795684" y="1185176"/>
                </a:moveTo>
                <a:cubicBezTo>
                  <a:pt x="2806488" y="1185051"/>
                  <a:pt x="2815280" y="1193718"/>
                  <a:pt x="2815280" y="1204522"/>
                </a:cubicBezTo>
                <a:cubicBezTo>
                  <a:pt x="2815407" y="1215325"/>
                  <a:pt x="2806738" y="1224119"/>
                  <a:pt x="2795936" y="1224119"/>
                </a:cubicBezTo>
                <a:cubicBezTo>
                  <a:pt x="2785133" y="1224244"/>
                  <a:pt x="2776340" y="1215450"/>
                  <a:pt x="2776340" y="1204773"/>
                </a:cubicBezTo>
                <a:cubicBezTo>
                  <a:pt x="2776340" y="1193970"/>
                  <a:pt x="2785007" y="1185301"/>
                  <a:pt x="2795684" y="1185176"/>
                </a:cubicBezTo>
                <a:close/>
                <a:moveTo>
                  <a:pt x="2394220" y="1178645"/>
                </a:moveTo>
                <a:cubicBezTo>
                  <a:pt x="2412182" y="1178519"/>
                  <a:pt x="2426879" y="1193090"/>
                  <a:pt x="2426879" y="1211053"/>
                </a:cubicBezTo>
                <a:cubicBezTo>
                  <a:pt x="2427006" y="1229016"/>
                  <a:pt x="2412434" y="1243713"/>
                  <a:pt x="2394471" y="1243713"/>
                </a:cubicBezTo>
                <a:cubicBezTo>
                  <a:pt x="2376508" y="1243713"/>
                  <a:pt x="2361937" y="1229267"/>
                  <a:pt x="2361811" y="1211305"/>
                </a:cubicBezTo>
                <a:cubicBezTo>
                  <a:pt x="2361811" y="1193342"/>
                  <a:pt x="2376257" y="1178770"/>
                  <a:pt x="2394220" y="1178645"/>
                </a:cubicBezTo>
                <a:close/>
                <a:moveTo>
                  <a:pt x="552830" y="1173747"/>
                </a:moveTo>
                <a:cubicBezTo>
                  <a:pt x="565264" y="1173747"/>
                  <a:pt x="575440" y="1183796"/>
                  <a:pt x="575440" y="1196232"/>
                </a:cubicBezTo>
                <a:cubicBezTo>
                  <a:pt x="575440" y="1208667"/>
                  <a:pt x="565391" y="1218843"/>
                  <a:pt x="552955" y="1218843"/>
                </a:cubicBezTo>
                <a:cubicBezTo>
                  <a:pt x="540519" y="1218843"/>
                  <a:pt x="530345" y="1208794"/>
                  <a:pt x="530345" y="1196358"/>
                </a:cubicBezTo>
                <a:cubicBezTo>
                  <a:pt x="530345" y="1183921"/>
                  <a:pt x="540394" y="1173747"/>
                  <a:pt x="552830" y="1173747"/>
                </a:cubicBezTo>
                <a:close/>
                <a:moveTo>
                  <a:pt x="1132794" y="1170729"/>
                </a:moveTo>
                <a:cubicBezTo>
                  <a:pt x="1133045" y="1170729"/>
                  <a:pt x="1133297" y="1170981"/>
                  <a:pt x="1133297" y="1171231"/>
                </a:cubicBezTo>
                <a:cubicBezTo>
                  <a:pt x="1133297" y="1171483"/>
                  <a:pt x="1133045" y="1171734"/>
                  <a:pt x="1132794" y="1171734"/>
                </a:cubicBezTo>
                <a:cubicBezTo>
                  <a:pt x="1132544" y="1171734"/>
                  <a:pt x="1132292" y="1171609"/>
                  <a:pt x="1132292" y="1171357"/>
                </a:cubicBezTo>
                <a:cubicBezTo>
                  <a:pt x="1132292" y="1170981"/>
                  <a:pt x="1132544" y="1170729"/>
                  <a:pt x="1132794" y="1170729"/>
                </a:cubicBezTo>
                <a:close/>
                <a:moveTo>
                  <a:pt x="2888514" y="1169852"/>
                </a:moveTo>
                <a:cubicBezTo>
                  <a:pt x="2895800" y="1169852"/>
                  <a:pt x="2901830" y="1175756"/>
                  <a:pt x="2901830" y="1183040"/>
                </a:cubicBezTo>
                <a:cubicBezTo>
                  <a:pt x="2901830" y="1190326"/>
                  <a:pt x="2895925" y="1196356"/>
                  <a:pt x="2888640" y="1196356"/>
                </a:cubicBezTo>
                <a:cubicBezTo>
                  <a:pt x="2881354" y="1196481"/>
                  <a:pt x="2875324" y="1190452"/>
                  <a:pt x="2875324" y="1183167"/>
                </a:cubicBezTo>
                <a:cubicBezTo>
                  <a:pt x="2875324" y="1175881"/>
                  <a:pt x="2881229" y="1169852"/>
                  <a:pt x="2888514" y="1169852"/>
                </a:cubicBezTo>
                <a:close/>
                <a:moveTo>
                  <a:pt x="59664" y="1168219"/>
                </a:moveTo>
                <a:cubicBezTo>
                  <a:pt x="61926" y="1168219"/>
                  <a:pt x="63684" y="1169977"/>
                  <a:pt x="63684" y="1172239"/>
                </a:cubicBezTo>
                <a:cubicBezTo>
                  <a:pt x="63684" y="1174500"/>
                  <a:pt x="61799" y="1176258"/>
                  <a:pt x="59664" y="1176258"/>
                </a:cubicBezTo>
                <a:cubicBezTo>
                  <a:pt x="57404" y="1176258"/>
                  <a:pt x="55645" y="1174374"/>
                  <a:pt x="55645" y="1172239"/>
                </a:cubicBezTo>
                <a:cubicBezTo>
                  <a:pt x="55645" y="1169977"/>
                  <a:pt x="57404" y="1168219"/>
                  <a:pt x="59664" y="1168219"/>
                </a:cubicBezTo>
                <a:close/>
                <a:moveTo>
                  <a:pt x="1908215" y="1167340"/>
                </a:moveTo>
                <a:cubicBezTo>
                  <a:pt x="1908843" y="1167340"/>
                  <a:pt x="1909345" y="1167842"/>
                  <a:pt x="1909345" y="1168470"/>
                </a:cubicBezTo>
                <a:cubicBezTo>
                  <a:pt x="1909345" y="1169098"/>
                  <a:pt x="1908843" y="1169601"/>
                  <a:pt x="1908215" y="1169601"/>
                </a:cubicBezTo>
                <a:cubicBezTo>
                  <a:pt x="1907588" y="1169601"/>
                  <a:pt x="1907085" y="1169098"/>
                  <a:pt x="1907085" y="1168470"/>
                </a:cubicBezTo>
                <a:cubicBezTo>
                  <a:pt x="1907085" y="1167842"/>
                  <a:pt x="1907588" y="1167340"/>
                  <a:pt x="1908215" y="1167340"/>
                </a:cubicBezTo>
                <a:close/>
                <a:moveTo>
                  <a:pt x="876666" y="1164199"/>
                </a:moveTo>
                <a:cubicBezTo>
                  <a:pt x="888599" y="1164074"/>
                  <a:pt x="898271" y="1173746"/>
                  <a:pt x="898271" y="1185553"/>
                </a:cubicBezTo>
                <a:cubicBezTo>
                  <a:pt x="898397" y="1197487"/>
                  <a:pt x="888725" y="1207159"/>
                  <a:pt x="876917" y="1207159"/>
                </a:cubicBezTo>
                <a:cubicBezTo>
                  <a:pt x="865109" y="1207285"/>
                  <a:pt x="855437" y="1197612"/>
                  <a:pt x="855437" y="1185805"/>
                </a:cubicBezTo>
                <a:cubicBezTo>
                  <a:pt x="855437" y="1173996"/>
                  <a:pt x="864984" y="1164324"/>
                  <a:pt x="876666" y="1164199"/>
                </a:cubicBezTo>
                <a:close/>
                <a:moveTo>
                  <a:pt x="2164093" y="1160053"/>
                </a:moveTo>
                <a:cubicBezTo>
                  <a:pt x="2175650" y="1160053"/>
                  <a:pt x="2185197" y="1169474"/>
                  <a:pt x="2185197" y="1181030"/>
                </a:cubicBezTo>
                <a:cubicBezTo>
                  <a:pt x="2185197" y="1192587"/>
                  <a:pt x="2175900" y="1202133"/>
                  <a:pt x="2164219" y="1202133"/>
                </a:cubicBezTo>
                <a:cubicBezTo>
                  <a:pt x="2152662" y="1202133"/>
                  <a:pt x="2143115" y="1192712"/>
                  <a:pt x="2143115" y="1181156"/>
                </a:cubicBezTo>
                <a:cubicBezTo>
                  <a:pt x="2143115" y="1169474"/>
                  <a:pt x="2152537" y="1160053"/>
                  <a:pt x="2164093" y="1160053"/>
                </a:cubicBezTo>
                <a:close/>
                <a:moveTo>
                  <a:pt x="2488179" y="1158169"/>
                </a:moveTo>
                <a:cubicBezTo>
                  <a:pt x="2505263" y="1158169"/>
                  <a:pt x="2519207" y="1171987"/>
                  <a:pt x="2519207" y="1189071"/>
                </a:cubicBezTo>
                <a:cubicBezTo>
                  <a:pt x="2519207" y="1206280"/>
                  <a:pt x="2505388" y="1220223"/>
                  <a:pt x="2488305" y="1220223"/>
                </a:cubicBezTo>
                <a:cubicBezTo>
                  <a:pt x="2471221" y="1220223"/>
                  <a:pt x="2457279" y="1206405"/>
                  <a:pt x="2457279" y="1189321"/>
                </a:cubicBezTo>
                <a:cubicBezTo>
                  <a:pt x="2457152" y="1172238"/>
                  <a:pt x="2470970" y="1158294"/>
                  <a:pt x="2488179" y="1158169"/>
                </a:cubicBezTo>
                <a:close/>
                <a:moveTo>
                  <a:pt x="459121" y="1156663"/>
                </a:moveTo>
                <a:cubicBezTo>
                  <a:pt x="469297" y="1156663"/>
                  <a:pt x="477587" y="1164828"/>
                  <a:pt x="477587" y="1175002"/>
                </a:cubicBezTo>
                <a:cubicBezTo>
                  <a:pt x="477587" y="1185178"/>
                  <a:pt x="469422" y="1193468"/>
                  <a:pt x="459248" y="1193468"/>
                </a:cubicBezTo>
                <a:cubicBezTo>
                  <a:pt x="449072" y="1193468"/>
                  <a:pt x="440782" y="1185303"/>
                  <a:pt x="440782" y="1175129"/>
                </a:cubicBezTo>
                <a:cubicBezTo>
                  <a:pt x="440782" y="1164953"/>
                  <a:pt x="448946" y="1156788"/>
                  <a:pt x="459121" y="1156663"/>
                </a:cubicBezTo>
                <a:close/>
                <a:moveTo>
                  <a:pt x="2981342" y="1156161"/>
                </a:moveTo>
                <a:cubicBezTo>
                  <a:pt x="2984357" y="1156161"/>
                  <a:pt x="2986869" y="1158673"/>
                  <a:pt x="2986869" y="1161688"/>
                </a:cubicBezTo>
                <a:cubicBezTo>
                  <a:pt x="2986869" y="1164703"/>
                  <a:pt x="2984357" y="1167215"/>
                  <a:pt x="2981342" y="1167215"/>
                </a:cubicBezTo>
                <a:cubicBezTo>
                  <a:pt x="2978328" y="1167215"/>
                  <a:pt x="2975815" y="1164703"/>
                  <a:pt x="2975815" y="1161688"/>
                </a:cubicBezTo>
                <a:cubicBezTo>
                  <a:pt x="2975815" y="1158673"/>
                  <a:pt x="2978202" y="1156161"/>
                  <a:pt x="2981342" y="1156161"/>
                </a:cubicBezTo>
                <a:close/>
                <a:moveTo>
                  <a:pt x="2581762" y="1139201"/>
                </a:moveTo>
                <a:cubicBezTo>
                  <a:pt x="2597338" y="1139201"/>
                  <a:pt x="2610025" y="1151637"/>
                  <a:pt x="2610025" y="1167213"/>
                </a:cubicBezTo>
                <a:cubicBezTo>
                  <a:pt x="2610025" y="1182789"/>
                  <a:pt x="2597463" y="1195351"/>
                  <a:pt x="2582013" y="1195476"/>
                </a:cubicBezTo>
                <a:cubicBezTo>
                  <a:pt x="2566437" y="1195476"/>
                  <a:pt x="2553876" y="1182915"/>
                  <a:pt x="2553750" y="1167464"/>
                </a:cubicBezTo>
                <a:cubicBezTo>
                  <a:pt x="2553750" y="1152013"/>
                  <a:pt x="2566186" y="1139326"/>
                  <a:pt x="2581762" y="1139201"/>
                </a:cubicBezTo>
                <a:close/>
                <a:moveTo>
                  <a:pt x="365413" y="1139074"/>
                </a:moveTo>
                <a:cubicBezTo>
                  <a:pt x="373703" y="1139074"/>
                  <a:pt x="380487" y="1145733"/>
                  <a:pt x="380487" y="1154023"/>
                </a:cubicBezTo>
                <a:cubicBezTo>
                  <a:pt x="380613" y="1162314"/>
                  <a:pt x="373830" y="1169097"/>
                  <a:pt x="365539" y="1169097"/>
                </a:cubicBezTo>
                <a:cubicBezTo>
                  <a:pt x="357249" y="1169097"/>
                  <a:pt x="350465" y="1162314"/>
                  <a:pt x="350465" y="1154023"/>
                </a:cubicBezTo>
                <a:cubicBezTo>
                  <a:pt x="350465" y="1145733"/>
                  <a:pt x="357122" y="1138949"/>
                  <a:pt x="365413" y="1139074"/>
                </a:cubicBezTo>
                <a:close/>
                <a:moveTo>
                  <a:pt x="779816" y="1134930"/>
                </a:moveTo>
                <a:cubicBezTo>
                  <a:pt x="795267" y="1134930"/>
                  <a:pt x="807829" y="1147241"/>
                  <a:pt x="807829" y="1162691"/>
                </a:cubicBezTo>
                <a:cubicBezTo>
                  <a:pt x="807954" y="1178142"/>
                  <a:pt x="795518" y="1190704"/>
                  <a:pt x="780067" y="1190704"/>
                </a:cubicBezTo>
                <a:cubicBezTo>
                  <a:pt x="764617" y="1190829"/>
                  <a:pt x="752056" y="1178393"/>
                  <a:pt x="752056" y="1162943"/>
                </a:cubicBezTo>
                <a:cubicBezTo>
                  <a:pt x="751929" y="1147617"/>
                  <a:pt x="764366" y="1135055"/>
                  <a:pt x="779816" y="1134930"/>
                </a:cubicBezTo>
                <a:close/>
                <a:moveTo>
                  <a:pt x="1028029" y="1133172"/>
                </a:moveTo>
                <a:cubicBezTo>
                  <a:pt x="1033180" y="1133172"/>
                  <a:pt x="1037325" y="1137317"/>
                  <a:pt x="1037325" y="1142467"/>
                </a:cubicBezTo>
                <a:cubicBezTo>
                  <a:pt x="1037325" y="1147618"/>
                  <a:pt x="1033180" y="1151763"/>
                  <a:pt x="1028029" y="1151763"/>
                </a:cubicBezTo>
                <a:cubicBezTo>
                  <a:pt x="1022879" y="1151763"/>
                  <a:pt x="1018735" y="1147618"/>
                  <a:pt x="1018735" y="1142467"/>
                </a:cubicBezTo>
                <a:cubicBezTo>
                  <a:pt x="1018735" y="1137317"/>
                  <a:pt x="1022879" y="1133172"/>
                  <a:pt x="1028029" y="1133172"/>
                </a:cubicBezTo>
                <a:close/>
                <a:moveTo>
                  <a:pt x="2261066" y="1128398"/>
                </a:moveTo>
                <a:cubicBezTo>
                  <a:pt x="2277145" y="1128398"/>
                  <a:pt x="2290336" y="1141337"/>
                  <a:pt x="2290336" y="1157541"/>
                </a:cubicBezTo>
                <a:cubicBezTo>
                  <a:pt x="2290336" y="1173620"/>
                  <a:pt x="2277397" y="1186684"/>
                  <a:pt x="2261192" y="1186809"/>
                </a:cubicBezTo>
                <a:cubicBezTo>
                  <a:pt x="2244988" y="1186809"/>
                  <a:pt x="2231798" y="1173745"/>
                  <a:pt x="2231798" y="1157666"/>
                </a:cubicBezTo>
                <a:cubicBezTo>
                  <a:pt x="2231798" y="1141462"/>
                  <a:pt x="2244737" y="1128398"/>
                  <a:pt x="2261066" y="1128398"/>
                </a:cubicBezTo>
                <a:close/>
                <a:moveTo>
                  <a:pt x="2012727" y="1127396"/>
                </a:moveTo>
                <a:cubicBezTo>
                  <a:pt x="2019133" y="1127269"/>
                  <a:pt x="2024283" y="1132420"/>
                  <a:pt x="2024283" y="1138826"/>
                </a:cubicBezTo>
                <a:cubicBezTo>
                  <a:pt x="2024283" y="1145233"/>
                  <a:pt x="2019133" y="1150383"/>
                  <a:pt x="2012853" y="1150383"/>
                </a:cubicBezTo>
                <a:cubicBezTo>
                  <a:pt x="2006447" y="1150383"/>
                  <a:pt x="2001297" y="1145358"/>
                  <a:pt x="2001297" y="1138952"/>
                </a:cubicBezTo>
                <a:cubicBezTo>
                  <a:pt x="2001170" y="1132546"/>
                  <a:pt x="2006321" y="1127396"/>
                  <a:pt x="2012727" y="1127396"/>
                </a:cubicBezTo>
                <a:close/>
                <a:moveTo>
                  <a:pt x="271955" y="1121113"/>
                </a:moveTo>
                <a:cubicBezTo>
                  <a:pt x="278487" y="1121113"/>
                  <a:pt x="283763" y="1126388"/>
                  <a:pt x="283763" y="1132795"/>
                </a:cubicBezTo>
                <a:cubicBezTo>
                  <a:pt x="283763" y="1139327"/>
                  <a:pt x="278613" y="1144604"/>
                  <a:pt x="272081" y="1144604"/>
                </a:cubicBezTo>
                <a:cubicBezTo>
                  <a:pt x="265549" y="1144604"/>
                  <a:pt x="260273" y="1139453"/>
                  <a:pt x="260273" y="1132922"/>
                </a:cubicBezTo>
                <a:cubicBezTo>
                  <a:pt x="260273" y="1126515"/>
                  <a:pt x="265423" y="1121238"/>
                  <a:pt x="271955" y="1121113"/>
                </a:cubicBezTo>
                <a:close/>
                <a:moveTo>
                  <a:pt x="2675219" y="1120737"/>
                </a:moveTo>
                <a:cubicBezTo>
                  <a:pt x="2689037" y="1120612"/>
                  <a:pt x="2700341" y="1131791"/>
                  <a:pt x="2700341" y="1145608"/>
                </a:cubicBezTo>
                <a:cubicBezTo>
                  <a:pt x="2700468" y="1159426"/>
                  <a:pt x="2689287" y="1170731"/>
                  <a:pt x="2675471" y="1170731"/>
                </a:cubicBezTo>
                <a:cubicBezTo>
                  <a:pt x="2661653" y="1170731"/>
                  <a:pt x="2650348" y="1159552"/>
                  <a:pt x="2650348" y="1145735"/>
                </a:cubicBezTo>
                <a:cubicBezTo>
                  <a:pt x="2650348" y="1131917"/>
                  <a:pt x="2661402" y="1120612"/>
                  <a:pt x="2675219" y="1120737"/>
                </a:cubicBezTo>
                <a:close/>
                <a:moveTo>
                  <a:pt x="1199119" y="1117094"/>
                </a:moveTo>
                <a:cubicBezTo>
                  <a:pt x="1199622" y="1117094"/>
                  <a:pt x="1199998" y="1117471"/>
                  <a:pt x="1199998" y="1117974"/>
                </a:cubicBezTo>
                <a:cubicBezTo>
                  <a:pt x="1199998" y="1118477"/>
                  <a:pt x="1199622" y="1118853"/>
                  <a:pt x="1199119" y="1118853"/>
                </a:cubicBezTo>
                <a:cubicBezTo>
                  <a:pt x="1198617" y="1118853"/>
                  <a:pt x="1198239" y="1118477"/>
                  <a:pt x="1198239" y="1117974"/>
                </a:cubicBezTo>
                <a:cubicBezTo>
                  <a:pt x="1198239" y="1117471"/>
                  <a:pt x="1198617" y="1117094"/>
                  <a:pt x="1199119" y="1117094"/>
                </a:cubicBezTo>
                <a:close/>
                <a:moveTo>
                  <a:pt x="683595" y="1114204"/>
                </a:moveTo>
                <a:cubicBezTo>
                  <a:pt x="698167" y="1114204"/>
                  <a:pt x="710101" y="1125886"/>
                  <a:pt x="710101" y="1140457"/>
                </a:cubicBezTo>
                <a:cubicBezTo>
                  <a:pt x="710101" y="1155028"/>
                  <a:pt x="698419" y="1166837"/>
                  <a:pt x="683847" y="1166962"/>
                </a:cubicBezTo>
                <a:cubicBezTo>
                  <a:pt x="669276" y="1166962"/>
                  <a:pt x="657467" y="1155280"/>
                  <a:pt x="657342" y="1140709"/>
                </a:cubicBezTo>
                <a:cubicBezTo>
                  <a:pt x="657342" y="1126138"/>
                  <a:pt x="669024" y="1114329"/>
                  <a:pt x="683595" y="1114204"/>
                </a:cubicBezTo>
                <a:close/>
                <a:moveTo>
                  <a:pt x="1841388" y="1114079"/>
                </a:moveTo>
                <a:cubicBezTo>
                  <a:pt x="1842267" y="1114079"/>
                  <a:pt x="1843020" y="1114707"/>
                  <a:pt x="1843020" y="1115586"/>
                </a:cubicBezTo>
                <a:cubicBezTo>
                  <a:pt x="1843020" y="1116340"/>
                  <a:pt x="1842267" y="1117093"/>
                  <a:pt x="1841388" y="1117093"/>
                </a:cubicBezTo>
                <a:cubicBezTo>
                  <a:pt x="1840633" y="1117093"/>
                  <a:pt x="1839880" y="1116466"/>
                  <a:pt x="1839880" y="1115586"/>
                </a:cubicBezTo>
                <a:cubicBezTo>
                  <a:pt x="1839880" y="1114707"/>
                  <a:pt x="1840633" y="1114079"/>
                  <a:pt x="1841388" y="1114079"/>
                </a:cubicBezTo>
                <a:close/>
                <a:moveTo>
                  <a:pt x="2768678" y="1110812"/>
                </a:moveTo>
                <a:cubicBezTo>
                  <a:pt x="2775838" y="1110812"/>
                  <a:pt x="2781742" y="1116716"/>
                  <a:pt x="2781742" y="1123876"/>
                </a:cubicBezTo>
                <a:cubicBezTo>
                  <a:pt x="2781742" y="1131036"/>
                  <a:pt x="2775838" y="1136940"/>
                  <a:pt x="2768678" y="1136940"/>
                </a:cubicBezTo>
                <a:cubicBezTo>
                  <a:pt x="2761519" y="1136940"/>
                  <a:pt x="2755614" y="1131036"/>
                  <a:pt x="2755614" y="1123876"/>
                </a:cubicBezTo>
                <a:cubicBezTo>
                  <a:pt x="2755614" y="1116716"/>
                  <a:pt x="2761393" y="1110812"/>
                  <a:pt x="2768678" y="1110812"/>
                </a:cubicBezTo>
                <a:close/>
                <a:moveTo>
                  <a:pt x="178497" y="1104783"/>
                </a:moveTo>
                <a:cubicBezTo>
                  <a:pt x="182517" y="1104783"/>
                  <a:pt x="185657" y="1107923"/>
                  <a:pt x="185657" y="1111817"/>
                </a:cubicBezTo>
                <a:cubicBezTo>
                  <a:pt x="185657" y="1115837"/>
                  <a:pt x="182517" y="1118977"/>
                  <a:pt x="178622" y="1118977"/>
                </a:cubicBezTo>
                <a:cubicBezTo>
                  <a:pt x="174729" y="1118977"/>
                  <a:pt x="171463" y="1115837"/>
                  <a:pt x="171463" y="1111943"/>
                </a:cubicBezTo>
                <a:cubicBezTo>
                  <a:pt x="171463" y="1108049"/>
                  <a:pt x="174603" y="1104783"/>
                  <a:pt x="178497" y="1104783"/>
                </a:cubicBezTo>
                <a:close/>
                <a:moveTo>
                  <a:pt x="2356911" y="1099634"/>
                </a:moveTo>
                <a:cubicBezTo>
                  <a:pt x="2376255" y="1099508"/>
                  <a:pt x="2391957" y="1115084"/>
                  <a:pt x="2391957" y="1134430"/>
                </a:cubicBezTo>
                <a:cubicBezTo>
                  <a:pt x="2392083" y="1153649"/>
                  <a:pt x="2376507" y="1169477"/>
                  <a:pt x="2357162" y="1169477"/>
                </a:cubicBezTo>
                <a:cubicBezTo>
                  <a:pt x="2337943" y="1169602"/>
                  <a:pt x="2322242" y="1154026"/>
                  <a:pt x="2322117" y="1134680"/>
                </a:cubicBezTo>
                <a:cubicBezTo>
                  <a:pt x="2321990" y="1115336"/>
                  <a:pt x="2337566" y="1099634"/>
                  <a:pt x="2356911" y="1099634"/>
                </a:cubicBezTo>
                <a:close/>
                <a:moveTo>
                  <a:pt x="926031" y="1098251"/>
                </a:moveTo>
                <a:cubicBezTo>
                  <a:pt x="935830" y="1098251"/>
                  <a:pt x="943742" y="1106165"/>
                  <a:pt x="943742" y="1115962"/>
                </a:cubicBezTo>
                <a:cubicBezTo>
                  <a:pt x="943869" y="1125636"/>
                  <a:pt x="935955" y="1133674"/>
                  <a:pt x="926158" y="1133674"/>
                </a:cubicBezTo>
                <a:cubicBezTo>
                  <a:pt x="916359" y="1133800"/>
                  <a:pt x="908320" y="1125886"/>
                  <a:pt x="908320" y="1116087"/>
                </a:cubicBezTo>
                <a:cubicBezTo>
                  <a:pt x="908320" y="1106290"/>
                  <a:pt x="916234" y="1098376"/>
                  <a:pt x="926031" y="1098251"/>
                </a:cubicBezTo>
                <a:close/>
                <a:moveTo>
                  <a:pt x="588003" y="1097749"/>
                </a:moveTo>
                <a:cubicBezTo>
                  <a:pt x="599434" y="1097749"/>
                  <a:pt x="608856" y="1106919"/>
                  <a:pt x="608856" y="1118475"/>
                </a:cubicBezTo>
                <a:cubicBezTo>
                  <a:pt x="608856" y="1129907"/>
                  <a:pt x="599560" y="1139328"/>
                  <a:pt x="588128" y="1139328"/>
                </a:cubicBezTo>
                <a:cubicBezTo>
                  <a:pt x="576698" y="1139328"/>
                  <a:pt x="567401" y="1130032"/>
                  <a:pt x="567276" y="1118602"/>
                </a:cubicBezTo>
                <a:cubicBezTo>
                  <a:pt x="567276" y="1107170"/>
                  <a:pt x="576572" y="1097749"/>
                  <a:pt x="588003" y="1097749"/>
                </a:cubicBezTo>
                <a:close/>
                <a:moveTo>
                  <a:pt x="2861884" y="1094859"/>
                </a:moveTo>
                <a:cubicBezTo>
                  <a:pt x="2865903" y="1094859"/>
                  <a:pt x="2869169" y="1098124"/>
                  <a:pt x="2869169" y="1102144"/>
                </a:cubicBezTo>
                <a:cubicBezTo>
                  <a:pt x="2869169" y="1106164"/>
                  <a:pt x="2865903" y="1109430"/>
                  <a:pt x="2861884" y="1109430"/>
                </a:cubicBezTo>
                <a:cubicBezTo>
                  <a:pt x="2857864" y="1109430"/>
                  <a:pt x="2854598" y="1106164"/>
                  <a:pt x="2854598" y="1102144"/>
                </a:cubicBezTo>
                <a:cubicBezTo>
                  <a:pt x="2854598" y="1098124"/>
                  <a:pt x="2857864" y="1094859"/>
                  <a:pt x="2861884" y="1094859"/>
                </a:cubicBezTo>
                <a:close/>
                <a:moveTo>
                  <a:pt x="2114601" y="1091594"/>
                </a:moveTo>
                <a:cubicBezTo>
                  <a:pt x="2125781" y="1091594"/>
                  <a:pt x="2134825" y="1100638"/>
                  <a:pt x="2134825" y="1111692"/>
                </a:cubicBezTo>
                <a:cubicBezTo>
                  <a:pt x="2134825" y="1122872"/>
                  <a:pt x="2125781" y="1131916"/>
                  <a:pt x="2114727" y="1131916"/>
                </a:cubicBezTo>
                <a:cubicBezTo>
                  <a:pt x="2103547" y="1131916"/>
                  <a:pt x="2094503" y="1122998"/>
                  <a:pt x="2094503" y="1111818"/>
                </a:cubicBezTo>
                <a:cubicBezTo>
                  <a:pt x="2094377" y="1100638"/>
                  <a:pt x="2103422" y="1091594"/>
                  <a:pt x="2114601" y="1091594"/>
                </a:cubicBezTo>
                <a:close/>
                <a:moveTo>
                  <a:pt x="85165" y="1087574"/>
                </a:moveTo>
                <a:cubicBezTo>
                  <a:pt x="87048" y="1087447"/>
                  <a:pt x="88556" y="1088955"/>
                  <a:pt x="88556" y="1090840"/>
                </a:cubicBezTo>
                <a:cubicBezTo>
                  <a:pt x="88556" y="1092599"/>
                  <a:pt x="87048" y="1094107"/>
                  <a:pt x="85291" y="1094107"/>
                </a:cubicBezTo>
                <a:cubicBezTo>
                  <a:pt x="83406" y="1094107"/>
                  <a:pt x="81899" y="1092725"/>
                  <a:pt x="81899" y="1090840"/>
                </a:cubicBezTo>
                <a:cubicBezTo>
                  <a:pt x="81899" y="1089081"/>
                  <a:pt x="83406" y="1087574"/>
                  <a:pt x="85165" y="1087574"/>
                </a:cubicBezTo>
                <a:close/>
                <a:moveTo>
                  <a:pt x="2452379" y="1080791"/>
                </a:moveTo>
                <a:cubicBezTo>
                  <a:pt x="2469588" y="1080791"/>
                  <a:pt x="2483532" y="1094608"/>
                  <a:pt x="2483532" y="1111691"/>
                </a:cubicBezTo>
                <a:cubicBezTo>
                  <a:pt x="2483532" y="1128902"/>
                  <a:pt x="2469713" y="1142845"/>
                  <a:pt x="2452630" y="1142845"/>
                </a:cubicBezTo>
                <a:cubicBezTo>
                  <a:pt x="2435546" y="1142845"/>
                  <a:pt x="2421604" y="1129027"/>
                  <a:pt x="2421604" y="1111943"/>
                </a:cubicBezTo>
                <a:cubicBezTo>
                  <a:pt x="2421477" y="1094860"/>
                  <a:pt x="2435295" y="1080916"/>
                  <a:pt x="2452379" y="1080791"/>
                </a:cubicBezTo>
                <a:close/>
                <a:moveTo>
                  <a:pt x="492912" y="1079533"/>
                </a:moveTo>
                <a:cubicBezTo>
                  <a:pt x="502458" y="1079533"/>
                  <a:pt x="510247" y="1087195"/>
                  <a:pt x="510247" y="1096741"/>
                </a:cubicBezTo>
                <a:cubicBezTo>
                  <a:pt x="510247" y="1106288"/>
                  <a:pt x="502584" y="1114076"/>
                  <a:pt x="493038" y="1114076"/>
                </a:cubicBezTo>
                <a:cubicBezTo>
                  <a:pt x="483492" y="1114076"/>
                  <a:pt x="475703" y="1106413"/>
                  <a:pt x="475703" y="1096867"/>
                </a:cubicBezTo>
                <a:cubicBezTo>
                  <a:pt x="475703" y="1087320"/>
                  <a:pt x="483365" y="1079533"/>
                  <a:pt x="492912" y="1079533"/>
                </a:cubicBezTo>
                <a:close/>
                <a:moveTo>
                  <a:pt x="2955090" y="1077649"/>
                </a:moveTo>
                <a:cubicBezTo>
                  <a:pt x="2956723" y="1077649"/>
                  <a:pt x="2957978" y="1078904"/>
                  <a:pt x="2957978" y="1080539"/>
                </a:cubicBezTo>
                <a:cubicBezTo>
                  <a:pt x="2957978" y="1082171"/>
                  <a:pt x="2956723" y="1083427"/>
                  <a:pt x="2955090" y="1083427"/>
                </a:cubicBezTo>
                <a:cubicBezTo>
                  <a:pt x="2953456" y="1083427"/>
                  <a:pt x="2952200" y="1082171"/>
                  <a:pt x="2952200" y="1080539"/>
                </a:cubicBezTo>
                <a:cubicBezTo>
                  <a:pt x="2952200" y="1078904"/>
                  <a:pt x="2953582" y="1077649"/>
                  <a:pt x="2955090" y="1077649"/>
                </a:cubicBezTo>
                <a:close/>
                <a:moveTo>
                  <a:pt x="1951427" y="1074635"/>
                </a:moveTo>
                <a:cubicBezTo>
                  <a:pt x="1954317" y="1074635"/>
                  <a:pt x="1956577" y="1076897"/>
                  <a:pt x="1956577" y="1079659"/>
                </a:cubicBezTo>
                <a:cubicBezTo>
                  <a:pt x="1956577" y="1082549"/>
                  <a:pt x="1954192" y="1084809"/>
                  <a:pt x="1951427" y="1084809"/>
                </a:cubicBezTo>
                <a:cubicBezTo>
                  <a:pt x="1948538" y="1084934"/>
                  <a:pt x="1946277" y="1082549"/>
                  <a:pt x="1946277" y="1079785"/>
                </a:cubicBezTo>
                <a:cubicBezTo>
                  <a:pt x="1946277" y="1077022"/>
                  <a:pt x="1948538" y="1074635"/>
                  <a:pt x="1951427" y="1074635"/>
                </a:cubicBezTo>
                <a:close/>
                <a:moveTo>
                  <a:pt x="1272730" y="1074134"/>
                </a:moveTo>
                <a:cubicBezTo>
                  <a:pt x="1273233" y="1074134"/>
                  <a:pt x="1273609" y="1074511"/>
                  <a:pt x="1273609" y="1075014"/>
                </a:cubicBezTo>
                <a:cubicBezTo>
                  <a:pt x="1273609" y="1075517"/>
                  <a:pt x="1273233" y="1075893"/>
                  <a:pt x="1272730" y="1075893"/>
                </a:cubicBezTo>
                <a:cubicBezTo>
                  <a:pt x="1272228" y="1075893"/>
                  <a:pt x="1271850" y="1075517"/>
                  <a:pt x="1271850" y="1075014"/>
                </a:cubicBezTo>
                <a:cubicBezTo>
                  <a:pt x="1271850" y="1074511"/>
                  <a:pt x="1272353" y="1074134"/>
                  <a:pt x="1272730" y="1074134"/>
                </a:cubicBezTo>
                <a:close/>
                <a:moveTo>
                  <a:pt x="1088953" y="1073630"/>
                </a:moveTo>
                <a:cubicBezTo>
                  <a:pt x="1094229" y="1073630"/>
                  <a:pt x="1098374" y="1077775"/>
                  <a:pt x="1098374" y="1082925"/>
                </a:cubicBezTo>
                <a:cubicBezTo>
                  <a:pt x="1098374" y="1088076"/>
                  <a:pt x="1094229" y="1092221"/>
                  <a:pt x="1089078" y="1092221"/>
                </a:cubicBezTo>
                <a:cubicBezTo>
                  <a:pt x="1083928" y="1092221"/>
                  <a:pt x="1079784" y="1088076"/>
                  <a:pt x="1079784" y="1082925"/>
                </a:cubicBezTo>
                <a:cubicBezTo>
                  <a:pt x="1079784" y="1077775"/>
                  <a:pt x="1083928" y="1073630"/>
                  <a:pt x="1088953" y="1073630"/>
                </a:cubicBezTo>
                <a:close/>
                <a:moveTo>
                  <a:pt x="1767401" y="1072751"/>
                </a:moveTo>
                <a:cubicBezTo>
                  <a:pt x="1767652" y="1072626"/>
                  <a:pt x="1767904" y="1072878"/>
                  <a:pt x="1767904" y="1073128"/>
                </a:cubicBezTo>
                <a:cubicBezTo>
                  <a:pt x="1767904" y="1073380"/>
                  <a:pt x="1767777" y="1073631"/>
                  <a:pt x="1767527" y="1073631"/>
                </a:cubicBezTo>
                <a:cubicBezTo>
                  <a:pt x="1767276" y="1073631"/>
                  <a:pt x="1767024" y="1073506"/>
                  <a:pt x="1767024" y="1073254"/>
                </a:cubicBezTo>
                <a:cubicBezTo>
                  <a:pt x="1767024" y="1073003"/>
                  <a:pt x="1767276" y="1072751"/>
                  <a:pt x="1767401" y="1072751"/>
                </a:cubicBezTo>
                <a:close/>
                <a:moveTo>
                  <a:pt x="825917" y="1064838"/>
                </a:moveTo>
                <a:cubicBezTo>
                  <a:pt x="840363" y="1064838"/>
                  <a:pt x="852297" y="1076520"/>
                  <a:pt x="852297" y="1091091"/>
                </a:cubicBezTo>
                <a:cubicBezTo>
                  <a:pt x="852297" y="1105537"/>
                  <a:pt x="840615" y="1117471"/>
                  <a:pt x="826043" y="1117471"/>
                </a:cubicBezTo>
                <a:cubicBezTo>
                  <a:pt x="811472" y="1117471"/>
                  <a:pt x="799538" y="1105789"/>
                  <a:pt x="799538" y="1091218"/>
                </a:cubicBezTo>
                <a:cubicBezTo>
                  <a:pt x="799538" y="1076646"/>
                  <a:pt x="811220" y="1064838"/>
                  <a:pt x="825917" y="1064838"/>
                </a:cubicBezTo>
                <a:close/>
                <a:moveTo>
                  <a:pt x="2547470" y="1064335"/>
                </a:moveTo>
                <a:cubicBezTo>
                  <a:pt x="2561287" y="1064210"/>
                  <a:pt x="2572593" y="1075389"/>
                  <a:pt x="2572593" y="1089206"/>
                </a:cubicBezTo>
                <a:cubicBezTo>
                  <a:pt x="2572593" y="1103024"/>
                  <a:pt x="2561413" y="1114329"/>
                  <a:pt x="2547596" y="1114329"/>
                </a:cubicBezTo>
                <a:cubicBezTo>
                  <a:pt x="2533779" y="1114455"/>
                  <a:pt x="2522473" y="1103275"/>
                  <a:pt x="2522473" y="1089458"/>
                </a:cubicBezTo>
                <a:cubicBezTo>
                  <a:pt x="2522473" y="1075640"/>
                  <a:pt x="2533652" y="1064335"/>
                  <a:pt x="2547470" y="1064335"/>
                </a:cubicBezTo>
                <a:close/>
                <a:moveTo>
                  <a:pt x="398073" y="1060566"/>
                </a:moveTo>
                <a:cubicBezTo>
                  <a:pt x="406237" y="1060566"/>
                  <a:pt x="412769" y="1067098"/>
                  <a:pt x="412769" y="1075137"/>
                </a:cubicBezTo>
                <a:cubicBezTo>
                  <a:pt x="412769" y="1083177"/>
                  <a:pt x="406237" y="1089834"/>
                  <a:pt x="398198" y="1089834"/>
                </a:cubicBezTo>
                <a:cubicBezTo>
                  <a:pt x="390284" y="1089834"/>
                  <a:pt x="383627" y="1083302"/>
                  <a:pt x="383627" y="1075263"/>
                </a:cubicBezTo>
                <a:cubicBezTo>
                  <a:pt x="383627" y="1067223"/>
                  <a:pt x="390033" y="1060566"/>
                  <a:pt x="398073" y="1060566"/>
                </a:cubicBezTo>
                <a:close/>
                <a:moveTo>
                  <a:pt x="2214465" y="1059184"/>
                </a:moveTo>
                <a:cubicBezTo>
                  <a:pt x="2229288" y="1059184"/>
                  <a:pt x="2241221" y="1071118"/>
                  <a:pt x="2241348" y="1085940"/>
                </a:cubicBezTo>
                <a:cubicBezTo>
                  <a:pt x="2241348" y="1100763"/>
                  <a:pt x="2229414" y="1112822"/>
                  <a:pt x="2214590" y="1112822"/>
                </a:cubicBezTo>
                <a:cubicBezTo>
                  <a:pt x="2199768" y="1112947"/>
                  <a:pt x="2187709" y="1101013"/>
                  <a:pt x="2187709" y="1086191"/>
                </a:cubicBezTo>
                <a:cubicBezTo>
                  <a:pt x="2187709" y="1071368"/>
                  <a:pt x="2199643" y="1059309"/>
                  <a:pt x="2214465" y="1059184"/>
                </a:cubicBezTo>
                <a:close/>
                <a:moveTo>
                  <a:pt x="2642057" y="1047126"/>
                </a:moveTo>
                <a:cubicBezTo>
                  <a:pt x="2653112" y="1047126"/>
                  <a:pt x="2662029" y="1055918"/>
                  <a:pt x="2662029" y="1066974"/>
                </a:cubicBezTo>
                <a:cubicBezTo>
                  <a:pt x="2662029" y="1077902"/>
                  <a:pt x="2653112" y="1086946"/>
                  <a:pt x="2642183" y="1086946"/>
                </a:cubicBezTo>
                <a:cubicBezTo>
                  <a:pt x="2631129" y="1086946"/>
                  <a:pt x="2622210" y="1078153"/>
                  <a:pt x="2622210" y="1067099"/>
                </a:cubicBezTo>
                <a:cubicBezTo>
                  <a:pt x="2622084" y="1056170"/>
                  <a:pt x="2631002" y="1047251"/>
                  <a:pt x="2642057" y="1047126"/>
                </a:cubicBezTo>
                <a:close/>
                <a:moveTo>
                  <a:pt x="303610" y="1041975"/>
                </a:moveTo>
                <a:cubicBezTo>
                  <a:pt x="310142" y="1041975"/>
                  <a:pt x="315418" y="1047125"/>
                  <a:pt x="315418" y="1053657"/>
                </a:cubicBezTo>
                <a:cubicBezTo>
                  <a:pt x="315418" y="1060189"/>
                  <a:pt x="310268" y="1065466"/>
                  <a:pt x="303736" y="1065466"/>
                </a:cubicBezTo>
                <a:cubicBezTo>
                  <a:pt x="297204" y="1065466"/>
                  <a:pt x="291928" y="1060316"/>
                  <a:pt x="291928" y="1053784"/>
                </a:cubicBezTo>
                <a:cubicBezTo>
                  <a:pt x="291928" y="1047377"/>
                  <a:pt x="297204" y="1042100"/>
                  <a:pt x="303610" y="1041975"/>
                </a:cubicBezTo>
                <a:close/>
                <a:moveTo>
                  <a:pt x="1351993" y="1041348"/>
                </a:moveTo>
                <a:cubicBezTo>
                  <a:pt x="1353250" y="1041348"/>
                  <a:pt x="1354255" y="1042353"/>
                  <a:pt x="1354255" y="1043610"/>
                </a:cubicBezTo>
                <a:cubicBezTo>
                  <a:pt x="1354255" y="1044865"/>
                  <a:pt x="1353375" y="1045870"/>
                  <a:pt x="1352119" y="1045870"/>
                </a:cubicBezTo>
                <a:cubicBezTo>
                  <a:pt x="1350862" y="1045870"/>
                  <a:pt x="1349857" y="1044865"/>
                  <a:pt x="1349857" y="1043610"/>
                </a:cubicBezTo>
                <a:cubicBezTo>
                  <a:pt x="1349857" y="1042353"/>
                  <a:pt x="1350737" y="1041473"/>
                  <a:pt x="1351993" y="1041348"/>
                </a:cubicBezTo>
                <a:close/>
                <a:moveTo>
                  <a:pt x="1688012" y="1039840"/>
                </a:moveTo>
                <a:cubicBezTo>
                  <a:pt x="1689394" y="1039840"/>
                  <a:pt x="1690649" y="1040970"/>
                  <a:pt x="1690649" y="1042477"/>
                </a:cubicBezTo>
                <a:cubicBezTo>
                  <a:pt x="1690649" y="1043985"/>
                  <a:pt x="1689519" y="1045115"/>
                  <a:pt x="1688012" y="1045115"/>
                </a:cubicBezTo>
                <a:cubicBezTo>
                  <a:pt x="1686632" y="1045115"/>
                  <a:pt x="1685375" y="1043985"/>
                  <a:pt x="1685375" y="1042477"/>
                </a:cubicBezTo>
                <a:cubicBezTo>
                  <a:pt x="1685375" y="1040970"/>
                  <a:pt x="1686632" y="1039714"/>
                  <a:pt x="1688012" y="1039840"/>
                </a:cubicBezTo>
                <a:close/>
                <a:moveTo>
                  <a:pt x="727058" y="1037579"/>
                </a:moveTo>
                <a:cubicBezTo>
                  <a:pt x="743389" y="1037453"/>
                  <a:pt x="756830" y="1050769"/>
                  <a:pt x="756830" y="1067098"/>
                </a:cubicBezTo>
                <a:cubicBezTo>
                  <a:pt x="756955" y="1083429"/>
                  <a:pt x="743639" y="1096870"/>
                  <a:pt x="727310" y="1096870"/>
                </a:cubicBezTo>
                <a:cubicBezTo>
                  <a:pt x="710979" y="1096995"/>
                  <a:pt x="697539" y="1083679"/>
                  <a:pt x="697539" y="1067350"/>
                </a:cubicBezTo>
                <a:cubicBezTo>
                  <a:pt x="697412" y="1051019"/>
                  <a:pt x="710603" y="1037579"/>
                  <a:pt x="727058" y="1037579"/>
                </a:cubicBezTo>
                <a:close/>
                <a:moveTo>
                  <a:pt x="982559" y="1034565"/>
                </a:moveTo>
                <a:cubicBezTo>
                  <a:pt x="992232" y="1034565"/>
                  <a:pt x="1000270" y="1042479"/>
                  <a:pt x="1000270" y="1052276"/>
                </a:cubicBezTo>
                <a:cubicBezTo>
                  <a:pt x="1000397" y="1061949"/>
                  <a:pt x="992483" y="1069987"/>
                  <a:pt x="982686" y="1069987"/>
                </a:cubicBezTo>
                <a:cubicBezTo>
                  <a:pt x="972887" y="1069987"/>
                  <a:pt x="964848" y="1062074"/>
                  <a:pt x="964848" y="1052276"/>
                </a:cubicBezTo>
                <a:cubicBezTo>
                  <a:pt x="964848" y="1042479"/>
                  <a:pt x="972762" y="1034565"/>
                  <a:pt x="982559" y="1034565"/>
                </a:cubicBezTo>
                <a:close/>
                <a:moveTo>
                  <a:pt x="2736395" y="1031926"/>
                </a:moveTo>
                <a:cubicBezTo>
                  <a:pt x="2743555" y="1031926"/>
                  <a:pt x="2749459" y="1037830"/>
                  <a:pt x="2749459" y="1044990"/>
                </a:cubicBezTo>
                <a:cubicBezTo>
                  <a:pt x="2749459" y="1052150"/>
                  <a:pt x="2743555" y="1058054"/>
                  <a:pt x="2736395" y="1058054"/>
                </a:cubicBezTo>
                <a:cubicBezTo>
                  <a:pt x="2729236" y="1058054"/>
                  <a:pt x="2723331" y="1052150"/>
                  <a:pt x="2723331" y="1044990"/>
                </a:cubicBezTo>
                <a:cubicBezTo>
                  <a:pt x="2723331" y="1037830"/>
                  <a:pt x="2729109" y="1031926"/>
                  <a:pt x="2736395" y="1031926"/>
                </a:cubicBezTo>
                <a:close/>
                <a:moveTo>
                  <a:pt x="2057571" y="1028158"/>
                </a:moveTo>
                <a:cubicBezTo>
                  <a:pt x="2068751" y="1028158"/>
                  <a:pt x="2077795" y="1037202"/>
                  <a:pt x="2077795" y="1048256"/>
                </a:cubicBezTo>
                <a:cubicBezTo>
                  <a:pt x="2077795" y="1059436"/>
                  <a:pt x="2068751" y="1068480"/>
                  <a:pt x="2057697" y="1068480"/>
                </a:cubicBezTo>
                <a:cubicBezTo>
                  <a:pt x="2046517" y="1068480"/>
                  <a:pt x="2037473" y="1059562"/>
                  <a:pt x="2037473" y="1048382"/>
                </a:cubicBezTo>
                <a:cubicBezTo>
                  <a:pt x="2037347" y="1037327"/>
                  <a:pt x="2046392" y="1028283"/>
                  <a:pt x="2057571" y="1028158"/>
                </a:cubicBezTo>
                <a:close/>
                <a:moveTo>
                  <a:pt x="2312948" y="1028033"/>
                </a:moveTo>
                <a:cubicBezTo>
                  <a:pt x="2331414" y="1027907"/>
                  <a:pt x="2346361" y="1042855"/>
                  <a:pt x="2346487" y="1061320"/>
                </a:cubicBezTo>
                <a:cubicBezTo>
                  <a:pt x="2346613" y="1079786"/>
                  <a:pt x="2331664" y="1094733"/>
                  <a:pt x="2313199" y="1094859"/>
                </a:cubicBezTo>
                <a:cubicBezTo>
                  <a:pt x="2294734" y="1094859"/>
                  <a:pt x="2279661" y="1080036"/>
                  <a:pt x="2279661" y="1061571"/>
                </a:cubicBezTo>
                <a:cubicBezTo>
                  <a:pt x="2279534" y="1043107"/>
                  <a:pt x="2294482" y="1028158"/>
                  <a:pt x="2312948" y="1028033"/>
                </a:cubicBezTo>
                <a:close/>
                <a:moveTo>
                  <a:pt x="209399" y="1026901"/>
                </a:moveTo>
                <a:cubicBezTo>
                  <a:pt x="212413" y="1026901"/>
                  <a:pt x="214926" y="1029413"/>
                  <a:pt x="214926" y="1032428"/>
                </a:cubicBezTo>
                <a:cubicBezTo>
                  <a:pt x="214926" y="1035443"/>
                  <a:pt x="212413" y="1037955"/>
                  <a:pt x="209399" y="1037955"/>
                </a:cubicBezTo>
                <a:cubicBezTo>
                  <a:pt x="206384" y="1037955"/>
                  <a:pt x="203872" y="1035443"/>
                  <a:pt x="203872" y="1032428"/>
                </a:cubicBezTo>
                <a:cubicBezTo>
                  <a:pt x="203872" y="1029413"/>
                  <a:pt x="206384" y="1026901"/>
                  <a:pt x="209399" y="1026901"/>
                </a:cubicBezTo>
                <a:close/>
                <a:moveTo>
                  <a:pt x="1435023" y="1023259"/>
                </a:moveTo>
                <a:cubicBezTo>
                  <a:pt x="1435651" y="1023259"/>
                  <a:pt x="1436155" y="1023761"/>
                  <a:pt x="1436155" y="1024389"/>
                </a:cubicBezTo>
                <a:cubicBezTo>
                  <a:pt x="1436155" y="1025017"/>
                  <a:pt x="1435651" y="1025520"/>
                  <a:pt x="1435023" y="1025520"/>
                </a:cubicBezTo>
                <a:cubicBezTo>
                  <a:pt x="1434396" y="1025520"/>
                  <a:pt x="1433893" y="1025017"/>
                  <a:pt x="1433893" y="1024389"/>
                </a:cubicBezTo>
                <a:cubicBezTo>
                  <a:pt x="1433893" y="1023761"/>
                  <a:pt x="1434396" y="1023259"/>
                  <a:pt x="1435023" y="1023259"/>
                </a:cubicBezTo>
                <a:close/>
                <a:moveTo>
                  <a:pt x="1604981" y="1022631"/>
                </a:moveTo>
                <a:cubicBezTo>
                  <a:pt x="1605609" y="1022631"/>
                  <a:pt x="1606113" y="1023133"/>
                  <a:pt x="1606113" y="1023761"/>
                </a:cubicBezTo>
                <a:cubicBezTo>
                  <a:pt x="1606113" y="1024389"/>
                  <a:pt x="1605609" y="1024891"/>
                  <a:pt x="1604981" y="1024891"/>
                </a:cubicBezTo>
                <a:cubicBezTo>
                  <a:pt x="1604354" y="1024891"/>
                  <a:pt x="1603851" y="1024389"/>
                  <a:pt x="1603851" y="1023761"/>
                </a:cubicBezTo>
                <a:cubicBezTo>
                  <a:pt x="1603851" y="1023133"/>
                  <a:pt x="1604354" y="1022631"/>
                  <a:pt x="1604981" y="1022631"/>
                </a:cubicBezTo>
                <a:close/>
                <a:moveTo>
                  <a:pt x="1157039" y="1022003"/>
                </a:moveTo>
                <a:cubicBezTo>
                  <a:pt x="1162314" y="1022003"/>
                  <a:pt x="1166585" y="1026273"/>
                  <a:pt x="1166585" y="1031550"/>
                </a:cubicBezTo>
                <a:cubicBezTo>
                  <a:pt x="1166711" y="1036826"/>
                  <a:pt x="1162441" y="1041096"/>
                  <a:pt x="1157164" y="1041096"/>
                </a:cubicBezTo>
                <a:cubicBezTo>
                  <a:pt x="1151888" y="1041096"/>
                  <a:pt x="1147618" y="1036951"/>
                  <a:pt x="1147618" y="1031675"/>
                </a:cubicBezTo>
                <a:cubicBezTo>
                  <a:pt x="1147618" y="1026400"/>
                  <a:pt x="1151888" y="1022253"/>
                  <a:pt x="1157039" y="1022003"/>
                </a:cubicBezTo>
                <a:close/>
                <a:moveTo>
                  <a:pt x="629330" y="1019491"/>
                </a:moveTo>
                <a:cubicBezTo>
                  <a:pt x="642896" y="1019491"/>
                  <a:pt x="653950" y="1030420"/>
                  <a:pt x="653950" y="1043986"/>
                </a:cubicBezTo>
                <a:cubicBezTo>
                  <a:pt x="653950" y="1057552"/>
                  <a:pt x="643021" y="1068606"/>
                  <a:pt x="629455" y="1068606"/>
                </a:cubicBezTo>
                <a:cubicBezTo>
                  <a:pt x="615889" y="1068606"/>
                  <a:pt x="604960" y="1057677"/>
                  <a:pt x="604835" y="1044111"/>
                </a:cubicBezTo>
                <a:cubicBezTo>
                  <a:pt x="604835" y="1030545"/>
                  <a:pt x="615763" y="1019491"/>
                  <a:pt x="629330" y="1019491"/>
                </a:cubicBezTo>
                <a:close/>
                <a:moveTo>
                  <a:pt x="2830480" y="1019113"/>
                </a:moveTo>
                <a:cubicBezTo>
                  <a:pt x="2832616" y="1019113"/>
                  <a:pt x="2834248" y="1020746"/>
                  <a:pt x="2834248" y="1022882"/>
                </a:cubicBezTo>
                <a:cubicBezTo>
                  <a:pt x="2834248" y="1025017"/>
                  <a:pt x="2832616" y="1026650"/>
                  <a:pt x="2830480" y="1026650"/>
                </a:cubicBezTo>
                <a:cubicBezTo>
                  <a:pt x="2828469" y="1026650"/>
                  <a:pt x="2826711" y="1025017"/>
                  <a:pt x="2826711" y="1022882"/>
                </a:cubicBezTo>
                <a:cubicBezTo>
                  <a:pt x="2826711" y="1020871"/>
                  <a:pt x="2828469" y="1019113"/>
                  <a:pt x="2830480" y="1019113"/>
                </a:cubicBezTo>
                <a:close/>
                <a:moveTo>
                  <a:pt x="1519941" y="1016852"/>
                </a:moveTo>
                <a:cubicBezTo>
                  <a:pt x="1520444" y="1016852"/>
                  <a:pt x="1520820" y="1017229"/>
                  <a:pt x="1520820" y="1017732"/>
                </a:cubicBezTo>
                <a:cubicBezTo>
                  <a:pt x="1520820" y="1018235"/>
                  <a:pt x="1520444" y="1018611"/>
                  <a:pt x="1519941" y="1018611"/>
                </a:cubicBezTo>
                <a:cubicBezTo>
                  <a:pt x="1519439" y="1018611"/>
                  <a:pt x="1519061" y="1018235"/>
                  <a:pt x="1519061" y="1017732"/>
                </a:cubicBezTo>
                <a:cubicBezTo>
                  <a:pt x="1519061" y="1017229"/>
                  <a:pt x="1519439" y="1016852"/>
                  <a:pt x="1519941" y="1016852"/>
                </a:cubicBezTo>
                <a:close/>
                <a:moveTo>
                  <a:pt x="1882967" y="1016226"/>
                </a:moveTo>
                <a:cubicBezTo>
                  <a:pt x="1890002" y="1016226"/>
                  <a:pt x="1895779" y="1021878"/>
                  <a:pt x="1895779" y="1029038"/>
                </a:cubicBezTo>
                <a:cubicBezTo>
                  <a:pt x="1895779" y="1036199"/>
                  <a:pt x="1890002" y="1041977"/>
                  <a:pt x="1882967" y="1041977"/>
                </a:cubicBezTo>
                <a:cubicBezTo>
                  <a:pt x="1875807" y="1041977"/>
                  <a:pt x="1870028" y="1036199"/>
                  <a:pt x="1870028" y="1029165"/>
                </a:cubicBezTo>
                <a:cubicBezTo>
                  <a:pt x="1870028" y="1022004"/>
                  <a:pt x="1875681" y="1016226"/>
                  <a:pt x="1882967" y="1016226"/>
                </a:cubicBezTo>
                <a:close/>
                <a:moveTo>
                  <a:pt x="115313" y="1008562"/>
                </a:moveTo>
                <a:cubicBezTo>
                  <a:pt x="116695" y="1008562"/>
                  <a:pt x="117825" y="1009567"/>
                  <a:pt x="117825" y="1010949"/>
                </a:cubicBezTo>
                <a:cubicBezTo>
                  <a:pt x="117825" y="1012330"/>
                  <a:pt x="116820" y="1013461"/>
                  <a:pt x="115439" y="1013461"/>
                </a:cubicBezTo>
                <a:cubicBezTo>
                  <a:pt x="114057" y="1013461"/>
                  <a:pt x="112927" y="1012456"/>
                  <a:pt x="112927" y="1011074"/>
                </a:cubicBezTo>
                <a:cubicBezTo>
                  <a:pt x="112927" y="1009817"/>
                  <a:pt x="114057" y="1008687"/>
                  <a:pt x="115313" y="1008562"/>
                </a:cubicBezTo>
                <a:close/>
                <a:moveTo>
                  <a:pt x="532479" y="1004667"/>
                </a:moveTo>
                <a:cubicBezTo>
                  <a:pt x="541649" y="1004667"/>
                  <a:pt x="549186" y="1012079"/>
                  <a:pt x="549186" y="1021248"/>
                </a:cubicBezTo>
                <a:cubicBezTo>
                  <a:pt x="549186" y="1030418"/>
                  <a:pt x="541775" y="1037955"/>
                  <a:pt x="532604" y="1037955"/>
                </a:cubicBezTo>
                <a:cubicBezTo>
                  <a:pt x="523435" y="1037955"/>
                  <a:pt x="515898" y="1030543"/>
                  <a:pt x="515898" y="1021374"/>
                </a:cubicBezTo>
                <a:cubicBezTo>
                  <a:pt x="515898" y="1012204"/>
                  <a:pt x="523309" y="1004667"/>
                  <a:pt x="532479" y="1004667"/>
                </a:cubicBezTo>
                <a:close/>
                <a:moveTo>
                  <a:pt x="2410549" y="1004165"/>
                </a:moveTo>
                <a:cubicBezTo>
                  <a:pt x="2429015" y="1004165"/>
                  <a:pt x="2443962" y="1018988"/>
                  <a:pt x="2444088" y="1037452"/>
                </a:cubicBezTo>
                <a:cubicBezTo>
                  <a:pt x="2444214" y="1055917"/>
                  <a:pt x="2429265" y="1070866"/>
                  <a:pt x="2410800" y="1070991"/>
                </a:cubicBezTo>
                <a:cubicBezTo>
                  <a:pt x="2392335" y="1071116"/>
                  <a:pt x="2377387" y="1056168"/>
                  <a:pt x="2377262" y="1037704"/>
                </a:cubicBezTo>
                <a:cubicBezTo>
                  <a:pt x="2377135" y="1019238"/>
                  <a:pt x="2392083" y="1004165"/>
                  <a:pt x="2410549" y="1004165"/>
                </a:cubicBezTo>
                <a:close/>
                <a:moveTo>
                  <a:pt x="2924439" y="999644"/>
                </a:moveTo>
                <a:cubicBezTo>
                  <a:pt x="2925192" y="999518"/>
                  <a:pt x="2925822" y="1000146"/>
                  <a:pt x="2925822" y="1000900"/>
                </a:cubicBezTo>
                <a:cubicBezTo>
                  <a:pt x="2925822" y="1001528"/>
                  <a:pt x="2925192" y="1002156"/>
                  <a:pt x="2924439" y="1002156"/>
                </a:cubicBezTo>
                <a:cubicBezTo>
                  <a:pt x="2923685" y="1002156"/>
                  <a:pt x="2923057" y="1001653"/>
                  <a:pt x="2923057" y="1000900"/>
                </a:cubicBezTo>
                <a:cubicBezTo>
                  <a:pt x="2923057" y="1000271"/>
                  <a:pt x="2923685" y="999644"/>
                  <a:pt x="2924439" y="999644"/>
                </a:cubicBezTo>
                <a:close/>
                <a:moveTo>
                  <a:pt x="878675" y="993740"/>
                </a:moveTo>
                <a:cubicBezTo>
                  <a:pt x="895509" y="993614"/>
                  <a:pt x="909326" y="1007307"/>
                  <a:pt x="909326" y="1024139"/>
                </a:cubicBezTo>
                <a:cubicBezTo>
                  <a:pt x="909451" y="1040973"/>
                  <a:pt x="895759" y="1054790"/>
                  <a:pt x="878927" y="1054790"/>
                </a:cubicBezTo>
                <a:cubicBezTo>
                  <a:pt x="862094" y="1054915"/>
                  <a:pt x="848277" y="1041223"/>
                  <a:pt x="848277" y="1024391"/>
                </a:cubicBezTo>
                <a:cubicBezTo>
                  <a:pt x="848150" y="1007558"/>
                  <a:pt x="861844" y="993865"/>
                  <a:pt x="878675" y="993740"/>
                </a:cubicBezTo>
                <a:close/>
                <a:moveTo>
                  <a:pt x="2160953" y="989090"/>
                </a:moveTo>
                <a:cubicBezTo>
                  <a:pt x="2177786" y="988964"/>
                  <a:pt x="2191604" y="1002657"/>
                  <a:pt x="2191604" y="1019489"/>
                </a:cubicBezTo>
                <a:cubicBezTo>
                  <a:pt x="2191730" y="1036323"/>
                  <a:pt x="2178036" y="1050140"/>
                  <a:pt x="2161205" y="1050140"/>
                </a:cubicBezTo>
                <a:cubicBezTo>
                  <a:pt x="2144373" y="1050265"/>
                  <a:pt x="2130554" y="1036573"/>
                  <a:pt x="2130554" y="1019741"/>
                </a:cubicBezTo>
                <a:cubicBezTo>
                  <a:pt x="2130554" y="1002908"/>
                  <a:pt x="2144121" y="989090"/>
                  <a:pt x="2160953" y="989090"/>
                </a:cubicBezTo>
                <a:close/>
                <a:moveTo>
                  <a:pt x="2507272" y="985826"/>
                </a:moveTo>
                <a:cubicBezTo>
                  <a:pt x="2522847" y="985826"/>
                  <a:pt x="2535661" y="998387"/>
                  <a:pt x="2535661" y="1014089"/>
                </a:cubicBezTo>
                <a:cubicBezTo>
                  <a:pt x="2535661" y="1029665"/>
                  <a:pt x="2522974" y="1042478"/>
                  <a:pt x="2507397" y="1042478"/>
                </a:cubicBezTo>
                <a:cubicBezTo>
                  <a:pt x="2491821" y="1042478"/>
                  <a:pt x="2479009" y="1029917"/>
                  <a:pt x="2479009" y="1014214"/>
                </a:cubicBezTo>
                <a:cubicBezTo>
                  <a:pt x="2479009" y="998638"/>
                  <a:pt x="2491570" y="985826"/>
                  <a:pt x="2507272" y="985826"/>
                </a:cubicBezTo>
                <a:close/>
                <a:moveTo>
                  <a:pt x="1231277" y="984947"/>
                </a:moveTo>
                <a:cubicBezTo>
                  <a:pt x="1233789" y="984947"/>
                  <a:pt x="1235924" y="986957"/>
                  <a:pt x="1235924" y="989595"/>
                </a:cubicBezTo>
                <a:cubicBezTo>
                  <a:pt x="1235924" y="992107"/>
                  <a:pt x="1233789" y="994243"/>
                  <a:pt x="1231277" y="994243"/>
                </a:cubicBezTo>
                <a:cubicBezTo>
                  <a:pt x="1228764" y="994243"/>
                  <a:pt x="1226629" y="992233"/>
                  <a:pt x="1226629" y="989595"/>
                </a:cubicBezTo>
                <a:cubicBezTo>
                  <a:pt x="1226629" y="987082"/>
                  <a:pt x="1228639" y="984947"/>
                  <a:pt x="1231277" y="984947"/>
                </a:cubicBezTo>
                <a:close/>
                <a:moveTo>
                  <a:pt x="436259" y="984947"/>
                </a:moveTo>
                <a:cubicBezTo>
                  <a:pt x="443922" y="984947"/>
                  <a:pt x="450203" y="991228"/>
                  <a:pt x="450203" y="998890"/>
                </a:cubicBezTo>
                <a:cubicBezTo>
                  <a:pt x="450203" y="1006678"/>
                  <a:pt x="443922" y="1012959"/>
                  <a:pt x="436259" y="1012959"/>
                </a:cubicBezTo>
                <a:cubicBezTo>
                  <a:pt x="428597" y="1012959"/>
                  <a:pt x="422316" y="1006678"/>
                  <a:pt x="422316" y="999016"/>
                </a:cubicBezTo>
                <a:cubicBezTo>
                  <a:pt x="422316" y="991228"/>
                  <a:pt x="428471" y="984947"/>
                  <a:pt x="436259" y="984947"/>
                </a:cubicBezTo>
                <a:close/>
                <a:moveTo>
                  <a:pt x="1808352" y="981555"/>
                </a:moveTo>
                <a:cubicBezTo>
                  <a:pt x="1811743" y="981430"/>
                  <a:pt x="1814382" y="984192"/>
                  <a:pt x="1814382" y="987458"/>
                </a:cubicBezTo>
                <a:cubicBezTo>
                  <a:pt x="1814382" y="990850"/>
                  <a:pt x="1811743" y="993487"/>
                  <a:pt x="1808478" y="993487"/>
                </a:cubicBezTo>
                <a:cubicBezTo>
                  <a:pt x="1805086" y="993613"/>
                  <a:pt x="1802448" y="990850"/>
                  <a:pt x="1802448" y="987584"/>
                </a:cubicBezTo>
                <a:cubicBezTo>
                  <a:pt x="1802448" y="984192"/>
                  <a:pt x="1805086" y="981555"/>
                  <a:pt x="1808352" y="981555"/>
                </a:cubicBezTo>
                <a:close/>
                <a:moveTo>
                  <a:pt x="1045869" y="977661"/>
                </a:moveTo>
                <a:cubicBezTo>
                  <a:pt x="1055541" y="977661"/>
                  <a:pt x="1063328" y="985448"/>
                  <a:pt x="1063455" y="995122"/>
                </a:cubicBezTo>
                <a:cubicBezTo>
                  <a:pt x="1063455" y="1004794"/>
                  <a:pt x="1055666" y="1012708"/>
                  <a:pt x="1045994" y="1012708"/>
                </a:cubicBezTo>
                <a:cubicBezTo>
                  <a:pt x="1036322" y="1012708"/>
                  <a:pt x="1028408" y="1004919"/>
                  <a:pt x="1028408" y="995247"/>
                </a:cubicBezTo>
                <a:cubicBezTo>
                  <a:pt x="1028408" y="985575"/>
                  <a:pt x="1036195" y="977786"/>
                  <a:pt x="1045869" y="977661"/>
                </a:cubicBezTo>
                <a:close/>
                <a:moveTo>
                  <a:pt x="1993759" y="972762"/>
                </a:moveTo>
                <a:cubicBezTo>
                  <a:pt x="2004311" y="972762"/>
                  <a:pt x="2012853" y="981178"/>
                  <a:pt x="2012853" y="991730"/>
                </a:cubicBezTo>
                <a:cubicBezTo>
                  <a:pt x="2012853" y="1002281"/>
                  <a:pt x="2004436" y="1010823"/>
                  <a:pt x="1993885" y="1010823"/>
                </a:cubicBezTo>
                <a:cubicBezTo>
                  <a:pt x="1983459" y="1010823"/>
                  <a:pt x="1974792" y="1002407"/>
                  <a:pt x="1974792" y="991855"/>
                </a:cubicBezTo>
                <a:cubicBezTo>
                  <a:pt x="1974666" y="981304"/>
                  <a:pt x="1983208" y="972762"/>
                  <a:pt x="1993759" y="972762"/>
                </a:cubicBezTo>
                <a:close/>
                <a:moveTo>
                  <a:pt x="2603370" y="969370"/>
                </a:moveTo>
                <a:cubicBezTo>
                  <a:pt x="2615304" y="969370"/>
                  <a:pt x="2625101" y="978917"/>
                  <a:pt x="2625101" y="990976"/>
                </a:cubicBezTo>
                <a:cubicBezTo>
                  <a:pt x="2625101" y="1002910"/>
                  <a:pt x="2615429" y="1012707"/>
                  <a:pt x="2603495" y="1012707"/>
                </a:cubicBezTo>
                <a:cubicBezTo>
                  <a:pt x="2591562" y="1012707"/>
                  <a:pt x="2581764" y="1003160"/>
                  <a:pt x="2581764" y="991101"/>
                </a:cubicBezTo>
                <a:cubicBezTo>
                  <a:pt x="2581764" y="979167"/>
                  <a:pt x="2591436" y="969370"/>
                  <a:pt x="2603370" y="969370"/>
                </a:cubicBezTo>
                <a:close/>
                <a:moveTo>
                  <a:pt x="776927" y="968868"/>
                </a:moveTo>
                <a:cubicBezTo>
                  <a:pt x="793131" y="968868"/>
                  <a:pt x="806195" y="981932"/>
                  <a:pt x="806322" y="998011"/>
                </a:cubicBezTo>
                <a:cubicBezTo>
                  <a:pt x="806322" y="1014090"/>
                  <a:pt x="793258" y="1027279"/>
                  <a:pt x="777179" y="1027279"/>
                </a:cubicBezTo>
                <a:cubicBezTo>
                  <a:pt x="760974" y="1027279"/>
                  <a:pt x="747785" y="1014341"/>
                  <a:pt x="747785" y="998136"/>
                </a:cubicBezTo>
                <a:cubicBezTo>
                  <a:pt x="747785" y="982057"/>
                  <a:pt x="760723" y="968868"/>
                  <a:pt x="776927" y="968868"/>
                </a:cubicBezTo>
                <a:close/>
                <a:moveTo>
                  <a:pt x="340291" y="966104"/>
                </a:moveTo>
                <a:cubicBezTo>
                  <a:pt x="346196" y="966104"/>
                  <a:pt x="350969" y="970751"/>
                  <a:pt x="350969" y="976655"/>
                </a:cubicBezTo>
                <a:cubicBezTo>
                  <a:pt x="350969" y="982559"/>
                  <a:pt x="346321" y="987332"/>
                  <a:pt x="340416" y="987332"/>
                </a:cubicBezTo>
                <a:cubicBezTo>
                  <a:pt x="334512" y="987332"/>
                  <a:pt x="329739" y="982685"/>
                  <a:pt x="329739" y="976781"/>
                </a:cubicBezTo>
                <a:cubicBezTo>
                  <a:pt x="329864" y="971003"/>
                  <a:pt x="334512" y="966229"/>
                  <a:pt x="340291" y="966104"/>
                </a:cubicBezTo>
                <a:close/>
                <a:moveTo>
                  <a:pt x="2262574" y="958190"/>
                </a:moveTo>
                <a:cubicBezTo>
                  <a:pt x="2281668" y="958064"/>
                  <a:pt x="2297246" y="973515"/>
                  <a:pt x="2297246" y="992608"/>
                </a:cubicBezTo>
                <a:cubicBezTo>
                  <a:pt x="2297246" y="1011702"/>
                  <a:pt x="2281920" y="1027278"/>
                  <a:pt x="2262826" y="1027278"/>
                </a:cubicBezTo>
                <a:cubicBezTo>
                  <a:pt x="2243733" y="1027278"/>
                  <a:pt x="2228282" y="1011953"/>
                  <a:pt x="2228156" y="992860"/>
                </a:cubicBezTo>
                <a:cubicBezTo>
                  <a:pt x="2228156" y="973766"/>
                  <a:pt x="2243607" y="958190"/>
                  <a:pt x="2262574" y="958190"/>
                </a:cubicBezTo>
                <a:close/>
                <a:moveTo>
                  <a:pt x="1310163" y="954924"/>
                </a:moveTo>
                <a:cubicBezTo>
                  <a:pt x="1311418" y="955049"/>
                  <a:pt x="1312423" y="955929"/>
                  <a:pt x="1312423" y="957186"/>
                </a:cubicBezTo>
                <a:cubicBezTo>
                  <a:pt x="1312423" y="958441"/>
                  <a:pt x="1311418" y="959446"/>
                  <a:pt x="1310163" y="959446"/>
                </a:cubicBezTo>
                <a:cubicBezTo>
                  <a:pt x="1308906" y="959446"/>
                  <a:pt x="1307901" y="958566"/>
                  <a:pt x="1307901" y="957311"/>
                </a:cubicBezTo>
                <a:cubicBezTo>
                  <a:pt x="1307901" y="956054"/>
                  <a:pt x="1308906" y="955176"/>
                  <a:pt x="1310163" y="954924"/>
                </a:cubicBezTo>
                <a:close/>
                <a:moveTo>
                  <a:pt x="1729339" y="953164"/>
                </a:moveTo>
                <a:cubicBezTo>
                  <a:pt x="1730721" y="953164"/>
                  <a:pt x="1731976" y="954294"/>
                  <a:pt x="1731976" y="955801"/>
                </a:cubicBezTo>
                <a:cubicBezTo>
                  <a:pt x="1731976" y="957308"/>
                  <a:pt x="1730846" y="958439"/>
                  <a:pt x="1729339" y="958439"/>
                </a:cubicBezTo>
                <a:cubicBezTo>
                  <a:pt x="1727957" y="958439"/>
                  <a:pt x="1726702" y="957308"/>
                  <a:pt x="1726702" y="955801"/>
                </a:cubicBezTo>
                <a:cubicBezTo>
                  <a:pt x="1726702" y="954294"/>
                  <a:pt x="1727832" y="953164"/>
                  <a:pt x="1729339" y="953164"/>
                </a:cubicBezTo>
                <a:close/>
                <a:moveTo>
                  <a:pt x="2699087" y="951784"/>
                </a:moveTo>
                <a:cubicBezTo>
                  <a:pt x="2708131" y="951784"/>
                  <a:pt x="2715543" y="959070"/>
                  <a:pt x="2715543" y="968114"/>
                </a:cubicBezTo>
                <a:cubicBezTo>
                  <a:pt x="2715543" y="977159"/>
                  <a:pt x="2708258" y="984569"/>
                  <a:pt x="2699214" y="984569"/>
                </a:cubicBezTo>
                <a:cubicBezTo>
                  <a:pt x="2690169" y="984569"/>
                  <a:pt x="2682757" y="977284"/>
                  <a:pt x="2682757" y="968240"/>
                </a:cubicBezTo>
                <a:cubicBezTo>
                  <a:pt x="2682757" y="959321"/>
                  <a:pt x="2690042" y="951909"/>
                  <a:pt x="2699087" y="951784"/>
                </a:cubicBezTo>
                <a:close/>
                <a:moveTo>
                  <a:pt x="244947" y="950654"/>
                </a:moveTo>
                <a:cubicBezTo>
                  <a:pt x="247334" y="950654"/>
                  <a:pt x="249218" y="952539"/>
                  <a:pt x="249218" y="954799"/>
                </a:cubicBezTo>
                <a:cubicBezTo>
                  <a:pt x="249218" y="957186"/>
                  <a:pt x="247459" y="959071"/>
                  <a:pt x="245073" y="959071"/>
                </a:cubicBezTo>
                <a:cubicBezTo>
                  <a:pt x="242686" y="959071"/>
                  <a:pt x="240802" y="957312"/>
                  <a:pt x="240802" y="954925"/>
                </a:cubicBezTo>
                <a:cubicBezTo>
                  <a:pt x="240802" y="952539"/>
                  <a:pt x="242686" y="950654"/>
                  <a:pt x="244947" y="950654"/>
                </a:cubicBezTo>
                <a:close/>
                <a:moveTo>
                  <a:pt x="676687" y="948518"/>
                </a:moveTo>
                <a:cubicBezTo>
                  <a:pt x="690254" y="948518"/>
                  <a:pt x="701181" y="959447"/>
                  <a:pt x="701308" y="973013"/>
                </a:cubicBezTo>
                <a:cubicBezTo>
                  <a:pt x="701308" y="986579"/>
                  <a:pt x="690379" y="997633"/>
                  <a:pt x="676813" y="997633"/>
                </a:cubicBezTo>
                <a:cubicBezTo>
                  <a:pt x="663246" y="997633"/>
                  <a:pt x="652192" y="986704"/>
                  <a:pt x="652192" y="973138"/>
                </a:cubicBezTo>
                <a:cubicBezTo>
                  <a:pt x="652067" y="959572"/>
                  <a:pt x="663121" y="948518"/>
                  <a:pt x="676687" y="948518"/>
                </a:cubicBezTo>
                <a:close/>
                <a:moveTo>
                  <a:pt x="2794429" y="939224"/>
                </a:moveTo>
                <a:cubicBezTo>
                  <a:pt x="2797946" y="939224"/>
                  <a:pt x="2800836" y="942113"/>
                  <a:pt x="2800836" y="945630"/>
                </a:cubicBezTo>
                <a:cubicBezTo>
                  <a:pt x="2800836" y="949147"/>
                  <a:pt x="2797946" y="952036"/>
                  <a:pt x="2794429" y="952036"/>
                </a:cubicBezTo>
                <a:cubicBezTo>
                  <a:pt x="2790912" y="952036"/>
                  <a:pt x="2788022" y="949147"/>
                  <a:pt x="2788022" y="945630"/>
                </a:cubicBezTo>
                <a:cubicBezTo>
                  <a:pt x="2788022" y="942113"/>
                  <a:pt x="2790786" y="939224"/>
                  <a:pt x="2794429" y="939224"/>
                </a:cubicBezTo>
                <a:close/>
                <a:moveTo>
                  <a:pt x="938092" y="938720"/>
                </a:moveTo>
                <a:cubicBezTo>
                  <a:pt x="951532" y="938720"/>
                  <a:pt x="962461" y="949522"/>
                  <a:pt x="962461" y="962964"/>
                </a:cubicBezTo>
                <a:cubicBezTo>
                  <a:pt x="962586" y="976405"/>
                  <a:pt x="951658" y="987334"/>
                  <a:pt x="938217" y="987334"/>
                </a:cubicBezTo>
                <a:cubicBezTo>
                  <a:pt x="924776" y="987334"/>
                  <a:pt x="913722" y="976530"/>
                  <a:pt x="913722" y="963089"/>
                </a:cubicBezTo>
                <a:cubicBezTo>
                  <a:pt x="913722" y="949649"/>
                  <a:pt x="924525" y="938720"/>
                  <a:pt x="938092" y="938720"/>
                </a:cubicBezTo>
                <a:close/>
                <a:moveTo>
                  <a:pt x="2362690" y="933570"/>
                </a:moveTo>
                <a:cubicBezTo>
                  <a:pt x="2381156" y="933444"/>
                  <a:pt x="2396229" y="948392"/>
                  <a:pt x="2396229" y="966858"/>
                </a:cubicBezTo>
                <a:cubicBezTo>
                  <a:pt x="2396355" y="985323"/>
                  <a:pt x="2381406" y="1000397"/>
                  <a:pt x="2362941" y="1000397"/>
                </a:cubicBezTo>
                <a:cubicBezTo>
                  <a:pt x="2344476" y="1000522"/>
                  <a:pt x="2329528" y="985574"/>
                  <a:pt x="2329403" y="967108"/>
                </a:cubicBezTo>
                <a:cubicBezTo>
                  <a:pt x="2329276" y="948644"/>
                  <a:pt x="2344224" y="933570"/>
                  <a:pt x="2362690" y="933570"/>
                </a:cubicBezTo>
                <a:close/>
                <a:moveTo>
                  <a:pt x="2101287" y="933193"/>
                </a:moveTo>
                <a:cubicBezTo>
                  <a:pt x="2115481" y="933193"/>
                  <a:pt x="2127037" y="944624"/>
                  <a:pt x="2127037" y="958818"/>
                </a:cubicBezTo>
                <a:cubicBezTo>
                  <a:pt x="2127037" y="973012"/>
                  <a:pt x="2115606" y="984569"/>
                  <a:pt x="2101412" y="984569"/>
                </a:cubicBezTo>
                <a:cubicBezTo>
                  <a:pt x="2087218" y="984569"/>
                  <a:pt x="2075661" y="973139"/>
                  <a:pt x="2075661" y="958944"/>
                </a:cubicBezTo>
                <a:cubicBezTo>
                  <a:pt x="2075661" y="944749"/>
                  <a:pt x="2087092" y="933193"/>
                  <a:pt x="2101287" y="933193"/>
                </a:cubicBezTo>
                <a:close/>
                <a:moveTo>
                  <a:pt x="149982" y="931684"/>
                </a:moveTo>
                <a:cubicBezTo>
                  <a:pt x="150737" y="931684"/>
                  <a:pt x="151490" y="932313"/>
                  <a:pt x="151490" y="933191"/>
                </a:cubicBezTo>
                <a:cubicBezTo>
                  <a:pt x="151490" y="934071"/>
                  <a:pt x="150862" y="934699"/>
                  <a:pt x="149982" y="934699"/>
                </a:cubicBezTo>
                <a:cubicBezTo>
                  <a:pt x="149103" y="934699"/>
                  <a:pt x="148350" y="934071"/>
                  <a:pt x="148350" y="933191"/>
                </a:cubicBezTo>
                <a:cubicBezTo>
                  <a:pt x="148350" y="932313"/>
                  <a:pt x="149103" y="931559"/>
                  <a:pt x="149982" y="931684"/>
                </a:cubicBezTo>
                <a:close/>
                <a:moveTo>
                  <a:pt x="577577" y="929676"/>
                </a:moveTo>
                <a:cubicBezTo>
                  <a:pt x="588256" y="929676"/>
                  <a:pt x="596923" y="938218"/>
                  <a:pt x="596923" y="948895"/>
                </a:cubicBezTo>
                <a:cubicBezTo>
                  <a:pt x="596923" y="959573"/>
                  <a:pt x="588381" y="968241"/>
                  <a:pt x="577704" y="968241"/>
                </a:cubicBezTo>
                <a:cubicBezTo>
                  <a:pt x="567025" y="968241"/>
                  <a:pt x="558358" y="959699"/>
                  <a:pt x="558358" y="949022"/>
                </a:cubicBezTo>
                <a:cubicBezTo>
                  <a:pt x="558358" y="938343"/>
                  <a:pt x="566900" y="929676"/>
                  <a:pt x="577577" y="929676"/>
                </a:cubicBezTo>
                <a:close/>
                <a:moveTo>
                  <a:pt x="1392439" y="926535"/>
                </a:moveTo>
                <a:cubicBezTo>
                  <a:pt x="1397339" y="926409"/>
                  <a:pt x="1401358" y="930429"/>
                  <a:pt x="1401358" y="935328"/>
                </a:cubicBezTo>
                <a:cubicBezTo>
                  <a:pt x="1401358" y="940226"/>
                  <a:pt x="1397464" y="944246"/>
                  <a:pt x="1392566" y="944246"/>
                </a:cubicBezTo>
                <a:cubicBezTo>
                  <a:pt x="1387667" y="944246"/>
                  <a:pt x="1383647" y="940353"/>
                  <a:pt x="1383647" y="935453"/>
                </a:cubicBezTo>
                <a:cubicBezTo>
                  <a:pt x="1383647" y="930554"/>
                  <a:pt x="1387542" y="926535"/>
                  <a:pt x="1392439" y="926535"/>
                </a:cubicBezTo>
                <a:close/>
                <a:moveTo>
                  <a:pt x="1646811" y="925782"/>
                </a:moveTo>
                <a:cubicBezTo>
                  <a:pt x="1651585" y="925782"/>
                  <a:pt x="1655478" y="929676"/>
                  <a:pt x="1655478" y="934449"/>
                </a:cubicBezTo>
                <a:cubicBezTo>
                  <a:pt x="1655478" y="939223"/>
                  <a:pt x="1651585" y="943117"/>
                  <a:pt x="1646811" y="943117"/>
                </a:cubicBezTo>
                <a:cubicBezTo>
                  <a:pt x="1642039" y="943117"/>
                  <a:pt x="1638144" y="939348"/>
                  <a:pt x="1638144" y="934575"/>
                </a:cubicBezTo>
                <a:cubicBezTo>
                  <a:pt x="1638144" y="929676"/>
                  <a:pt x="1642039" y="925907"/>
                  <a:pt x="1646811" y="925782"/>
                </a:cubicBezTo>
                <a:close/>
                <a:moveTo>
                  <a:pt x="1115209" y="925155"/>
                </a:moveTo>
                <a:cubicBezTo>
                  <a:pt x="1126514" y="925030"/>
                  <a:pt x="1135810" y="934325"/>
                  <a:pt x="1135810" y="945631"/>
                </a:cubicBezTo>
                <a:cubicBezTo>
                  <a:pt x="1135935" y="956936"/>
                  <a:pt x="1126765" y="966232"/>
                  <a:pt x="1115334" y="966232"/>
                </a:cubicBezTo>
                <a:cubicBezTo>
                  <a:pt x="1104028" y="966357"/>
                  <a:pt x="1094733" y="957061"/>
                  <a:pt x="1094733" y="945756"/>
                </a:cubicBezTo>
                <a:cubicBezTo>
                  <a:pt x="1094608" y="934325"/>
                  <a:pt x="1103903" y="925155"/>
                  <a:pt x="1115209" y="925155"/>
                </a:cubicBezTo>
                <a:close/>
                <a:moveTo>
                  <a:pt x="2889140" y="920882"/>
                </a:moveTo>
                <a:cubicBezTo>
                  <a:pt x="2890522" y="920882"/>
                  <a:pt x="2891652" y="921887"/>
                  <a:pt x="2891652" y="923269"/>
                </a:cubicBezTo>
                <a:cubicBezTo>
                  <a:pt x="2891779" y="924525"/>
                  <a:pt x="2890647" y="925656"/>
                  <a:pt x="2889267" y="925656"/>
                </a:cubicBezTo>
                <a:cubicBezTo>
                  <a:pt x="2888010" y="925656"/>
                  <a:pt x="2886880" y="924651"/>
                  <a:pt x="2886880" y="923269"/>
                </a:cubicBezTo>
                <a:cubicBezTo>
                  <a:pt x="2886880" y="921887"/>
                  <a:pt x="2888010" y="920757"/>
                  <a:pt x="2889140" y="920882"/>
                </a:cubicBezTo>
                <a:close/>
                <a:moveTo>
                  <a:pt x="1923917" y="920253"/>
                </a:moveTo>
                <a:cubicBezTo>
                  <a:pt x="1936353" y="920128"/>
                  <a:pt x="1946402" y="930177"/>
                  <a:pt x="1946402" y="942486"/>
                </a:cubicBezTo>
                <a:cubicBezTo>
                  <a:pt x="1946528" y="954922"/>
                  <a:pt x="1936478" y="964971"/>
                  <a:pt x="1924169" y="964971"/>
                </a:cubicBezTo>
                <a:cubicBezTo>
                  <a:pt x="1911732" y="965096"/>
                  <a:pt x="1901683" y="955047"/>
                  <a:pt x="1901683" y="942738"/>
                </a:cubicBezTo>
                <a:cubicBezTo>
                  <a:pt x="1901683" y="930427"/>
                  <a:pt x="1911732" y="920378"/>
                  <a:pt x="1923917" y="920253"/>
                </a:cubicBezTo>
                <a:close/>
                <a:moveTo>
                  <a:pt x="2461800" y="918622"/>
                </a:moveTo>
                <a:cubicBezTo>
                  <a:pt x="2474738" y="918497"/>
                  <a:pt x="2485289" y="929048"/>
                  <a:pt x="2485289" y="941986"/>
                </a:cubicBezTo>
                <a:cubicBezTo>
                  <a:pt x="2485289" y="954924"/>
                  <a:pt x="2474864" y="965476"/>
                  <a:pt x="2461925" y="965476"/>
                </a:cubicBezTo>
                <a:cubicBezTo>
                  <a:pt x="2448861" y="965601"/>
                  <a:pt x="2438310" y="955050"/>
                  <a:pt x="2438310" y="942112"/>
                </a:cubicBezTo>
                <a:cubicBezTo>
                  <a:pt x="2438184" y="929174"/>
                  <a:pt x="2448736" y="918622"/>
                  <a:pt x="2461800" y="918622"/>
                </a:cubicBezTo>
                <a:close/>
                <a:moveTo>
                  <a:pt x="1562272" y="916234"/>
                </a:moveTo>
                <a:cubicBezTo>
                  <a:pt x="1566542" y="916108"/>
                  <a:pt x="1570060" y="919626"/>
                  <a:pt x="1570060" y="923897"/>
                </a:cubicBezTo>
                <a:cubicBezTo>
                  <a:pt x="1570060" y="928168"/>
                  <a:pt x="1566542" y="931685"/>
                  <a:pt x="1562272" y="931685"/>
                </a:cubicBezTo>
                <a:cubicBezTo>
                  <a:pt x="1558000" y="931685"/>
                  <a:pt x="1554483" y="928168"/>
                  <a:pt x="1554483" y="923897"/>
                </a:cubicBezTo>
                <a:cubicBezTo>
                  <a:pt x="1554483" y="919626"/>
                  <a:pt x="1557875" y="916108"/>
                  <a:pt x="1562272" y="916234"/>
                </a:cubicBezTo>
                <a:close/>
                <a:moveTo>
                  <a:pt x="1476980" y="915356"/>
                </a:moveTo>
                <a:cubicBezTo>
                  <a:pt x="1481878" y="915230"/>
                  <a:pt x="1485897" y="919250"/>
                  <a:pt x="1485897" y="924149"/>
                </a:cubicBezTo>
                <a:cubicBezTo>
                  <a:pt x="1485897" y="929047"/>
                  <a:pt x="1482004" y="933066"/>
                  <a:pt x="1477105" y="933066"/>
                </a:cubicBezTo>
                <a:cubicBezTo>
                  <a:pt x="1472206" y="933193"/>
                  <a:pt x="1468186" y="929173"/>
                  <a:pt x="1468186" y="924274"/>
                </a:cubicBezTo>
                <a:cubicBezTo>
                  <a:pt x="1468186" y="919375"/>
                  <a:pt x="1472081" y="915356"/>
                  <a:pt x="1476980" y="915356"/>
                </a:cubicBezTo>
                <a:close/>
                <a:moveTo>
                  <a:pt x="55143" y="910959"/>
                </a:moveTo>
                <a:cubicBezTo>
                  <a:pt x="55520" y="910959"/>
                  <a:pt x="55771" y="911210"/>
                  <a:pt x="55771" y="911587"/>
                </a:cubicBezTo>
                <a:cubicBezTo>
                  <a:pt x="55771" y="911964"/>
                  <a:pt x="55520" y="912215"/>
                  <a:pt x="55143" y="912215"/>
                </a:cubicBezTo>
                <a:cubicBezTo>
                  <a:pt x="54766" y="912215"/>
                  <a:pt x="54516" y="911964"/>
                  <a:pt x="54516" y="911587"/>
                </a:cubicBezTo>
                <a:cubicBezTo>
                  <a:pt x="54516" y="911210"/>
                  <a:pt x="54766" y="910832"/>
                  <a:pt x="55143" y="910959"/>
                </a:cubicBezTo>
                <a:close/>
                <a:moveTo>
                  <a:pt x="479471" y="908698"/>
                </a:moveTo>
                <a:cubicBezTo>
                  <a:pt x="488641" y="908698"/>
                  <a:pt x="496178" y="916110"/>
                  <a:pt x="496178" y="925279"/>
                </a:cubicBezTo>
                <a:cubicBezTo>
                  <a:pt x="496178" y="934449"/>
                  <a:pt x="488767" y="941986"/>
                  <a:pt x="479597" y="941986"/>
                </a:cubicBezTo>
                <a:cubicBezTo>
                  <a:pt x="470427" y="941986"/>
                  <a:pt x="462890" y="934575"/>
                  <a:pt x="462890" y="925405"/>
                </a:cubicBezTo>
                <a:cubicBezTo>
                  <a:pt x="462765" y="916235"/>
                  <a:pt x="470176" y="908823"/>
                  <a:pt x="479471" y="908698"/>
                </a:cubicBezTo>
                <a:close/>
                <a:moveTo>
                  <a:pt x="832826" y="902543"/>
                </a:moveTo>
                <a:cubicBezTo>
                  <a:pt x="850035" y="902543"/>
                  <a:pt x="863978" y="916487"/>
                  <a:pt x="864104" y="933696"/>
                </a:cubicBezTo>
                <a:cubicBezTo>
                  <a:pt x="864104" y="950905"/>
                  <a:pt x="850162" y="964974"/>
                  <a:pt x="832951" y="964974"/>
                </a:cubicBezTo>
                <a:cubicBezTo>
                  <a:pt x="815743" y="964974"/>
                  <a:pt x="801674" y="951031"/>
                  <a:pt x="801674" y="933821"/>
                </a:cubicBezTo>
                <a:cubicBezTo>
                  <a:pt x="801674" y="916487"/>
                  <a:pt x="815491" y="902543"/>
                  <a:pt x="832826" y="902543"/>
                </a:cubicBezTo>
                <a:close/>
                <a:moveTo>
                  <a:pt x="2559654" y="900533"/>
                </a:moveTo>
                <a:cubicBezTo>
                  <a:pt x="2569201" y="900533"/>
                  <a:pt x="2576990" y="908195"/>
                  <a:pt x="2576990" y="917741"/>
                </a:cubicBezTo>
                <a:cubicBezTo>
                  <a:pt x="2576990" y="927288"/>
                  <a:pt x="2569326" y="935076"/>
                  <a:pt x="2559781" y="935076"/>
                </a:cubicBezTo>
                <a:cubicBezTo>
                  <a:pt x="2550234" y="935076"/>
                  <a:pt x="2542445" y="927413"/>
                  <a:pt x="2542445" y="917867"/>
                </a:cubicBezTo>
                <a:cubicBezTo>
                  <a:pt x="2542445" y="908447"/>
                  <a:pt x="2550107" y="900658"/>
                  <a:pt x="2559654" y="900533"/>
                </a:cubicBezTo>
                <a:close/>
                <a:moveTo>
                  <a:pt x="2206301" y="897896"/>
                </a:moveTo>
                <a:cubicBezTo>
                  <a:pt x="2223384" y="897770"/>
                  <a:pt x="2237201" y="911588"/>
                  <a:pt x="2237201" y="928546"/>
                </a:cubicBezTo>
                <a:cubicBezTo>
                  <a:pt x="2237327" y="945503"/>
                  <a:pt x="2223510" y="959447"/>
                  <a:pt x="2206551" y="959447"/>
                </a:cubicBezTo>
                <a:cubicBezTo>
                  <a:pt x="2189593" y="959572"/>
                  <a:pt x="2175776" y="945755"/>
                  <a:pt x="2175651" y="928797"/>
                </a:cubicBezTo>
                <a:cubicBezTo>
                  <a:pt x="2175524" y="911838"/>
                  <a:pt x="2189342" y="898021"/>
                  <a:pt x="2206301" y="897896"/>
                </a:cubicBezTo>
                <a:close/>
                <a:moveTo>
                  <a:pt x="381870" y="889352"/>
                </a:moveTo>
                <a:cubicBezTo>
                  <a:pt x="389155" y="889352"/>
                  <a:pt x="395059" y="895131"/>
                  <a:pt x="395059" y="902416"/>
                </a:cubicBezTo>
                <a:cubicBezTo>
                  <a:pt x="395059" y="909577"/>
                  <a:pt x="389155" y="915480"/>
                  <a:pt x="381995" y="915480"/>
                </a:cubicBezTo>
                <a:cubicBezTo>
                  <a:pt x="374835" y="915480"/>
                  <a:pt x="368931" y="909577"/>
                  <a:pt x="368931" y="902416"/>
                </a:cubicBezTo>
                <a:cubicBezTo>
                  <a:pt x="368931" y="895131"/>
                  <a:pt x="374708" y="889227"/>
                  <a:pt x="381870" y="889352"/>
                </a:cubicBezTo>
                <a:close/>
                <a:moveTo>
                  <a:pt x="1849303" y="885082"/>
                </a:moveTo>
                <a:cubicBezTo>
                  <a:pt x="1858472" y="885082"/>
                  <a:pt x="1866009" y="892494"/>
                  <a:pt x="1866009" y="901663"/>
                </a:cubicBezTo>
                <a:cubicBezTo>
                  <a:pt x="1866009" y="910833"/>
                  <a:pt x="1858599" y="918370"/>
                  <a:pt x="1849428" y="918370"/>
                </a:cubicBezTo>
                <a:cubicBezTo>
                  <a:pt x="1840258" y="918370"/>
                  <a:pt x="1832721" y="910958"/>
                  <a:pt x="1832721" y="901789"/>
                </a:cubicBezTo>
                <a:cubicBezTo>
                  <a:pt x="1832721" y="892619"/>
                  <a:pt x="1840133" y="885207"/>
                  <a:pt x="1849303" y="885082"/>
                </a:cubicBezTo>
                <a:close/>
                <a:moveTo>
                  <a:pt x="1189572" y="883575"/>
                </a:moveTo>
                <a:cubicBezTo>
                  <a:pt x="1201003" y="883450"/>
                  <a:pt x="1210300" y="892620"/>
                  <a:pt x="1210300" y="904051"/>
                </a:cubicBezTo>
                <a:cubicBezTo>
                  <a:pt x="1210300" y="915356"/>
                  <a:pt x="1201129" y="924652"/>
                  <a:pt x="1189824" y="924652"/>
                </a:cubicBezTo>
                <a:cubicBezTo>
                  <a:pt x="1178518" y="924777"/>
                  <a:pt x="1169223" y="915608"/>
                  <a:pt x="1169223" y="904176"/>
                </a:cubicBezTo>
                <a:cubicBezTo>
                  <a:pt x="1169098" y="892871"/>
                  <a:pt x="1178267" y="883575"/>
                  <a:pt x="1189572" y="883575"/>
                </a:cubicBezTo>
                <a:close/>
                <a:moveTo>
                  <a:pt x="2657007" y="881440"/>
                </a:moveTo>
                <a:cubicBezTo>
                  <a:pt x="2664041" y="881440"/>
                  <a:pt x="2669693" y="887092"/>
                  <a:pt x="2669693" y="894001"/>
                </a:cubicBezTo>
                <a:cubicBezTo>
                  <a:pt x="2669693" y="901036"/>
                  <a:pt x="2664041" y="906688"/>
                  <a:pt x="2657132" y="906688"/>
                </a:cubicBezTo>
                <a:cubicBezTo>
                  <a:pt x="2650098" y="906688"/>
                  <a:pt x="2644445" y="901036"/>
                  <a:pt x="2644445" y="894127"/>
                </a:cubicBezTo>
                <a:cubicBezTo>
                  <a:pt x="2644445" y="887217"/>
                  <a:pt x="2649972" y="881565"/>
                  <a:pt x="2657007" y="881440"/>
                </a:cubicBezTo>
                <a:close/>
                <a:moveTo>
                  <a:pt x="729570" y="879178"/>
                </a:moveTo>
                <a:cubicBezTo>
                  <a:pt x="744518" y="879053"/>
                  <a:pt x="756703" y="891112"/>
                  <a:pt x="756703" y="906059"/>
                </a:cubicBezTo>
                <a:cubicBezTo>
                  <a:pt x="756703" y="921007"/>
                  <a:pt x="744770" y="933192"/>
                  <a:pt x="729822" y="933192"/>
                </a:cubicBezTo>
                <a:cubicBezTo>
                  <a:pt x="714873" y="933318"/>
                  <a:pt x="702689" y="921258"/>
                  <a:pt x="702689" y="906311"/>
                </a:cubicBezTo>
                <a:cubicBezTo>
                  <a:pt x="702564" y="891362"/>
                  <a:pt x="714621" y="879303"/>
                  <a:pt x="729570" y="879178"/>
                </a:cubicBezTo>
                <a:close/>
                <a:moveTo>
                  <a:pt x="2035842" y="877922"/>
                </a:moveTo>
                <a:cubicBezTo>
                  <a:pt x="2050287" y="877922"/>
                  <a:pt x="2062221" y="889604"/>
                  <a:pt x="2062221" y="904175"/>
                </a:cubicBezTo>
                <a:cubicBezTo>
                  <a:pt x="2062221" y="918621"/>
                  <a:pt x="2050538" y="930555"/>
                  <a:pt x="2035967" y="930555"/>
                </a:cubicBezTo>
                <a:cubicBezTo>
                  <a:pt x="2021395" y="930555"/>
                  <a:pt x="2009587" y="918873"/>
                  <a:pt x="2009461" y="904301"/>
                </a:cubicBezTo>
                <a:cubicBezTo>
                  <a:pt x="2009461" y="889856"/>
                  <a:pt x="2021270" y="878047"/>
                  <a:pt x="2035842" y="877922"/>
                </a:cubicBezTo>
                <a:close/>
                <a:moveTo>
                  <a:pt x="1003160" y="877168"/>
                </a:moveTo>
                <a:cubicBezTo>
                  <a:pt x="1020117" y="877168"/>
                  <a:pt x="1034061" y="890860"/>
                  <a:pt x="1034061" y="907818"/>
                </a:cubicBezTo>
                <a:cubicBezTo>
                  <a:pt x="1034061" y="924776"/>
                  <a:pt x="1020369" y="938720"/>
                  <a:pt x="1003411" y="938720"/>
                </a:cubicBezTo>
                <a:cubicBezTo>
                  <a:pt x="986327" y="938845"/>
                  <a:pt x="972510" y="925027"/>
                  <a:pt x="972510" y="908068"/>
                </a:cubicBezTo>
                <a:cubicBezTo>
                  <a:pt x="972383" y="891111"/>
                  <a:pt x="986076" y="877293"/>
                  <a:pt x="1003160" y="877168"/>
                </a:cubicBezTo>
                <a:close/>
                <a:moveTo>
                  <a:pt x="285145" y="870134"/>
                </a:moveTo>
                <a:cubicBezTo>
                  <a:pt x="290422" y="870008"/>
                  <a:pt x="294692" y="874278"/>
                  <a:pt x="294692" y="879555"/>
                </a:cubicBezTo>
                <a:cubicBezTo>
                  <a:pt x="294692" y="884830"/>
                  <a:pt x="290422" y="889102"/>
                  <a:pt x="285145" y="889102"/>
                </a:cubicBezTo>
                <a:cubicBezTo>
                  <a:pt x="279870" y="889227"/>
                  <a:pt x="275598" y="884957"/>
                  <a:pt x="275598" y="879680"/>
                </a:cubicBezTo>
                <a:cubicBezTo>
                  <a:pt x="275598" y="874405"/>
                  <a:pt x="279870" y="870134"/>
                  <a:pt x="285145" y="870134"/>
                </a:cubicBezTo>
                <a:close/>
                <a:moveTo>
                  <a:pt x="2309304" y="869130"/>
                </a:moveTo>
                <a:cubicBezTo>
                  <a:pt x="2326639" y="869004"/>
                  <a:pt x="2340834" y="883073"/>
                  <a:pt x="2340834" y="900408"/>
                </a:cubicBezTo>
                <a:cubicBezTo>
                  <a:pt x="2340960" y="917742"/>
                  <a:pt x="2326891" y="931938"/>
                  <a:pt x="2309555" y="931938"/>
                </a:cubicBezTo>
                <a:cubicBezTo>
                  <a:pt x="2292221" y="932063"/>
                  <a:pt x="2278152" y="917994"/>
                  <a:pt x="2278027" y="900659"/>
                </a:cubicBezTo>
                <a:cubicBezTo>
                  <a:pt x="2277900" y="883199"/>
                  <a:pt x="2291969" y="869130"/>
                  <a:pt x="2309304" y="869130"/>
                </a:cubicBezTo>
                <a:close/>
                <a:moveTo>
                  <a:pt x="2753729" y="864356"/>
                </a:moveTo>
                <a:cubicBezTo>
                  <a:pt x="2757246" y="864356"/>
                  <a:pt x="2760134" y="867245"/>
                  <a:pt x="2760134" y="870762"/>
                </a:cubicBezTo>
                <a:cubicBezTo>
                  <a:pt x="2760134" y="874279"/>
                  <a:pt x="2757246" y="877168"/>
                  <a:pt x="2753729" y="877168"/>
                </a:cubicBezTo>
                <a:cubicBezTo>
                  <a:pt x="2750212" y="877168"/>
                  <a:pt x="2747322" y="874279"/>
                  <a:pt x="2747322" y="870762"/>
                </a:cubicBezTo>
                <a:cubicBezTo>
                  <a:pt x="2747322" y="867245"/>
                  <a:pt x="2750085" y="864356"/>
                  <a:pt x="2753729" y="864356"/>
                </a:cubicBezTo>
                <a:close/>
                <a:moveTo>
                  <a:pt x="627948" y="857070"/>
                </a:moveTo>
                <a:cubicBezTo>
                  <a:pt x="640635" y="857070"/>
                  <a:pt x="651061" y="867370"/>
                  <a:pt x="651061" y="880058"/>
                </a:cubicBezTo>
                <a:cubicBezTo>
                  <a:pt x="651061" y="892746"/>
                  <a:pt x="640760" y="903172"/>
                  <a:pt x="628073" y="903172"/>
                </a:cubicBezTo>
                <a:cubicBezTo>
                  <a:pt x="615386" y="903172"/>
                  <a:pt x="604960" y="892871"/>
                  <a:pt x="604960" y="880184"/>
                </a:cubicBezTo>
                <a:cubicBezTo>
                  <a:pt x="604960" y="867497"/>
                  <a:pt x="615260" y="857195"/>
                  <a:pt x="627948" y="857070"/>
                </a:cubicBezTo>
                <a:close/>
                <a:moveTo>
                  <a:pt x="1268208" y="855310"/>
                </a:moveTo>
                <a:cubicBezTo>
                  <a:pt x="1277000" y="855185"/>
                  <a:pt x="1284160" y="862345"/>
                  <a:pt x="1284160" y="871138"/>
                </a:cubicBezTo>
                <a:cubicBezTo>
                  <a:pt x="1284287" y="879931"/>
                  <a:pt x="1277125" y="887092"/>
                  <a:pt x="1268333" y="887092"/>
                </a:cubicBezTo>
                <a:cubicBezTo>
                  <a:pt x="1259539" y="887217"/>
                  <a:pt x="1252379" y="880056"/>
                  <a:pt x="1252379" y="871264"/>
                </a:cubicBezTo>
                <a:cubicBezTo>
                  <a:pt x="1252379" y="862471"/>
                  <a:pt x="1259539" y="855310"/>
                  <a:pt x="1268208" y="855310"/>
                </a:cubicBezTo>
                <a:close/>
                <a:moveTo>
                  <a:pt x="188798" y="853427"/>
                </a:moveTo>
                <a:cubicBezTo>
                  <a:pt x="190808" y="853427"/>
                  <a:pt x="192566" y="855060"/>
                  <a:pt x="192566" y="857195"/>
                </a:cubicBezTo>
                <a:cubicBezTo>
                  <a:pt x="192566" y="859205"/>
                  <a:pt x="190933" y="860964"/>
                  <a:pt x="188798" y="860964"/>
                </a:cubicBezTo>
                <a:cubicBezTo>
                  <a:pt x="186661" y="860964"/>
                  <a:pt x="185029" y="859331"/>
                  <a:pt x="185029" y="857195"/>
                </a:cubicBezTo>
                <a:cubicBezTo>
                  <a:pt x="185029" y="855185"/>
                  <a:pt x="186661" y="853552"/>
                  <a:pt x="188798" y="853427"/>
                </a:cubicBezTo>
                <a:close/>
                <a:moveTo>
                  <a:pt x="1770417" y="852799"/>
                </a:moveTo>
                <a:cubicBezTo>
                  <a:pt x="1779586" y="852799"/>
                  <a:pt x="1787123" y="860211"/>
                  <a:pt x="1787123" y="869380"/>
                </a:cubicBezTo>
                <a:cubicBezTo>
                  <a:pt x="1787123" y="878550"/>
                  <a:pt x="1779712" y="886087"/>
                  <a:pt x="1770542" y="886087"/>
                </a:cubicBezTo>
                <a:cubicBezTo>
                  <a:pt x="1761372" y="886087"/>
                  <a:pt x="1753835" y="878675"/>
                  <a:pt x="1753835" y="869506"/>
                </a:cubicBezTo>
                <a:cubicBezTo>
                  <a:pt x="1753835" y="860336"/>
                  <a:pt x="1761247" y="852799"/>
                  <a:pt x="1770417" y="852799"/>
                </a:cubicBezTo>
                <a:close/>
                <a:moveTo>
                  <a:pt x="2849949" y="846141"/>
                </a:moveTo>
                <a:cubicBezTo>
                  <a:pt x="2850829" y="846141"/>
                  <a:pt x="2851456" y="846770"/>
                  <a:pt x="2851456" y="847648"/>
                </a:cubicBezTo>
                <a:cubicBezTo>
                  <a:pt x="2851456" y="848528"/>
                  <a:pt x="2850829" y="849156"/>
                  <a:pt x="2849949" y="849156"/>
                </a:cubicBezTo>
                <a:cubicBezTo>
                  <a:pt x="2849069" y="849156"/>
                  <a:pt x="2848316" y="848528"/>
                  <a:pt x="2848316" y="847648"/>
                </a:cubicBezTo>
                <a:cubicBezTo>
                  <a:pt x="2848316" y="846770"/>
                  <a:pt x="2849069" y="846016"/>
                  <a:pt x="2849949" y="846141"/>
                </a:cubicBezTo>
                <a:close/>
                <a:moveTo>
                  <a:pt x="2410674" y="844885"/>
                </a:moveTo>
                <a:cubicBezTo>
                  <a:pt x="2426501" y="844759"/>
                  <a:pt x="2439440" y="857572"/>
                  <a:pt x="2439566" y="873525"/>
                </a:cubicBezTo>
                <a:cubicBezTo>
                  <a:pt x="2439692" y="889352"/>
                  <a:pt x="2426753" y="902416"/>
                  <a:pt x="2410925" y="902416"/>
                </a:cubicBezTo>
                <a:cubicBezTo>
                  <a:pt x="2395098" y="902541"/>
                  <a:pt x="2382160" y="889729"/>
                  <a:pt x="2382034" y="873776"/>
                </a:cubicBezTo>
                <a:cubicBezTo>
                  <a:pt x="2382034" y="857822"/>
                  <a:pt x="2394846" y="845010"/>
                  <a:pt x="2410674" y="844885"/>
                </a:cubicBezTo>
                <a:close/>
                <a:moveTo>
                  <a:pt x="894126" y="843378"/>
                </a:moveTo>
                <a:cubicBezTo>
                  <a:pt x="911336" y="843252"/>
                  <a:pt x="925405" y="857195"/>
                  <a:pt x="925405" y="874404"/>
                </a:cubicBezTo>
                <a:cubicBezTo>
                  <a:pt x="925530" y="891615"/>
                  <a:pt x="911587" y="905684"/>
                  <a:pt x="894378" y="905684"/>
                </a:cubicBezTo>
                <a:cubicBezTo>
                  <a:pt x="877169" y="905809"/>
                  <a:pt x="863100" y="891865"/>
                  <a:pt x="863100" y="874656"/>
                </a:cubicBezTo>
                <a:cubicBezTo>
                  <a:pt x="862973" y="857447"/>
                  <a:pt x="876917" y="843378"/>
                  <a:pt x="894126" y="843378"/>
                </a:cubicBezTo>
                <a:close/>
                <a:moveTo>
                  <a:pt x="2144497" y="840867"/>
                </a:moveTo>
                <a:cubicBezTo>
                  <a:pt x="2160576" y="840867"/>
                  <a:pt x="2173765" y="853931"/>
                  <a:pt x="2173765" y="870010"/>
                </a:cubicBezTo>
                <a:cubicBezTo>
                  <a:pt x="2173765" y="886089"/>
                  <a:pt x="2160701" y="899278"/>
                  <a:pt x="2144623" y="899278"/>
                </a:cubicBezTo>
                <a:cubicBezTo>
                  <a:pt x="2128544" y="899278"/>
                  <a:pt x="2115355" y="886214"/>
                  <a:pt x="2115355" y="870135"/>
                </a:cubicBezTo>
                <a:cubicBezTo>
                  <a:pt x="2115228" y="853931"/>
                  <a:pt x="2128292" y="840867"/>
                  <a:pt x="2144497" y="840867"/>
                </a:cubicBezTo>
                <a:close/>
                <a:moveTo>
                  <a:pt x="527582" y="838353"/>
                </a:moveTo>
                <a:cubicBezTo>
                  <a:pt x="536752" y="838353"/>
                  <a:pt x="544289" y="845765"/>
                  <a:pt x="544289" y="854934"/>
                </a:cubicBezTo>
                <a:cubicBezTo>
                  <a:pt x="544289" y="864104"/>
                  <a:pt x="536878" y="871641"/>
                  <a:pt x="527707" y="871641"/>
                </a:cubicBezTo>
                <a:cubicBezTo>
                  <a:pt x="518538" y="871641"/>
                  <a:pt x="511001" y="864230"/>
                  <a:pt x="511001" y="855060"/>
                </a:cubicBezTo>
                <a:cubicBezTo>
                  <a:pt x="511001" y="845890"/>
                  <a:pt x="518412" y="838478"/>
                  <a:pt x="527582" y="838353"/>
                </a:cubicBezTo>
                <a:close/>
                <a:moveTo>
                  <a:pt x="92827" y="833706"/>
                </a:moveTo>
                <a:cubicBezTo>
                  <a:pt x="93582" y="833706"/>
                  <a:pt x="94210" y="834334"/>
                  <a:pt x="94210" y="835088"/>
                </a:cubicBezTo>
                <a:cubicBezTo>
                  <a:pt x="94210" y="835841"/>
                  <a:pt x="93707" y="836343"/>
                  <a:pt x="92954" y="836343"/>
                </a:cubicBezTo>
                <a:cubicBezTo>
                  <a:pt x="92200" y="836468"/>
                  <a:pt x="91572" y="835841"/>
                  <a:pt x="91572" y="835088"/>
                </a:cubicBezTo>
                <a:cubicBezTo>
                  <a:pt x="91572" y="834334"/>
                  <a:pt x="92074" y="833706"/>
                  <a:pt x="92827" y="833706"/>
                </a:cubicBezTo>
                <a:close/>
                <a:moveTo>
                  <a:pt x="1073379" y="833204"/>
                </a:moveTo>
                <a:cubicBezTo>
                  <a:pt x="1088076" y="833204"/>
                  <a:pt x="1100010" y="845011"/>
                  <a:pt x="1100010" y="859709"/>
                </a:cubicBezTo>
                <a:cubicBezTo>
                  <a:pt x="1100010" y="874405"/>
                  <a:pt x="1088201" y="886339"/>
                  <a:pt x="1073505" y="886339"/>
                </a:cubicBezTo>
                <a:cubicBezTo>
                  <a:pt x="1058933" y="886339"/>
                  <a:pt x="1046874" y="874531"/>
                  <a:pt x="1046874" y="859834"/>
                </a:cubicBezTo>
                <a:cubicBezTo>
                  <a:pt x="1046874" y="845138"/>
                  <a:pt x="1058682" y="833204"/>
                  <a:pt x="1073379" y="833204"/>
                </a:cubicBezTo>
                <a:close/>
                <a:moveTo>
                  <a:pt x="1965119" y="830064"/>
                </a:moveTo>
                <a:cubicBezTo>
                  <a:pt x="1979691" y="830064"/>
                  <a:pt x="1991625" y="841746"/>
                  <a:pt x="1991625" y="856317"/>
                </a:cubicBezTo>
                <a:cubicBezTo>
                  <a:pt x="1991625" y="870888"/>
                  <a:pt x="1979942" y="882821"/>
                  <a:pt x="1965371" y="882821"/>
                </a:cubicBezTo>
                <a:cubicBezTo>
                  <a:pt x="1950799" y="882821"/>
                  <a:pt x="1938991" y="871140"/>
                  <a:pt x="1938865" y="856568"/>
                </a:cubicBezTo>
                <a:cubicBezTo>
                  <a:pt x="1938865" y="841997"/>
                  <a:pt x="1950673" y="830189"/>
                  <a:pt x="1965119" y="830064"/>
                </a:cubicBezTo>
                <a:close/>
                <a:moveTo>
                  <a:pt x="2510914" y="829059"/>
                </a:moveTo>
                <a:cubicBezTo>
                  <a:pt x="2521215" y="829059"/>
                  <a:pt x="2529757" y="837350"/>
                  <a:pt x="2529757" y="847776"/>
                </a:cubicBezTo>
                <a:cubicBezTo>
                  <a:pt x="2529883" y="858077"/>
                  <a:pt x="2521466" y="866619"/>
                  <a:pt x="2511041" y="866619"/>
                </a:cubicBezTo>
                <a:cubicBezTo>
                  <a:pt x="2500740" y="866744"/>
                  <a:pt x="2492198" y="858327"/>
                  <a:pt x="2492198" y="847902"/>
                </a:cubicBezTo>
                <a:cubicBezTo>
                  <a:pt x="2492198" y="837476"/>
                  <a:pt x="2500615" y="829059"/>
                  <a:pt x="2510914" y="829059"/>
                </a:cubicBezTo>
                <a:close/>
                <a:moveTo>
                  <a:pt x="1350108" y="825415"/>
                </a:moveTo>
                <a:cubicBezTo>
                  <a:pt x="1362167" y="825415"/>
                  <a:pt x="1372089" y="835212"/>
                  <a:pt x="1372089" y="847271"/>
                </a:cubicBezTo>
                <a:cubicBezTo>
                  <a:pt x="1372089" y="859331"/>
                  <a:pt x="1362292" y="869254"/>
                  <a:pt x="1350233" y="869254"/>
                </a:cubicBezTo>
                <a:cubicBezTo>
                  <a:pt x="1338174" y="869254"/>
                  <a:pt x="1328250" y="859457"/>
                  <a:pt x="1328250" y="847398"/>
                </a:cubicBezTo>
                <a:cubicBezTo>
                  <a:pt x="1328250" y="835339"/>
                  <a:pt x="1338047" y="825415"/>
                  <a:pt x="1350108" y="825415"/>
                </a:cubicBezTo>
                <a:close/>
                <a:moveTo>
                  <a:pt x="1688390" y="823656"/>
                </a:moveTo>
                <a:cubicBezTo>
                  <a:pt x="1700826" y="823531"/>
                  <a:pt x="1710875" y="833580"/>
                  <a:pt x="1710875" y="845889"/>
                </a:cubicBezTo>
                <a:cubicBezTo>
                  <a:pt x="1711001" y="858325"/>
                  <a:pt x="1700951" y="868374"/>
                  <a:pt x="1688642" y="868374"/>
                </a:cubicBezTo>
                <a:cubicBezTo>
                  <a:pt x="1676206" y="868499"/>
                  <a:pt x="1666157" y="858450"/>
                  <a:pt x="1666157" y="846141"/>
                </a:cubicBezTo>
                <a:cubicBezTo>
                  <a:pt x="1666031" y="833830"/>
                  <a:pt x="1676080" y="823781"/>
                  <a:pt x="1688390" y="823656"/>
                </a:cubicBezTo>
                <a:close/>
                <a:moveTo>
                  <a:pt x="787730" y="818883"/>
                </a:moveTo>
                <a:cubicBezTo>
                  <a:pt x="801549" y="818758"/>
                  <a:pt x="812853" y="829937"/>
                  <a:pt x="812853" y="843754"/>
                </a:cubicBezTo>
                <a:cubicBezTo>
                  <a:pt x="812980" y="857572"/>
                  <a:pt x="801799" y="868877"/>
                  <a:pt x="787982" y="868877"/>
                </a:cubicBezTo>
                <a:cubicBezTo>
                  <a:pt x="774164" y="869003"/>
                  <a:pt x="762859" y="857823"/>
                  <a:pt x="762859" y="844006"/>
                </a:cubicBezTo>
                <a:cubicBezTo>
                  <a:pt x="762734" y="830188"/>
                  <a:pt x="773913" y="818883"/>
                  <a:pt x="787730" y="818883"/>
                </a:cubicBezTo>
                <a:close/>
                <a:moveTo>
                  <a:pt x="428093" y="817753"/>
                </a:moveTo>
                <a:cubicBezTo>
                  <a:pt x="435254" y="817753"/>
                  <a:pt x="441032" y="823531"/>
                  <a:pt x="441032" y="830566"/>
                </a:cubicBezTo>
                <a:cubicBezTo>
                  <a:pt x="441032" y="837726"/>
                  <a:pt x="435254" y="843504"/>
                  <a:pt x="428220" y="843504"/>
                </a:cubicBezTo>
                <a:cubicBezTo>
                  <a:pt x="421184" y="843504"/>
                  <a:pt x="415407" y="837726"/>
                  <a:pt x="415407" y="830692"/>
                </a:cubicBezTo>
                <a:cubicBezTo>
                  <a:pt x="415407" y="823657"/>
                  <a:pt x="421184" y="817878"/>
                  <a:pt x="428093" y="817753"/>
                </a:cubicBezTo>
                <a:close/>
                <a:moveTo>
                  <a:pt x="1434145" y="812855"/>
                </a:moveTo>
                <a:cubicBezTo>
                  <a:pt x="1445073" y="812855"/>
                  <a:pt x="1454117" y="821649"/>
                  <a:pt x="1454117" y="832703"/>
                </a:cubicBezTo>
                <a:cubicBezTo>
                  <a:pt x="1454117" y="843630"/>
                  <a:pt x="1445325" y="852675"/>
                  <a:pt x="1434271" y="852675"/>
                </a:cubicBezTo>
                <a:cubicBezTo>
                  <a:pt x="1423342" y="852801"/>
                  <a:pt x="1414298" y="843882"/>
                  <a:pt x="1414298" y="832828"/>
                </a:cubicBezTo>
                <a:cubicBezTo>
                  <a:pt x="1414172" y="821774"/>
                  <a:pt x="1423091" y="812855"/>
                  <a:pt x="1434145" y="812855"/>
                </a:cubicBezTo>
                <a:close/>
                <a:moveTo>
                  <a:pt x="1604353" y="812225"/>
                </a:moveTo>
                <a:cubicBezTo>
                  <a:pt x="1615408" y="812100"/>
                  <a:pt x="1624325" y="821018"/>
                  <a:pt x="1624325" y="832072"/>
                </a:cubicBezTo>
                <a:cubicBezTo>
                  <a:pt x="1624325" y="843001"/>
                  <a:pt x="1615533" y="852045"/>
                  <a:pt x="1604479" y="852045"/>
                </a:cubicBezTo>
                <a:cubicBezTo>
                  <a:pt x="1593425" y="852045"/>
                  <a:pt x="1584506" y="843252"/>
                  <a:pt x="1584506" y="832198"/>
                </a:cubicBezTo>
                <a:cubicBezTo>
                  <a:pt x="1584380" y="821269"/>
                  <a:pt x="1593298" y="812225"/>
                  <a:pt x="1604353" y="812225"/>
                </a:cubicBezTo>
                <a:close/>
                <a:moveTo>
                  <a:pt x="2250768" y="811221"/>
                </a:moveTo>
                <a:cubicBezTo>
                  <a:pt x="2265841" y="811221"/>
                  <a:pt x="2278278" y="823405"/>
                  <a:pt x="2278278" y="838606"/>
                </a:cubicBezTo>
                <a:cubicBezTo>
                  <a:pt x="2278278" y="853679"/>
                  <a:pt x="2266093" y="866115"/>
                  <a:pt x="2250894" y="866115"/>
                </a:cubicBezTo>
                <a:cubicBezTo>
                  <a:pt x="2235821" y="866115"/>
                  <a:pt x="2223385" y="853930"/>
                  <a:pt x="2223385" y="838731"/>
                </a:cubicBezTo>
                <a:cubicBezTo>
                  <a:pt x="2223259" y="823531"/>
                  <a:pt x="2235444" y="811221"/>
                  <a:pt x="2250768" y="811221"/>
                </a:cubicBezTo>
                <a:close/>
                <a:moveTo>
                  <a:pt x="2610152" y="810216"/>
                </a:moveTo>
                <a:cubicBezTo>
                  <a:pt x="2617186" y="810216"/>
                  <a:pt x="2622838" y="815868"/>
                  <a:pt x="2622838" y="822777"/>
                </a:cubicBezTo>
                <a:cubicBezTo>
                  <a:pt x="2622838" y="829812"/>
                  <a:pt x="2617311" y="835464"/>
                  <a:pt x="2610277" y="835464"/>
                </a:cubicBezTo>
                <a:cubicBezTo>
                  <a:pt x="2603369" y="835464"/>
                  <a:pt x="2597590" y="829812"/>
                  <a:pt x="2597590" y="822903"/>
                </a:cubicBezTo>
                <a:cubicBezTo>
                  <a:pt x="2597590" y="815868"/>
                  <a:pt x="2603243" y="810216"/>
                  <a:pt x="2610152" y="810216"/>
                </a:cubicBezTo>
                <a:close/>
                <a:moveTo>
                  <a:pt x="1519186" y="808958"/>
                </a:moveTo>
                <a:cubicBezTo>
                  <a:pt x="1529612" y="808833"/>
                  <a:pt x="1538028" y="817250"/>
                  <a:pt x="1538028" y="827675"/>
                </a:cubicBezTo>
                <a:cubicBezTo>
                  <a:pt x="1538154" y="837976"/>
                  <a:pt x="1529737" y="846518"/>
                  <a:pt x="1519312" y="846518"/>
                </a:cubicBezTo>
                <a:cubicBezTo>
                  <a:pt x="1509011" y="846518"/>
                  <a:pt x="1500470" y="838227"/>
                  <a:pt x="1500470" y="827801"/>
                </a:cubicBezTo>
                <a:cubicBezTo>
                  <a:pt x="1500344" y="817375"/>
                  <a:pt x="1508761" y="808833"/>
                  <a:pt x="1519186" y="808958"/>
                </a:cubicBezTo>
                <a:close/>
                <a:moveTo>
                  <a:pt x="329611" y="798157"/>
                </a:moveTo>
                <a:cubicBezTo>
                  <a:pt x="334385" y="798157"/>
                  <a:pt x="338278" y="802051"/>
                  <a:pt x="338278" y="806824"/>
                </a:cubicBezTo>
                <a:cubicBezTo>
                  <a:pt x="338405" y="811598"/>
                  <a:pt x="334510" y="815491"/>
                  <a:pt x="329737" y="815491"/>
                </a:cubicBezTo>
                <a:cubicBezTo>
                  <a:pt x="324964" y="815618"/>
                  <a:pt x="321070" y="811723"/>
                  <a:pt x="321070" y="806949"/>
                </a:cubicBezTo>
                <a:cubicBezTo>
                  <a:pt x="321070" y="802177"/>
                  <a:pt x="324964" y="798282"/>
                  <a:pt x="329611" y="798157"/>
                </a:cubicBezTo>
                <a:close/>
                <a:moveTo>
                  <a:pt x="683343" y="792505"/>
                </a:moveTo>
                <a:cubicBezTo>
                  <a:pt x="695904" y="792505"/>
                  <a:pt x="706205" y="802679"/>
                  <a:pt x="706205" y="815241"/>
                </a:cubicBezTo>
                <a:cubicBezTo>
                  <a:pt x="706205" y="827802"/>
                  <a:pt x="696029" y="838103"/>
                  <a:pt x="683468" y="838103"/>
                </a:cubicBezTo>
                <a:cubicBezTo>
                  <a:pt x="670906" y="838103"/>
                  <a:pt x="660607" y="827929"/>
                  <a:pt x="660607" y="815367"/>
                </a:cubicBezTo>
                <a:cubicBezTo>
                  <a:pt x="660607" y="802805"/>
                  <a:pt x="670656" y="792505"/>
                  <a:pt x="683343" y="792505"/>
                </a:cubicBezTo>
                <a:close/>
                <a:moveTo>
                  <a:pt x="2708635" y="789992"/>
                </a:moveTo>
                <a:cubicBezTo>
                  <a:pt x="2713282" y="789992"/>
                  <a:pt x="2717050" y="793760"/>
                  <a:pt x="2717050" y="798409"/>
                </a:cubicBezTo>
                <a:cubicBezTo>
                  <a:pt x="2717050" y="803057"/>
                  <a:pt x="2713282" y="806826"/>
                  <a:pt x="2708635" y="806826"/>
                </a:cubicBezTo>
                <a:cubicBezTo>
                  <a:pt x="2703986" y="806826"/>
                  <a:pt x="2700218" y="803057"/>
                  <a:pt x="2700218" y="798409"/>
                </a:cubicBezTo>
                <a:cubicBezTo>
                  <a:pt x="2700218" y="793760"/>
                  <a:pt x="2703986" y="789992"/>
                  <a:pt x="2708635" y="789992"/>
                </a:cubicBezTo>
                <a:close/>
                <a:moveTo>
                  <a:pt x="960575" y="789741"/>
                </a:moveTo>
                <a:cubicBezTo>
                  <a:pt x="977911" y="789615"/>
                  <a:pt x="992105" y="803684"/>
                  <a:pt x="992105" y="821019"/>
                </a:cubicBezTo>
                <a:cubicBezTo>
                  <a:pt x="992230" y="838353"/>
                  <a:pt x="978161" y="852422"/>
                  <a:pt x="960827" y="852549"/>
                </a:cubicBezTo>
                <a:cubicBezTo>
                  <a:pt x="943492" y="852674"/>
                  <a:pt x="929423" y="838605"/>
                  <a:pt x="929298" y="821270"/>
                </a:cubicBezTo>
                <a:cubicBezTo>
                  <a:pt x="929298" y="803935"/>
                  <a:pt x="943241" y="789741"/>
                  <a:pt x="960575" y="789741"/>
                </a:cubicBezTo>
                <a:close/>
                <a:moveTo>
                  <a:pt x="1148119" y="789490"/>
                </a:moveTo>
                <a:cubicBezTo>
                  <a:pt x="1164198" y="789490"/>
                  <a:pt x="1177261" y="802429"/>
                  <a:pt x="1177387" y="818633"/>
                </a:cubicBezTo>
                <a:cubicBezTo>
                  <a:pt x="1177387" y="834712"/>
                  <a:pt x="1164323" y="847901"/>
                  <a:pt x="1148244" y="847901"/>
                </a:cubicBezTo>
                <a:cubicBezTo>
                  <a:pt x="1132166" y="847901"/>
                  <a:pt x="1118977" y="834963"/>
                  <a:pt x="1118977" y="818758"/>
                </a:cubicBezTo>
                <a:cubicBezTo>
                  <a:pt x="1118977" y="802679"/>
                  <a:pt x="1131915" y="789490"/>
                  <a:pt x="1148119" y="789490"/>
                </a:cubicBezTo>
                <a:close/>
                <a:moveTo>
                  <a:pt x="2077544" y="788234"/>
                </a:moveTo>
                <a:cubicBezTo>
                  <a:pt x="2093498" y="788108"/>
                  <a:pt x="2106310" y="800921"/>
                  <a:pt x="2106436" y="816874"/>
                </a:cubicBezTo>
                <a:cubicBezTo>
                  <a:pt x="2106562" y="832701"/>
                  <a:pt x="2093748" y="845765"/>
                  <a:pt x="2077796" y="845765"/>
                </a:cubicBezTo>
                <a:cubicBezTo>
                  <a:pt x="2061843" y="845890"/>
                  <a:pt x="2048904" y="833078"/>
                  <a:pt x="2048904" y="817125"/>
                </a:cubicBezTo>
                <a:cubicBezTo>
                  <a:pt x="2048904" y="801298"/>
                  <a:pt x="2061718" y="788359"/>
                  <a:pt x="2077544" y="788234"/>
                </a:cubicBezTo>
                <a:close/>
                <a:moveTo>
                  <a:pt x="1890126" y="787730"/>
                </a:moveTo>
                <a:cubicBezTo>
                  <a:pt x="1905701" y="787730"/>
                  <a:pt x="1918515" y="800417"/>
                  <a:pt x="1918515" y="815993"/>
                </a:cubicBezTo>
                <a:cubicBezTo>
                  <a:pt x="1918515" y="831569"/>
                  <a:pt x="1905828" y="844382"/>
                  <a:pt x="1890251" y="844382"/>
                </a:cubicBezTo>
                <a:cubicBezTo>
                  <a:pt x="1874676" y="844382"/>
                  <a:pt x="1861863" y="831695"/>
                  <a:pt x="1861863" y="816119"/>
                </a:cubicBezTo>
                <a:cubicBezTo>
                  <a:pt x="1861863" y="800417"/>
                  <a:pt x="1874424" y="787730"/>
                  <a:pt x="1890126" y="787730"/>
                </a:cubicBezTo>
                <a:close/>
                <a:moveTo>
                  <a:pt x="2355028" y="784842"/>
                </a:moveTo>
                <a:cubicBezTo>
                  <a:pt x="2368343" y="784717"/>
                  <a:pt x="2379397" y="795644"/>
                  <a:pt x="2379397" y="809086"/>
                </a:cubicBezTo>
                <a:cubicBezTo>
                  <a:pt x="2379397" y="822527"/>
                  <a:pt x="2368595" y="833581"/>
                  <a:pt x="2355154" y="833581"/>
                </a:cubicBezTo>
                <a:cubicBezTo>
                  <a:pt x="2341712" y="833706"/>
                  <a:pt x="2330658" y="822777"/>
                  <a:pt x="2330658" y="809337"/>
                </a:cubicBezTo>
                <a:cubicBezTo>
                  <a:pt x="2330658" y="795896"/>
                  <a:pt x="2341462" y="784967"/>
                  <a:pt x="2355028" y="784842"/>
                </a:cubicBezTo>
                <a:close/>
                <a:moveTo>
                  <a:pt x="231882" y="779817"/>
                </a:moveTo>
                <a:cubicBezTo>
                  <a:pt x="234018" y="779817"/>
                  <a:pt x="235651" y="781450"/>
                  <a:pt x="235651" y="783585"/>
                </a:cubicBezTo>
                <a:cubicBezTo>
                  <a:pt x="235651" y="785595"/>
                  <a:pt x="234018" y="787354"/>
                  <a:pt x="231882" y="787354"/>
                </a:cubicBezTo>
                <a:cubicBezTo>
                  <a:pt x="229746" y="787354"/>
                  <a:pt x="228114" y="785721"/>
                  <a:pt x="228114" y="783585"/>
                </a:cubicBezTo>
                <a:cubicBezTo>
                  <a:pt x="228114" y="781575"/>
                  <a:pt x="229746" y="779817"/>
                  <a:pt x="231882" y="779817"/>
                </a:cubicBezTo>
                <a:close/>
                <a:moveTo>
                  <a:pt x="2806361" y="770270"/>
                </a:moveTo>
                <a:cubicBezTo>
                  <a:pt x="2808623" y="770270"/>
                  <a:pt x="2810381" y="772028"/>
                  <a:pt x="2810381" y="774290"/>
                </a:cubicBezTo>
                <a:cubicBezTo>
                  <a:pt x="2810381" y="776551"/>
                  <a:pt x="2808496" y="778309"/>
                  <a:pt x="2806361" y="778309"/>
                </a:cubicBezTo>
                <a:cubicBezTo>
                  <a:pt x="2804099" y="778309"/>
                  <a:pt x="2802341" y="776425"/>
                  <a:pt x="2802341" y="774290"/>
                </a:cubicBezTo>
                <a:cubicBezTo>
                  <a:pt x="2802341" y="772154"/>
                  <a:pt x="2804099" y="770270"/>
                  <a:pt x="2806361" y="770270"/>
                </a:cubicBezTo>
                <a:close/>
                <a:moveTo>
                  <a:pt x="580466" y="768511"/>
                </a:moveTo>
                <a:cubicBezTo>
                  <a:pt x="591268" y="768386"/>
                  <a:pt x="600187" y="777178"/>
                  <a:pt x="600187" y="788107"/>
                </a:cubicBezTo>
                <a:cubicBezTo>
                  <a:pt x="600314" y="798910"/>
                  <a:pt x="591520" y="807829"/>
                  <a:pt x="580591" y="807829"/>
                </a:cubicBezTo>
                <a:cubicBezTo>
                  <a:pt x="569789" y="807955"/>
                  <a:pt x="560870" y="799161"/>
                  <a:pt x="560870" y="788233"/>
                </a:cubicBezTo>
                <a:cubicBezTo>
                  <a:pt x="560745" y="777430"/>
                  <a:pt x="569537" y="768511"/>
                  <a:pt x="580466" y="768511"/>
                </a:cubicBezTo>
                <a:close/>
                <a:moveTo>
                  <a:pt x="2457529" y="762607"/>
                </a:moveTo>
                <a:cubicBezTo>
                  <a:pt x="2467955" y="762607"/>
                  <a:pt x="2476372" y="770897"/>
                  <a:pt x="2476372" y="781323"/>
                </a:cubicBezTo>
                <a:cubicBezTo>
                  <a:pt x="2476372" y="791624"/>
                  <a:pt x="2468080" y="800166"/>
                  <a:pt x="2457655" y="800166"/>
                </a:cubicBezTo>
                <a:cubicBezTo>
                  <a:pt x="2447354" y="800166"/>
                  <a:pt x="2438812" y="791875"/>
                  <a:pt x="2438812" y="781450"/>
                </a:cubicBezTo>
                <a:cubicBezTo>
                  <a:pt x="2438812" y="771023"/>
                  <a:pt x="2447229" y="762607"/>
                  <a:pt x="2457529" y="762607"/>
                </a:cubicBezTo>
                <a:close/>
                <a:moveTo>
                  <a:pt x="1226629" y="759593"/>
                </a:moveTo>
                <a:cubicBezTo>
                  <a:pt x="1240823" y="759593"/>
                  <a:pt x="1252380" y="771024"/>
                  <a:pt x="1252380" y="785218"/>
                </a:cubicBezTo>
                <a:cubicBezTo>
                  <a:pt x="1252380" y="799412"/>
                  <a:pt x="1240948" y="810969"/>
                  <a:pt x="1226754" y="810969"/>
                </a:cubicBezTo>
                <a:cubicBezTo>
                  <a:pt x="1212560" y="810969"/>
                  <a:pt x="1201004" y="799539"/>
                  <a:pt x="1201004" y="785344"/>
                </a:cubicBezTo>
                <a:cubicBezTo>
                  <a:pt x="1200878" y="771149"/>
                  <a:pt x="1212308" y="759718"/>
                  <a:pt x="1226629" y="759593"/>
                </a:cubicBezTo>
                <a:close/>
                <a:moveTo>
                  <a:pt x="134531" y="759468"/>
                </a:moveTo>
                <a:cubicBezTo>
                  <a:pt x="135284" y="759342"/>
                  <a:pt x="135912" y="759970"/>
                  <a:pt x="135912" y="760724"/>
                </a:cubicBezTo>
                <a:cubicBezTo>
                  <a:pt x="135912" y="761477"/>
                  <a:pt x="135284" y="762105"/>
                  <a:pt x="134531" y="762105"/>
                </a:cubicBezTo>
                <a:cubicBezTo>
                  <a:pt x="133776" y="762105"/>
                  <a:pt x="133274" y="761477"/>
                  <a:pt x="133274" y="760724"/>
                </a:cubicBezTo>
                <a:cubicBezTo>
                  <a:pt x="133274" y="759970"/>
                  <a:pt x="133902" y="759342"/>
                  <a:pt x="134531" y="759468"/>
                </a:cubicBezTo>
                <a:close/>
                <a:moveTo>
                  <a:pt x="850789" y="758337"/>
                </a:moveTo>
                <a:cubicBezTo>
                  <a:pt x="866365" y="758337"/>
                  <a:pt x="879052" y="770773"/>
                  <a:pt x="879052" y="786349"/>
                </a:cubicBezTo>
                <a:cubicBezTo>
                  <a:pt x="879052" y="801925"/>
                  <a:pt x="866616" y="814612"/>
                  <a:pt x="851040" y="814612"/>
                </a:cubicBezTo>
                <a:cubicBezTo>
                  <a:pt x="835463" y="814612"/>
                  <a:pt x="822902" y="802051"/>
                  <a:pt x="822777" y="786600"/>
                </a:cubicBezTo>
                <a:cubicBezTo>
                  <a:pt x="822777" y="771150"/>
                  <a:pt x="835338" y="758462"/>
                  <a:pt x="850789" y="758337"/>
                </a:cubicBezTo>
                <a:close/>
                <a:moveTo>
                  <a:pt x="1811492" y="757835"/>
                </a:moveTo>
                <a:cubicBezTo>
                  <a:pt x="1825436" y="757710"/>
                  <a:pt x="1836866" y="769015"/>
                  <a:pt x="1836866" y="782958"/>
                </a:cubicBezTo>
                <a:cubicBezTo>
                  <a:pt x="1836866" y="796902"/>
                  <a:pt x="1825687" y="808332"/>
                  <a:pt x="1811743" y="808332"/>
                </a:cubicBezTo>
                <a:cubicBezTo>
                  <a:pt x="1797801" y="808332"/>
                  <a:pt x="1786369" y="797152"/>
                  <a:pt x="1786369" y="783209"/>
                </a:cubicBezTo>
                <a:cubicBezTo>
                  <a:pt x="1786369" y="769392"/>
                  <a:pt x="1797549" y="757960"/>
                  <a:pt x="1811492" y="757835"/>
                </a:cubicBezTo>
                <a:close/>
                <a:moveTo>
                  <a:pt x="2187332" y="753563"/>
                </a:moveTo>
                <a:cubicBezTo>
                  <a:pt x="2202782" y="753563"/>
                  <a:pt x="2215343" y="765999"/>
                  <a:pt x="2215470" y="781575"/>
                </a:cubicBezTo>
                <a:cubicBezTo>
                  <a:pt x="2215470" y="797151"/>
                  <a:pt x="2203033" y="809838"/>
                  <a:pt x="2187457" y="809838"/>
                </a:cubicBezTo>
                <a:cubicBezTo>
                  <a:pt x="2171881" y="809838"/>
                  <a:pt x="2159195" y="797402"/>
                  <a:pt x="2159195" y="781826"/>
                </a:cubicBezTo>
                <a:cubicBezTo>
                  <a:pt x="2159069" y="766250"/>
                  <a:pt x="2171631" y="753688"/>
                  <a:pt x="2187332" y="753563"/>
                </a:cubicBezTo>
                <a:close/>
                <a:moveTo>
                  <a:pt x="2903452" y="749793"/>
                </a:moveTo>
                <a:cubicBezTo>
                  <a:pt x="2903955" y="749793"/>
                  <a:pt x="2904331" y="750170"/>
                  <a:pt x="2904331" y="750673"/>
                </a:cubicBezTo>
                <a:cubicBezTo>
                  <a:pt x="2904331" y="751176"/>
                  <a:pt x="2903955" y="751553"/>
                  <a:pt x="2903452" y="751553"/>
                </a:cubicBezTo>
                <a:cubicBezTo>
                  <a:pt x="2902950" y="751553"/>
                  <a:pt x="2902572" y="751176"/>
                  <a:pt x="2902572" y="750673"/>
                </a:cubicBezTo>
                <a:cubicBezTo>
                  <a:pt x="2902572" y="750170"/>
                  <a:pt x="2902950" y="749793"/>
                  <a:pt x="2903452" y="749793"/>
                </a:cubicBezTo>
                <a:close/>
                <a:moveTo>
                  <a:pt x="2558900" y="746781"/>
                </a:moveTo>
                <a:cubicBezTo>
                  <a:pt x="2563171" y="746781"/>
                  <a:pt x="2566689" y="750298"/>
                  <a:pt x="2566689" y="754568"/>
                </a:cubicBezTo>
                <a:cubicBezTo>
                  <a:pt x="2566814" y="758840"/>
                  <a:pt x="2563297" y="762357"/>
                  <a:pt x="2559025" y="762357"/>
                </a:cubicBezTo>
                <a:cubicBezTo>
                  <a:pt x="2554755" y="762357"/>
                  <a:pt x="2551237" y="758965"/>
                  <a:pt x="2551237" y="754695"/>
                </a:cubicBezTo>
                <a:cubicBezTo>
                  <a:pt x="2551237" y="750423"/>
                  <a:pt x="2554755" y="746906"/>
                  <a:pt x="2558900" y="746781"/>
                </a:cubicBezTo>
                <a:close/>
                <a:moveTo>
                  <a:pt x="478969" y="745524"/>
                </a:moveTo>
                <a:cubicBezTo>
                  <a:pt x="488264" y="745524"/>
                  <a:pt x="495676" y="752936"/>
                  <a:pt x="495676" y="762105"/>
                </a:cubicBezTo>
                <a:cubicBezTo>
                  <a:pt x="495676" y="771275"/>
                  <a:pt x="488264" y="778812"/>
                  <a:pt x="479094" y="778812"/>
                </a:cubicBezTo>
                <a:cubicBezTo>
                  <a:pt x="469925" y="778812"/>
                  <a:pt x="462388" y="771401"/>
                  <a:pt x="462388" y="762231"/>
                </a:cubicBezTo>
                <a:cubicBezTo>
                  <a:pt x="462388" y="753061"/>
                  <a:pt x="469799" y="745649"/>
                  <a:pt x="478969" y="745524"/>
                </a:cubicBezTo>
                <a:close/>
                <a:moveTo>
                  <a:pt x="1031673" y="742008"/>
                </a:moveTo>
                <a:cubicBezTo>
                  <a:pt x="1049386" y="741882"/>
                  <a:pt x="1063831" y="756202"/>
                  <a:pt x="1063831" y="773914"/>
                </a:cubicBezTo>
                <a:cubicBezTo>
                  <a:pt x="1063957" y="791625"/>
                  <a:pt x="1049636" y="805946"/>
                  <a:pt x="1031925" y="806071"/>
                </a:cubicBezTo>
                <a:cubicBezTo>
                  <a:pt x="1014087" y="806071"/>
                  <a:pt x="999767" y="791751"/>
                  <a:pt x="999642" y="774039"/>
                </a:cubicBezTo>
                <a:cubicBezTo>
                  <a:pt x="999515" y="756328"/>
                  <a:pt x="1013836" y="741882"/>
                  <a:pt x="1031673" y="742008"/>
                </a:cubicBezTo>
                <a:close/>
                <a:moveTo>
                  <a:pt x="2006445" y="741254"/>
                </a:moveTo>
                <a:cubicBezTo>
                  <a:pt x="2022524" y="741254"/>
                  <a:pt x="2035715" y="754318"/>
                  <a:pt x="2035715" y="770397"/>
                </a:cubicBezTo>
                <a:cubicBezTo>
                  <a:pt x="2035715" y="786476"/>
                  <a:pt x="2022651" y="799665"/>
                  <a:pt x="2006572" y="799665"/>
                </a:cubicBezTo>
                <a:cubicBezTo>
                  <a:pt x="1990367" y="799665"/>
                  <a:pt x="1977303" y="786601"/>
                  <a:pt x="1977177" y="770522"/>
                </a:cubicBezTo>
                <a:cubicBezTo>
                  <a:pt x="1977177" y="754318"/>
                  <a:pt x="1990116" y="741254"/>
                  <a:pt x="2006445" y="741254"/>
                </a:cubicBezTo>
                <a:close/>
                <a:moveTo>
                  <a:pt x="743388" y="731958"/>
                </a:moveTo>
                <a:cubicBezTo>
                  <a:pt x="755949" y="731958"/>
                  <a:pt x="766250" y="742132"/>
                  <a:pt x="766250" y="754694"/>
                </a:cubicBezTo>
                <a:cubicBezTo>
                  <a:pt x="766250" y="767255"/>
                  <a:pt x="756074" y="777556"/>
                  <a:pt x="743513" y="777556"/>
                </a:cubicBezTo>
                <a:cubicBezTo>
                  <a:pt x="730951" y="777556"/>
                  <a:pt x="720652" y="767380"/>
                  <a:pt x="720652" y="754819"/>
                </a:cubicBezTo>
                <a:cubicBezTo>
                  <a:pt x="720652" y="742258"/>
                  <a:pt x="730826" y="732083"/>
                  <a:pt x="743388" y="731958"/>
                </a:cubicBezTo>
                <a:close/>
                <a:moveTo>
                  <a:pt x="1307903" y="729069"/>
                </a:moveTo>
                <a:cubicBezTo>
                  <a:pt x="1324860" y="729069"/>
                  <a:pt x="1338803" y="742761"/>
                  <a:pt x="1338803" y="759719"/>
                </a:cubicBezTo>
                <a:cubicBezTo>
                  <a:pt x="1338929" y="776803"/>
                  <a:pt x="1325112" y="790620"/>
                  <a:pt x="1308153" y="790620"/>
                </a:cubicBezTo>
                <a:cubicBezTo>
                  <a:pt x="1291070" y="790620"/>
                  <a:pt x="1277253" y="776928"/>
                  <a:pt x="1277253" y="759970"/>
                </a:cubicBezTo>
                <a:cubicBezTo>
                  <a:pt x="1277126" y="743013"/>
                  <a:pt x="1290944" y="729194"/>
                  <a:pt x="1307903" y="729069"/>
                </a:cubicBezTo>
                <a:close/>
                <a:moveTo>
                  <a:pt x="1729842" y="728189"/>
                </a:moveTo>
                <a:cubicBezTo>
                  <a:pt x="1746548" y="728063"/>
                  <a:pt x="1760241" y="741629"/>
                  <a:pt x="1760241" y="758337"/>
                </a:cubicBezTo>
                <a:cubicBezTo>
                  <a:pt x="1760367" y="775043"/>
                  <a:pt x="1746800" y="788610"/>
                  <a:pt x="1730092" y="788735"/>
                </a:cubicBezTo>
                <a:cubicBezTo>
                  <a:pt x="1713386" y="788735"/>
                  <a:pt x="1699694" y="775168"/>
                  <a:pt x="1699694" y="758462"/>
                </a:cubicBezTo>
                <a:cubicBezTo>
                  <a:pt x="1699694" y="741756"/>
                  <a:pt x="1713135" y="728063"/>
                  <a:pt x="1729842" y="728189"/>
                </a:cubicBezTo>
                <a:close/>
                <a:moveTo>
                  <a:pt x="2294355" y="725300"/>
                </a:moveTo>
                <a:cubicBezTo>
                  <a:pt x="2307546" y="725300"/>
                  <a:pt x="2318348" y="735977"/>
                  <a:pt x="2318348" y="749166"/>
                </a:cubicBezTo>
                <a:cubicBezTo>
                  <a:pt x="2318474" y="762357"/>
                  <a:pt x="2307797" y="773159"/>
                  <a:pt x="2294607" y="773159"/>
                </a:cubicBezTo>
                <a:cubicBezTo>
                  <a:pt x="2281418" y="773159"/>
                  <a:pt x="2270614" y="762482"/>
                  <a:pt x="2270614" y="749293"/>
                </a:cubicBezTo>
                <a:cubicBezTo>
                  <a:pt x="2270614" y="736102"/>
                  <a:pt x="2281166" y="725300"/>
                  <a:pt x="2294355" y="725300"/>
                </a:cubicBezTo>
                <a:close/>
                <a:moveTo>
                  <a:pt x="2659267" y="725050"/>
                </a:moveTo>
                <a:cubicBezTo>
                  <a:pt x="2661403" y="725050"/>
                  <a:pt x="2663035" y="726808"/>
                  <a:pt x="2663035" y="728818"/>
                </a:cubicBezTo>
                <a:cubicBezTo>
                  <a:pt x="2663035" y="730954"/>
                  <a:pt x="2661403" y="732587"/>
                  <a:pt x="2659267" y="732587"/>
                </a:cubicBezTo>
                <a:cubicBezTo>
                  <a:pt x="2657256" y="732587"/>
                  <a:pt x="2655498" y="730954"/>
                  <a:pt x="2655498" y="728818"/>
                </a:cubicBezTo>
                <a:cubicBezTo>
                  <a:pt x="2655498" y="726683"/>
                  <a:pt x="2657131" y="725050"/>
                  <a:pt x="2659267" y="725050"/>
                </a:cubicBezTo>
                <a:close/>
                <a:moveTo>
                  <a:pt x="378476" y="724922"/>
                </a:moveTo>
                <a:cubicBezTo>
                  <a:pt x="385134" y="724922"/>
                  <a:pt x="390661" y="730324"/>
                  <a:pt x="390661" y="737107"/>
                </a:cubicBezTo>
                <a:cubicBezTo>
                  <a:pt x="390661" y="743766"/>
                  <a:pt x="385259" y="749293"/>
                  <a:pt x="378476" y="749293"/>
                </a:cubicBezTo>
                <a:cubicBezTo>
                  <a:pt x="371819" y="749293"/>
                  <a:pt x="366292" y="743766"/>
                  <a:pt x="366292" y="737107"/>
                </a:cubicBezTo>
                <a:cubicBezTo>
                  <a:pt x="366292" y="730324"/>
                  <a:pt x="371819" y="724922"/>
                  <a:pt x="378476" y="724922"/>
                </a:cubicBezTo>
                <a:close/>
                <a:moveTo>
                  <a:pt x="1391436" y="713492"/>
                </a:moveTo>
                <a:cubicBezTo>
                  <a:pt x="1407514" y="713492"/>
                  <a:pt x="1420704" y="726556"/>
                  <a:pt x="1420704" y="742635"/>
                </a:cubicBezTo>
                <a:cubicBezTo>
                  <a:pt x="1420704" y="758714"/>
                  <a:pt x="1407765" y="771903"/>
                  <a:pt x="1391561" y="771903"/>
                </a:cubicBezTo>
                <a:cubicBezTo>
                  <a:pt x="1375483" y="771903"/>
                  <a:pt x="1362294" y="758839"/>
                  <a:pt x="1362294" y="742760"/>
                </a:cubicBezTo>
                <a:cubicBezTo>
                  <a:pt x="1362167" y="726681"/>
                  <a:pt x="1375231" y="713492"/>
                  <a:pt x="1391436" y="713492"/>
                </a:cubicBezTo>
                <a:close/>
                <a:moveTo>
                  <a:pt x="1646184" y="712488"/>
                </a:moveTo>
                <a:cubicBezTo>
                  <a:pt x="1662388" y="712362"/>
                  <a:pt x="1675703" y="725552"/>
                  <a:pt x="1675703" y="741756"/>
                </a:cubicBezTo>
                <a:cubicBezTo>
                  <a:pt x="1675829" y="757960"/>
                  <a:pt x="1662639" y="771276"/>
                  <a:pt x="1646436" y="771276"/>
                </a:cubicBezTo>
                <a:cubicBezTo>
                  <a:pt x="1630231" y="771276"/>
                  <a:pt x="1617042" y="758086"/>
                  <a:pt x="1616916" y="741882"/>
                </a:cubicBezTo>
                <a:cubicBezTo>
                  <a:pt x="1616916" y="725552"/>
                  <a:pt x="1629980" y="712362"/>
                  <a:pt x="1646184" y="712488"/>
                </a:cubicBezTo>
                <a:close/>
                <a:moveTo>
                  <a:pt x="918370" y="706835"/>
                </a:moveTo>
                <a:cubicBezTo>
                  <a:pt x="933696" y="706835"/>
                  <a:pt x="946132" y="719145"/>
                  <a:pt x="946132" y="734470"/>
                </a:cubicBezTo>
                <a:cubicBezTo>
                  <a:pt x="946257" y="749669"/>
                  <a:pt x="933821" y="762231"/>
                  <a:pt x="918622" y="762231"/>
                </a:cubicBezTo>
                <a:cubicBezTo>
                  <a:pt x="903297" y="762231"/>
                  <a:pt x="890861" y="749921"/>
                  <a:pt x="890861" y="734596"/>
                </a:cubicBezTo>
                <a:cubicBezTo>
                  <a:pt x="890736" y="719271"/>
                  <a:pt x="903045" y="706960"/>
                  <a:pt x="918370" y="706835"/>
                </a:cubicBezTo>
                <a:close/>
                <a:moveTo>
                  <a:pt x="278988" y="704950"/>
                </a:moveTo>
                <a:cubicBezTo>
                  <a:pt x="283260" y="704950"/>
                  <a:pt x="286777" y="708342"/>
                  <a:pt x="286777" y="712613"/>
                </a:cubicBezTo>
                <a:cubicBezTo>
                  <a:pt x="286777" y="716884"/>
                  <a:pt x="283260" y="720401"/>
                  <a:pt x="278988" y="720401"/>
                </a:cubicBezTo>
                <a:cubicBezTo>
                  <a:pt x="274718" y="720401"/>
                  <a:pt x="271201" y="716884"/>
                  <a:pt x="271201" y="712613"/>
                </a:cubicBezTo>
                <a:cubicBezTo>
                  <a:pt x="271201" y="708342"/>
                  <a:pt x="274718" y="704824"/>
                  <a:pt x="278988" y="704950"/>
                </a:cubicBezTo>
                <a:close/>
                <a:moveTo>
                  <a:pt x="1476225" y="704699"/>
                </a:moveTo>
                <a:cubicBezTo>
                  <a:pt x="1492303" y="704699"/>
                  <a:pt x="1505492" y="717763"/>
                  <a:pt x="1505492" y="733842"/>
                </a:cubicBezTo>
                <a:cubicBezTo>
                  <a:pt x="1505492" y="749921"/>
                  <a:pt x="1492555" y="763110"/>
                  <a:pt x="1476350" y="763110"/>
                </a:cubicBezTo>
                <a:cubicBezTo>
                  <a:pt x="1460271" y="763110"/>
                  <a:pt x="1447082" y="750046"/>
                  <a:pt x="1447082" y="733967"/>
                </a:cubicBezTo>
                <a:cubicBezTo>
                  <a:pt x="1447082" y="717888"/>
                  <a:pt x="1460021" y="704699"/>
                  <a:pt x="1476225" y="704699"/>
                </a:cubicBezTo>
                <a:close/>
                <a:moveTo>
                  <a:pt x="1561519" y="704574"/>
                </a:moveTo>
                <a:cubicBezTo>
                  <a:pt x="1577473" y="704574"/>
                  <a:pt x="1590537" y="717512"/>
                  <a:pt x="1590537" y="733464"/>
                </a:cubicBezTo>
                <a:cubicBezTo>
                  <a:pt x="1590537" y="749543"/>
                  <a:pt x="1577723" y="762607"/>
                  <a:pt x="1561645" y="762607"/>
                </a:cubicBezTo>
                <a:cubicBezTo>
                  <a:pt x="1545566" y="762607"/>
                  <a:pt x="1532628" y="749670"/>
                  <a:pt x="1532502" y="733716"/>
                </a:cubicBezTo>
                <a:cubicBezTo>
                  <a:pt x="1532502" y="717638"/>
                  <a:pt x="1545441" y="704574"/>
                  <a:pt x="1561519" y="704574"/>
                </a:cubicBezTo>
                <a:close/>
                <a:moveTo>
                  <a:pt x="2119248" y="704449"/>
                </a:moveTo>
                <a:cubicBezTo>
                  <a:pt x="2133442" y="704449"/>
                  <a:pt x="2144998" y="715880"/>
                  <a:pt x="2144998" y="730074"/>
                </a:cubicBezTo>
                <a:cubicBezTo>
                  <a:pt x="2144998" y="744268"/>
                  <a:pt x="2133568" y="755825"/>
                  <a:pt x="2119373" y="755825"/>
                </a:cubicBezTo>
                <a:cubicBezTo>
                  <a:pt x="2105179" y="755825"/>
                  <a:pt x="2093622" y="744394"/>
                  <a:pt x="2093622" y="730200"/>
                </a:cubicBezTo>
                <a:cubicBezTo>
                  <a:pt x="2093622" y="716005"/>
                  <a:pt x="2105053" y="704574"/>
                  <a:pt x="2119248" y="704449"/>
                </a:cubicBezTo>
                <a:close/>
                <a:moveTo>
                  <a:pt x="637872" y="703443"/>
                </a:moveTo>
                <a:cubicBezTo>
                  <a:pt x="649805" y="703443"/>
                  <a:pt x="659603" y="713115"/>
                  <a:pt x="659603" y="725049"/>
                </a:cubicBezTo>
                <a:cubicBezTo>
                  <a:pt x="659603" y="736983"/>
                  <a:pt x="649931" y="746780"/>
                  <a:pt x="637997" y="746780"/>
                </a:cubicBezTo>
                <a:cubicBezTo>
                  <a:pt x="626063" y="746780"/>
                  <a:pt x="616266" y="737108"/>
                  <a:pt x="616266" y="725174"/>
                </a:cubicBezTo>
                <a:cubicBezTo>
                  <a:pt x="616266" y="713240"/>
                  <a:pt x="625938" y="703443"/>
                  <a:pt x="637872" y="703443"/>
                </a:cubicBezTo>
                <a:close/>
                <a:moveTo>
                  <a:pt x="2758626" y="701810"/>
                </a:moveTo>
                <a:cubicBezTo>
                  <a:pt x="2759633" y="701810"/>
                  <a:pt x="2760386" y="702564"/>
                  <a:pt x="2760386" y="703568"/>
                </a:cubicBezTo>
                <a:cubicBezTo>
                  <a:pt x="2760386" y="704574"/>
                  <a:pt x="2759633" y="705327"/>
                  <a:pt x="2758626" y="705327"/>
                </a:cubicBezTo>
                <a:cubicBezTo>
                  <a:pt x="2757621" y="705327"/>
                  <a:pt x="2756868" y="704574"/>
                  <a:pt x="2756868" y="703568"/>
                </a:cubicBezTo>
                <a:cubicBezTo>
                  <a:pt x="2756868" y="702564"/>
                  <a:pt x="2757748" y="701810"/>
                  <a:pt x="2758626" y="701810"/>
                </a:cubicBezTo>
                <a:close/>
                <a:moveTo>
                  <a:pt x="1931076" y="701182"/>
                </a:moveTo>
                <a:cubicBezTo>
                  <a:pt x="1947155" y="701182"/>
                  <a:pt x="1960219" y="714120"/>
                  <a:pt x="1960219" y="730072"/>
                </a:cubicBezTo>
                <a:cubicBezTo>
                  <a:pt x="1960219" y="746152"/>
                  <a:pt x="1947282" y="759215"/>
                  <a:pt x="1931328" y="759215"/>
                </a:cubicBezTo>
                <a:cubicBezTo>
                  <a:pt x="1915250" y="759215"/>
                  <a:pt x="1902186" y="746403"/>
                  <a:pt x="1902186" y="730324"/>
                </a:cubicBezTo>
                <a:cubicBezTo>
                  <a:pt x="1902059" y="714371"/>
                  <a:pt x="1914998" y="701307"/>
                  <a:pt x="1931076" y="701182"/>
                </a:cubicBezTo>
                <a:close/>
                <a:moveTo>
                  <a:pt x="1106415" y="700304"/>
                </a:moveTo>
                <a:cubicBezTo>
                  <a:pt x="1124629" y="700304"/>
                  <a:pt x="1139452" y="715001"/>
                  <a:pt x="1139452" y="733215"/>
                </a:cubicBezTo>
                <a:cubicBezTo>
                  <a:pt x="1139577" y="751430"/>
                  <a:pt x="1124880" y="766252"/>
                  <a:pt x="1106667" y="766252"/>
                </a:cubicBezTo>
                <a:cubicBezTo>
                  <a:pt x="1088453" y="766252"/>
                  <a:pt x="1073755" y="751555"/>
                  <a:pt x="1073630" y="733341"/>
                </a:cubicBezTo>
                <a:cubicBezTo>
                  <a:pt x="1073630" y="715127"/>
                  <a:pt x="1088326" y="700304"/>
                  <a:pt x="1106415" y="700304"/>
                </a:cubicBezTo>
                <a:close/>
                <a:moveTo>
                  <a:pt x="2399747" y="698291"/>
                </a:moveTo>
                <a:cubicBezTo>
                  <a:pt x="2411052" y="698291"/>
                  <a:pt x="2420348" y="707461"/>
                  <a:pt x="2420348" y="718767"/>
                </a:cubicBezTo>
                <a:cubicBezTo>
                  <a:pt x="2420474" y="730072"/>
                  <a:pt x="2411177" y="739368"/>
                  <a:pt x="2399873" y="739368"/>
                </a:cubicBezTo>
                <a:cubicBezTo>
                  <a:pt x="2388566" y="739493"/>
                  <a:pt x="2379272" y="730324"/>
                  <a:pt x="2379272" y="718892"/>
                </a:cubicBezTo>
                <a:cubicBezTo>
                  <a:pt x="2379146" y="707461"/>
                  <a:pt x="2388316" y="698166"/>
                  <a:pt x="2399747" y="698291"/>
                </a:cubicBezTo>
                <a:close/>
                <a:moveTo>
                  <a:pt x="180252" y="685230"/>
                </a:moveTo>
                <a:cubicBezTo>
                  <a:pt x="182137" y="685230"/>
                  <a:pt x="183643" y="686737"/>
                  <a:pt x="183643" y="688496"/>
                </a:cubicBezTo>
                <a:cubicBezTo>
                  <a:pt x="183643" y="690380"/>
                  <a:pt x="182137" y="691887"/>
                  <a:pt x="180252" y="691887"/>
                </a:cubicBezTo>
                <a:cubicBezTo>
                  <a:pt x="178367" y="691887"/>
                  <a:pt x="176860" y="690380"/>
                  <a:pt x="176860" y="688622"/>
                </a:cubicBezTo>
                <a:cubicBezTo>
                  <a:pt x="176860" y="686737"/>
                  <a:pt x="178367" y="685355"/>
                  <a:pt x="180252" y="685230"/>
                </a:cubicBezTo>
                <a:close/>
                <a:moveTo>
                  <a:pt x="533862" y="677567"/>
                </a:moveTo>
                <a:cubicBezTo>
                  <a:pt x="544664" y="677567"/>
                  <a:pt x="553458" y="686234"/>
                  <a:pt x="553458" y="697037"/>
                </a:cubicBezTo>
                <a:cubicBezTo>
                  <a:pt x="553583" y="707714"/>
                  <a:pt x="544916" y="716508"/>
                  <a:pt x="534113" y="716508"/>
                </a:cubicBezTo>
                <a:cubicBezTo>
                  <a:pt x="523310" y="716633"/>
                  <a:pt x="514517" y="707966"/>
                  <a:pt x="514517" y="697163"/>
                </a:cubicBezTo>
                <a:cubicBezTo>
                  <a:pt x="514517" y="686361"/>
                  <a:pt x="523184" y="677567"/>
                  <a:pt x="533862" y="677567"/>
                </a:cubicBezTo>
                <a:close/>
                <a:moveTo>
                  <a:pt x="807829" y="676185"/>
                </a:moveTo>
                <a:cubicBezTo>
                  <a:pt x="820390" y="676185"/>
                  <a:pt x="830691" y="686359"/>
                  <a:pt x="830691" y="698921"/>
                </a:cubicBezTo>
                <a:cubicBezTo>
                  <a:pt x="830691" y="711482"/>
                  <a:pt x="820515" y="721783"/>
                  <a:pt x="807954" y="721783"/>
                </a:cubicBezTo>
                <a:cubicBezTo>
                  <a:pt x="795392" y="721783"/>
                  <a:pt x="785093" y="711607"/>
                  <a:pt x="785093" y="699046"/>
                </a:cubicBezTo>
                <a:cubicBezTo>
                  <a:pt x="785093" y="686485"/>
                  <a:pt x="795142" y="676185"/>
                  <a:pt x="807829" y="676185"/>
                </a:cubicBezTo>
                <a:close/>
                <a:moveTo>
                  <a:pt x="2503503" y="674927"/>
                </a:moveTo>
                <a:cubicBezTo>
                  <a:pt x="2511794" y="674802"/>
                  <a:pt x="2518577" y="681586"/>
                  <a:pt x="2518577" y="689876"/>
                </a:cubicBezTo>
                <a:cubicBezTo>
                  <a:pt x="2518577" y="698292"/>
                  <a:pt x="2511794" y="705075"/>
                  <a:pt x="2503503" y="705075"/>
                </a:cubicBezTo>
                <a:cubicBezTo>
                  <a:pt x="2495212" y="705075"/>
                  <a:pt x="2488429" y="698292"/>
                  <a:pt x="2488429" y="690001"/>
                </a:cubicBezTo>
                <a:cubicBezTo>
                  <a:pt x="2488429" y="681711"/>
                  <a:pt x="2495086" y="674927"/>
                  <a:pt x="2503503" y="674927"/>
                </a:cubicBezTo>
                <a:close/>
                <a:moveTo>
                  <a:pt x="2229538" y="668774"/>
                </a:moveTo>
                <a:cubicBezTo>
                  <a:pt x="2243355" y="668649"/>
                  <a:pt x="2254660" y="679828"/>
                  <a:pt x="2254660" y="693645"/>
                </a:cubicBezTo>
                <a:cubicBezTo>
                  <a:pt x="2254786" y="707463"/>
                  <a:pt x="2243606" y="718642"/>
                  <a:pt x="2229789" y="718768"/>
                </a:cubicBezTo>
                <a:cubicBezTo>
                  <a:pt x="2215972" y="718894"/>
                  <a:pt x="2204666" y="707714"/>
                  <a:pt x="2204666" y="693897"/>
                </a:cubicBezTo>
                <a:cubicBezTo>
                  <a:pt x="2204666" y="680079"/>
                  <a:pt x="2215720" y="668774"/>
                  <a:pt x="2229538" y="668774"/>
                </a:cubicBezTo>
                <a:close/>
                <a:moveTo>
                  <a:pt x="1852567" y="666889"/>
                </a:moveTo>
                <a:cubicBezTo>
                  <a:pt x="1869274" y="666763"/>
                  <a:pt x="1882967" y="680329"/>
                  <a:pt x="1882967" y="697037"/>
                </a:cubicBezTo>
                <a:cubicBezTo>
                  <a:pt x="1882967" y="713743"/>
                  <a:pt x="1869400" y="727435"/>
                  <a:pt x="1852692" y="727435"/>
                </a:cubicBezTo>
                <a:cubicBezTo>
                  <a:pt x="1835986" y="727435"/>
                  <a:pt x="1822294" y="713868"/>
                  <a:pt x="1822294" y="697162"/>
                </a:cubicBezTo>
                <a:cubicBezTo>
                  <a:pt x="1822294" y="680456"/>
                  <a:pt x="1835735" y="666763"/>
                  <a:pt x="1852567" y="666889"/>
                </a:cubicBezTo>
                <a:close/>
                <a:moveTo>
                  <a:pt x="1184925" y="666386"/>
                </a:moveTo>
                <a:cubicBezTo>
                  <a:pt x="1203013" y="666386"/>
                  <a:pt x="1217962" y="681083"/>
                  <a:pt x="1217962" y="699297"/>
                </a:cubicBezTo>
                <a:cubicBezTo>
                  <a:pt x="1217962" y="717512"/>
                  <a:pt x="1203265" y="732334"/>
                  <a:pt x="1185050" y="732334"/>
                </a:cubicBezTo>
                <a:cubicBezTo>
                  <a:pt x="1166961" y="732460"/>
                  <a:pt x="1152014" y="717762"/>
                  <a:pt x="1152014" y="699548"/>
                </a:cubicBezTo>
                <a:cubicBezTo>
                  <a:pt x="1151887" y="681334"/>
                  <a:pt x="1166585" y="666511"/>
                  <a:pt x="1184925" y="666386"/>
                </a:cubicBezTo>
                <a:close/>
                <a:moveTo>
                  <a:pt x="989970" y="660482"/>
                </a:moveTo>
                <a:cubicBezTo>
                  <a:pt x="1005294" y="660356"/>
                  <a:pt x="1017604" y="672667"/>
                  <a:pt x="1017730" y="687991"/>
                </a:cubicBezTo>
                <a:cubicBezTo>
                  <a:pt x="1017730" y="703317"/>
                  <a:pt x="1005420" y="715753"/>
                  <a:pt x="990095" y="715753"/>
                </a:cubicBezTo>
                <a:cubicBezTo>
                  <a:pt x="974771" y="715878"/>
                  <a:pt x="962335" y="703567"/>
                  <a:pt x="962335" y="688243"/>
                </a:cubicBezTo>
                <a:cubicBezTo>
                  <a:pt x="962335" y="672917"/>
                  <a:pt x="974644" y="660482"/>
                  <a:pt x="989970" y="660482"/>
                </a:cubicBezTo>
                <a:close/>
                <a:moveTo>
                  <a:pt x="431487" y="659228"/>
                </a:moveTo>
                <a:cubicBezTo>
                  <a:pt x="437517" y="659228"/>
                  <a:pt x="442542" y="664126"/>
                  <a:pt x="442542" y="670282"/>
                </a:cubicBezTo>
                <a:cubicBezTo>
                  <a:pt x="442542" y="676311"/>
                  <a:pt x="437517" y="681336"/>
                  <a:pt x="431487" y="681336"/>
                </a:cubicBezTo>
                <a:cubicBezTo>
                  <a:pt x="425458" y="681336"/>
                  <a:pt x="420433" y="676437"/>
                  <a:pt x="420433" y="670282"/>
                </a:cubicBezTo>
                <a:cubicBezTo>
                  <a:pt x="420433" y="664126"/>
                  <a:pt x="425332" y="659102"/>
                  <a:pt x="431487" y="659228"/>
                </a:cubicBezTo>
                <a:close/>
                <a:moveTo>
                  <a:pt x="2047397" y="657217"/>
                </a:moveTo>
                <a:cubicBezTo>
                  <a:pt x="2062345" y="657217"/>
                  <a:pt x="2074656" y="669276"/>
                  <a:pt x="2074656" y="684350"/>
                </a:cubicBezTo>
                <a:cubicBezTo>
                  <a:pt x="2074656" y="699297"/>
                  <a:pt x="2062597" y="711608"/>
                  <a:pt x="2047523" y="711608"/>
                </a:cubicBezTo>
                <a:cubicBezTo>
                  <a:pt x="2032574" y="711608"/>
                  <a:pt x="2020390" y="699549"/>
                  <a:pt x="2020265" y="684475"/>
                </a:cubicBezTo>
                <a:cubicBezTo>
                  <a:pt x="2020139" y="669402"/>
                  <a:pt x="2032324" y="657091"/>
                  <a:pt x="2047397" y="657217"/>
                </a:cubicBezTo>
                <a:close/>
                <a:moveTo>
                  <a:pt x="2605754" y="656338"/>
                </a:moveTo>
                <a:cubicBezTo>
                  <a:pt x="2609146" y="656338"/>
                  <a:pt x="2611784" y="658975"/>
                  <a:pt x="2611784" y="662241"/>
                </a:cubicBezTo>
                <a:cubicBezTo>
                  <a:pt x="2611784" y="665633"/>
                  <a:pt x="2609146" y="668270"/>
                  <a:pt x="2605880" y="668270"/>
                </a:cubicBezTo>
                <a:cubicBezTo>
                  <a:pt x="2602488" y="668270"/>
                  <a:pt x="2599850" y="665633"/>
                  <a:pt x="2599850" y="662367"/>
                </a:cubicBezTo>
                <a:cubicBezTo>
                  <a:pt x="2599850" y="658975"/>
                  <a:pt x="2602614" y="656338"/>
                  <a:pt x="2605754" y="656338"/>
                </a:cubicBezTo>
                <a:close/>
                <a:moveTo>
                  <a:pt x="699423" y="646664"/>
                </a:moveTo>
                <a:cubicBezTo>
                  <a:pt x="710225" y="646539"/>
                  <a:pt x="719019" y="655206"/>
                  <a:pt x="719019" y="666010"/>
                </a:cubicBezTo>
                <a:cubicBezTo>
                  <a:pt x="719144" y="676813"/>
                  <a:pt x="710350" y="685607"/>
                  <a:pt x="699674" y="685607"/>
                </a:cubicBezTo>
                <a:cubicBezTo>
                  <a:pt x="688871" y="685732"/>
                  <a:pt x="680078" y="677065"/>
                  <a:pt x="680078" y="666261"/>
                </a:cubicBezTo>
                <a:cubicBezTo>
                  <a:pt x="680078" y="655458"/>
                  <a:pt x="688745" y="646789"/>
                  <a:pt x="699423" y="646664"/>
                </a:cubicBezTo>
                <a:close/>
                <a:moveTo>
                  <a:pt x="2337693" y="643022"/>
                </a:moveTo>
                <a:cubicBezTo>
                  <a:pt x="2347240" y="643022"/>
                  <a:pt x="2355029" y="650684"/>
                  <a:pt x="2355029" y="660230"/>
                </a:cubicBezTo>
                <a:cubicBezTo>
                  <a:pt x="2355029" y="669777"/>
                  <a:pt x="2347365" y="677565"/>
                  <a:pt x="2337820" y="677565"/>
                </a:cubicBezTo>
                <a:cubicBezTo>
                  <a:pt x="2328273" y="677565"/>
                  <a:pt x="2320484" y="669903"/>
                  <a:pt x="2320484" y="660357"/>
                </a:cubicBezTo>
                <a:cubicBezTo>
                  <a:pt x="2320484" y="650810"/>
                  <a:pt x="2328146" y="643022"/>
                  <a:pt x="2337693" y="643022"/>
                </a:cubicBezTo>
                <a:close/>
                <a:moveTo>
                  <a:pt x="1771421" y="640761"/>
                </a:moveTo>
                <a:cubicBezTo>
                  <a:pt x="1788129" y="640635"/>
                  <a:pt x="1801694" y="654201"/>
                  <a:pt x="1801821" y="670909"/>
                </a:cubicBezTo>
                <a:cubicBezTo>
                  <a:pt x="1801821" y="687615"/>
                  <a:pt x="1788254" y="701182"/>
                  <a:pt x="1771546" y="701307"/>
                </a:cubicBezTo>
                <a:cubicBezTo>
                  <a:pt x="1754840" y="701307"/>
                  <a:pt x="1741148" y="687740"/>
                  <a:pt x="1741148" y="671034"/>
                </a:cubicBezTo>
                <a:cubicBezTo>
                  <a:pt x="1741148" y="654328"/>
                  <a:pt x="1754589" y="640761"/>
                  <a:pt x="1771421" y="640761"/>
                </a:cubicBezTo>
                <a:close/>
                <a:moveTo>
                  <a:pt x="1265821" y="640259"/>
                </a:moveTo>
                <a:cubicBezTo>
                  <a:pt x="1283785" y="640133"/>
                  <a:pt x="1298356" y="654704"/>
                  <a:pt x="1298481" y="672667"/>
                </a:cubicBezTo>
                <a:cubicBezTo>
                  <a:pt x="1298481" y="690630"/>
                  <a:pt x="1284035" y="705327"/>
                  <a:pt x="1266073" y="705327"/>
                </a:cubicBezTo>
                <a:cubicBezTo>
                  <a:pt x="1248110" y="705452"/>
                  <a:pt x="1233539" y="690881"/>
                  <a:pt x="1233414" y="672919"/>
                </a:cubicBezTo>
                <a:cubicBezTo>
                  <a:pt x="1233287" y="654956"/>
                  <a:pt x="1247858" y="640259"/>
                  <a:pt x="1265821" y="640259"/>
                </a:cubicBezTo>
                <a:close/>
                <a:moveTo>
                  <a:pt x="329990" y="637872"/>
                </a:moveTo>
                <a:cubicBezTo>
                  <a:pt x="333508" y="637872"/>
                  <a:pt x="336397" y="640761"/>
                  <a:pt x="336397" y="644278"/>
                </a:cubicBezTo>
                <a:cubicBezTo>
                  <a:pt x="336397" y="647795"/>
                  <a:pt x="333508" y="650684"/>
                  <a:pt x="329990" y="650684"/>
                </a:cubicBezTo>
                <a:cubicBezTo>
                  <a:pt x="326473" y="650684"/>
                  <a:pt x="323584" y="647795"/>
                  <a:pt x="323584" y="644278"/>
                </a:cubicBezTo>
                <a:cubicBezTo>
                  <a:pt x="323584" y="640761"/>
                  <a:pt x="326473" y="637872"/>
                  <a:pt x="329990" y="637872"/>
                </a:cubicBezTo>
                <a:close/>
                <a:moveTo>
                  <a:pt x="2707126" y="633225"/>
                </a:moveTo>
                <a:cubicBezTo>
                  <a:pt x="2708382" y="633225"/>
                  <a:pt x="2709387" y="634230"/>
                  <a:pt x="2709387" y="635487"/>
                </a:cubicBezTo>
                <a:cubicBezTo>
                  <a:pt x="2709387" y="636742"/>
                  <a:pt x="2708382" y="637747"/>
                  <a:pt x="2707126" y="637747"/>
                </a:cubicBezTo>
                <a:cubicBezTo>
                  <a:pt x="2705870" y="637873"/>
                  <a:pt x="2704865" y="636868"/>
                  <a:pt x="2704865" y="635612"/>
                </a:cubicBezTo>
                <a:cubicBezTo>
                  <a:pt x="2704991" y="634355"/>
                  <a:pt x="2705870" y="633477"/>
                  <a:pt x="2707126" y="633225"/>
                </a:cubicBezTo>
                <a:close/>
                <a:moveTo>
                  <a:pt x="876288" y="627321"/>
                </a:moveTo>
                <a:cubicBezTo>
                  <a:pt x="887720" y="627321"/>
                  <a:pt x="897141" y="636617"/>
                  <a:pt x="897141" y="648047"/>
                </a:cubicBezTo>
                <a:cubicBezTo>
                  <a:pt x="897141" y="659479"/>
                  <a:pt x="887845" y="668900"/>
                  <a:pt x="876414" y="668900"/>
                </a:cubicBezTo>
                <a:cubicBezTo>
                  <a:pt x="864984" y="668900"/>
                  <a:pt x="855562" y="659604"/>
                  <a:pt x="855562" y="648173"/>
                </a:cubicBezTo>
                <a:cubicBezTo>
                  <a:pt x="855437" y="636617"/>
                  <a:pt x="864732" y="627321"/>
                  <a:pt x="876288" y="627321"/>
                </a:cubicBezTo>
                <a:close/>
                <a:moveTo>
                  <a:pt x="1688265" y="624055"/>
                </a:moveTo>
                <a:cubicBezTo>
                  <a:pt x="1703841" y="624055"/>
                  <a:pt x="1716655" y="636616"/>
                  <a:pt x="1716655" y="652318"/>
                </a:cubicBezTo>
                <a:cubicBezTo>
                  <a:pt x="1716655" y="667894"/>
                  <a:pt x="1703966" y="680582"/>
                  <a:pt x="1688390" y="680707"/>
                </a:cubicBezTo>
                <a:cubicBezTo>
                  <a:pt x="1672814" y="680707"/>
                  <a:pt x="1660002" y="668146"/>
                  <a:pt x="1660002" y="652443"/>
                </a:cubicBezTo>
                <a:cubicBezTo>
                  <a:pt x="1659876" y="636742"/>
                  <a:pt x="1672563" y="624055"/>
                  <a:pt x="1688265" y="624055"/>
                </a:cubicBezTo>
                <a:close/>
                <a:moveTo>
                  <a:pt x="1348852" y="624055"/>
                </a:moveTo>
                <a:cubicBezTo>
                  <a:pt x="1365056" y="624055"/>
                  <a:pt x="1378372" y="637119"/>
                  <a:pt x="1378372" y="653449"/>
                </a:cubicBezTo>
                <a:cubicBezTo>
                  <a:pt x="1378498" y="669653"/>
                  <a:pt x="1365308" y="682843"/>
                  <a:pt x="1349103" y="682968"/>
                </a:cubicBezTo>
                <a:cubicBezTo>
                  <a:pt x="1332899" y="683094"/>
                  <a:pt x="1319710" y="669904"/>
                  <a:pt x="1319585" y="653700"/>
                </a:cubicBezTo>
                <a:cubicBezTo>
                  <a:pt x="1319458" y="637371"/>
                  <a:pt x="1332648" y="624180"/>
                  <a:pt x="1348852" y="624055"/>
                </a:cubicBezTo>
                <a:close/>
                <a:moveTo>
                  <a:pt x="1065086" y="622548"/>
                </a:moveTo>
                <a:cubicBezTo>
                  <a:pt x="1078905" y="622548"/>
                  <a:pt x="1090336" y="633727"/>
                  <a:pt x="1090336" y="647671"/>
                </a:cubicBezTo>
                <a:cubicBezTo>
                  <a:pt x="1090336" y="661614"/>
                  <a:pt x="1079155" y="672919"/>
                  <a:pt x="1065213" y="673045"/>
                </a:cubicBezTo>
                <a:cubicBezTo>
                  <a:pt x="1051269" y="673045"/>
                  <a:pt x="1039838" y="661865"/>
                  <a:pt x="1039838" y="647922"/>
                </a:cubicBezTo>
                <a:cubicBezTo>
                  <a:pt x="1039838" y="633979"/>
                  <a:pt x="1051144" y="622548"/>
                  <a:pt x="1065086" y="622548"/>
                </a:cubicBezTo>
                <a:close/>
                <a:moveTo>
                  <a:pt x="2160829" y="622045"/>
                </a:moveTo>
                <a:cubicBezTo>
                  <a:pt x="2172638" y="621920"/>
                  <a:pt x="2182310" y="631592"/>
                  <a:pt x="2182310" y="643399"/>
                </a:cubicBezTo>
                <a:cubicBezTo>
                  <a:pt x="2182435" y="655333"/>
                  <a:pt x="2172888" y="664880"/>
                  <a:pt x="2160956" y="665005"/>
                </a:cubicBezTo>
                <a:cubicBezTo>
                  <a:pt x="2149147" y="665005"/>
                  <a:pt x="2139475" y="655333"/>
                  <a:pt x="2139475" y="643526"/>
                </a:cubicBezTo>
                <a:cubicBezTo>
                  <a:pt x="2139349" y="631592"/>
                  <a:pt x="2148896" y="621920"/>
                  <a:pt x="2160829" y="622045"/>
                </a:cubicBezTo>
                <a:close/>
                <a:moveTo>
                  <a:pt x="1971902" y="620914"/>
                </a:moveTo>
                <a:cubicBezTo>
                  <a:pt x="1984966" y="620914"/>
                  <a:pt x="1995518" y="631340"/>
                  <a:pt x="1995518" y="644279"/>
                </a:cubicBezTo>
                <a:cubicBezTo>
                  <a:pt x="1995644" y="657343"/>
                  <a:pt x="1985092" y="667894"/>
                  <a:pt x="1972154" y="667894"/>
                </a:cubicBezTo>
                <a:cubicBezTo>
                  <a:pt x="1959215" y="668020"/>
                  <a:pt x="1948664" y="657468"/>
                  <a:pt x="1948664" y="644530"/>
                </a:cubicBezTo>
                <a:cubicBezTo>
                  <a:pt x="1948538" y="631591"/>
                  <a:pt x="1959090" y="621039"/>
                  <a:pt x="1971902" y="620914"/>
                </a:cubicBezTo>
                <a:close/>
                <a:moveTo>
                  <a:pt x="593153" y="618026"/>
                </a:moveTo>
                <a:cubicBezTo>
                  <a:pt x="602825" y="618026"/>
                  <a:pt x="610739" y="625813"/>
                  <a:pt x="610739" y="635487"/>
                </a:cubicBezTo>
                <a:cubicBezTo>
                  <a:pt x="610739" y="645159"/>
                  <a:pt x="602950" y="653073"/>
                  <a:pt x="593278" y="653073"/>
                </a:cubicBezTo>
                <a:cubicBezTo>
                  <a:pt x="583606" y="653073"/>
                  <a:pt x="575692" y="645284"/>
                  <a:pt x="575692" y="635612"/>
                </a:cubicBezTo>
                <a:cubicBezTo>
                  <a:pt x="575692" y="625940"/>
                  <a:pt x="583479" y="618151"/>
                  <a:pt x="593153" y="618026"/>
                </a:cubicBezTo>
                <a:close/>
                <a:moveTo>
                  <a:pt x="229493" y="616645"/>
                </a:moveTo>
                <a:cubicBezTo>
                  <a:pt x="230874" y="616645"/>
                  <a:pt x="232005" y="617650"/>
                  <a:pt x="232005" y="619032"/>
                </a:cubicBezTo>
                <a:cubicBezTo>
                  <a:pt x="231878" y="620288"/>
                  <a:pt x="230874" y="621419"/>
                  <a:pt x="229493" y="621419"/>
                </a:cubicBezTo>
                <a:cubicBezTo>
                  <a:pt x="228237" y="621419"/>
                  <a:pt x="227107" y="620413"/>
                  <a:pt x="227107" y="619032"/>
                </a:cubicBezTo>
                <a:cubicBezTo>
                  <a:pt x="227107" y="617775"/>
                  <a:pt x="228111" y="616645"/>
                  <a:pt x="229493" y="616645"/>
                </a:cubicBezTo>
                <a:close/>
                <a:moveTo>
                  <a:pt x="2443962" y="616017"/>
                </a:moveTo>
                <a:cubicBezTo>
                  <a:pt x="2451122" y="616017"/>
                  <a:pt x="2456902" y="621795"/>
                  <a:pt x="2456902" y="628830"/>
                </a:cubicBezTo>
                <a:cubicBezTo>
                  <a:pt x="2456902" y="635990"/>
                  <a:pt x="2451122" y="641768"/>
                  <a:pt x="2444088" y="641768"/>
                </a:cubicBezTo>
                <a:cubicBezTo>
                  <a:pt x="2436928" y="641768"/>
                  <a:pt x="2431150" y="635990"/>
                  <a:pt x="2431150" y="628956"/>
                </a:cubicBezTo>
                <a:cubicBezTo>
                  <a:pt x="2431023" y="621795"/>
                  <a:pt x="2436802" y="616017"/>
                  <a:pt x="2443962" y="616017"/>
                </a:cubicBezTo>
                <a:close/>
                <a:moveTo>
                  <a:pt x="1433517" y="612623"/>
                </a:moveTo>
                <a:cubicBezTo>
                  <a:pt x="1449596" y="612623"/>
                  <a:pt x="1462785" y="625687"/>
                  <a:pt x="1462785" y="641766"/>
                </a:cubicBezTo>
                <a:cubicBezTo>
                  <a:pt x="1462785" y="657845"/>
                  <a:pt x="1449721" y="671034"/>
                  <a:pt x="1433643" y="671034"/>
                </a:cubicBezTo>
                <a:cubicBezTo>
                  <a:pt x="1417439" y="671034"/>
                  <a:pt x="1404375" y="658095"/>
                  <a:pt x="1404250" y="641891"/>
                </a:cubicBezTo>
                <a:cubicBezTo>
                  <a:pt x="1404123" y="625812"/>
                  <a:pt x="1417187" y="612623"/>
                  <a:pt x="1433517" y="612623"/>
                </a:cubicBezTo>
                <a:close/>
                <a:moveTo>
                  <a:pt x="1603726" y="611870"/>
                </a:moveTo>
                <a:cubicBezTo>
                  <a:pt x="1619804" y="611870"/>
                  <a:pt x="1632994" y="624934"/>
                  <a:pt x="1632994" y="641013"/>
                </a:cubicBezTo>
                <a:cubicBezTo>
                  <a:pt x="1632994" y="657217"/>
                  <a:pt x="1620055" y="670407"/>
                  <a:pt x="1603851" y="670407"/>
                </a:cubicBezTo>
                <a:cubicBezTo>
                  <a:pt x="1587773" y="670407"/>
                  <a:pt x="1574709" y="657343"/>
                  <a:pt x="1574584" y="641264"/>
                </a:cubicBezTo>
                <a:cubicBezTo>
                  <a:pt x="1574457" y="625186"/>
                  <a:pt x="1587521" y="611995"/>
                  <a:pt x="1603726" y="611870"/>
                </a:cubicBezTo>
                <a:close/>
                <a:moveTo>
                  <a:pt x="1518558" y="608478"/>
                </a:moveTo>
                <a:cubicBezTo>
                  <a:pt x="1534636" y="608478"/>
                  <a:pt x="1547826" y="621542"/>
                  <a:pt x="1547826" y="637621"/>
                </a:cubicBezTo>
                <a:cubicBezTo>
                  <a:pt x="1547826" y="653700"/>
                  <a:pt x="1534762" y="666889"/>
                  <a:pt x="1518683" y="666889"/>
                </a:cubicBezTo>
                <a:cubicBezTo>
                  <a:pt x="1502605" y="666889"/>
                  <a:pt x="1489416" y="653825"/>
                  <a:pt x="1489416" y="637746"/>
                </a:cubicBezTo>
                <a:cubicBezTo>
                  <a:pt x="1489289" y="621667"/>
                  <a:pt x="1502353" y="608478"/>
                  <a:pt x="1518558" y="608478"/>
                </a:cubicBezTo>
                <a:close/>
                <a:moveTo>
                  <a:pt x="2548475" y="593152"/>
                </a:moveTo>
                <a:cubicBezTo>
                  <a:pt x="2551866" y="593027"/>
                  <a:pt x="2554505" y="595789"/>
                  <a:pt x="2554505" y="599055"/>
                </a:cubicBezTo>
                <a:cubicBezTo>
                  <a:pt x="2554630" y="602447"/>
                  <a:pt x="2551866" y="605084"/>
                  <a:pt x="2548601" y="605084"/>
                </a:cubicBezTo>
                <a:cubicBezTo>
                  <a:pt x="2545209" y="605210"/>
                  <a:pt x="2542571" y="602447"/>
                  <a:pt x="2542571" y="599181"/>
                </a:cubicBezTo>
                <a:cubicBezTo>
                  <a:pt x="2542571" y="595916"/>
                  <a:pt x="2545335" y="593152"/>
                  <a:pt x="2548475" y="593152"/>
                </a:cubicBezTo>
                <a:close/>
                <a:moveTo>
                  <a:pt x="764994" y="591771"/>
                </a:moveTo>
                <a:cubicBezTo>
                  <a:pt x="776047" y="591771"/>
                  <a:pt x="784966" y="600690"/>
                  <a:pt x="784966" y="611618"/>
                </a:cubicBezTo>
                <a:cubicBezTo>
                  <a:pt x="784966" y="622672"/>
                  <a:pt x="776047" y="631591"/>
                  <a:pt x="765119" y="631591"/>
                </a:cubicBezTo>
                <a:cubicBezTo>
                  <a:pt x="754065" y="631591"/>
                  <a:pt x="745146" y="622798"/>
                  <a:pt x="745146" y="611744"/>
                </a:cubicBezTo>
                <a:cubicBezTo>
                  <a:pt x="745146" y="600690"/>
                  <a:pt x="754065" y="591771"/>
                  <a:pt x="764994" y="591771"/>
                </a:cubicBezTo>
                <a:close/>
                <a:moveTo>
                  <a:pt x="488264" y="591268"/>
                </a:moveTo>
                <a:cubicBezTo>
                  <a:pt x="496680" y="591268"/>
                  <a:pt x="503589" y="598052"/>
                  <a:pt x="503589" y="606467"/>
                </a:cubicBezTo>
                <a:cubicBezTo>
                  <a:pt x="503589" y="614883"/>
                  <a:pt x="496805" y="621792"/>
                  <a:pt x="488390" y="621792"/>
                </a:cubicBezTo>
                <a:cubicBezTo>
                  <a:pt x="479974" y="621792"/>
                  <a:pt x="473065" y="615008"/>
                  <a:pt x="473065" y="606593"/>
                </a:cubicBezTo>
                <a:cubicBezTo>
                  <a:pt x="473065" y="598177"/>
                  <a:pt x="479849" y="591393"/>
                  <a:pt x="488264" y="591268"/>
                </a:cubicBezTo>
                <a:close/>
                <a:moveTo>
                  <a:pt x="2271745" y="586245"/>
                </a:moveTo>
                <a:cubicBezTo>
                  <a:pt x="2282798" y="586245"/>
                  <a:pt x="2291717" y="595039"/>
                  <a:pt x="2291717" y="606093"/>
                </a:cubicBezTo>
                <a:cubicBezTo>
                  <a:pt x="2291717" y="617147"/>
                  <a:pt x="2282925" y="626065"/>
                  <a:pt x="2271871" y="626065"/>
                </a:cubicBezTo>
                <a:cubicBezTo>
                  <a:pt x="2260942" y="626065"/>
                  <a:pt x="2251897" y="617272"/>
                  <a:pt x="2251897" y="606218"/>
                </a:cubicBezTo>
                <a:cubicBezTo>
                  <a:pt x="2251897" y="595289"/>
                  <a:pt x="2260816" y="586370"/>
                  <a:pt x="2271745" y="586245"/>
                </a:cubicBezTo>
                <a:close/>
                <a:moveTo>
                  <a:pt x="1893519" y="586119"/>
                </a:moveTo>
                <a:cubicBezTo>
                  <a:pt x="1907211" y="586119"/>
                  <a:pt x="1918392" y="597173"/>
                  <a:pt x="1918392" y="610864"/>
                </a:cubicBezTo>
                <a:cubicBezTo>
                  <a:pt x="1918518" y="624557"/>
                  <a:pt x="1907463" y="635736"/>
                  <a:pt x="1893770" y="635736"/>
                </a:cubicBezTo>
                <a:cubicBezTo>
                  <a:pt x="1880078" y="635736"/>
                  <a:pt x="1868898" y="624682"/>
                  <a:pt x="1868898" y="610990"/>
                </a:cubicBezTo>
                <a:cubicBezTo>
                  <a:pt x="1868898" y="597298"/>
                  <a:pt x="1879953" y="586244"/>
                  <a:pt x="1893519" y="586119"/>
                </a:cubicBezTo>
                <a:close/>
                <a:moveTo>
                  <a:pt x="1143221" y="585363"/>
                </a:moveTo>
                <a:cubicBezTo>
                  <a:pt x="1158798" y="585363"/>
                  <a:pt x="1171610" y="597924"/>
                  <a:pt x="1171610" y="613626"/>
                </a:cubicBezTo>
                <a:cubicBezTo>
                  <a:pt x="1171610" y="629202"/>
                  <a:pt x="1158923" y="642015"/>
                  <a:pt x="1143347" y="642015"/>
                </a:cubicBezTo>
                <a:cubicBezTo>
                  <a:pt x="1127770" y="642015"/>
                  <a:pt x="1114958" y="629454"/>
                  <a:pt x="1114958" y="613752"/>
                </a:cubicBezTo>
                <a:cubicBezTo>
                  <a:pt x="1114831" y="598176"/>
                  <a:pt x="1127520" y="585363"/>
                  <a:pt x="1143221" y="585363"/>
                </a:cubicBezTo>
                <a:close/>
                <a:moveTo>
                  <a:pt x="948267" y="579965"/>
                </a:moveTo>
                <a:cubicBezTo>
                  <a:pt x="960704" y="579840"/>
                  <a:pt x="970753" y="589889"/>
                  <a:pt x="970753" y="602198"/>
                </a:cubicBezTo>
                <a:cubicBezTo>
                  <a:pt x="970878" y="614634"/>
                  <a:pt x="960954" y="624558"/>
                  <a:pt x="948519" y="624683"/>
                </a:cubicBezTo>
                <a:cubicBezTo>
                  <a:pt x="936083" y="624808"/>
                  <a:pt x="926034" y="614759"/>
                  <a:pt x="926034" y="602450"/>
                </a:cubicBezTo>
                <a:cubicBezTo>
                  <a:pt x="925909" y="590139"/>
                  <a:pt x="935958" y="580090"/>
                  <a:pt x="948267" y="579965"/>
                </a:cubicBezTo>
                <a:close/>
                <a:moveTo>
                  <a:pt x="2088346" y="575943"/>
                </a:moveTo>
                <a:cubicBezTo>
                  <a:pt x="2100782" y="575818"/>
                  <a:pt x="2110831" y="585867"/>
                  <a:pt x="2110831" y="598176"/>
                </a:cubicBezTo>
                <a:cubicBezTo>
                  <a:pt x="2110957" y="610612"/>
                  <a:pt x="2100907" y="620661"/>
                  <a:pt x="2088598" y="620661"/>
                </a:cubicBezTo>
                <a:cubicBezTo>
                  <a:pt x="2076161" y="620786"/>
                  <a:pt x="2066112" y="610737"/>
                  <a:pt x="2066112" y="598428"/>
                </a:cubicBezTo>
                <a:cubicBezTo>
                  <a:pt x="2066112" y="585992"/>
                  <a:pt x="2076036" y="575943"/>
                  <a:pt x="2088346" y="575943"/>
                </a:cubicBezTo>
                <a:close/>
                <a:moveTo>
                  <a:pt x="2651981" y="568407"/>
                </a:moveTo>
                <a:cubicBezTo>
                  <a:pt x="2653237" y="568407"/>
                  <a:pt x="2654242" y="569412"/>
                  <a:pt x="2654242" y="570669"/>
                </a:cubicBezTo>
                <a:cubicBezTo>
                  <a:pt x="2654242" y="571924"/>
                  <a:pt x="2653237" y="572929"/>
                  <a:pt x="2651981" y="572929"/>
                </a:cubicBezTo>
                <a:cubicBezTo>
                  <a:pt x="2650725" y="572929"/>
                  <a:pt x="2649720" y="571924"/>
                  <a:pt x="2649720" y="570669"/>
                </a:cubicBezTo>
                <a:cubicBezTo>
                  <a:pt x="2649720" y="569412"/>
                  <a:pt x="2650725" y="568532"/>
                  <a:pt x="2651981" y="568407"/>
                </a:cubicBezTo>
                <a:close/>
                <a:moveTo>
                  <a:pt x="384756" y="567904"/>
                </a:moveTo>
                <a:cubicBezTo>
                  <a:pt x="390785" y="567904"/>
                  <a:pt x="395810" y="572802"/>
                  <a:pt x="395810" y="578958"/>
                </a:cubicBezTo>
                <a:cubicBezTo>
                  <a:pt x="395810" y="584987"/>
                  <a:pt x="390910" y="590012"/>
                  <a:pt x="384756" y="590012"/>
                </a:cubicBezTo>
                <a:cubicBezTo>
                  <a:pt x="378726" y="590012"/>
                  <a:pt x="373702" y="585113"/>
                  <a:pt x="373702" y="578958"/>
                </a:cubicBezTo>
                <a:cubicBezTo>
                  <a:pt x="373702" y="572802"/>
                  <a:pt x="378601" y="567778"/>
                  <a:pt x="384756" y="567904"/>
                </a:cubicBezTo>
                <a:close/>
                <a:moveTo>
                  <a:pt x="655960" y="558483"/>
                </a:moveTo>
                <a:cubicBezTo>
                  <a:pt x="666762" y="558358"/>
                  <a:pt x="675554" y="567025"/>
                  <a:pt x="675554" y="577829"/>
                </a:cubicBezTo>
                <a:cubicBezTo>
                  <a:pt x="675681" y="588632"/>
                  <a:pt x="667013" y="597426"/>
                  <a:pt x="656210" y="597426"/>
                </a:cubicBezTo>
                <a:cubicBezTo>
                  <a:pt x="645408" y="597551"/>
                  <a:pt x="636614" y="588884"/>
                  <a:pt x="636614" y="578080"/>
                </a:cubicBezTo>
                <a:cubicBezTo>
                  <a:pt x="636489" y="567403"/>
                  <a:pt x="645281" y="558608"/>
                  <a:pt x="655960" y="558483"/>
                </a:cubicBezTo>
                <a:close/>
                <a:moveTo>
                  <a:pt x="1812749" y="557102"/>
                </a:moveTo>
                <a:cubicBezTo>
                  <a:pt x="1827571" y="556977"/>
                  <a:pt x="1839630" y="568909"/>
                  <a:pt x="1839630" y="583733"/>
                </a:cubicBezTo>
                <a:cubicBezTo>
                  <a:pt x="1839757" y="598555"/>
                  <a:pt x="1827823" y="610614"/>
                  <a:pt x="1813000" y="610614"/>
                </a:cubicBezTo>
                <a:cubicBezTo>
                  <a:pt x="1798178" y="610740"/>
                  <a:pt x="1786119" y="598806"/>
                  <a:pt x="1786119" y="583983"/>
                </a:cubicBezTo>
                <a:cubicBezTo>
                  <a:pt x="1785992" y="569161"/>
                  <a:pt x="1797926" y="557227"/>
                  <a:pt x="1812749" y="557102"/>
                </a:cubicBezTo>
                <a:close/>
                <a:moveTo>
                  <a:pt x="1223740" y="556348"/>
                </a:moveTo>
                <a:cubicBezTo>
                  <a:pt x="1240196" y="556222"/>
                  <a:pt x="1253385" y="569538"/>
                  <a:pt x="1253510" y="585867"/>
                </a:cubicBezTo>
                <a:cubicBezTo>
                  <a:pt x="1253636" y="602323"/>
                  <a:pt x="1240321" y="615639"/>
                  <a:pt x="1223991" y="615639"/>
                </a:cubicBezTo>
                <a:cubicBezTo>
                  <a:pt x="1207661" y="615764"/>
                  <a:pt x="1194220" y="602448"/>
                  <a:pt x="1194220" y="586119"/>
                </a:cubicBezTo>
                <a:cubicBezTo>
                  <a:pt x="1194220" y="569788"/>
                  <a:pt x="1207409" y="556473"/>
                  <a:pt x="1223740" y="556348"/>
                </a:cubicBezTo>
                <a:close/>
                <a:moveTo>
                  <a:pt x="2380527" y="554463"/>
                </a:moveTo>
                <a:cubicBezTo>
                  <a:pt x="2390074" y="554463"/>
                  <a:pt x="2397863" y="562125"/>
                  <a:pt x="2397863" y="571671"/>
                </a:cubicBezTo>
                <a:cubicBezTo>
                  <a:pt x="2397863" y="581218"/>
                  <a:pt x="2390199" y="589006"/>
                  <a:pt x="2380654" y="589006"/>
                </a:cubicBezTo>
                <a:cubicBezTo>
                  <a:pt x="2371106" y="589006"/>
                  <a:pt x="2363318" y="581343"/>
                  <a:pt x="2363318" y="571798"/>
                </a:cubicBezTo>
                <a:cubicBezTo>
                  <a:pt x="2363318" y="562250"/>
                  <a:pt x="2370980" y="554588"/>
                  <a:pt x="2380527" y="554463"/>
                </a:cubicBezTo>
                <a:close/>
                <a:moveTo>
                  <a:pt x="282253" y="547808"/>
                </a:moveTo>
                <a:cubicBezTo>
                  <a:pt x="284765" y="547808"/>
                  <a:pt x="286775" y="549818"/>
                  <a:pt x="286775" y="552205"/>
                </a:cubicBezTo>
                <a:cubicBezTo>
                  <a:pt x="286775" y="554591"/>
                  <a:pt x="284891" y="556601"/>
                  <a:pt x="282378" y="556601"/>
                </a:cubicBezTo>
                <a:cubicBezTo>
                  <a:pt x="279992" y="556601"/>
                  <a:pt x="277982" y="554717"/>
                  <a:pt x="277982" y="552205"/>
                </a:cubicBezTo>
                <a:cubicBezTo>
                  <a:pt x="277982" y="549818"/>
                  <a:pt x="279992" y="547808"/>
                  <a:pt x="282253" y="547808"/>
                </a:cubicBezTo>
                <a:close/>
                <a:moveTo>
                  <a:pt x="834333" y="545042"/>
                </a:moveTo>
                <a:cubicBezTo>
                  <a:pt x="843628" y="544917"/>
                  <a:pt x="851165" y="552454"/>
                  <a:pt x="851165" y="561749"/>
                </a:cubicBezTo>
                <a:cubicBezTo>
                  <a:pt x="851291" y="571045"/>
                  <a:pt x="843754" y="578582"/>
                  <a:pt x="834459" y="578582"/>
                </a:cubicBezTo>
                <a:cubicBezTo>
                  <a:pt x="825037" y="578707"/>
                  <a:pt x="817500" y="571170"/>
                  <a:pt x="817500" y="561875"/>
                </a:cubicBezTo>
                <a:cubicBezTo>
                  <a:pt x="817375" y="552579"/>
                  <a:pt x="824912" y="544917"/>
                  <a:pt x="834333" y="545042"/>
                </a:cubicBezTo>
                <a:close/>
                <a:moveTo>
                  <a:pt x="1023634" y="541777"/>
                </a:moveTo>
                <a:cubicBezTo>
                  <a:pt x="1034940" y="541777"/>
                  <a:pt x="1044110" y="550821"/>
                  <a:pt x="1044110" y="562126"/>
                </a:cubicBezTo>
                <a:cubicBezTo>
                  <a:pt x="1044110" y="573432"/>
                  <a:pt x="1035065" y="582602"/>
                  <a:pt x="1023761" y="582602"/>
                </a:cubicBezTo>
                <a:cubicBezTo>
                  <a:pt x="1012455" y="582727"/>
                  <a:pt x="1003285" y="573683"/>
                  <a:pt x="1003285" y="562378"/>
                </a:cubicBezTo>
                <a:cubicBezTo>
                  <a:pt x="1003160" y="551198"/>
                  <a:pt x="1012329" y="542029"/>
                  <a:pt x="1023634" y="541777"/>
                </a:cubicBezTo>
                <a:close/>
                <a:moveTo>
                  <a:pt x="1306395" y="540897"/>
                </a:moveTo>
                <a:cubicBezTo>
                  <a:pt x="1319709" y="540772"/>
                  <a:pt x="1330513" y="551574"/>
                  <a:pt x="1330638" y="564890"/>
                </a:cubicBezTo>
                <a:cubicBezTo>
                  <a:pt x="1330764" y="578204"/>
                  <a:pt x="1319961" y="589133"/>
                  <a:pt x="1306646" y="589133"/>
                </a:cubicBezTo>
                <a:cubicBezTo>
                  <a:pt x="1293331" y="589258"/>
                  <a:pt x="1282402" y="578456"/>
                  <a:pt x="1282402" y="565140"/>
                </a:cubicBezTo>
                <a:cubicBezTo>
                  <a:pt x="1282402" y="551826"/>
                  <a:pt x="1293206" y="541022"/>
                  <a:pt x="1306395" y="540897"/>
                </a:cubicBezTo>
                <a:close/>
                <a:moveTo>
                  <a:pt x="1729967" y="540772"/>
                </a:moveTo>
                <a:cubicBezTo>
                  <a:pt x="1742529" y="540772"/>
                  <a:pt x="1752830" y="550946"/>
                  <a:pt x="1752830" y="563508"/>
                </a:cubicBezTo>
                <a:cubicBezTo>
                  <a:pt x="1752830" y="576069"/>
                  <a:pt x="1742654" y="586370"/>
                  <a:pt x="1730092" y="586370"/>
                </a:cubicBezTo>
                <a:cubicBezTo>
                  <a:pt x="1717531" y="586370"/>
                  <a:pt x="1707231" y="576194"/>
                  <a:pt x="1707231" y="563633"/>
                </a:cubicBezTo>
                <a:cubicBezTo>
                  <a:pt x="1707231" y="551072"/>
                  <a:pt x="1717280" y="540772"/>
                  <a:pt x="1729967" y="540772"/>
                </a:cubicBezTo>
                <a:close/>
                <a:moveTo>
                  <a:pt x="2202281" y="540395"/>
                </a:moveTo>
                <a:cubicBezTo>
                  <a:pt x="2211324" y="540395"/>
                  <a:pt x="2218736" y="547680"/>
                  <a:pt x="2218736" y="556724"/>
                </a:cubicBezTo>
                <a:cubicBezTo>
                  <a:pt x="2218736" y="565770"/>
                  <a:pt x="2211451" y="573180"/>
                  <a:pt x="2202407" y="573180"/>
                </a:cubicBezTo>
                <a:cubicBezTo>
                  <a:pt x="2193362" y="573180"/>
                  <a:pt x="2185950" y="565895"/>
                  <a:pt x="2185950" y="556851"/>
                </a:cubicBezTo>
                <a:cubicBezTo>
                  <a:pt x="2185950" y="547806"/>
                  <a:pt x="2193237" y="540520"/>
                  <a:pt x="2202281" y="540395"/>
                </a:cubicBezTo>
                <a:close/>
                <a:moveTo>
                  <a:pt x="2012853" y="540142"/>
                </a:moveTo>
                <a:cubicBezTo>
                  <a:pt x="2023153" y="540017"/>
                  <a:pt x="2031444" y="548307"/>
                  <a:pt x="2031570" y="558607"/>
                </a:cubicBezTo>
                <a:cubicBezTo>
                  <a:pt x="2031570" y="568907"/>
                  <a:pt x="2023280" y="577198"/>
                  <a:pt x="2012978" y="577323"/>
                </a:cubicBezTo>
                <a:cubicBezTo>
                  <a:pt x="2002804" y="577323"/>
                  <a:pt x="1994387" y="569033"/>
                  <a:pt x="1994387" y="558733"/>
                </a:cubicBezTo>
                <a:cubicBezTo>
                  <a:pt x="1994387" y="548558"/>
                  <a:pt x="2002677" y="540142"/>
                  <a:pt x="2012853" y="540142"/>
                </a:cubicBezTo>
                <a:close/>
                <a:moveTo>
                  <a:pt x="548559" y="531476"/>
                </a:moveTo>
                <a:cubicBezTo>
                  <a:pt x="556975" y="531351"/>
                  <a:pt x="563759" y="538135"/>
                  <a:pt x="563759" y="546425"/>
                </a:cubicBezTo>
                <a:cubicBezTo>
                  <a:pt x="563759" y="554716"/>
                  <a:pt x="557100" y="561499"/>
                  <a:pt x="548811" y="561499"/>
                </a:cubicBezTo>
                <a:cubicBezTo>
                  <a:pt x="540519" y="561624"/>
                  <a:pt x="533737" y="554841"/>
                  <a:pt x="533737" y="546550"/>
                </a:cubicBezTo>
                <a:cubicBezTo>
                  <a:pt x="533737" y="538260"/>
                  <a:pt x="540519" y="531476"/>
                  <a:pt x="548559" y="531476"/>
                </a:cubicBezTo>
                <a:close/>
                <a:moveTo>
                  <a:pt x="2487677" y="530094"/>
                </a:moveTo>
                <a:cubicBezTo>
                  <a:pt x="2492953" y="529968"/>
                  <a:pt x="2497223" y="534239"/>
                  <a:pt x="2497223" y="539515"/>
                </a:cubicBezTo>
                <a:cubicBezTo>
                  <a:pt x="2497223" y="544791"/>
                  <a:pt x="2492953" y="549062"/>
                  <a:pt x="2487677" y="549062"/>
                </a:cubicBezTo>
                <a:cubicBezTo>
                  <a:pt x="2482400" y="549062"/>
                  <a:pt x="2478130" y="544791"/>
                  <a:pt x="2478130" y="539515"/>
                </a:cubicBezTo>
                <a:cubicBezTo>
                  <a:pt x="2478130" y="534365"/>
                  <a:pt x="2482275" y="529968"/>
                  <a:pt x="2487677" y="530094"/>
                </a:cubicBezTo>
                <a:close/>
                <a:moveTo>
                  <a:pt x="1390557" y="527331"/>
                </a:moveTo>
                <a:cubicBezTo>
                  <a:pt x="1403621" y="527331"/>
                  <a:pt x="1414298" y="537883"/>
                  <a:pt x="1414298" y="550947"/>
                </a:cubicBezTo>
                <a:cubicBezTo>
                  <a:pt x="1414298" y="564011"/>
                  <a:pt x="1403746" y="574563"/>
                  <a:pt x="1390682" y="574688"/>
                </a:cubicBezTo>
                <a:cubicBezTo>
                  <a:pt x="1377618" y="574688"/>
                  <a:pt x="1366941" y="564136"/>
                  <a:pt x="1366941" y="551072"/>
                </a:cubicBezTo>
                <a:cubicBezTo>
                  <a:pt x="1366941" y="537883"/>
                  <a:pt x="1377493" y="527331"/>
                  <a:pt x="1390557" y="527331"/>
                </a:cubicBezTo>
                <a:close/>
                <a:moveTo>
                  <a:pt x="1645932" y="526578"/>
                </a:moveTo>
                <a:cubicBezTo>
                  <a:pt x="1658870" y="526453"/>
                  <a:pt x="1669421" y="537004"/>
                  <a:pt x="1669421" y="549942"/>
                </a:cubicBezTo>
                <a:cubicBezTo>
                  <a:pt x="1669421" y="562880"/>
                  <a:pt x="1658996" y="573432"/>
                  <a:pt x="1646057" y="573432"/>
                </a:cubicBezTo>
                <a:cubicBezTo>
                  <a:pt x="1632993" y="573557"/>
                  <a:pt x="1622442" y="563006"/>
                  <a:pt x="1622442" y="550068"/>
                </a:cubicBezTo>
                <a:cubicBezTo>
                  <a:pt x="1622316" y="537130"/>
                  <a:pt x="1632868" y="526578"/>
                  <a:pt x="1645932" y="526578"/>
                </a:cubicBezTo>
                <a:close/>
                <a:moveTo>
                  <a:pt x="1475597" y="520046"/>
                </a:moveTo>
                <a:cubicBezTo>
                  <a:pt x="1488661" y="520046"/>
                  <a:pt x="1499338" y="530598"/>
                  <a:pt x="1499338" y="543662"/>
                </a:cubicBezTo>
                <a:cubicBezTo>
                  <a:pt x="1499338" y="556726"/>
                  <a:pt x="1488787" y="567403"/>
                  <a:pt x="1475723" y="567403"/>
                </a:cubicBezTo>
                <a:cubicBezTo>
                  <a:pt x="1462659" y="567403"/>
                  <a:pt x="1451982" y="556851"/>
                  <a:pt x="1451982" y="543787"/>
                </a:cubicBezTo>
                <a:cubicBezTo>
                  <a:pt x="1451856" y="530723"/>
                  <a:pt x="1462408" y="520046"/>
                  <a:pt x="1475597" y="520046"/>
                </a:cubicBezTo>
                <a:close/>
                <a:moveTo>
                  <a:pt x="1560766" y="519794"/>
                </a:moveTo>
                <a:cubicBezTo>
                  <a:pt x="1573703" y="519794"/>
                  <a:pt x="1584255" y="530220"/>
                  <a:pt x="1584255" y="543159"/>
                </a:cubicBezTo>
                <a:cubicBezTo>
                  <a:pt x="1584380" y="556222"/>
                  <a:pt x="1573830" y="566774"/>
                  <a:pt x="1560891" y="566774"/>
                </a:cubicBezTo>
                <a:cubicBezTo>
                  <a:pt x="1547952" y="566900"/>
                  <a:pt x="1537400" y="556348"/>
                  <a:pt x="1537400" y="543410"/>
                </a:cubicBezTo>
                <a:cubicBezTo>
                  <a:pt x="1537400" y="530471"/>
                  <a:pt x="1547827" y="519919"/>
                  <a:pt x="1560766" y="519794"/>
                </a:cubicBezTo>
                <a:close/>
                <a:moveTo>
                  <a:pt x="722412" y="507985"/>
                </a:moveTo>
                <a:cubicBezTo>
                  <a:pt x="731581" y="507985"/>
                  <a:pt x="739118" y="515397"/>
                  <a:pt x="739118" y="524566"/>
                </a:cubicBezTo>
                <a:cubicBezTo>
                  <a:pt x="739118" y="533736"/>
                  <a:pt x="731706" y="541273"/>
                  <a:pt x="722537" y="541273"/>
                </a:cubicBezTo>
                <a:cubicBezTo>
                  <a:pt x="713493" y="541273"/>
                  <a:pt x="705956" y="533862"/>
                  <a:pt x="705956" y="524692"/>
                </a:cubicBezTo>
                <a:cubicBezTo>
                  <a:pt x="705956" y="515522"/>
                  <a:pt x="713367" y="508110"/>
                  <a:pt x="722412" y="507985"/>
                </a:cubicBezTo>
                <a:close/>
                <a:moveTo>
                  <a:pt x="1934593" y="505473"/>
                </a:moveTo>
                <a:cubicBezTo>
                  <a:pt x="1945397" y="505348"/>
                  <a:pt x="1954190" y="514015"/>
                  <a:pt x="1954190" y="524817"/>
                </a:cubicBezTo>
                <a:cubicBezTo>
                  <a:pt x="1954316" y="535495"/>
                  <a:pt x="1945647" y="544288"/>
                  <a:pt x="1934845" y="544288"/>
                </a:cubicBezTo>
                <a:cubicBezTo>
                  <a:pt x="1924042" y="544414"/>
                  <a:pt x="1915249" y="535746"/>
                  <a:pt x="1915249" y="524944"/>
                </a:cubicBezTo>
                <a:cubicBezTo>
                  <a:pt x="1915249" y="514266"/>
                  <a:pt x="1923916" y="505473"/>
                  <a:pt x="1934593" y="505473"/>
                </a:cubicBezTo>
                <a:close/>
                <a:moveTo>
                  <a:pt x="1101515" y="505223"/>
                </a:moveTo>
                <a:cubicBezTo>
                  <a:pt x="1114076" y="505223"/>
                  <a:pt x="1124377" y="515397"/>
                  <a:pt x="1124377" y="527959"/>
                </a:cubicBezTo>
                <a:cubicBezTo>
                  <a:pt x="1124377" y="540520"/>
                  <a:pt x="1114201" y="550821"/>
                  <a:pt x="1101640" y="550821"/>
                </a:cubicBezTo>
                <a:cubicBezTo>
                  <a:pt x="1089078" y="550821"/>
                  <a:pt x="1078779" y="540645"/>
                  <a:pt x="1078779" y="528084"/>
                </a:cubicBezTo>
                <a:cubicBezTo>
                  <a:pt x="1078779" y="515397"/>
                  <a:pt x="1088953" y="505223"/>
                  <a:pt x="1101515" y="505223"/>
                </a:cubicBezTo>
                <a:close/>
                <a:moveTo>
                  <a:pt x="2593068" y="504343"/>
                </a:moveTo>
                <a:cubicBezTo>
                  <a:pt x="2595580" y="504343"/>
                  <a:pt x="2597717" y="506353"/>
                  <a:pt x="2597717" y="508991"/>
                </a:cubicBezTo>
                <a:cubicBezTo>
                  <a:pt x="2597717" y="511503"/>
                  <a:pt x="2595580" y="513639"/>
                  <a:pt x="2593068" y="513639"/>
                </a:cubicBezTo>
                <a:cubicBezTo>
                  <a:pt x="2590555" y="513639"/>
                  <a:pt x="2588420" y="511503"/>
                  <a:pt x="2588420" y="508991"/>
                </a:cubicBezTo>
                <a:cubicBezTo>
                  <a:pt x="2588420" y="506353"/>
                  <a:pt x="2590555" y="504343"/>
                  <a:pt x="2593068" y="504343"/>
                </a:cubicBezTo>
                <a:close/>
                <a:moveTo>
                  <a:pt x="2313826" y="504094"/>
                </a:moveTo>
                <a:cubicBezTo>
                  <a:pt x="2321990" y="504094"/>
                  <a:pt x="2328647" y="510751"/>
                  <a:pt x="2328647" y="518917"/>
                </a:cubicBezTo>
                <a:cubicBezTo>
                  <a:pt x="2328647" y="527082"/>
                  <a:pt x="2321990" y="533739"/>
                  <a:pt x="2313826" y="533739"/>
                </a:cubicBezTo>
                <a:cubicBezTo>
                  <a:pt x="2305535" y="533739"/>
                  <a:pt x="2298878" y="527082"/>
                  <a:pt x="2298878" y="518917"/>
                </a:cubicBezTo>
                <a:cubicBezTo>
                  <a:pt x="2298878" y="510751"/>
                  <a:pt x="2305535" y="504094"/>
                  <a:pt x="2313826" y="504094"/>
                </a:cubicBezTo>
                <a:close/>
                <a:moveTo>
                  <a:pt x="443169" y="503715"/>
                </a:moveTo>
                <a:cubicBezTo>
                  <a:pt x="450329" y="503715"/>
                  <a:pt x="456233" y="509619"/>
                  <a:pt x="456233" y="516779"/>
                </a:cubicBezTo>
                <a:cubicBezTo>
                  <a:pt x="456233" y="523939"/>
                  <a:pt x="450329" y="529843"/>
                  <a:pt x="443169" y="529843"/>
                </a:cubicBezTo>
                <a:cubicBezTo>
                  <a:pt x="436009" y="529843"/>
                  <a:pt x="430105" y="523939"/>
                  <a:pt x="430105" y="516779"/>
                </a:cubicBezTo>
                <a:cubicBezTo>
                  <a:pt x="430105" y="509494"/>
                  <a:pt x="435882" y="503715"/>
                  <a:pt x="443169" y="503715"/>
                </a:cubicBezTo>
                <a:close/>
                <a:moveTo>
                  <a:pt x="906561" y="499945"/>
                </a:moveTo>
                <a:cubicBezTo>
                  <a:pt x="915858" y="499820"/>
                  <a:pt x="923395" y="507357"/>
                  <a:pt x="923395" y="516652"/>
                </a:cubicBezTo>
                <a:cubicBezTo>
                  <a:pt x="923520" y="525948"/>
                  <a:pt x="915983" y="533485"/>
                  <a:pt x="906688" y="533485"/>
                </a:cubicBezTo>
                <a:cubicBezTo>
                  <a:pt x="897517" y="533610"/>
                  <a:pt x="889855" y="526073"/>
                  <a:pt x="889855" y="516778"/>
                </a:cubicBezTo>
                <a:cubicBezTo>
                  <a:pt x="889855" y="507482"/>
                  <a:pt x="897392" y="499945"/>
                  <a:pt x="906561" y="499945"/>
                </a:cubicBezTo>
                <a:close/>
                <a:moveTo>
                  <a:pt x="2129547" y="495047"/>
                </a:moveTo>
                <a:cubicBezTo>
                  <a:pt x="2139094" y="495047"/>
                  <a:pt x="2146883" y="502709"/>
                  <a:pt x="2146883" y="512255"/>
                </a:cubicBezTo>
                <a:cubicBezTo>
                  <a:pt x="2146883" y="521802"/>
                  <a:pt x="2139220" y="529590"/>
                  <a:pt x="2129674" y="529590"/>
                </a:cubicBezTo>
                <a:cubicBezTo>
                  <a:pt x="2120127" y="529590"/>
                  <a:pt x="2112339" y="521927"/>
                  <a:pt x="2112339" y="512382"/>
                </a:cubicBezTo>
                <a:cubicBezTo>
                  <a:pt x="2112213" y="502834"/>
                  <a:pt x="2120001" y="495047"/>
                  <a:pt x="2129547" y="495047"/>
                </a:cubicBezTo>
                <a:close/>
                <a:moveTo>
                  <a:pt x="338778" y="483868"/>
                </a:moveTo>
                <a:cubicBezTo>
                  <a:pt x="341164" y="483868"/>
                  <a:pt x="343174" y="485753"/>
                  <a:pt x="343174" y="488265"/>
                </a:cubicBezTo>
                <a:cubicBezTo>
                  <a:pt x="343174" y="490652"/>
                  <a:pt x="341164" y="492662"/>
                  <a:pt x="338778" y="492662"/>
                </a:cubicBezTo>
                <a:cubicBezTo>
                  <a:pt x="336392" y="492662"/>
                  <a:pt x="334382" y="490652"/>
                  <a:pt x="334382" y="488265"/>
                </a:cubicBezTo>
                <a:cubicBezTo>
                  <a:pt x="334382" y="485753"/>
                  <a:pt x="336392" y="483743"/>
                  <a:pt x="338778" y="483868"/>
                </a:cubicBezTo>
                <a:close/>
                <a:moveTo>
                  <a:pt x="1181909" y="476708"/>
                </a:moveTo>
                <a:cubicBezTo>
                  <a:pt x="1194471" y="476708"/>
                  <a:pt x="1204772" y="486882"/>
                  <a:pt x="1204772" y="499444"/>
                </a:cubicBezTo>
                <a:cubicBezTo>
                  <a:pt x="1204772" y="512005"/>
                  <a:pt x="1194596" y="522306"/>
                  <a:pt x="1182034" y="522306"/>
                </a:cubicBezTo>
                <a:cubicBezTo>
                  <a:pt x="1169472" y="522306"/>
                  <a:pt x="1159173" y="512130"/>
                  <a:pt x="1159173" y="499569"/>
                </a:cubicBezTo>
                <a:cubicBezTo>
                  <a:pt x="1159173" y="487008"/>
                  <a:pt x="1169347" y="476708"/>
                  <a:pt x="1181909" y="476708"/>
                </a:cubicBezTo>
                <a:close/>
                <a:moveTo>
                  <a:pt x="1853949" y="475703"/>
                </a:moveTo>
                <a:cubicBezTo>
                  <a:pt x="1865883" y="475578"/>
                  <a:pt x="1875555" y="485250"/>
                  <a:pt x="1875555" y="497057"/>
                </a:cubicBezTo>
                <a:cubicBezTo>
                  <a:pt x="1875682" y="508866"/>
                  <a:pt x="1866010" y="518538"/>
                  <a:pt x="1854201" y="518538"/>
                </a:cubicBezTo>
                <a:cubicBezTo>
                  <a:pt x="1842267" y="518663"/>
                  <a:pt x="1832595" y="508991"/>
                  <a:pt x="1832595" y="497184"/>
                </a:cubicBezTo>
                <a:cubicBezTo>
                  <a:pt x="1832595" y="485250"/>
                  <a:pt x="1842142" y="475578"/>
                  <a:pt x="1853949" y="475703"/>
                </a:cubicBezTo>
                <a:close/>
                <a:moveTo>
                  <a:pt x="612749" y="475200"/>
                </a:moveTo>
                <a:cubicBezTo>
                  <a:pt x="621039" y="475075"/>
                  <a:pt x="627823" y="481859"/>
                  <a:pt x="627823" y="490149"/>
                </a:cubicBezTo>
                <a:cubicBezTo>
                  <a:pt x="627949" y="498440"/>
                  <a:pt x="621166" y="505223"/>
                  <a:pt x="612875" y="505223"/>
                </a:cubicBezTo>
                <a:cubicBezTo>
                  <a:pt x="604585" y="505348"/>
                  <a:pt x="597801" y="498565"/>
                  <a:pt x="597801" y="490274"/>
                </a:cubicBezTo>
                <a:cubicBezTo>
                  <a:pt x="597801" y="481984"/>
                  <a:pt x="604458" y="475200"/>
                  <a:pt x="612749" y="475200"/>
                </a:cubicBezTo>
                <a:close/>
                <a:moveTo>
                  <a:pt x="2423111" y="471056"/>
                </a:moveTo>
                <a:cubicBezTo>
                  <a:pt x="2430145" y="471056"/>
                  <a:pt x="2435797" y="476583"/>
                  <a:pt x="2435797" y="483617"/>
                </a:cubicBezTo>
                <a:cubicBezTo>
                  <a:pt x="2435797" y="490652"/>
                  <a:pt x="2430145" y="496304"/>
                  <a:pt x="2423236" y="496304"/>
                </a:cubicBezTo>
                <a:cubicBezTo>
                  <a:pt x="2416328" y="496304"/>
                  <a:pt x="2410549" y="490652"/>
                  <a:pt x="2410549" y="483743"/>
                </a:cubicBezTo>
                <a:cubicBezTo>
                  <a:pt x="2410549" y="476708"/>
                  <a:pt x="2416202" y="471056"/>
                  <a:pt x="2423111" y="471056"/>
                </a:cubicBezTo>
                <a:close/>
                <a:moveTo>
                  <a:pt x="792251" y="465781"/>
                </a:moveTo>
                <a:cubicBezTo>
                  <a:pt x="797653" y="465781"/>
                  <a:pt x="802049" y="470051"/>
                  <a:pt x="802049" y="475453"/>
                </a:cubicBezTo>
                <a:cubicBezTo>
                  <a:pt x="802049" y="480855"/>
                  <a:pt x="797778" y="485252"/>
                  <a:pt x="792378" y="485252"/>
                </a:cubicBezTo>
                <a:cubicBezTo>
                  <a:pt x="786976" y="485377"/>
                  <a:pt x="782580" y="480980"/>
                  <a:pt x="782580" y="475578"/>
                </a:cubicBezTo>
                <a:cubicBezTo>
                  <a:pt x="782580" y="470303"/>
                  <a:pt x="786851" y="465906"/>
                  <a:pt x="792251" y="465781"/>
                </a:cubicBezTo>
                <a:close/>
                <a:moveTo>
                  <a:pt x="981929" y="464524"/>
                </a:moveTo>
                <a:cubicBezTo>
                  <a:pt x="988713" y="464397"/>
                  <a:pt x="994365" y="469924"/>
                  <a:pt x="994365" y="476833"/>
                </a:cubicBezTo>
                <a:cubicBezTo>
                  <a:pt x="994491" y="483617"/>
                  <a:pt x="988838" y="489269"/>
                  <a:pt x="982056" y="489269"/>
                </a:cubicBezTo>
                <a:cubicBezTo>
                  <a:pt x="975272" y="489269"/>
                  <a:pt x="969620" y="483742"/>
                  <a:pt x="969620" y="476958"/>
                </a:cubicBezTo>
                <a:cubicBezTo>
                  <a:pt x="969620" y="470051"/>
                  <a:pt x="975147" y="464524"/>
                  <a:pt x="981929" y="464524"/>
                </a:cubicBezTo>
                <a:close/>
                <a:moveTo>
                  <a:pt x="2053802" y="464146"/>
                </a:moveTo>
                <a:cubicBezTo>
                  <a:pt x="2058702" y="464146"/>
                  <a:pt x="2062721" y="468040"/>
                  <a:pt x="2062721" y="472939"/>
                </a:cubicBezTo>
                <a:cubicBezTo>
                  <a:pt x="2062721" y="477837"/>
                  <a:pt x="2058827" y="481857"/>
                  <a:pt x="2053929" y="481857"/>
                </a:cubicBezTo>
                <a:cubicBezTo>
                  <a:pt x="2049030" y="481857"/>
                  <a:pt x="2045010" y="477963"/>
                  <a:pt x="2045010" y="473065"/>
                </a:cubicBezTo>
                <a:cubicBezTo>
                  <a:pt x="2045010" y="468165"/>
                  <a:pt x="2049030" y="464146"/>
                  <a:pt x="2053802" y="464146"/>
                </a:cubicBezTo>
                <a:close/>
                <a:moveTo>
                  <a:pt x="2243608" y="463141"/>
                </a:moveTo>
                <a:cubicBezTo>
                  <a:pt x="2247502" y="463141"/>
                  <a:pt x="2250767" y="466281"/>
                  <a:pt x="2250767" y="470175"/>
                </a:cubicBezTo>
                <a:cubicBezTo>
                  <a:pt x="2250767" y="474070"/>
                  <a:pt x="2247627" y="477335"/>
                  <a:pt x="2243733" y="477335"/>
                </a:cubicBezTo>
                <a:cubicBezTo>
                  <a:pt x="2239713" y="477335"/>
                  <a:pt x="2236573" y="474195"/>
                  <a:pt x="2236573" y="470301"/>
                </a:cubicBezTo>
                <a:cubicBezTo>
                  <a:pt x="2236573" y="466407"/>
                  <a:pt x="2239713" y="463266"/>
                  <a:pt x="2243608" y="463141"/>
                </a:cubicBezTo>
                <a:close/>
                <a:moveTo>
                  <a:pt x="1771671" y="462011"/>
                </a:moveTo>
                <a:cubicBezTo>
                  <a:pt x="1778956" y="461886"/>
                  <a:pt x="1784985" y="467915"/>
                  <a:pt x="1784985" y="475202"/>
                </a:cubicBezTo>
                <a:cubicBezTo>
                  <a:pt x="1784985" y="482487"/>
                  <a:pt x="1779081" y="488517"/>
                  <a:pt x="1771797" y="488517"/>
                </a:cubicBezTo>
                <a:cubicBezTo>
                  <a:pt x="1764511" y="488642"/>
                  <a:pt x="1758482" y="482612"/>
                  <a:pt x="1758482" y="475327"/>
                </a:cubicBezTo>
                <a:cubicBezTo>
                  <a:pt x="1758356" y="468041"/>
                  <a:pt x="1764385" y="462011"/>
                  <a:pt x="1771671" y="462011"/>
                </a:cubicBezTo>
                <a:close/>
                <a:moveTo>
                  <a:pt x="1264063" y="458494"/>
                </a:moveTo>
                <a:cubicBezTo>
                  <a:pt x="1274363" y="458369"/>
                  <a:pt x="1282779" y="466659"/>
                  <a:pt x="1282779" y="476960"/>
                </a:cubicBezTo>
                <a:cubicBezTo>
                  <a:pt x="1282905" y="487260"/>
                  <a:pt x="1274615" y="495677"/>
                  <a:pt x="1264314" y="495677"/>
                </a:cubicBezTo>
                <a:cubicBezTo>
                  <a:pt x="1254139" y="495802"/>
                  <a:pt x="1245723" y="487512"/>
                  <a:pt x="1245723" y="477211"/>
                </a:cubicBezTo>
                <a:cubicBezTo>
                  <a:pt x="1245597" y="466911"/>
                  <a:pt x="1253887" y="458619"/>
                  <a:pt x="1264063" y="458494"/>
                </a:cubicBezTo>
                <a:close/>
                <a:moveTo>
                  <a:pt x="504846" y="449952"/>
                </a:moveTo>
                <a:cubicBezTo>
                  <a:pt x="509242" y="449952"/>
                  <a:pt x="512886" y="453469"/>
                  <a:pt x="512886" y="457866"/>
                </a:cubicBezTo>
                <a:cubicBezTo>
                  <a:pt x="512886" y="462262"/>
                  <a:pt x="509369" y="465906"/>
                  <a:pt x="504972" y="465906"/>
                </a:cubicBezTo>
                <a:cubicBezTo>
                  <a:pt x="500574" y="465906"/>
                  <a:pt x="496932" y="462389"/>
                  <a:pt x="496932" y="457992"/>
                </a:cubicBezTo>
                <a:cubicBezTo>
                  <a:pt x="496932" y="453595"/>
                  <a:pt x="500449" y="449952"/>
                  <a:pt x="504846" y="449952"/>
                </a:cubicBezTo>
                <a:close/>
                <a:moveTo>
                  <a:pt x="2530763" y="448068"/>
                </a:moveTo>
                <a:cubicBezTo>
                  <a:pt x="2532144" y="448068"/>
                  <a:pt x="2533276" y="449073"/>
                  <a:pt x="2533276" y="450455"/>
                </a:cubicBezTo>
                <a:cubicBezTo>
                  <a:pt x="2533276" y="451837"/>
                  <a:pt x="2532271" y="452967"/>
                  <a:pt x="2530888" y="452967"/>
                </a:cubicBezTo>
                <a:cubicBezTo>
                  <a:pt x="2529632" y="452967"/>
                  <a:pt x="2528501" y="451962"/>
                  <a:pt x="2528501" y="450580"/>
                </a:cubicBezTo>
                <a:cubicBezTo>
                  <a:pt x="2528501" y="449198"/>
                  <a:pt x="2529632" y="448193"/>
                  <a:pt x="2530763" y="448068"/>
                </a:cubicBezTo>
                <a:close/>
                <a:moveTo>
                  <a:pt x="1687761" y="445054"/>
                </a:moveTo>
                <a:cubicBezTo>
                  <a:pt x="1695801" y="445054"/>
                  <a:pt x="1702458" y="451586"/>
                  <a:pt x="1702458" y="459625"/>
                </a:cubicBezTo>
                <a:cubicBezTo>
                  <a:pt x="1702458" y="467790"/>
                  <a:pt x="1695926" y="474322"/>
                  <a:pt x="1687886" y="474322"/>
                </a:cubicBezTo>
                <a:cubicBezTo>
                  <a:pt x="1679847" y="474322"/>
                  <a:pt x="1673315" y="467790"/>
                  <a:pt x="1673315" y="459751"/>
                </a:cubicBezTo>
                <a:cubicBezTo>
                  <a:pt x="1673189" y="451711"/>
                  <a:pt x="1679721" y="445179"/>
                  <a:pt x="1687761" y="445054"/>
                </a:cubicBezTo>
                <a:close/>
                <a:moveTo>
                  <a:pt x="1347848" y="443043"/>
                </a:moveTo>
                <a:cubicBezTo>
                  <a:pt x="1357771" y="443043"/>
                  <a:pt x="1365810" y="450957"/>
                  <a:pt x="1365810" y="460880"/>
                </a:cubicBezTo>
                <a:cubicBezTo>
                  <a:pt x="1365810" y="470804"/>
                  <a:pt x="1357897" y="478843"/>
                  <a:pt x="1347973" y="478843"/>
                </a:cubicBezTo>
                <a:cubicBezTo>
                  <a:pt x="1338049" y="478843"/>
                  <a:pt x="1330009" y="470930"/>
                  <a:pt x="1330009" y="461006"/>
                </a:cubicBezTo>
                <a:cubicBezTo>
                  <a:pt x="1330009" y="451082"/>
                  <a:pt x="1338049" y="443043"/>
                  <a:pt x="1347848" y="443043"/>
                </a:cubicBezTo>
                <a:close/>
                <a:moveTo>
                  <a:pt x="1602972" y="435506"/>
                </a:moveTo>
                <a:cubicBezTo>
                  <a:pt x="1611262" y="435381"/>
                  <a:pt x="1618046" y="442165"/>
                  <a:pt x="1618046" y="450455"/>
                </a:cubicBezTo>
                <a:cubicBezTo>
                  <a:pt x="1618171" y="458746"/>
                  <a:pt x="1611389" y="465529"/>
                  <a:pt x="1603097" y="465529"/>
                </a:cubicBezTo>
                <a:cubicBezTo>
                  <a:pt x="1594807" y="465654"/>
                  <a:pt x="1588023" y="458871"/>
                  <a:pt x="1588023" y="450580"/>
                </a:cubicBezTo>
                <a:cubicBezTo>
                  <a:pt x="1588023" y="442290"/>
                  <a:pt x="1594807" y="435506"/>
                  <a:pt x="1602972" y="435506"/>
                </a:cubicBezTo>
                <a:close/>
                <a:moveTo>
                  <a:pt x="1432511" y="434376"/>
                </a:moveTo>
                <a:cubicBezTo>
                  <a:pt x="1441807" y="434251"/>
                  <a:pt x="1449344" y="441788"/>
                  <a:pt x="1449344" y="451083"/>
                </a:cubicBezTo>
                <a:cubicBezTo>
                  <a:pt x="1449470" y="460379"/>
                  <a:pt x="1441933" y="467916"/>
                  <a:pt x="1432638" y="467916"/>
                </a:cubicBezTo>
                <a:cubicBezTo>
                  <a:pt x="1423341" y="468041"/>
                  <a:pt x="1415804" y="460504"/>
                  <a:pt x="1415804" y="451209"/>
                </a:cubicBezTo>
                <a:cubicBezTo>
                  <a:pt x="1415804" y="441913"/>
                  <a:pt x="1423341" y="434376"/>
                  <a:pt x="1432511" y="434376"/>
                </a:cubicBezTo>
                <a:close/>
                <a:moveTo>
                  <a:pt x="1517805" y="431863"/>
                </a:moveTo>
                <a:cubicBezTo>
                  <a:pt x="1526473" y="431863"/>
                  <a:pt x="1533633" y="438897"/>
                  <a:pt x="1533633" y="447564"/>
                </a:cubicBezTo>
                <a:cubicBezTo>
                  <a:pt x="1533633" y="456358"/>
                  <a:pt x="1526598" y="463392"/>
                  <a:pt x="1517931" y="463392"/>
                </a:cubicBezTo>
                <a:cubicBezTo>
                  <a:pt x="1509263" y="463392"/>
                  <a:pt x="1502229" y="456358"/>
                  <a:pt x="1502229" y="447690"/>
                </a:cubicBezTo>
                <a:cubicBezTo>
                  <a:pt x="1502103" y="439023"/>
                  <a:pt x="1509138" y="431863"/>
                  <a:pt x="1517805" y="431863"/>
                </a:cubicBezTo>
                <a:close/>
                <a:moveTo>
                  <a:pt x="1975671" y="429101"/>
                </a:moveTo>
                <a:cubicBezTo>
                  <a:pt x="1981198" y="429101"/>
                  <a:pt x="1985721" y="433497"/>
                  <a:pt x="1985721" y="439024"/>
                </a:cubicBezTo>
                <a:cubicBezTo>
                  <a:pt x="1985721" y="444424"/>
                  <a:pt x="1981324" y="448946"/>
                  <a:pt x="1975797" y="448946"/>
                </a:cubicBezTo>
                <a:cubicBezTo>
                  <a:pt x="1970269" y="448946"/>
                  <a:pt x="1965747" y="444551"/>
                  <a:pt x="1965747" y="439024"/>
                </a:cubicBezTo>
                <a:cubicBezTo>
                  <a:pt x="1965747" y="433497"/>
                  <a:pt x="1970269" y="428975"/>
                  <a:pt x="1975671" y="429101"/>
                </a:cubicBezTo>
                <a:close/>
                <a:moveTo>
                  <a:pt x="679952" y="427844"/>
                </a:moveTo>
                <a:cubicBezTo>
                  <a:pt x="685478" y="427844"/>
                  <a:pt x="690000" y="432241"/>
                  <a:pt x="690000" y="437768"/>
                </a:cubicBezTo>
                <a:cubicBezTo>
                  <a:pt x="690000" y="443169"/>
                  <a:pt x="685604" y="447691"/>
                  <a:pt x="680077" y="447691"/>
                </a:cubicBezTo>
                <a:cubicBezTo>
                  <a:pt x="674676" y="447691"/>
                  <a:pt x="670154" y="443295"/>
                  <a:pt x="670154" y="437768"/>
                </a:cubicBezTo>
                <a:cubicBezTo>
                  <a:pt x="670154" y="432366"/>
                  <a:pt x="674550" y="427844"/>
                  <a:pt x="679952" y="427844"/>
                </a:cubicBezTo>
                <a:close/>
                <a:moveTo>
                  <a:pt x="1059938" y="426714"/>
                </a:moveTo>
                <a:cubicBezTo>
                  <a:pt x="1068480" y="426714"/>
                  <a:pt x="1075514" y="433623"/>
                  <a:pt x="1075514" y="442165"/>
                </a:cubicBezTo>
                <a:cubicBezTo>
                  <a:pt x="1075514" y="450708"/>
                  <a:pt x="1068605" y="457742"/>
                  <a:pt x="1060063" y="457742"/>
                </a:cubicBezTo>
                <a:cubicBezTo>
                  <a:pt x="1051521" y="457742"/>
                  <a:pt x="1044487" y="450833"/>
                  <a:pt x="1044487" y="442291"/>
                </a:cubicBezTo>
                <a:cubicBezTo>
                  <a:pt x="1044487" y="433749"/>
                  <a:pt x="1051396" y="426839"/>
                  <a:pt x="1059938" y="426714"/>
                </a:cubicBezTo>
                <a:close/>
                <a:moveTo>
                  <a:pt x="2355655" y="425958"/>
                </a:moveTo>
                <a:cubicBezTo>
                  <a:pt x="2358796" y="425958"/>
                  <a:pt x="2361434" y="428596"/>
                  <a:pt x="2361434" y="431736"/>
                </a:cubicBezTo>
                <a:cubicBezTo>
                  <a:pt x="2361434" y="434877"/>
                  <a:pt x="2358796" y="437515"/>
                  <a:pt x="2355655" y="437515"/>
                </a:cubicBezTo>
                <a:cubicBezTo>
                  <a:pt x="2352515" y="437515"/>
                  <a:pt x="2349877" y="434877"/>
                  <a:pt x="2349877" y="431736"/>
                </a:cubicBezTo>
                <a:cubicBezTo>
                  <a:pt x="2349877" y="428596"/>
                  <a:pt x="2352389" y="425958"/>
                  <a:pt x="2355655" y="425958"/>
                </a:cubicBezTo>
                <a:close/>
                <a:moveTo>
                  <a:pt x="398445" y="422695"/>
                </a:moveTo>
                <a:cubicBezTo>
                  <a:pt x="400958" y="422695"/>
                  <a:pt x="403093" y="424830"/>
                  <a:pt x="403093" y="427343"/>
                </a:cubicBezTo>
                <a:cubicBezTo>
                  <a:pt x="403093" y="429855"/>
                  <a:pt x="401083" y="431991"/>
                  <a:pt x="398445" y="431991"/>
                </a:cubicBezTo>
                <a:cubicBezTo>
                  <a:pt x="395933" y="431991"/>
                  <a:pt x="393798" y="429981"/>
                  <a:pt x="393798" y="427343"/>
                </a:cubicBezTo>
                <a:cubicBezTo>
                  <a:pt x="393798" y="424705"/>
                  <a:pt x="395933" y="422695"/>
                  <a:pt x="398445" y="422695"/>
                </a:cubicBezTo>
                <a:close/>
                <a:moveTo>
                  <a:pt x="865108" y="420935"/>
                </a:moveTo>
                <a:cubicBezTo>
                  <a:pt x="870635" y="420935"/>
                  <a:pt x="875284" y="425457"/>
                  <a:pt x="875284" y="431109"/>
                </a:cubicBezTo>
                <a:cubicBezTo>
                  <a:pt x="875284" y="436636"/>
                  <a:pt x="870762" y="441284"/>
                  <a:pt x="865108" y="441284"/>
                </a:cubicBezTo>
                <a:cubicBezTo>
                  <a:pt x="859456" y="441284"/>
                  <a:pt x="854934" y="436762"/>
                  <a:pt x="854934" y="431109"/>
                </a:cubicBezTo>
                <a:cubicBezTo>
                  <a:pt x="854934" y="425582"/>
                  <a:pt x="859456" y="420935"/>
                  <a:pt x="865108" y="420935"/>
                </a:cubicBezTo>
                <a:close/>
                <a:moveTo>
                  <a:pt x="2170501" y="418423"/>
                </a:moveTo>
                <a:cubicBezTo>
                  <a:pt x="2174897" y="418423"/>
                  <a:pt x="2178541" y="421940"/>
                  <a:pt x="2178541" y="426337"/>
                </a:cubicBezTo>
                <a:cubicBezTo>
                  <a:pt x="2178541" y="430733"/>
                  <a:pt x="2175023" y="434377"/>
                  <a:pt x="2170626" y="434377"/>
                </a:cubicBezTo>
                <a:cubicBezTo>
                  <a:pt x="2166229" y="434377"/>
                  <a:pt x="2162586" y="430860"/>
                  <a:pt x="2162586" y="426463"/>
                </a:cubicBezTo>
                <a:cubicBezTo>
                  <a:pt x="2162586" y="422066"/>
                  <a:pt x="2166104" y="418423"/>
                  <a:pt x="2170501" y="418423"/>
                </a:cubicBezTo>
                <a:close/>
                <a:moveTo>
                  <a:pt x="1895278" y="398828"/>
                </a:moveTo>
                <a:cubicBezTo>
                  <a:pt x="1901683" y="398701"/>
                  <a:pt x="1906835" y="403852"/>
                  <a:pt x="1906835" y="410258"/>
                </a:cubicBezTo>
                <a:cubicBezTo>
                  <a:pt x="1906835" y="416665"/>
                  <a:pt x="1901810" y="421815"/>
                  <a:pt x="1895403" y="421815"/>
                </a:cubicBezTo>
                <a:cubicBezTo>
                  <a:pt x="1888996" y="421815"/>
                  <a:pt x="1883846" y="416665"/>
                  <a:pt x="1883846" y="410384"/>
                </a:cubicBezTo>
                <a:cubicBezTo>
                  <a:pt x="1883846" y="404103"/>
                  <a:pt x="1888996" y="398828"/>
                  <a:pt x="1895278" y="398828"/>
                </a:cubicBezTo>
                <a:close/>
                <a:moveTo>
                  <a:pt x="1140080" y="395184"/>
                </a:moveTo>
                <a:cubicBezTo>
                  <a:pt x="1150002" y="395184"/>
                  <a:pt x="1158042" y="403098"/>
                  <a:pt x="1158042" y="413022"/>
                </a:cubicBezTo>
                <a:cubicBezTo>
                  <a:pt x="1158042" y="422945"/>
                  <a:pt x="1150129" y="430984"/>
                  <a:pt x="1140205" y="430984"/>
                </a:cubicBezTo>
                <a:cubicBezTo>
                  <a:pt x="1130281" y="430984"/>
                  <a:pt x="1122242" y="423071"/>
                  <a:pt x="1122242" y="413147"/>
                </a:cubicBezTo>
                <a:cubicBezTo>
                  <a:pt x="1122117" y="403223"/>
                  <a:pt x="1130156" y="395184"/>
                  <a:pt x="1140080" y="395184"/>
                </a:cubicBezTo>
                <a:close/>
                <a:moveTo>
                  <a:pt x="569786" y="392924"/>
                </a:moveTo>
                <a:cubicBezTo>
                  <a:pt x="575188" y="392924"/>
                  <a:pt x="579584" y="397195"/>
                  <a:pt x="579584" y="402595"/>
                </a:cubicBezTo>
                <a:cubicBezTo>
                  <a:pt x="579584" y="407997"/>
                  <a:pt x="575313" y="412393"/>
                  <a:pt x="569911" y="412393"/>
                </a:cubicBezTo>
                <a:cubicBezTo>
                  <a:pt x="564511" y="412393"/>
                  <a:pt x="560115" y="408122"/>
                  <a:pt x="560115" y="402722"/>
                </a:cubicBezTo>
                <a:cubicBezTo>
                  <a:pt x="560115" y="397320"/>
                  <a:pt x="564386" y="392924"/>
                  <a:pt x="569786" y="392924"/>
                </a:cubicBezTo>
                <a:close/>
                <a:moveTo>
                  <a:pt x="2465442" y="391543"/>
                </a:moveTo>
                <a:cubicBezTo>
                  <a:pt x="2467829" y="391543"/>
                  <a:pt x="2469713" y="393301"/>
                  <a:pt x="2469713" y="395688"/>
                </a:cubicBezTo>
                <a:cubicBezTo>
                  <a:pt x="2469839" y="398075"/>
                  <a:pt x="2467829" y="399960"/>
                  <a:pt x="2465567" y="399960"/>
                </a:cubicBezTo>
                <a:cubicBezTo>
                  <a:pt x="2463182" y="399960"/>
                  <a:pt x="2461297" y="398075"/>
                  <a:pt x="2461297" y="395815"/>
                </a:cubicBezTo>
                <a:cubicBezTo>
                  <a:pt x="2461297" y="393428"/>
                  <a:pt x="2463182" y="391543"/>
                  <a:pt x="2465442" y="391543"/>
                </a:cubicBezTo>
                <a:close/>
                <a:moveTo>
                  <a:pt x="750296" y="379732"/>
                </a:moveTo>
                <a:cubicBezTo>
                  <a:pt x="755698" y="379732"/>
                  <a:pt x="760094" y="384003"/>
                  <a:pt x="760094" y="389404"/>
                </a:cubicBezTo>
                <a:cubicBezTo>
                  <a:pt x="760220" y="394806"/>
                  <a:pt x="755823" y="399203"/>
                  <a:pt x="750422" y="399203"/>
                </a:cubicBezTo>
                <a:cubicBezTo>
                  <a:pt x="745021" y="399328"/>
                  <a:pt x="740624" y="394931"/>
                  <a:pt x="740624" y="389531"/>
                </a:cubicBezTo>
                <a:cubicBezTo>
                  <a:pt x="740624" y="384129"/>
                  <a:pt x="745021" y="379857"/>
                  <a:pt x="750296" y="379732"/>
                </a:cubicBezTo>
                <a:close/>
                <a:moveTo>
                  <a:pt x="940353" y="378980"/>
                </a:moveTo>
                <a:cubicBezTo>
                  <a:pt x="947135" y="378853"/>
                  <a:pt x="952787" y="384380"/>
                  <a:pt x="952787" y="391289"/>
                </a:cubicBezTo>
                <a:cubicBezTo>
                  <a:pt x="952914" y="398073"/>
                  <a:pt x="947387" y="403726"/>
                  <a:pt x="940478" y="403726"/>
                </a:cubicBezTo>
                <a:cubicBezTo>
                  <a:pt x="933694" y="403851"/>
                  <a:pt x="928042" y="398324"/>
                  <a:pt x="928042" y="391415"/>
                </a:cubicBezTo>
                <a:cubicBezTo>
                  <a:pt x="928042" y="384632"/>
                  <a:pt x="933569" y="379105"/>
                  <a:pt x="940353" y="378980"/>
                </a:cubicBezTo>
                <a:close/>
                <a:moveTo>
                  <a:pt x="2094752" y="378353"/>
                </a:moveTo>
                <a:cubicBezTo>
                  <a:pt x="2099652" y="378353"/>
                  <a:pt x="2103671" y="382247"/>
                  <a:pt x="2103671" y="387145"/>
                </a:cubicBezTo>
                <a:cubicBezTo>
                  <a:pt x="2103671" y="392044"/>
                  <a:pt x="2099778" y="396064"/>
                  <a:pt x="2094879" y="396064"/>
                </a:cubicBezTo>
                <a:cubicBezTo>
                  <a:pt x="2089980" y="396064"/>
                  <a:pt x="2085960" y="392170"/>
                  <a:pt x="2085960" y="387272"/>
                </a:cubicBezTo>
                <a:cubicBezTo>
                  <a:pt x="2085960" y="382372"/>
                  <a:pt x="2089855" y="378353"/>
                  <a:pt x="2094752" y="378353"/>
                </a:cubicBezTo>
                <a:close/>
                <a:moveTo>
                  <a:pt x="2284935" y="376845"/>
                </a:moveTo>
                <a:cubicBezTo>
                  <a:pt x="2288830" y="376845"/>
                  <a:pt x="2291971" y="379985"/>
                  <a:pt x="2291971" y="383879"/>
                </a:cubicBezTo>
                <a:cubicBezTo>
                  <a:pt x="2291971" y="387774"/>
                  <a:pt x="2288830" y="391039"/>
                  <a:pt x="2284935" y="391039"/>
                </a:cubicBezTo>
                <a:cubicBezTo>
                  <a:pt x="2281041" y="391039"/>
                  <a:pt x="2277900" y="387899"/>
                  <a:pt x="2277900" y="384005"/>
                </a:cubicBezTo>
                <a:cubicBezTo>
                  <a:pt x="2277774" y="380111"/>
                  <a:pt x="2281041" y="376845"/>
                  <a:pt x="2284935" y="376845"/>
                </a:cubicBezTo>
                <a:close/>
                <a:moveTo>
                  <a:pt x="1813126" y="374206"/>
                </a:moveTo>
                <a:cubicBezTo>
                  <a:pt x="1820412" y="374081"/>
                  <a:pt x="1826442" y="380110"/>
                  <a:pt x="1826442" y="387397"/>
                </a:cubicBezTo>
                <a:cubicBezTo>
                  <a:pt x="1826442" y="394682"/>
                  <a:pt x="1820537" y="400712"/>
                  <a:pt x="1813252" y="400712"/>
                </a:cubicBezTo>
                <a:cubicBezTo>
                  <a:pt x="1805966" y="400837"/>
                  <a:pt x="1799936" y="394807"/>
                  <a:pt x="1799936" y="387522"/>
                </a:cubicBezTo>
                <a:cubicBezTo>
                  <a:pt x="1799936" y="380110"/>
                  <a:pt x="1805841" y="374206"/>
                  <a:pt x="1813126" y="374206"/>
                </a:cubicBezTo>
                <a:close/>
                <a:moveTo>
                  <a:pt x="1222108" y="370941"/>
                </a:moveTo>
                <a:cubicBezTo>
                  <a:pt x="1232409" y="370816"/>
                  <a:pt x="1240824" y="379106"/>
                  <a:pt x="1240824" y="389407"/>
                </a:cubicBezTo>
                <a:cubicBezTo>
                  <a:pt x="1240824" y="399707"/>
                  <a:pt x="1232534" y="408124"/>
                  <a:pt x="1222233" y="408124"/>
                </a:cubicBezTo>
                <a:cubicBezTo>
                  <a:pt x="1211933" y="408249"/>
                  <a:pt x="1203517" y="399959"/>
                  <a:pt x="1203517" y="389658"/>
                </a:cubicBezTo>
                <a:cubicBezTo>
                  <a:pt x="1203391" y="379358"/>
                  <a:pt x="1211681" y="371066"/>
                  <a:pt x="1222108" y="370941"/>
                </a:cubicBezTo>
                <a:close/>
                <a:moveTo>
                  <a:pt x="461253" y="366166"/>
                </a:moveTo>
                <a:cubicBezTo>
                  <a:pt x="463137" y="366166"/>
                  <a:pt x="464770" y="367674"/>
                  <a:pt x="464770" y="369684"/>
                </a:cubicBezTo>
                <a:cubicBezTo>
                  <a:pt x="464770" y="371568"/>
                  <a:pt x="463262" y="373201"/>
                  <a:pt x="461253" y="373201"/>
                </a:cubicBezTo>
                <a:cubicBezTo>
                  <a:pt x="459368" y="373201"/>
                  <a:pt x="457736" y="371694"/>
                  <a:pt x="457736" y="369684"/>
                </a:cubicBezTo>
                <a:cubicBezTo>
                  <a:pt x="457736" y="367674"/>
                  <a:pt x="459368" y="366041"/>
                  <a:pt x="461253" y="366166"/>
                </a:cubicBezTo>
                <a:close/>
                <a:moveTo>
                  <a:pt x="1729715" y="362901"/>
                </a:moveTo>
                <a:cubicBezTo>
                  <a:pt x="1733735" y="362901"/>
                  <a:pt x="1737000" y="366168"/>
                  <a:pt x="1737000" y="370186"/>
                </a:cubicBezTo>
                <a:cubicBezTo>
                  <a:pt x="1737000" y="374207"/>
                  <a:pt x="1733735" y="377472"/>
                  <a:pt x="1729715" y="377472"/>
                </a:cubicBezTo>
                <a:cubicBezTo>
                  <a:pt x="1725696" y="377472"/>
                  <a:pt x="1722429" y="374207"/>
                  <a:pt x="1722429" y="370186"/>
                </a:cubicBezTo>
                <a:cubicBezTo>
                  <a:pt x="1722429" y="366168"/>
                  <a:pt x="1725696" y="362901"/>
                  <a:pt x="1729715" y="362901"/>
                </a:cubicBezTo>
                <a:close/>
                <a:moveTo>
                  <a:pt x="1305389" y="357373"/>
                </a:moveTo>
                <a:cubicBezTo>
                  <a:pt x="1313303" y="357373"/>
                  <a:pt x="1319835" y="363779"/>
                  <a:pt x="1319835" y="371692"/>
                </a:cubicBezTo>
                <a:cubicBezTo>
                  <a:pt x="1319835" y="379606"/>
                  <a:pt x="1313429" y="386138"/>
                  <a:pt x="1305516" y="386138"/>
                </a:cubicBezTo>
                <a:cubicBezTo>
                  <a:pt x="1297602" y="386138"/>
                  <a:pt x="1291070" y="379731"/>
                  <a:pt x="1291070" y="371819"/>
                </a:cubicBezTo>
                <a:cubicBezTo>
                  <a:pt x="1291070" y="363779"/>
                  <a:pt x="1297477" y="357373"/>
                  <a:pt x="1305389" y="357373"/>
                </a:cubicBezTo>
                <a:close/>
                <a:moveTo>
                  <a:pt x="1645303" y="350464"/>
                </a:moveTo>
                <a:cubicBezTo>
                  <a:pt x="1649826" y="350464"/>
                  <a:pt x="1653470" y="354106"/>
                  <a:pt x="1653470" y="358629"/>
                </a:cubicBezTo>
                <a:cubicBezTo>
                  <a:pt x="1653470" y="363278"/>
                  <a:pt x="1649826" y="366920"/>
                  <a:pt x="1645303" y="366920"/>
                </a:cubicBezTo>
                <a:cubicBezTo>
                  <a:pt x="1640656" y="366920"/>
                  <a:pt x="1637013" y="363278"/>
                  <a:pt x="1637013" y="358754"/>
                </a:cubicBezTo>
                <a:cubicBezTo>
                  <a:pt x="1637013" y="354233"/>
                  <a:pt x="1640656" y="350589"/>
                  <a:pt x="1645303" y="350464"/>
                </a:cubicBezTo>
                <a:close/>
                <a:moveTo>
                  <a:pt x="2016747" y="349209"/>
                </a:moveTo>
                <a:cubicBezTo>
                  <a:pt x="2018883" y="349209"/>
                  <a:pt x="2020515" y="350842"/>
                  <a:pt x="2020515" y="352978"/>
                </a:cubicBezTo>
                <a:cubicBezTo>
                  <a:pt x="2020515" y="354988"/>
                  <a:pt x="2018883" y="356746"/>
                  <a:pt x="2016747" y="356746"/>
                </a:cubicBezTo>
                <a:cubicBezTo>
                  <a:pt x="2014736" y="356746"/>
                  <a:pt x="2012978" y="354988"/>
                  <a:pt x="2012978" y="352978"/>
                </a:cubicBezTo>
                <a:cubicBezTo>
                  <a:pt x="2012978" y="350968"/>
                  <a:pt x="2014611" y="349209"/>
                  <a:pt x="2016747" y="349209"/>
                </a:cubicBezTo>
                <a:close/>
                <a:moveTo>
                  <a:pt x="1389802" y="347325"/>
                </a:moveTo>
                <a:cubicBezTo>
                  <a:pt x="1396586" y="347325"/>
                  <a:pt x="1402238" y="352852"/>
                  <a:pt x="1402238" y="359635"/>
                </a:cubicBezTo>
                <a:cubicBezTo>
                  <a:pt x="1402363" y="366418"/>
                  <a:pt x="1396711" y="372071"/>
                  <a:pt x="1389928" y="372071"/>
                </a:cubicBezTo>
                <a:cubicBezTo>
                  <a:pt x="1383145" y="372071"/>
                  <a:pt x="1377492" y="366544"/>
                  <a:pt x="1377492" y="359761"/>
                </a:cubicBezTo>
                <a:cubicBezTo>
                  <a:pt x="1377492" y="352852"/>
                  <a:pt x="1383019" y="347325"/>
                  <a:pt x="1389802" y="347325"/>
                </a:cubicBezTo>
                <a:close/>
                <a:moveTo>
                  <a:pt x="637745" y="346949"/>
                </a:moveTo>
                <a:cubicBezTo>
                  <a:pt x="640132" y="346949"/>
                  <a:pt x="642016" y="348834"/>
                  <a:pt x="642016" y="351094"/>
                </a:cubicBezTo>
                <a:cubicBezTo>
                  <a:pt x="642016" y="353481"/>
                  <a:pt x="640257" y="355366"/>
                  <a:pt x="637871" y="355366"/>
                </a:cubicBezTo>
                <a:cubicBezTo>
                  <a:pt x="635484" y="355366"/>
                  <a:pt x="633600" y="353481"/>
                  <a:pt x="633600" y="351220"/>
                </a:cubicBezTo>
                <a:cubicBezTo>
                  <a:pt x="633600" y="348834"/>
                  <a:pt x="635484" y="346949"/>
                  <a:pt x="637745" y="346949"/>
                </a:cubicBezTo>
                <a:close/>
                <a:moveTo>
                  <a:pt x="1018359" y="345441"/>
                </a:moveTo>
                <a:cubicBezTo>
                  <a:pt x="1024389" y="345441"/>
                  <a:pt x="1029414" y="350466"/>
                  <a:pt x="1029414" y="356495"/>
                </a:cubicBezTo>
                <a:cubicBezTo>
                  <a:pt x="1029414" y="362650"/>
                  <a:pt x="1024515" y="367675"/>
                  <a:pt x="1018359" y="367675"/>
                </a:cubicBezTo>
                <a:cubicBezTo>
                  <a:pt x="1012330" y="367675"/>
                  <a:pt x="1007305" y="362775"/>
                  <a:pt x="1007305" y="356621"/>
                </a:cubicBezTo>
                <a:cubicBezTo>
                  <a:pt x="1007305" y="350591"/>
                  <a:pt x="1012204" y="345566"/>
                  <a:pt x="1018359" y="345441"/>
                </a:cubicBezTo>
                <a:close/>
                <a:moveTo>
                  <a:pt x="1560137" y="343179"/>
                </a:moveTo>
                <a:cubicBezTo>
                  <a:pt x="1565664" y="343179"/>
                  <a:pt x="1570187" y="347576"/>
                  <a:pt x="1570187" y="353103"/>
                </a:cubicBezTo>
                <a:cubicBezTo>
                  <a:pt x="1570187" y="358630"/>
                  <a:pt x="1565790" y="363152"/>
                  <a:pt x="1560263" y="363152"/>
                </a:cubicBezTo>
                <a:cubicBezTo>
                  <a:pt x="1554735" y="363152"/>
                  <a:pt x="1550213" y="358755"/>
                  <a:pt x="1550213" y="353228"/>
                </a:cubicBezTo>
                <a:cubicBezTo>
                  <a:pt x="1550213" y="347701"/>
                  <a:pt x="1554610" y="343179"/>
                  <a:pt x="1560137" y="343179"/>
                </a:cubicBezTo>
                <a:close/>
                <a:moveTo>
                  <a:pt x="2397233" y="342803"/>
                </a:moveTo>
                <a:cubicBezTo>
                  <a:pt x="2398363" y="342803"/>
                  <a:pt x="2399242" y="343683"/>
                  <a:pt x="2399242" y="344813"/>
                </a:cubicBezTo>
                <a:cubicBezTo>
                  <a:pt x="2399242" y="345943"/>
                  <a:pt x="2398363" y="346823"/>
                  <a:pt x="2397233" y="346823"/>
                </a:cubicBezTo>
                <a:cubicBezTo>
                  <a:pt x="2396103" y="346823"/>
                  <a:pt x="2395223" y="345943"/>
                  <a:pt x="2395223" y="344813"/>
                </a:cubicBezTo>
                <a:cubicBezTo>
                  <a:pt x="2395223" y="343683"/>
                  <a:pt x="2396103" y="342803"/>
                  <a:pt x="2397233" y="342803"/>
                </a:cubicBezTo>
                <a:close/>
                <a:moveTo>
                  <a:pt x="823405" y="341422"/>
                </a:moveTo>
                <a:cubicBezTo>
                  <a:pt x="825792" y="341422"/>
                  <a:pt x="827676" y="343181"/>
                  <a:pt x="827676" y="345568"/>
                </a:cubicBezTo>
                <a:cubicBezTo>
                  <a:pt x="827676" y="347828"/>
                  <a:pt x="825792" y="349713"/>
                  <a:pt x="823530" y="349713"/>
                </a:cubicBezTo>
                <a:cubicBezTo>
                  <a:pt x="821144" y="349713"/>
                  <a:pt x="819260" y="347955"/>
                  <a:pt x="819260" y="345568"/>
                </a:cubicBezTo>
                <a:cubicBezTo>
                  <a:pt x="819260" y="343181"/>
                  <a:pt x="821144" y="341296"/>
                  <a:pt x="823405" y="341422"/>
                </a:cubicBezTo>
                <a:close/>
                <a:moveTo>
                  <a:pt x="1474844" y="341044"/>
                </a:moveTo>
                <a:cubicBezTo>
                  <a:pt x="1481626" y="341044"/>
                  <a:pt x="1487278" y="346571"/>
                  <a:pt x="1487278" y="353354"/>
                </a:cubicBezTo>
                <a:cubicBezTo>
                  <a:pt x="1487278" y="360263"/>
                  <a:pt x="1481751" y="365790"/>
                  <a:pt x="1474969" y="365790"/>
                </a:cubicBezTo>
                <a:cubicBezTo>
                  <a:pt x="1468060" y="365790"/>
                  <a:pt x="1462533" y="360263"/>
                  <a:pt x="1462533" y="353480"/>
                </a:cubicBezTo>
                <a:cubicBezTo>
                  <a:pt x="1462533" y="346696"/>
                  <a:pt x="1468060" y="341169"/>
                  <a:pt x="1474844" y="341044"/>
                </a:cubicBezTo>
                <a:close/>
                <a:moveTo>
                  <a:pt x="2211576" y="337652"/>
                </a:moveTo>
                <a:cubicBezTo>
                  <a:pt x="2213209" y="337652"/>
                  <a:pt x="2214464" y="338909"/>
                  <a:pt x="2214464" y="340542"/>
                </a:cubicBezTo>
                <a:cubicBezTo>
                  <a:pt x="2214464" y="342174"/>
                  <a:pt x="2213209" y="343431"/>
                  <a:pt x="2211576" y="343431"/>
                </a:cubicBezTo>
                <a:cubicBezTo>
                  <a:pt x="2209942" y="343431"/>
                  <a:pt x="2208686" y="342174"/>
                  <a:pt x="2208686" y="340542"/>
                </a:cubicBezTo>
                <a:cubicBezTo>
                  <a:pt x="2208686" y="338909"/>
                  <a:pt x="2209942" y="337652"/>
                  <a:pt x="2211576" y="337652"/>
                </a:cubicBezTo>
                <a:close/>
                <a:moveTo>
                  <a:pt x="1936605" y="319187"/>
                </a:moveTo>
                <a:cubicBezTo>
                  <a:pt x="1939117" y="319187"/>
                  <a:pt x="1941252" y="321322"/>
                  <a:pt x="1941252" y="323835"/>
                </a:cubicBezTo>
                <a:cubicBezTo>
                  <a:pt x="1941252" y="326347"/>
                  <a:pt x="1939117" y="328483"/>
                  <a:pt x="1936605" y="328483"/>
                </a:cubicBezTo>
                <a:cubicBezTo>
                  <a:pt x="1934092" y="328483"/>
                  <a:pt x="1931957" y="326473"/>
                  <a:pt x="1931957" y="323835"/>
                </a:cubicBezTo>
                <a:cubicBezTo>
                  <a:pt x="1931957" y="321322"/>
                  <a:pt x="1933967" y="319187"/>
                  <a:pt x="1936605" y="319187"/>
                </a:cubicBezTo>
                <a:close/>
                <a:moveTo>
                  <a:pt x="1098125" y="315921"/>
                </a:moveTo>
                <a:cubicBezTo>
                  <a:pt x="1104280" y="315921"/>
                  <a:pt x="1109305" y="320820"/>
                  <a:pt x="1109305" y="326975"/>
                </a:cubicBezTo>
                <a:cubicBezTo>
                  <a:pt x="1109305" y="333004"/>
                  <a:pt x="1104406" y="338029"/>
                  <a:pt x="1098250" y="338029"/>
                </a:cubicBezTo>
                <a:cubicBezTo>
                  <a:pt x="1092221" y="338029"/>
                  <a:pt x="1087196" y="333130"/>
                  <a:pt x="1087196" y="326975"/>
                </a:cubicBezTo>
                <a:cubicBezTo>
                  <a:pt x="1087196" y="320820"/>
                  <a:pt x="1092095" y="315794"/>
                  <a:pt x="1098125" y="315921"/>
                </a:cubicBezTo>
                <a:close/>
                <a:moveTo>
                  <a:pt x="527075" y="311900"/>
                </a:moveTo>
                <a:cubicBezTo>
                  <a:pt x="528959" y="311900"/>
                  <a:pt x="530592" y="313408"/>
                  <a:pt x="530592" y="315418"/>
                </a:cubicBezTo>
                <a:cubicBezTo>
                  <a:pt x="530592" y="317302"/>
                  <a:pt x="529084" y="318935"/>
                  <a:pt x="527075" y="318935"/>
                </a:cubicBezTo>
                <a:cubicBezTo>
                  <a:pt x="525190" y="318935"/>
                  <a:pt x="523558" y="317428"/>
                  <a:pt x="523558" y="315418"/>
                </a:cubicBezTo>
                <a:cubicBezTo>
                  <a:pt x="523558" y="313408"/>
                  <a:pt x="525065" y="311775"/>
                  <a:pt x="527075" y="311900"/>
                </a:cubicBezTo>
                <a:close/>
                <a:moveTo>
                  <a:pt x="898899" y="301727"/>
                </a:moveTo>
                <a:cubicBezTo>
                  <a:pt x="901286" y="301727"/>
                  <a:pt x="903170" y="303612"/>
                  <a:pt x="903170" y="305872"/>
                </a:cubicBezTo>
                <a:cubicBezTo>
                  <a:pt x="903170" y="308259"/>
                  <a:pt x="901411" y="310144"/>
                  <a:pt x="899024" y="310144"/>
                </a:cubicBezTo>
                <a:cubicBezTo>
                  <a:pt x="896638" y="310144"/>
                  <a:pt x="894754" y="308259"/>
                  <a:pt x="894754" y="305999"/>
                </a:cubicBezTo>
                <a:cubicBezTo>
                  <a:pt x="894754" y="303612"/>
                  <a:pt x="896638" y="301727"/>
                  <a:pt x="898899" y="301727"/>
                </a:cubicBezTo>
                <a:close/>
                <a:moveTo>
                  <a:pt x="708467" y="299214"/>
                </a:moveTo>
                <a:cubicBezTo>
                  <a:pt x="710854" y="299089"/>
                  <a:pt x="712738" y="301099"/>
                  <a:pt x="712738" y="303359"/>
                </a:cubicBezTo>
                <a:cubicBezTo>
                  <a:pt x="712738" y="305746"/>
                  <a:pt x="710854" y="307630"/>
                  <a:pt x="708593" y="307630"/>
                </a:cubicBezTo>
                <a:cubicBezTo>
                  <a:pt x="706206" y="307630"/>
                  <a:pt x="704322" y="305871"/>
                  <a:pt x="704322" y="303485"/>
                </a:cubicBezTo>
                <a:cubicBezTo>
                  <a:pt x="704322" y="301224"/>
                  <a:pt x="706206" y="299339"/>
                  <a:pt x="708467" y="299214"/>
                </a:cubicBezTo>
                <a:close/>
                <a:moveTo>
                  <a:pt x="2135829" y="298335"/>
                </a:moveTo>
                <a:cubicBezTo>
                  <a:pt x="2137588" y="298335"/>
                  <a:pt x="2138971" y="299717"/>
                  <a:pt x="2138971" y="301475"/>
                </a:cubicBezTo>
                <a:cubicBezTo>
                  <a:pt x="2138971" y="303234"/>
                  <a:pt x="2137588" y="304616"/>
                  <a:pt x="2135829" y="304616"/>
                </a:cubicBezTo>
                <a:cubicBezTo>
                  <a:pt x="2134071" y="304616"/>
                  <a:pt x="2132689" y="303234"/>
                  <a:pt x="2132689" y="301475"/>
                </a:cubicBezTo>
                <a:cubicBezTo>
                  <a:pt x="2132689" y="299842"/>
                  <a:pt x="2134071" y="298335"/>
                  <a:pt x="2135829" y="298335"/>
                </a:cubicBezTo>
                <a:close/>
                <a:moveTo>
                  <a:pt x="2326260" y="295320"/>
                </a:moveTo>
                <a:cubicBezTo>
                  <a:pt x="2327515" y="295320"/>
                  <a:pt x="2328647" y="296325"/>
                  <a:pt x="2328647" y="297708"/>
                </a:cubicBezTo>
                <a:cubicBezTo>
                  <a:pt x="2328647" y="298963"/>
                  <a:pt x="2327642" y="300095"/>
                  <a:pt x="2326260" y="300095"/>
                </a:cubicBezTo>
                <a:cubicBezTo>
                  <a:pt x="2324878" y="300220"/>
                  <a:pt x="2323748" y="299090"/>
                  <a:pt x="2323748" y="297708"/>
                </a:cubicBezTo>
                <a:cubicBezTo>
                  <a:pt x="2323748" y="296325"/>
                  <a:pt x="2324878" y="295195"/>
                  <a:pt x="2326260" y="295320"/>
                </a:cubicBezTo>
                <a:close/>
                <a:moveTo>
                  <a:pt x="1854579" y="293687"/>
                </a:moveTo>
                <a:cubicBezTo>
                  <a:pt x="1858096" y="293687"/>
                  <a:pt x="1860859" y="296451"/>
                  <a:pt x="1860859" y="299842"/>
                </a:cubicBezTo>
                <a:cubicBezTo>
                  <a:pt x="1860859" y="303234"/>
                  <a:pt x="1858096" y="305998"/>
                  <a:pt x="1854704" y="305998"/>
                </a:cubicBezTo>
                <a:cubicBezTo>
                  <a:pt x="1851314" y="305998"/>
                  <a:pt x="1848549" y="303234"/>
                  <a:pt x="1848549" y="299842"/>
                </a:cubicBezTo>
                <a:cubicBezTo>
                  <a:pt x="1848549" y="296451"/>
                  <a:pt x="1851314" y="293687"/>
                  <a:pt x="1854579" y="293687"/>
                </a:cubicBezTo>
                <a:close/>
                <a:moveTo>
                  <a:pt x="1179900" y="287658"/>
                </a:moveTo>
                <a:cubicBezTo>
                  <a:pt x="1187940" y="287658"/>
                  <a:pt x="1194597" y="294190"/>
                  <a:pt x="1194597" y="302229"/>
                </a:cubicBezTo>
                <a:cubicBezTo>
                  <a:pt x="1194597" y="310394"/>
                  <a:pt x="1188065" y="316926"/>
                  <a:pt x="1180025" y="316926"/>
                </a:cubicBezTo>
                <a:cubicBezTo>
                  <a:pt x="1171986" y="316926"/>
                  <a:pt x="1165329" y="310394"/>
                  <a:pt x="1165329" y="302355"/>
                </a:cubicBezTo>
                <a:cubicBezTo>
                  <a:pt x="1165329" y="294315"/>
                  <a:pt x="1171861" y="287783"/>
                  <a:pt x="1179900" y="287658"/>
                </a:cubicBezTo>
                <a:close/>
                <a:moveTo>
                  <a:pt x="1771546" y="279116"/>
                </a:moveTo>
                <a:cubicBezTo>
                  <a:pt x="1772676" y="279116"/>
                  <a:pt x="1773555" y="279996"/>
                  <a:pt x="1773555" y="281126"/>
                </a:cubicBezTo>
                <a:cubicBezTo>
                  <a:pt x="1773555" y="282256"/>
                  <a:pt x="1772676" y="283136"/>
                  <a:pt x="1771546" y="283136"/>
                </a:cubicBezTo>
                <a:cubicBezTo>
                  <a:pt x="1770416" y="283136"/>
                  <a:pt x="1769536" y="282256"/>
                  <a:pt x="1769536" y="281126"/>
                </a:cubicBezTo>
                <a:cubicBezTo>
                  <a:pt x="1769536" y="280121"/>
                  <a:pt x="1770416" y="279241"/>
                  <a:pt x="1771546" y="279116"/>
                </a:cubicBezTo>
                <a:close/>
                <a:moveTo>
                  <a:pt x="1262933" y="270197"/>
                </a:moveTo>
                <a:cubicBezTo>
                  <a:pt x="1270093" y="270197"/>
                  <a:pt x="1275870" y="275975"/>
                  <a:pt x="1275870" y="283010"/>
                </a:cubicBezTo>
                <a:cubicBezTo>
                  <a:pt x="1275870" y="290170"/>
                  <a:pt x="1270093" y="295948"/>
                  <a:pt x="1263058" y="295948"/>
                </a:cubicBezTo>
                <a:cubicBezTo>
                  <a:pt x="1255898" y="295948"/>
                  <a:pt x="1250119" y="290170"/>
                  <a:pt x="1250119" y="283136"/>
                </a:cubicBezTo>
                <a:cubicBezTo>
                  <a:pt x="1250119" y="275975"/>
                  <a:pt x="1255898" y="270197"/>
                  <a:pt x="1262933" y="270197"/>
                </a:cubicBezTo>
                <a:close/>
                <a:moveTo>
                  <a:pt x="976780" y="268061"/>
                </a:moveTo>
                <a:cubicBezTo>
                  <a:pt x="978413" y="268061"/>
                  <a:pt x="979669" y="269318"/>
                  <a:pt x="979669" y="270951"/>
                </a:cubicBezTo>
                <a:cubicBezTo>
                  <a:pt x="979669" y="272583"/>
                  <a:pt x="978413" y="273839"/>
                  <a:pt x="976780" y="273839"/>
                </a:cubicBezTo>
                <a:cubicBezTo>
                  <a:pt x="975146" y="273839"/>
                  <a:pt x="973891" y="272583"/>
                  <a:pt x="973891" y="270951"/>
                </a:cubicBezTo>
                <a:cubicBezTo>
                  <a:pt x="973891" y="269443"/>
                  <a:pt x="975146" y="268061"/>
                  <a:pt x="976780" y="268061"/>
                </a:cubicBezTo>
                <a:close/>
                <a:moveTo>
                  <a:pt x="2057698" y="266178"/>
                </a:moveTo>
                <a:cubicBezTo>
                  <a:pt x="2058201" y="266178"/>
                  <a:pt x="2058577" y="266555"/>
                  <a:pt x="2058577" y="267058"/>
                </a:cubicBezTo>
                <a:cubicBezTo>
                  <a:pt x="2058577" y="267561"/>
                  <a:pt x="2058201" y="267937"/>
                  <a:pt x="2057698" y="267937"/>
                </a:cubicBezTo>
                <a:cubicBezTo>
                  <a:pt x="2057196" y="267937"/>
                  <a:pt x="2056818" y="267561"/>
                  <a:pt x="2056818" y="267058"/>
                </a:cubicBezTo>
                <a:cubicBezTo>
                  <a:pt x="2056818" y="266555"/>
                  <a:pt x="2057196" y="266178"/>
                  <a:pt x="2057698" y="266178"/>
                </a:cubicBezTo>
                <a:close/>
                <a:moveTo>
                  <a:pt x="1687133" y="265549"/>
                </a:moveTo>
                <a:cubicBezTo>
                  <a:pt x="1688515" y="265549"/>
                  <a:pt x="1689645" y="266554"/>
                  <a:pt x="1689645" y="267936"/>
                </a:cubicBezTo>
                <a:cubicBezTo>
                  <a:pt x="1689645" y="269193"/>
                  <a:pt x="1688640" y="270323"/>
                  <a:pt x="1687259" y="270323"/>
                </a:cubicBezTo>
                <a:cubicBezTo>
                  <a:pt x="1686003" y="270323"/>
                  <a:pt x="1684872" y="269318"/>
                  <a:pt x="1684872" y="267936"/>
                </a:cubicBezTo>
                <a:cubicBezTo>
                  <a:pt x="1684872" y="266554"/>
                  <a:pt x="1686003" y="265424"/>
                  <a:pt x="1687133" y="265549"/>
                </a:cubicBezTo>
                <a:close/>
                <a:moveTo>
                  <a:pt x="595659" y="263414"/>
                </a:moveTo>
                <a:cubicBezTo>
                  <a:pt x="596288" y="263414"/>
                  <a:pt x="596790" y="263916"/>
                  <a:pt x="596790" y="264544"/>
                </a:cubicBezTo>
                <a:cubicBezTo>
                  <a:pt x="596790" y="265173"/>
                  <a:pt x="596288" y="265675"/>
                  <a:pt x="595659" y="265675"/>
                </a:cubicBezTo>
                <a:cubicBezTo>
                  <a:pt x="595032" y="265675"/>
                  <a:pt x="594530" y="265173"/>
                  <a:pt x="594530" y="264544"/>
                </a:cubicBezTo>
                <a:cubicBezTo>
                  <a:pt x="594404" y="264042"/>
                  <a:pt x="595032" y="263414"/>
                  <a:pt x="595659" y="263414"/>
                </a:cubicBezTo>
                <a:close/>
                <a:moveTo>
                  <a:pt x="781825" y="258767"/>
                </a:moveTo>
                <a:cubicBezTo>
                  <a:pt x="782452" y="258767"/>
                  <a:pt x="782956" y="259269"/>
                  <a:pt x="782956" y="259897"/>
                </a:cubicBezTo>
                <a:cubicBezTo>
                  <a:pt x="782956" y="260525"/>
                  <a:pt x="782452" y="261028"/>
                  <a:pt x="781825" y="261028"/>
                </a:cubicBezTo>
                <a:cubicBezTo>
                  <a:pt x="781197" y="261028"/>
                  <a:pt x="780695" y="260525"/>
                  <a:pt x="780695" y="259897"/>
                </a:cubicBezTo>
                <a:cubicBezTo>
                  <a:pt x="780695" y="259269"/>
                  <a:pt x="781197" y="258767"/>
                  <a:pt x="781825" y="258767"/>
                </a:cubicBezTo>
                <a:close/>
                <a:moveTo>
                  <a:pt x="1347093" y="256884"/>
                </a:moveTo>
                <a:cubicBezTo>
                  <a:pt x="1353877" y="256757"/>
                  <a:pt x="1359530" y="262411"/>
                  <a:pt x="1359530" y="269193"/>
                </a:cubicBezTo>
                <a:cubicBezTo>
                  <a:pt x="1359530" y="275977"/>
                  <a:pt x="1354003" y="281629"/>
                  <a:pt x="1347219" y="281629"/>
                </a:cubicBezTo>
                <a:cubicBezTo>
                  <a:pt x="1340436" y="281629"/>
                  <a:pt x="1334784" y="276102"/>
                  <a:pt x="1334784" y="269193"/>
                </a:cubicBezTo>
                <a:cubicBezTo>
                  <a:pt x="1334657" y="262284"/>
                  <a:pt x="1340184" y="256757"/>
                  <a:pt x="1347093" y="256884"/>
                </a:cubicBezTo>
                <a:close/>
                <a:moveTo>
                  <a:pt x="1602469" y="256253"/>
                </a:moveTo>
                <a:cubicBezTo>
                  <a:pt x="1604605" y="256253"/>
                  <a:pt x="1606237" y="258012"/>
                  <a:pt x="1606237" y="260022"/>
                </a:cubicBezTo>
                <a:cubicBezTo>
                  <a:pt x="1606237" y="262157"/>
                  <a:pt x="1604479" y="263790"/>
                  <a:pt x="1602469" y="263790"/>
                </a:cubicBezTo>
                <a:cubicBezTo>
                  <a:pt x="1600460" y="263790"/>
                  <a:pt x="1598700" y="262157"/>
                  <a:pt x="1598700" y="260022"/>
                </a:cubicBezTo>
                <a:cubicBezTo>
                  <a:pt x="1598700" y="257886"/>
                  <a:pt x="1600333" y="256253"/>
                  <a:pt x="1602469" y="256253"/>
                </a:cubicBezTo>
                <a:close/>
                <a:moveTo>
                  <a:pt x="1517176" y="250978"/>
                </a:moveTo>
                <a:cubicBezTo>
                  <a:pt x="1520818" y="250978"/>
                  <a:pt x="1523833" y="253993"/>
                  <a:pt x="1523833" y="257635"/>
                </a:cubicBezTo>
                <a:cubicBezTo>
                  <a:pt x="1523833" y="261278"/>
                  <a:pt x="1520818" y="264294"/>
                  <a:pt x="1517176" y="264294"/>
                </a:cubicBezTo>
                <a:cubicBezTo>
                  <a:pt x="1513533" y="264294"/>
                  <a:pt x="1510518" y="261278"/>
                  <a:pt x="1510518" y="257635"/>
                </a:cubicBezTo>
                <a:cubicBezTo>
                  <a:pt x="1510518" y="253867"/>
                  <a:pt x="1513533" y="250978"/>
                  <a:pt x="1517176" y="250978"/>
                </a:cubicBezTo>
                <a:close/>
                <a:moveTo>
                  <a:pt x="1431883" y="250351"/>
                </a:moveTo>
                <a:cubicBezTo>
                  <a:pt x="1437662" y="250225"/>
                  <a:pt x="1442310" y="254872"/>
                  <a:pt x="1442310" y="260650"/>
                </a:cubicBezTo>
                <a:cubicBezTo>
                  <a:pt x="1442436" y="266429"/>
                  <a:pt x="1437787" y="271076"/>
                  <a:pt x="1432010" y="271076"/>
                </a:cubicBezTo>
                <a:cubicBezTo>
                  <a:pt x="1426231" y="271076"/>
                  <a:pt x="1421583" y="266429"/>
                  <a:pt x="1421583" y="260650"/>
                </a:cubicBezTo>
                <a:cubicBezTo>
                  <a:pt x="1421583" y="254872"/>
                  <a:pt x="1426231" y="250225"/>
                  <a:pt x="1431883" y="250351"/>
                </a:cubicBezTo>
                <a:close/>
                <a:moveTo>
                  <a:pt x="1977807" y="236532"/>
                </a:moveTo>
                <a:cubicBezTo>
                  <a:pt x="1978310" y="236532"/>
                  <a:pt x="1978686" y="236909"/>
                  <a:pt x="1978686" y="237412"/>
                </a:cubicBezTo>
                <a:cubicBezTo>
                  <a:pt x="1978686" y="237915"/>
                  <a:pt x="1978310" y="238291"/>
                  <a:pt x="1977807" y="238291"/>
                </a:cubicBezTo>
                <a:cubicBezTo>
                  <a:pt x="1977305" y="238291"/>
                  <a:pt x="1976927" y="237915"/>
                  <a:pt x="1976927" y="237412"/>
                </a:cubicBezTo>
                <a:cubicBezTo>
                  <a:pt x="1976927" y="236909"/>
                  <a:pt x="1977305" y="236532"/>
                  <a:pt x="1977807" y="236532"/>
                </a:cubicBezTo>
                <a:close/>
                <a:moveTo>
                  <a:pt x="1056420" y="234398"/>
                </a:moveTo>
                <a:cubicBezTo>
                  <a:pt x="1059938" y="234398"/>
                  <a:pt x="1062827" y="237287"/>
                  <a:pt x="1062827" y="240804"/>
                </a:cubicBezTo>
                <a:cubicBezTo>
                  <a:pt x="1062827" y="244321"/>
                  <a:pt x="1059938" y="247209"/>
                  <a:pt x="1056420" y="247209"/>
                </a:cubicBezTo>
                <a:cubicBezTo>
                  <a:pt x="1052903" y="247209"/>
                  <a:pt x="1050014" y="244321"/>
                  <a:pt x="1050014" y="240804"/>
                </a:cubicBezTo>
                <a:cubicBezTo>
                  <a:pt x="1050014" y="237160"/>
                  <a:pt x="1052903" y="234273"/>
                  <a:pt x="1056420" y="234398"/>
                </a:cubicBezTo>
                <a:close/>
                <a:moveTo>
                  <a:pt x="857446" y="219073"/>
                </a:moveTo>
                <a:cubicBezTo>
                  <a:pt x="858199" y="219073"/>
                  <a:pt x="858827" y="219701"/>
                  <a:pt x="858827" y="220455"/>
                </a:cubicBezTo>
                <a:cubicBezTo>
                  <a:pt x="858954" y="221208"/>
                  <a:pt x="858324" y="221836"/>
                  <a:pt x="857571" y="221836"/>
                </a:cubicBezTo>
                <a:cubicBezTo>
                  <a:pt x="856817" y="221836"/>
                  <a:pt x="856189" y="221208"/>
                  <a:pt x="856189" y="220455"/>
                </a:cubicBezTo>
                <a:cubicBezTo>
                  <a:pt x="856063" y="219826"/>
                  <a:pt x="856691" y="219198"/>
                  <a:pt x="857446" y="219073"/>
                </a:cubicBezTo>
                <a:close/>
                <a:moveTo>
                  <a:pt x="1896282" y="211284"/>
                </a:moveTo>
                <a:cubicBezTo>
                  <a:pt x="1897035" y="211284"/>
                  <a:pt x="1897665" y="211786"/>
                  <a:pt x="1897665" y="212540"/>
                </a:cubicBezTo>
                <a:cubicBezTo>
                  <a:pt x="1897665" y="213293"/>
                  <a:pt x="1897035" y="213921"/>
                  <a:pt x="1896282" y="213921"/>
                </a:cubicBezTo>
                <a:cubicBezTo>
                  <a:pt x="1895528" y="213921"/>
                  <a:pt x="1894900" y="213293"/>
                  <a:pt x="1894900" y="212540"/>
                </a:cubicBezTo>
                <a:cubicBezTo>
                  <a:pt x="1894900" y="211786"/>
                  <a:pt x="1895403" y="211158"/>
                  <a:pt x="1896282" y="211284"/>
                </a:cubicBezTo>
                <a:close/>
                <a:moveTo>
                  <a:pt x="1137822" y="204375"/>
                </a:moveTo>
                <a:cubicBezTo>
                  <a:pt x="1143725" y="204375"/>
                  <a:pt x="1148625" y="209148"/>
                  <a:pt x="1148625" y="215177"/>
                </a:cubicBezTo>
                <a:cubicBezTo>
                  <a:pt x="1148625" y="221208"/>
                  <a:pt x="1143850" y="226106"/>
                  <a:pt x="1137822" y="226106"/>
                </a:cubicBezTo>
                <a:cubicBezTo>
                  <a:pt x="1131917" y="226106"/>
                  <a:pt x="1127018" y="221333"/>
                  <a:pt x="1127018" y="215304"/>
                </a:cubicBezTo>
                <a:cubicBezTo>
                  <a:pt x="1127018" y="209399"/>
                  <a:pt x="1131791" y="204500"/>
                  <a:pt x="1137822" y="204375"/>
                </a:cubicBezTo>
                <a:close/>
                <a:moveTo>
                  <a:pt x="1813251" y="190684"/>
                </a:moveTo>
                <a:cubicBezTo>
                  <a:pt x="1814381" y="190684"/>
                  <a:pt x="1815261" y="191564"/>
                  <a:pt x="1815261" y="192694"/>
                </a:cubicBezTo>
                <a:cubicBezTo>
                  <a:pt x="1815261" y="193824"/>
                  <a:pt x="1814381" y="194704"/>
                  <a:pt x="1813251" y="194704"/>
                </a:cubicBezTo>
                <a:cubicBezTo>
                  <a:pt x="1812121" y="194704"/>
                  <a:pt x="1811241" y="193824"/>
                  <a:pt x="1811241" y="192694"/>
                </a:cubicBezTo>
                <a:cubicBezTo>
                  <a:pt x="1811241" y="191564"/>
                  <a:pt x="1812246" y="190684"/>
                  <a:pt x="1813251" y="190684"/>
                </a:cubicBezTo>
                <a:close/>
                <a:moveTo>
                  <a:pt x="935201" y="183900"/>
                </a:moveTo>
                <a:cubicBezTo>
                  <a:pt x="935829" y="183900"/>
                  <a:pt x="936456" y="184528"/>
                  <a:pt x="936456" y="185282"/>
                </a:cubicBezTo>
                <a:cubicBezTo>
                  <a:pt x="936582" y="186035"/>
                  <a:pt x="935954" y="186663"/>
                  <a:pt x="935201" y="186663"/>
                </a:cubicBezTo>
                <a:cubicBezTo>
                  <a:pt x="934447" y="186663"/>
                  <a:pt x="933820" y="186161"/>
                  <a:pt x="933820" y="185408"/>
                </a:cubicBezTo>
                <a:cubicBezTo>
                  <a:pt x="933820" y="184653"/>
                  <a:pt x="934447" y="184025"/>
                  <a:pt x="935201" y="183900"/>
                </a:cubicBezTo>
                <a:close/>
                <a:moveTo>
                  <a:pt x="1220598" y="181889"/>
                </a:moveTo>
                <a:cubicBezTo>
                  <a:pt x="1227760" y="181889"/>
                  <a:pt x="1233537" y="187542"/>
                  <a:pt x="1233537" y="194702"/>
                </a:cubicBezTo>
                <a:cubicBezTo>
                  <a:pt x="1233537" y="201862"/>
                  <a:pt x="1227760" y="207640"/>
                  <a:pt x="1220725" y="207640"/>
                </a:cubicBezTo>
                <a:cubicBezTo>
                  <a:pt x="1213564" y="207640"/>
                  <a:pt x="1207786" y="201862"/>
                  <a:pt x="1207786" y="194828"/>
                </a:cubicBezTo>
                <a:cubicBezTo>
                  <a:pt x="1207786" y="187794"/>
                  <a:pt x="1213564" y="182015"/>
                  <a:pt x="1220598" y="181889"/>
                </a:cubicBezTo>
                <a:close/>
                <a:moveTo>
                  <a:pt x="1729341" y="176865"/>
                </a:moveTo>
                <a:cubicBezTo>
                  <a:pt x="1729844" y="176865"/>
                  <a:pt x="1730220" y="177242"/>
                  <a:pt x="1730220" y="177745"/>
                </a:cubicBezTo>
                <a:cubicBezTo>
                  <a:pt x="1730220" y="178248"/>
                  <a:pt x="1729844" y="178625"/>
                  <a:pt x="1729341" y="178625"/>
                </a:cubicBezTo>
                <a:cubicBezTo>
                  <a:pt x="1728839" y="178625"/>
                  <a:pt x="1728461" y="178248"/>
                  <a:pt x="1728461" y="177745"/>
                </a:cubicBezTo>
                <a:cubicBezTo>
                  <a:pt x="1728461" y="177242"/>
                  <a:pt x="1728839" y="176865"/>
                  <a:pt x="1729341" y="176865"/>
                </a:cubicBezTo>
                <a:close/>
                <a:moveTo>
                  <a:pt x="1304509" y="169956"/>
                </a:moveTo>
                <a:cubicBezTo>
                  <a:pt x="1309661" y="169956"/>
                  <a:pt x="1313806" y="174101"/>
                  <a:pt x="1313806" y="179253"/>
                </a:cubicBezTo>
                <a:cubicBezTo>
                  <a:pt x="1313806" y="184402"/>
                  <a:pt x="1309661" y="188547"/>
                  <a:pt x="1304509" y="188547"/>
                </a:cubicBezTo>
                <a:cubicBezTo>
                  <a:pt x="1299359" y="188547"/>
                  <a:pt x="1295214" y="184402"/>
                  <a:pt x="1295214" y="179253"/>
                </a:cubicBezTo>
                <a:cubicBezTo>
                  <a:pt x="1295214" y="174101"/>
                  <a:pt x="1299359" y="169956"/>
                  <a:pt x="1304509" y="169956"/>
                </a:cubicBezTo>
                <a:close/>
                <a:moveTo>
                  <a:pt x="1644550" y="165435"/>
                </a:moveTo>
                <a:cubicBezTo>
                  <a:pt x="1645806" y="165435"/>
                  <a:pt x="1646938" y="166440"/>
                  <a:pt x="1646938" y="167822"/>
                </a:cubicBezTo>
                <a:cubicBezTo>
                  <a:pt x="1646938" y="169078"/>
                  <a:pt x="1645933" y="170209"/>
                  <a:pt x="1644550" y="170209"/>
                </a:cubicBezTo>
                <a:cubicBezTo>
                  <a:pt x="1643294" y="170209"/>
                  <a:pt x="1642163" y="169204"/>
                  <a:pt x="1642163" y="167822"/>
                </a:cubicBezTo>
                <a:cubicBezTo>
                  <a:pt x="1642163" y="166440"/>
                  <a:pt x="1643294" y="165435"/>
                  <a:pt x="1644550" y="165435"/>
                </a:cubicBezTo>
                <a:close/>
                <a:moveTo>
                  <a:pt x="1389050" y="160788"/>
                </a:moveTo>
                <a:cubicBezTo>
                  <a:pt x="1393447" y="160788"/>
                  <a:pt x="1397090" y="164306"/>
                  <a:pt x="1397090" y="168703"/>
                </a:cubicBezTo>
                <a:cubicBezTo>
                  <a:pt x="1397090" y="173098"/>
                  <a:pt x="1393572" y="176743"/>
                  <a:pt x="1389175" y="176743"/>
                </a:cubicBezTo>
                <a:cubicBezTo>
                  <a:pt x="1384778" y="176743"/>
                  <a:pt x="1381135" y="173225"/>
                  <a:pt x="1381135" y="168828"/>
                </a:cubicBezTo>
                <a:cubicBezTo>
                  <a:pt x="1381135" y="164431"/>
                  <a:pt x="1384653" y="160788"/>
                  <a:pt x="1389050" y="160788"/>
                </a:cubicBezTo>
                <a:close/>
                <a:moveTo>
                  <a:pt x="1559509" y="158275"/>
                </a:moveTo>
                <a:cubicBezTo>
                  <a:pt x="1562272" y="158150"/>
                  <a:pt x="1564407" y="160410"/>
                  <a:pt x="1564407" y="163048"/>
                </a:cubicBezTo>
                <a:cubicBezTo>
                  <a:pt x="1564407" y="165812"/>
                  <a:pt x="1562272" y="167947"/>
                  <a:pt x="1559509" y="167947"/>
                </a:cubicBezTo>
                <a:cubicBezTo>
                  <a:pt x="1556745" y="167947"/>
                  <a:pt x="1554610" y="165687"/>
                  <a:pt x="1554610" y="163048"/>
                </a:cubicBezTo>
                <a:cubicBezTo>
                  <a:pt x="1554610" y="160410"/>
                  <a:pt x="1556745" y="158150"/>
                  <a:pt x="1559509" y="158275"/>
                </a:cubicBezTo>
                <a:close/>
                <a:moveTo>
                  <a:pt x="1474215" y="155385"/>
                </a:moveTo>
                <a:cubicBezTo>
                  <a:pt x="1478612" y="155385"/>
                  <a:pt x="1482254" y="158902"/>
                  <a:pt x="1482254" y="163300"/>
                </a:cubicBezTo>
                <a:cubicBezTo>
                  <a:pt x="1482254" y="167697"/>
                  <a:pt x="1478737" y="171339"/>
                  <a:pt x="1474340" y="171339"/>
                </a:cubicBezTo>
                <a:cubicBezTo>
                  <a:pt x="1469945" y="171339"/>
                  <a:pt x="1466301" y="167822"/>
                  <a:pt x="1466301" y="163425"/>
                </a:cubicBezTo>
                <a:cubicBezTo>
                  <a:pt x="1466176" y="159028"/>
                  <a:pt x="1469818" y="155385"/>
                  <a:pt x="1474215" y="155385"/>
                </a:cubicBezTo>
                <a:close/>
                <a:moveTo>
                  <a:pt x="1014716" y="151115"/>
                </a:moveTo>
                <a:cubicBezTo>
                  <a:pt x="1016600" y="151115"/>
                  <a:pt x="1018233" y="152622"/>
                  <a:pt x="1018233" y="154632"/>
                </a:cubicBezTo>
                <a:cubicBezTo>
                  <a:pt x="1018233" y="156517"/>
                  <a:pt x="1016600" y="158149"/>
                  <a:pt x="1014716" y="158149"/>
                </a:cubicBezTo>
                <a:cubicBezTo>
                  <a:pt x="1012831" y="158149"/>
                  <a:pt x="1011199" y="156642"/>
                  <a:pt x="1011199" y="154632"/>
                </a:cubicBezTo>
                <a:cubicBezTo>
                  <a:pt x="1011199" y="152748"/>
                  <a:pt x="1012706" y="151115"/>
                  <a:pt x="1014716" y="151115"/>
                </a:cubicBezTo>
                <a:close/>
                <a:moveTo>
                  <a:pt x="1095862" y="124986"/>
                </a:moveTo>
                <a:cubicBezTo>
                  <a:pt x="1097746" y="124986"/>
                  <a:pt x="1099379" y="126494"/>
                  <a:pt x="1099379" y="128503"/>
                </a:cubicBezTo>
                <a:cubicBezTo>
                  <a:pt x="1099379" y="130387"/>
                  <a:pt x="1097746" y="132020"/>
                  <a:pt x="1095862" y="132020"/>
                </a:cubicBezTo>
                <a:cubicBezTo>
                  <a:pt x="1093977" y="132020"/>
                  <a:pt x="1092345" y="130513"/>
                  <a:pt x="1092345" y="128503"/>
                </a:cubicBezTo>
                <a:cubicBezTo>
                  <a:pt x="1092345" y="126494"/>
                  <a:pt x="1093852" y="124986"/>
                  <a:pt x="1095862" y="124986"/>
                </a:cubicBezTo>
                <a:close/>
                <a:moveTo>
                  <a:pt x="1854956" y="103507"/>
                </a:moveTo>
                <a:cubicBezTo>
                  <a:pt x="1855442" y="103507"/>
                  <a:pt x="1855837" y="103902"/>
                  <a:pt x="1855837" y="104387"/>
                </a:cubicBezTo>
                <a:cubicBezTo>
                  <a:pt x="1855837" y="104873"/>
                  <a:pt x="1855442" y="105268"/>
                  <a:pt x="1854956" y="105268"/>
                </a:cubicBezTo>
                <a:cubicBezTo>
                  <a:pt x="1854469" y="105268"/>
                  <a:pt x="1854076" y="104873"/>
                  <a:pt x="1854076" y="104387"/>
                </a:cubicBezTo>
                <a:cubicBezTo>
                  <a:pt x="1854076" y="103902"/>
                  <a:pt x="1854469" y="103507"/>
                  <a:pt x="1854956" y="103507"/>
                </a:cubicBezTo>
                <a:close/>
                <a:moveTo>
                  <a:pt x="1178391" y="100240"/>
                </a:moveTo>
                <a:cubicBezTo>
                  <a:pt x="1182034" y="100240"/>
                  <a:pt x="1185049" y="103255"/>
                  <a:pt x="1185049" y="106898"/>
                </a:cubicBezTo>
                <a:cubicBezTo>
                  <a:pt x="1185049" y="110542"/>
                  <a:pt x="1182034" y="113555"/>
                  <a:pt x="1178391" y="113555"/>
                </a:cubicBezTo>
                <a:cubicBezTo>
                  <a:pt x="1174749" y="113555"/>
                  <a:pt x="1171734" y="110542"/>
                  <a:pt x="1171734" y="106898"/>
                </a:cubicBezTo>
                <a:cubicBezTo>
                  <a:pt x="1171734" y="103255"/>
                  <a:pt x="1174623" y="100240"/>
                  <a:pt x="1178391" y="100240"/>
                </a:cubicBezTo>
                <a:close/>
                <a:moveTo>
                  <a:pt x="893493" y="99110"/>
                </a:moveTo>
                <a:cubicBezTo>
                  <a:pt x="893870" y="99110"/>
                  <a:pt x="894121" y="99360"/>
                  <a:pt x="894121" y="99738"/>
                </a:cubicBezTo>
                <a:cubicBezTo>
                  <a:pt x="894121" y="100114"/>
                  <a:pt x="893870" y="100365"/>
                  <a:pt x="893493" y="100365"/>
                </a:cubicBezTo>
                <a:cubicBezTo>
                  <a:pt x="893116" y="100365"/>
                  <a:pt x="892866" y="100114"/>
                  <a:pt x="892866" y="99738"/>
                </a:cubicBezTo>
                <a:cubicBezTo>
                  <a:pt x="892866" y="99487"/>
                  <a:pt x="893243" y="99110"/>
                  <a:pt x="893493" y="99110"/>
                </a:cubicBezTo>
                <a:close/>
                <a:moveTo>
                  <a:pt x="1771168" y="87552"/>
                </a:moveTo>
                <a:cubicBezTo>
                  <a:pt x="1771545" y="87552"/>
                  <a:pt x="1771797" y="87804"/>
                  <a:pt x="1771797" y="88181"/>
                </a:cubicBezTo>
                <a:cubicBezTo>
                  <a:pt x="1771797" y="88557"/>
                  <a:pt x="1771545" y="88809"/>
                  <a:pt x="1771168" y="88809"/>
                </a:cubicBezTo>
                <a:cubicBezTo>
                  <a:pt x="1770792" y="88809"/>
                  <a:pt x="1770540" y="88557"/>
                  <a:pt x="1770540" y="88181"/>
                </a:cubicBezTo>
                <a:cubicBezTo>
                  <a:pt x="1770540" y="87679"/>
                  <a:pt x="1770792" y="87426"/>
                  <a:pt x="1771168" y="87552"/>
                </a:cubicBezTo>
                <a:close/>
                <a:moveTo>
                  <a:pt x="1261926" y="86799"/>
                </a:moveTo>
                <a:cubicBezTo>
                  <a:pt x="1263685" y="86799"/>
                  <a:pt x="1265068" y="88181"/>
                  <a:pt x="1265068" y="89939"/>
                </a:cubicBezTo>
                <a:cubicBezTo>
                  <a:pt x="1265068" y="91699"/>
                  <a:pt x="1263685" y="93080"/>
                  <a:pt x="1261926" y="93080"/>
                </a:cubicBezTo>
                <a:cubicBezTo>
                  <a:pt x="1260168" y="93080"/>
                  <a:pt x="1258786" y="91699"/>
                  <a:pt x="1258786" y="89939"/>
                </a:cubicBezTo>
                <a:cubicBezTo>
                  <a:pt x="1258786" y="88306"/>
                  <a:pt x="1260168" y="86799"/>
                  <a:pt x="1261926" y="86799"/>
                </a:cubicBezTo>
                <a:close/>
                <a:moveTo>
                  <a:pt x="1686755" y="75870"/>
                </a:moveTo>
                <a:cubicBezTo>
                  <a:pt x="1687132" y="75870"/>
                  <a:pt x="1687384" y="76121"/>
                  <a:pt x="1687384" y="76498"/>
                </a:cubicBezTo>
                <a:cubicBezTo>
                  <a:pt x="1687384" y="76874"/>
                  <a:pt x="1687132" y="77125"/>
                  <a:pt x="1686755" y="77125"/>
                </a:cubicBezTo>
                <a:cubicBezTo>
                  <a:pt x="1686379" y="77125"/>
                  <a:pt x="1686127" y="76874"/>
                  <a:pt x="1686127" y="76498"/>
                </a:cubicBezTo>
                <a:cubicBezTo>
                  <a:pt x="1686127" y="76121"/>
                  <a:pt x="1686379" y="75870"/>
                  <a:pt x="1686755" y="75870"/>
                </a:cubicBezTo>
                <a:close/>
                <a:moveTo>
                  <a:pt x="1346339" y="73987"/>
                </a:moveTo>
                <a:cubicBezTo>
                  <a:pt x="1348475" y="73987"/>
                  <a:pt x="1350107" y="75746"/>
                  <a:pt x="1350107" y="77756"/>
                </a:cubicBezTo>
                <a:cubicBezTo>
                  <a:pt x="1350107" y="79892"/>
                  <a:pt x="1348348" y="81524"/>
                  <a:pt x="1346339" y="81524"/>
                </a:cubicBezTo>
                <a:cubicBezTo>
                  <a:pt x="1344328" y="81524"/>
                  <a:pt x="1342570" y="79766"/>
                  <a:pt x="1342570" y="77756"/>
                </a:cubicBezTo>
                <a:cubicBezTo>
                  <a:pt x="1342570" y="75620"/>
                  <a:pt x="1344203" y="73987"/>
                  <a:pt x="1346339" y="73987"/>
                </a:cubicBezTo>
                <a:close/>
                <a:moveTo>
                  <a:pt x="1601840" y="68208"/>
                </a:moveTo>
                <a:cubicBezTo>
                  <a:pt x="1602593" y="68083"/>
                  <a:pt x="1603221" y="68710"/>
                  <a:pt x="1603221" y="69465"/>
                </a:cubicBezTo>
                <a:cubicBezTo>
                  <a:pt x="1603221" y="70217"/>
                  <a:pt x="1602593" y="70845"/>
                  <a:pt x="1601840" y="70845"/>
                </a:cubicBezTo>
                <a:cubicBezTo>
                  <a:pt x="1601086" y="70972"/>
                  <a:pt x="1600458" y="70343"/>
                  <a:pt x="1600458" y="69590"/>
                </a:cubicBezTo>
                <a:cubicBezTo>
                  <a:pt x="1600458" y="68962"/>
                  <a:pt x="1600961" y="68333"/>
                  <a:pt x="1601840" y="68208"/>
                </a:cubicBezTo>
                <a:close/>
                <a:moveTo>
                  <a:pt x="972881" y="67832"/>
                </a:moveTo>
                <a:cubicBezTo>
                  <a:pt x="973384" y="67832"/>
                  <a:pt x="973760" y="68209"/>
                  <a:pt x="973760" y="68712"/>
                </a:cubicBezTo>
                <a:cubicBezTo>
                  <a:pt x="973760" y="69215"/>
                  <a:pt x="973384" y="69591"/>
                  <a:pt x="972881" y="69591"/>
                </a:cubicBezTo>
                <a:cubicBezTo>
                  <a:pt x="972378" y="69591"/>
                  <a:pt x="972001" y="69215"/>
                  <a:pt x="972001" y="68712"/>
                </a:cubicBezTo>
                <a:cubicBezTo>
                  <a:pt x="972126" y="68209"/>
                  <a:pt x="972504" y="67832"/>
                  <a:pt x="972881" y="67832"/>
                </a:cubicBezTo>
                <a:close/>
                <a:moveTo>
                  <a:pt x="1431254" y="66701"/>
                </a:moveTo>
                <a:cubicBezTo>
                  <a:pt x="1433139" y="66701"/>
                  <a:pt x="1434772" y="68208"/>
                  <a:pt x="1434772" y="70218"/>
                </a:cubicBezTo>
                <a:cubicBezTo>
                  <a:pt x="1434772" y="72103"/>
                  <a:pt x="1433264" y="73735"/>
                  <a:pt x="1431254" y="73735"/>
                </a:cubicBezTo>
                <a:cubicBezTo>
                  <a:pt x="1429370" y="73735"/>
                  <a:pt x="1427737" y="72228"/>
                  <a:pt x="1427737" y="70218"/>
                </a:cubicBezTo>
                <a:cubicBezTo>
                  <a:pt x="1427737" y="68334"/>
                  <a:pt x="1429370" y="66701"/>
                  <a:pt x="1431254" y="66701"/>
                </a:cubicBezTo>
                <a:close/>
                <a:moveTo>
                  <a:pt x="1516423" y="65193"/>
                </a:moveTo>
                <a:cubicBezTo>
                  <a:pt x="1517678" y="65193"/>
                  <a:pt x="1518809" y="66198"/>
                  <a:pt x="1518809" y="67580"/>
                </a:cubicBezTo>
                <a:cubicBezTo>
                  <a:pt x="1518935" y="68961"/>
                  <a:pt x="1517805" y="70093"/>
                  <a:pt x="1516423" y="70093"/>
                </a:cubicBezTo>
                <a:cubicBezTo>
                  <a:pt x="1515166" y="70093"/>
                  <a:pt x="1514036" y="68961"/>
                  <a:pt x="1514036" y="67580"/>
                </a:cubicBezTo>
                <a:cubicBezTo>
                  <a:pt x="1514036" y="66198"/>
                  <a:pt x="1515166" y="65193"/>
                  <a:pt x="1516423" y="65193"/>
                </a:cubicBezTo>
                <a:close/>
                <a:moveTo>
                  <a:pt x="1053902" y="40448"/>
                </a:moveTo>
                <a:cubicBezTo>
                  <a:pt x="1054655" y="40448"/>
                  <a:pt x="1055284" y="41076"/>
                  <a:pt x="1055284" y="41830"/>
                </a:cubicBezTo>
                <a:cubicBezTo>
                  <a:pt x="1055284" y="42583"/>
                  <a:pt x="1054655" y="43212"/>
                  <a:pt x="1053902" y="43212"/>
                </a:cubicBezTo>
                <a:cubicBezTo>
                  <a:pt x="1053148" y="43212"/>
                  <a:pt x="1052520" y="42583"/>
                  <a:pt x="1052520" y="41830"/>
                </a:cubicBezTo>
                <a:cubicBezTo>
                  <a:pt x="1052520" y="41076"/>
                  <a:pt x="1053148" y="40573"/>
                  <a:pt x="1053902" y="40448"/>
                </a:cubicBezTo>
                <a:close/>
                <a:moveTo>
                  <a:pt x="1136181" y="16957"/>
                </a:moveTo>
                <a:cubicBezTo>
                  <a:pt x="1137437" y="16957"/>
                  <a:pt x="1138442" y="17962"/>
                  <a:pt x="1138442" y="19217"/>
                </a:cubicBezTo>
                <a:cubicBezTo>
                  <a:pt x="1138442" y="20474"/>
                  <a:pt x="1137437" y="21479"/>
                  <a:pt x="1136181" y="21479"/>
                </a:cubicBezTo>
                <a:cubicBezTo>
                  <a:pt x="1134925" y="21479"/>
                  <a:pt x="1133920" y="20599"/>
                  <a:pt x="1133920" y="19344"/>
                </a:cubicBezTo>
                <a:cubicBezTo>
                  <a:pt x="1133920" y="18087"/>
                  <a:pt x="1134925" y="17082"/>
                  <a:pt x="1136181" y="16957"/>
                </a:cubicBezTo>
                <a:close/>
                <a:moveTo>
                  <a:pt x="1219461" y="0"/>
                </a:moveTo>
                <a:cubicBezTo>
                  <a:pt x="1220089" y="0"/>
                  <a:pt x="1220593" y="502"/>
                  <a:pt x="1220593" y="1130"/>
                </a:cubicBezTo>
                <a:cubicBezTo>
                  <a:pt x="1220593" y="1759"/>
                  <a:pt x="1220089" y="2261"/>
                  <a:pt x="1219461" y="2261"/>
                </a:cubicBezTo>
                <a:cubicBezTo>
                  <a:pt x="1218834" y="2261"/>
                  <a:pt x="1218331" y="1759"/>
                  <a:pt x="1218331" y="1130"/>
                </a:cubicBezTo>
                <a:cubicBezTo>
                  <a:pt x="1218331" y="502"/>
                  <a:pt x="1218834" y="0"/>
                  <a:pt x="1219461" y="0"/>
                </a:cubicBez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100000">
                <a:schemeClr val="tx1"/>
              </a:gs>
            </a:gsLst>
            <a:path path="circle">
              <a:fillToRect l="50000" t="50000" r="50000" b="50000"/>
            </a:path>
            <a:tileRect/>
          </a:gra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思源黑体 CN Regular"/>
              <a:cs typeface="+mn-cs"/>
            </a:endParaRPr>
          </a:p>
        </p:txBody>
      </p:sp>
      <p:sp>
        <p:nvSpPr>
          <p:cNvPr id="48" name="Freeform 5">
            <a:extLst>
              <a:ext uri="{FF2B5EF4-FFF2-40B4-BE49-F238E27FC236}">
                <a16:creationId xmlns:a16="http://schemas.microsoft.com/office/drawing/2014/main" id="{03DD34E8-A598-298D-567F-B47306F8105A}"/>
              </a:ext>
            </a:extLst>
          </p:cNvPr>
          <p:cNvSpPr>
            <a:spLocks/>
          </p:cNvSpPr>
          <p:nvPr/>
        </p:nvSpPr>
        <p:spPr bwMode="auto">
          <a:xfrm>
            <a:off x="3102199" y="2496290"/>
            <a:ext cx="575990" cy="65832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>
                  <a:alpha val="20000"/>
                </a:srgbClr>
              </a:gs>
              <a:gs pos="100000">
                <a:srgbClr val="7A98F8"/>
              </a:gs>
            </a:gsLst>
            <a:lin ang="5400000" scaled="1"/>
            <a:tileRect/>
          </a:gradFill>
          <a:ln>
            <a:noFill/>
          </a:ln>
          <a:effectLst>
            <a:outerShdw blurRad="330200" dist="203200" dir="5400000" sx="90000" sy="90000" algn="t" rotWithShape="0">
              <a:srgbClr val="3361F5">
                <a:alpha val="65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49" name="Freeform 5">
            <a:extLst>
              <a:ext uri="{FF2B5EF4-FFF2-40B4-BE49-F238E27FC236}">
                <a16:creationId xmlns:a16="http://schemas.microsoft.com/office/drawing/2014/main" id="{6F100F93-7691-72AA-285E-7C7E8A65370C}"/>
              </a:ext>
            </a:extLst>
          </p:cNvPr>
          <p:cNvSpPr>
            <a:spLocks/>
          </p:cNvSpPr>
          <p:nvPr/>
        </p:nvSpPr>
        <p:spPr bwMode="auto">
          <a:xfrm>
            <a:off x="3140201" y="2539725"/>
            <a:ext cx="499984" cy="57145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C7BC5D12-935E-C526-0E65-EA78E440708A}"/>
              </a:ext>
            </a:extLst>
          </p:cNvPr>
          <p:cNvGrpSpPr>
            <a:grpSpLocks/>
          </p:cNvGrpSpPr>
          <p:nvPr/>
        </p:nvGrpSpPr>
        <p:grpSpPr>
          <a:xfrm>
            <a:off x="5207000" y="3149075"/>
            <a:ext cx="1982648" cy="1982648"/>
            <a:chOff x="3556907" y="2117352"/>
            <a:chExt cx="2135274" cy="2135274"/>
          </a:xfrm>
        </p:grpSpPr>
        <p:sp>
          <p:nvSpPr>
            <p:cNvPr id="75" name="椭圆 74">
              <a:extLst>
                <a:ext uri="{FF2B5EF4-FFF2-40B4-BE49-F238E27FC236}">
                  <a16:creationId xmlns:a16="http://schemas.microsoft.com/office/drawing/2014/main" id="{CF31A827-87A6-19D6-8D1E-2585E3D310D1}"/>
                </a:ext>
              </a:extLst>
            </p:cNvPr>
            <p:cNvSpPr/>
            <p:nvPr/>
          </p:nvSpPr>
          <p:spPr>
            <a:xfrm>
              <a:off x="3556907" y="2117352"/>
              <a:ext cx="2135274" cy="2135274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76" name="椭圆 75">
              <a:extLst>
                <a:ext uri="{FF2B5EF4-FFF2-40B4-BE49-F238E27FC236}">
                  <a16:creationId xmlns:a16="http://schemas.microsoft.com/office/drawing/2014/main" id="{160F5DDA-1F9D-12CE-3DAD-E2A26E50F2DB}"/>
                </a:ext>
              </a:extLst>
            </p:cNvPr>
            <p:cNvSpPr/>
            <p:nvPr/>
          </p:nvSpPr>
          <p:spPr>
            <a:xfrm>
              <a:off x="3556907" y="2117352"/>
              <a:ext cx="2135274" cy="2135274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</p:grpSp>
      <p:sp>
        <p:nvSpPr>
          <p:cNvPr id="81" name="Freeform 5">
            <a:extLst>
              <a:ext uri="{FF2B5EF4-FFF2-40B4-BE49-F238E27FC236}">
                <a16:creationId xmlns:a16="http://schemas.microsoft.com/office/drawing/2014/main" id="{9FC46608-3AEC-9C97-B229-7B2EE6A0A790}"/>
              </a:ext>
            </a:extLst>
          </p:cNvPr>
          <p:cNvSpPr>
            <a:spLocks/>
          </p:cNvSpPr>
          <p:nvPr/>
        </p:nvSpPr>
        <p:spPr bwMode="auto">
          <a:xfrm>
            <a:off x="3102199" y="3811235"/>
            <a:ext cx="575990" cy="65832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>
                  <a:alpha val="20000"/>
                </a:srgbClr>
              </a:gs>
              <a:gs pos="100000">
                <a:srgbClr val="7A98F8"/>
              </a:gs>
            </a:gsLst>
            <a:lin ang="5400000" scaled="1"/>
            <a:tileRect/>
          </a:gradFill>
          <a:ln>
            <a:noFill/>
          </a:ln>
          <a:effectLst>
            <a:outerShdw blurRad="330200" dist="203200" dir="5400000" sx="90000" sy="90000" algn="t" rotWithShape="0">
              <a:srgbClr val="3361F5">
                <a:alpha val="65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2" name="Freeform 5">
            <a:extLst>
              <a:ext uri="{FF2B5EF4-FFF2-40B4-BE49-F238E27FC236}">
                <a16:creationId xmlns:a16="http://schemas.microsoft.com/office/drawing/2014/main" id="{0D132226-25D6-D754-B81C-A7000B42182A}"/>
              </a:ext>
            </a:extLst>
          </p:cNvPr>
          <p:cNvSpPr>
            <a:spLocks/>
          </p:cNvSpPr>
          <p:nvPr/>
        </p:nvSpPr>
        <p:spPr bwMode="auto">
          <a:xfrm>
            <a:off x="3140201" y="3854670"/>
            <a:ext cx="499984" cy="57145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id="{36C345CD-19EE-0E69-C370-F86E04BA8A7D}"/>
              </a:ext>
            </a:extLst>
          </p:cNvPr>
          <p:cNvSpPr>
            <a:spLocks/>
          </p:cNvSpPr>
          <p:nvPr/>
        </p:nvSpPr>
        <p:spPr bwMode="auto">
          <a:xfrm>
            <a:off x="3102199" y="5131723"/>
            <a:ext cx="575990" cy="65832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>
                  <a:alpha val="20000"/>
                </a:srgbClr>
              </a:gs>
              <a:gs pos="100000">
                <a:srgbClr val="7A98F8"/>
              </a:gs>
            </a:gsLst>
            <a:lin ang="5400000" scaled="1"/>
            <a:tileRect/>
          </a:gradFill>
          <a:ln>
            <a:noFill/>
          </a:ln>
          <a:effectLst>
            <a:outerShdw blurRad="330200" dist="203200" dir="5400000" sx="90000" sy="90000" algn="t" rotWithShape="0">
              <a:srgbClr val="3361F5">
                <a:alpha val="65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5" name="Freeform 5">
            <a:extLst>
              <a:ext uri="{FF2B5EF4-FFF2-40B4-BE49-F238E27FC236}">
                <a16:creationId xmlns:a16="http://schemas.microsoft.com/office/drawing/2014/main" id="{9FBC6239-3862-9DAD-B730-D580A28E17A7}"/>
              </a:ext>
            </a:extLst>
          </p:cNvPr>
          <p:cNvSpPr>
            <a:spLocks/>
          </p:cNvSpPr>
          <p:nvPr/>
        </p:nvSpPr>
        <p:spPr bwMode="auto">
          <a:xfrm>
            <a:off x="3140201" y="5175158"/>
            <a:ext cx="499984" cy="57145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7" name="Freeform 5">
            <a:extLst>
              <a:ext uri="{FF2B5EF4-FFF2-40B4-BE49-F238E27FC236}">
                <a16:creationId xmlns:a16="http://schemas.microsoft.com/office/drawing/2014/main" id="{BEA63513-6513-79ED-DA69-1A5BC816D9D6}"/>
              </a:ext>
            </a:extLst>
          </p:cNvPr>
          <p:cNvSpPr>
            <a:spLocks/>
          </p:cNvSpPr>
          <p:nvPr/>
        </p:nvSpPr>
        <p:spPr bwMode="auto">
          <a:xfrm>
            <a:off x="8517779" y="2496290"/>
            <a:ext cx="575990" cy="65832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>
                  <a:alpha val="20000"/>
                </a:srgbClr>
              </a:gs>
              <a:gs pos="100000">
                <a:srgbClr val="7A98F8"/>
              </a:gs>
            </a:gsLst>
            <a:lin ang="5400000" scaled="1"/>
            <a:tileRect/>
          </a:gradFill>
          <a:ln>
            <a:noFill/>
          </a:ln>
          <a:effectLst>
            <a:outerShdw blurRad="330200" dist="203200" dir="5400000" sx="90000" sy="90000" algn="t" rotWithShape="0">
              <a:srgbClr val="3361F5">
                <a:alpha val="65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8" name="Freeform 5">
            <a:extLst>
              <a:ext uri="{FF2B5EF4-FFF2-40B4-BE49-F238E27FC236}">
                <a16:creationId xmlns:a16="http://schemas.microsoft.com/office/drawing/2014/main" id="{3AA26E68-9396-2A27-C6B2-2729226FC00C}"/>
              </a:ext>
            </a:extLst>
          </p:cNvPr>
          <p:cNvSpPr>
            <a:spLocks/>
          </p:cNvSpPr>
          <p:nvPr/>
        </p:nvSpPr>
        <p:spPr bwMode="auto">
          <a:xfrm>
            <a:off x="8555781" y="2539725"/>
            <a:ext cx="499984" cy="57145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90" name="Freeform 5">
            <a:extLst>
              <a:ext uri="{FF2B5EF4-FFF2-40B4-BE49-F238E27FC236}">
                <a16:creationId xmlns:a16="http://schemas.microsoft.com/office/drawing/2014/main" id="{04CFC9DB-B623-3E33-E74B-1CF0355DE6D7}"/>
              </a:ext>
            </a:extLst>
          </p:cNvPr>
          <p:cNvSpPr>
            <a:spLocks/>
          </p:cNvSpPr>
          <p:nvPr/>
        </p:nvSpPr>
        <p:spPr bwMode="auto">
          <a:xfrm>
            <a:off x="8517779" y="3811235"/>
            <a:ext cx="575990" cy="65832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>
                  <a:alpha val="20000"/>
                </a:srgbClr>
              </a:gs>
              <a:gs pos="100000">
                <a:srgbClr val="7A98F8"/>
              </a:gs>
            </a:gsLst>
            <a:lin ang="5400000" scaled="1"/>
            <a:tileRect/>
          </a:gradFill>
          <a:ln>
            <a:noFill/>
          </a:ln>
          <a:effectLst>
            <a:outerShdw blurRad="330200" dist="203200" dir="5400000" sx="90000" sy="90000" algn="t" rotWithShape="0">
              <a:srgbClr val="3361F5">
                <a:alpha val="65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91" name="Freeform 5">
            <a:extLst>
              <a:ext uri="{FF2B5EF4-FFF2-40B4-BE49-F238E27FC236}">
                <a16:creationId xmlns:a16="http://schemas.microsoft.com/office/drawing/2014/main" id="{934BB035-1209-6F47-A90F-FAAC8F154EEE}"/>
              </a:ext>
            </a:extLst>
          </p:cNvPr>
          <p:cNvSpPr>
            <a:spLocks/>
          </p:cNvSpPr>
          <p:nvPr/>
        </p:nvSpPr>
        <p:spPr bwMode="auto">
          <a:xfrm>
            <a:off x="8555781" y="3854670"/>
            <a:ext cx="499984" cy="57145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93" name="Freeform 5">
            <a:extLst>
              <a:ext uri="{FF2B5EF4-FFF2-40B4-BE49-F238E27FC236}">
                <a16:creationId xmlns:a16="http://schemas.microsoft.com/office/drawing/2014/main" id="{C37695D5-77CF-C4CD-13E2-94C69666493D}"/>
              </a:ext>
            </a:extLst>
          </p:cNvPr>
          <p:cNvSpPr>
            <a:spLocks/>
          </p:cNvSpPr>
          <p:nvPr/>
        </p:nvSpPr>
        <p:spPr bwMode="auto">
          <a:xfrm>
            <a:off x="8517779" y="5131723"/>
            <a:ext cx="575990" cy="65832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>
                  <a:alpha val="20000"/>
                </a:srgbClr>
              </a:gs>
              <a:gs pos="100000">
                <a:srgbClr val="7A98F8"/>
              </a:gs>
            </a:gsLst>
            <a:lin ang="5400000" scaled="1"/>
            <a:tileRect/>
          </a:gradFill>
          <a:ln>
            <a:noFill/>
          </a:ln>
          <a:effectLst>
            <a:outerShdw blurRad="330200" dist="203200" dir="5400000" sx="90000" sy="90000" algn="t" rotWithShape="0">
              <a:srgbClr val="3361F5">
                <a:alpha val="65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94" name="Freeform 5">
            <a:extLst>
              <a:ext uri="{FF2B5EF4-FFF2-40B4-BE49-F238E27FC236}">
                <a16:creationId xmlns:a16="http://schemas.microsoft.com/office/drawing/2014/main" id="{511DAABD-D76C-2566-6574-22FF64D75700}"/>
              </a:ext>
            </a:extLst>
          </p:cNvPr>
          <p:cNvSpPr>
            <a:spLocks/>
          </p:cNvSpPr>
          <p:nvPr/>
        </p:nvSpPr>
        <p:spPr bwMode="auto">
          <a:xfrm>
            <a:off x="8555781" y="5175158"/>
            <a:ext cx="499984" cy="57145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gradFill flip="none" rotWithShape="1">
            <a:gsLst>
              <a:gs pos="0">
                <a:srgbClr val="3361F5"/>
              </a:gs>
              <a:gs pos="100000">
                <a:srgbClr val="7A98F8"/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95" name="稿定-9">
            <a:extLst>
              <a:ext uri="{FF2B5EF4-FFF2-40B4-BE49-F238E27FC236}">
                <a16:creationId xmlns:a16="http://schemas.microsoft.com/office/drawing/2014/main" id="{DAE3793E-9092-F62E-2CE1-6A624B5F248A}"/>
              </a:ext>
            </a:extLst>
          </p:cNvPr>
          <p:cNvSpPr/>
          <p:nvPr/>
        </p:nvSpPr>
        <p:spPr>
          <a:xfrm flipH="1">
            <a:off x="9276199" y="249253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6" name="稿定-31">
            <a:extLst>
              <a:ext uri="{FF2B5EF4-FFF2-40B4-BE49-F238E27FC236}">
                <a16:creationId xmlns:a16="http://schemas.microsoft.com/office/drawing/2014/main" id="{9AD2F130-2BB0-EF83-8770-23B1C9A144EE}"/>
              </a:ext>
            </a:extLst>
          </p:cNvPr>
          <p:cNvSpPr/>
          <p:nvPr/>
        </p:nvSpPr>
        <p:spPr>
          <a:xfrm flipH="1">
            <a:off x="9276199" y="275826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7" name="稿定-9">
            <a:extLst>
              <a:ext uri="{FF2B5EF4-FFF2-40B4-BE49-F238E27FC236}">
                <a16:creationId xmlns:a16="http://schemas.microsoft.com/office/drawing/2014/main" id="{D12516C5-D2E2-B89B-8E66-6EE1A3D19B2F}"/>
              </a:ext>
            </a:extLst>
          </p:cNvPr>
          <p:cNvSpPr/>
          <p:nvPr/>
        </p:nvSpPr>
        <p:spPr>
          <a:xfrm flipH="1">
            <a:off x="9276199" y="385091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8" name="稿定-31">
            <a:extLst>
              <a:ext uri="{FF2B5EF4-FFF2-40B4-BE49-F238E27FC236}">
                <a16:creationId xmlns:a16="http://schemas.microsoft.com/office/drawing/2014/main" id="{CC2BFD35-3C02-1646-86C1-5E5491DDBE24}"/>
              </a:ext>
            </a:extLst>
          </p:cNvPr>
          <p:cNvSpPr/>
          <p:nvPr/>
        </p:nvSpPr>
        <p:spPr>
          <a:xfrm flipH="1">
            <a:off x="9276199" y="411664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9" name="稿定-9">
            <a:extLst>
              <a:ext uri="{FF2B5EF4-FFF2-40B4-BE49-F238E27FC236}">
                <a16:creationId xmlns:a16="http://schemas.microsoft.com/office/drawing/2014/main" id="{83024236-A5AD-02FC-5EED-4EB3E26D3E18}"/>
              </a:ext>
            </a:extLst>
          </p:cNvPr>
          <p:cNvSpPr/>
          <p:nvPr/>
        </p:nvSpPr>
        <p:spPr>
          <a:xfrm flipH="1">
            <a:off x="9276199" y="512796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0" name="稿定-31">
            <a:extLst>
              <a:ext uri="{FF2B5EF4-FFF2-40B4-BE49-F238E27FC236}">
                <a16:creationId xmlns:a16="http://schemas.microsoft.com/office/drawing/2014/main" id="{6B1B7B28-E5F6-B498-9EA0-BD2CE3E038D6}"/>
              </a:ext>
            </a:extLst>
          </p:cNvPr>
          <p:cNvSpPr/>
          <p:nvPr/>
        </p:nvSpPr>
        <p:spPr>
          <a:xfrm flipH="1">
            <a:off x="9276199" y="539369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1" name="稿定-9">
            <a:extLst>
              <a:ext uri="{FF2B5EF4-FFF2-40B4-BE49-F238E27FC236}">
                <a16:creationId xmlns:a16="http://schemas.microsoft.com/office/drawing/2014/main" id="{F019BB15-D7D6-8D19-0F5B-8FAC0DCA9DDE}"/>
              </a:ext>
            </a:extLst>
          </p:cNvPr>
          <p:cNvSpPr/>
          <p:nvPr/>
        </p:nvSpPr>
        <p:spPr>
          <a:xfrm flipH="1">
            <a:off x="1955641" y="249253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2" name="稿定-31">
            <a:extLst>
              <a:ext uri="{FF2B5EF4-FFF2-40B4-BE49-F238E27FC236}">
                <a16:creationId xmlns:a16="http://schemas.microsoft.com/office/drawing/2014/main" id="{782A4517-B359-5384-B43F-688E8703A2A9}"/>
              </a:ext>
            </a:extLst>
          </p:cNvPr>
          <p:cNvSpPr/>
          <p:nvPr/>
        </p:nvSpPr>
        <p:spPr>
          <a:xfrm flipH="1">
            <a:off x="1560813" y="275826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3" name="稿定-9">
            <a:extLst>
              <a:ext uri="{FF2B5EF4-FFF2-40B4-BE49-F238E27FC236}">
                <a16:creationId xmlns:a16="http://schemas.microsoft.com/office/drawing/2014/main" id="{A4AEF3C7-DFA3-0B81-1528-5FAA795E8A78}"/>
              </a:ext>
            </a:extLst>
          </p:cNvPr>
          <p:cNvSpPr/>
          <p:nvPr/>
        </p:nvSpPr>
        <p:spPr>
          <a:xfrm flipH="1">
            <a:off x="1955641" y="380905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4" name="稿定-31">
            <a:extLst>
              <a:ext uri="{FF2B5EF4-FFF2-40B4-BE49-F238E27FC236}">
                <a16:creationId xmlns:a16="http://schemas.microsoft.com/office/drawing/2014/main" id="{60472DB7-D8BD-989F-43A1-1CB2B6A0CCE8}"/>
              </a:ext>
            </a:extLst>
          </p:cNvPr>
          <p:cNvSpPr/>
          <p:nvPr/>
        </p:nvSpPr>
        <p:spPr>
          <a:xfrm flipH="1">
            <a:off x="1560813" y="407479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5" name="稿定-9">
            <a:extLst>
              <a:ext uri="{FF2B5EF4-FFF2-40B4-BE49-F238E27FC236}">
                <a16:creationId xmlns:a16="http://schemas.microsoft.com/office/drawing/2014/main" id="{740206FE-7DFE-C5B8-724D-1794045DD7BF}"/>
              </a:ext>
            </a:extLst>
          </p:cNvPr>
          <p:cNvSpPr/>
          <p:nvPr/>
        </p:nvSpPr>
        <p:spPr>
          <a:xfrm flipH="1">
            <a:off x="1955641" y="512796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6" name="稿定-31">
            <a:extLst>
              <a:ext uri="{FF2B5EF4-FFF2-40B4-BE49-F238E27FC236}">
                <a16:creationId xmlns:a16="http://schemas.microsoft.com/office/drawing/2014/main" id="{7B856516-ADCC-083A-2E02-C85DD3EB2827}"/>
              </a:ext>
            </a:extLst>
          </p:cNvPr>
          <p:cNvSpPr/>
          <p:nvPr/>
        </p:nvSpPr>
        <p:spPr>
          <a:xfrm flipH="1">
            <a:off x="1560813" y="539369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7" name="稿定-9">
            <a:extLst>
              <a:ext uri="{FF2B5EF4-FFF2-40B4-BE49-F238E27FC236}">
                <a16:creationId xmlns:a16="http://schemas.microsoft.com/office/drawing/2014/main" id="{FCEFAE4E-3377-4796-BE1E-265A5046A857}"/>
              </a:ext>
            </a:extLst>
          </p:cNvPr>
          <p:cNvSpPr/>
          <p:nvPr/>
        </p:nvSpPr>
        <p:spPr>
          <a:xfrm flipH="1">
            <a:off x="3119584" y="2628050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1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8" name="稿定-9">
            <a:extLst>
              <a:ext uri="{FF2B5EF4-FFF2-40B4-BE49-F238E27FC236}">
                <a16:creationId xmlns:a16="http://schemas.microsoft.com/office/drawing/2014/main" id="{21FB4CDF-88BD-D16F-3A34-4010B2F6D1A1}"/>
              </a:ext>
            </a:extLst>
          </p:cNvPr>
          <p:cNvSpPr/>
          <p:nvPr/>
        </p:nvSpPr>
        <p:spPr>
          <a:xfrm flipH="1">
            <a:off x="8542386" y="2628050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2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4" name="稿定-9">
            <a:extLst>
              <a:ext uri="{FF2B5EF4-FFF2-40B4-BE49-F238E27FC236}">
                <a16:creationId xmlns:a16="http://schemas.microsoft.com/office/drawing/2014/main" id="{B0B5B010-4228-53CF-E212-677C212C68DD}"/>
              </a:ext>
            </a:extLst>
          </p:cNvPr>
          <p:cNvSpPr/>
          <p:nvPr/>
        </p:nvSpPr>
        <p:spPr>
          <a:xfrm flipH="1">
            <a:off x="3119584" y="3954767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3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5" name="稿定-9">
            <a:extLst>
              <a:ext uri="{FF2B5EF4-FFF2-40B4-BE49-F238E27FC236}">
                <a16:creationId xmlns:a16="http://schemas.microsoft.com/office/drawing/2014/main" id="{7C531C83-3123-815B-30C4-BE5C1BC005F7}"/>
              </a:ext>
            </a:extLst>
          </p:cNvPr>
          <p:cNvSpPr/>
          <p:nvPr/>
        </p:nvSpPr>
        <p:spPr>
          <a:xfrm flipH="1">
            <a:off x="8542386" y="3954767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4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6" name="稿定-9">
            <a:extLst>
              <a:ext uri="{FF2B5EF4-FFF2-40B4-BE49-F238E27FC236}">
                <a16:creationId xmlns:a16="http://schemas.microsoft.com/office/drawing/2014/main" id="{0D7C2DEF-7C45-5B08-63A8-0ED26DD137F0}"/>
              </a:ext>
            </a:extLst>
          </p:cNvPr>
          <p:cNvSpPr/>
          <p:nvPr/>
        </p:nvSpPr>
        <p:spPr>
          <a:xfrm flipH="1">
            <a:off x="3119584" y="5267899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5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7" name="稿定-9">
            <a:extLst>
              <a:ext uri="{FF2B5EF4-FFF2-40B4-BE49-F238E27FC236}">
                <a16:creationId xmlns:a16="http://schemas.microsoft.com/office/drawing/2014/main" id="{6EC0A5CD-F0A3-E060-246B-B1406D330D7B}"/>
              </a:ext>
            </a:extLst>
          </p:cNvPr>
          <p:cNvSpPr/>
          <p:nvPr/>
        </p:nvSpPr>
        <p:spPr>
          <a:xfrm flipH="1">
            <a:off x="8542386" y="5267899"/>
            <a:ext cx="526773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6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grpSp>
        <p:nvGrpSpPr>
          <p:cNvPr id="119" name="组合 118">
            <a:extLst>
              <a:ext uri="{FF2B5EF4-FFF2-40B4-BE49-F238E27FC236}">
                <a16:creationId xmlns:a16="http://schemas.microsoft.com/office/drawing/2014/main" id="{A5ED94E5-9880-1F02-AD33-DE097E79A77B}"/>
              </a:ext>
            </a:extLst>
          </p:cNvPr>
          <p:cNvGrpSpPr/>
          <p:nvPr/>
        </p:nvGrpSpPr>
        <p:grpSpPr>
          <a:xfrm>
            <a:off x="5717426" y="3682864"/>
            <a:ext cx="976968" cy="939020"/>
            <a:chOff x="1406740" y="5275641"/>
            <a:chExt cx="441102" cy="423968"/>
          </a:xfrm>
        </p:grpSpPr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326EA0C0-9AD7-E15B-0366-1A4A0730894F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30E020AD-0A23-46C5-5121-00A200EC84D6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6084142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aoding-21">
            <a:extLst>
              <a:ext uri="{FF2B5EF4-FFF2-40B4-BE49-F238E27FC236}">
                <a16:creationId xmlns:a16="http://schemas.microsoft.com/office/drawing/2014/main" id="{1772FB20-AB50-B957-C0E7-44BAA1E3EE45}"/>
              </a:ext>
            </a:extLst>
          </p:cNvPr>
          <p:cNvSpPr/>
          <p:nvPr/>
        </p:nvSpPr>
        <p:spPr>
          <a:xfrm>
            <a:off x="8063879" y="1286522"/>
            <a:ext cx="3329184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68" y="0"/>
                </a:moveTo>
                <a:lnTo>
                  <a:pt x="20832" y="0"/>
                </a:lnTo>
                <a:cubicBezTo>
                  <a:pt x="20942" y="0"/>
                  <a:pt x="21025" y="0"/>
                  <a:pt x="21095" y="25"/>
                </a:cubicBezTo>
                <a:cubicBezTo>
                  <a:pt x="21166" y="51"/>
                  <a:pt x="21223" y="102"/>
                  <a:pt x="21283" y="204"/>
                </a:cubicBezTo>
                <a:cubicBezTo>
                  <a:pt x="21348" y="332"/>
                  <a:pt x="21406" y="534"/>
                  <a:pt x="21454" y="792"/>
                </a:cubicBezTo>
                <a:cubicBezTo>
                  <a:pt x="21501" y="1051"/>
                  <a:pt x="21539" y="1365"/>
                  <a:pt x="21562" y="1716"/>
                </a:cubicBezTo>
                <a:cubicBezTo>
                  <a:pt x="21581" y="2037"/>
                  <a:pt x="21591" y="2349"/>
                  <a:pt x="21595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5" y="18870"/>
                </a:cubicBezTo>
                <a:cubicBezTo>
                  <a:pt x="21591" y="19251"/>
                  <a:pt x="21581" y="19563"/>
                  <a:pt x="21562" y="19884"/>
                </a:cubicBezTo>
                <a:cubicBezTo>
                  <a:pt x="21539" y="20235"/>
                  <a:pt x="21501" y="20549"/>
                  <a:pt x="21454" y="20808"/>
                </a:cubicBezTo>
                <a:cubicBezTo>
                  <a:pt x="21406" y="21066"/>
                  <a:pt x="21348" y="21268"/>
                  <a:pt x="21283" y="21396"/>
                </a:cubicBezTo>
                <a:cubicBezTo>
                  <a:pt x="21223" y="21498"/>
                  <a:pt x="21166" y="21549"/>
                  <a:pt x="21095" y="21575"/>
                </a:cubicBezTo>
                <a:cubicBezTo>
                  <a:pt x="21024" y="21600"/>
                  <a:pt x="20940" y="21600"/>
                  <a:pt x="20828" y="21600"/>
                </a:cubicBezTo>
                <a:lnTo>
                  <a:pt x="768" y="21600"/>
                </a:lnTo>
                <a:cubicBezTo>
                  <a:pt x="658" y="21600"/>
                  <a:pt x="575" y="21600"/>
                  <a:pt x="505" y="21575"/>
                </a:cubicBezTo>
                <a:cubicBezTo>
                  <a:pt x="434" y="21549"/>
                  <a:pt x="377" y="21498"/>
                  <a:pt x="317" y="21396"/>
                </a:cubicBezTo>
                <a:cubicBezTo>
                  <a:pt x="252" y="21268"/>
                  <a:pt x="194" y="21066"/>
                  <a:pt x="146" y="20808"/>
                </a:cubicBezTo>
                <a:cubicBezTo>
                  <a:pt x="99" y="20549"/>
                  <a:pt x="61" y="20235"/>
                  <a:pt x="38" y="19884"/>
                </a:cubicBezTo>
                <a:cubicBezTo>
                  <a:pt x="19" y="19563"/>
                  <a:pt x="9" y="19251"/>
                  <a:pt x="5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5" y="2730"/>
                </a:cubicBezTo>
                <a:cubicBezTo>
                  <a:pt x="9" y="2349"/>
                  <a:pt x="19" y="2037"/>
                  <a:pt x="38" y="1716"/>
                </a:cubicBezTo>
                <a:cubicBezTo>
                  <a:pt x="61" y="1365"/>
                  <a:pt x="99" y="1051"/>
                  <a:pt x="146" y="792"/>
                </a:cubicBezTo>
                <a:cubicBezTo>
                  <a:pt x="194" y="534"/>
                  <a:pt x="252" y="332"/>
                  <a:pt x="317" y="204"/>
                </a:cubicBezTo>
                <a:cubicBezTo>
                  <a:pt x="377" y="102"/>
                  <a:pt x="434" y="51"/>
                  <a:pt x="505" y="25"/>
                </a:cubicBezTo>
                <a:cubicBezTo>
                  <a:pt x="576" y="0"/>
                  <a:pt x="660" y="0"/>
                  <a:pt x="772" y="0"/>
                </a:cubicBezTo>
                <a:lnTo>
                  <a:pt x="768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B4090C1A-67CF-D17B-FD45-B9E4C5C117E7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6E71E04-7335-1499-3980-281B3EB0F601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CC0B457-A753-AE54-AF29-CBAA5B547E0C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1">
            <a:extLst>
              <a:ext uri="{FF2B5EF4-FFF2-40B4-BE49-F238E27FC236}">
                <a16:creationId xmlns:a16="http://schemas.microsoft.com/office/drawing/2014/main" id="{7391875F-BE6A-C5D5-8BA1-C2FA294C4465}"/>
              </a:ext>
            </a:extLst>
          </p:cNvPr>
          <p:cNvSpPr/>
          <p:nvPr/>
        </p:nvSpPr>
        <p:spPr>
          <a:xfrm>
            <a:off x="7471013" y="1581565"/>
            <a:ext cx="586934" cy="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6" name="gaoding-2">
            <a:extLst>
              <a:ext uri="{FF2B5EF4-FFF2-40B4-BE49-F238E27FC236}">
                <a16:creationId xmlns:a16="http://schemas.microsoft.com/office/drawing/2014/main" id="{6B9AF817-A1AB-9FDE-AAC3-5ADE35D47E53}"/>
              </a:ext>
            </a:extLst>
          </p:cNvPr>
          <p:cNvSpPr/>
          <p:nvPr/>
        </p:nvSpPr>
        <p:spPr>
          <a:xfrm>
            <a:off x="7471013" y="2989301"/>
            <a:ext cx="586934" cy="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7" name="gaoding-3">
            <a:extLst>
              <a:ext uri="{FF2B5EF4-FFF2-40B4-BE49-F238E27FC236}">
                <a16:creationId xmlns:a16="http://schemas.microsoft.com/office/drawing/2014/main" id="{5221E766-0D75-3695-156F-1D7C9D4FE07C}"/>
              </a:ext>
            </a:extLst>
          </p:cNvPr>
          <p:cNvSpPr/>
          <p:nvPr/>
        </p:nvSpPr>
        <p:spPr>
          <a:xfrm>
            <a:off x="7471013" y="4382253"/>
            <a:ext cx="586934" cy="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8" name="gaoding-4">
            <a:extLst>
              <a:ext uri="{FF2B5EF4-FFF2-40B4-BE49-F238E27FC236}">
                <a16:creationId xmlns:a16="http://schemas.microsoft.com/office/drawing/2014/main" id="{C4FF5606-358D-CA0D-8073-8D8743AA1C01}"/>
              </a:ext>
            </a:extLst>
          </p:cNvPr>
          <p:cNvSpPr/>
          <p:nvPr/>
        </p:nvSpPr>
        <p:spPr>
          <a:xfrm>
            <a:off x="7471013" y="5796125"/>
            <a:ext cx="586934" cy="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9" name="gaoding-5">
            <a:extLst>
              <a:ext uri="{FF2B5EF4-FFF2-40B4-BE49-F238E27FC236}">
                <a16:creationId xmlns:a16="http://schemas.microsoft.com/office/drawing/2014/main" id="{D224CF72-FEEE-DBC0-0EA4-2247C1D41A8C}"/>
              </a:ext>
            </a:extLst>
          </p:cNvPr>
          <p:cNvSpPr/>
          <p:nvPr/>
        </p:nvSpPr>
        <p:spPr>
          <a:xfrm>
            <a:off x="3514045" y="3697501"/>
            <a:ext cx="562658" cy="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0" name="gaoding-6">
            <a:extLst>
              <a:ext uri="{FF2B5EF4-FFF2-40B4-BE49-F238E27FC236}">
                <a16:creationId xmlns:a16="http://schemas.microsoft.com/office/drawing/2014/main" id="{A46B12CE-EE31-9D78-5AFC-9CF4D830B6E8}"/>
              </a:ext>
            </a:extLst>
          </p:cNvPr>
          <p:cNvSpPr/>
          <p:nvPr/>
        </p:nvSpPr>
        <p:spPr>
          <a:xfrm rot="16200000">
            <a:off x="2306597" y="3348068"/>
            <a:ext cx="4216178" cy="6734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1" extrusionOk="0">
                <a:moveTo>
                  <a:pt x="0" y="21410"/>
                </a:moveTo>
                <a:lnTo>
                  <a:pt x="0" y="4159"/>
                </a:lnTo>
                <a:cubicBezTo>
                  <a:pt x="1" y="3036"/>
                  <a:pt x="75" y="1963"/>
                  <a:pt x="204" y="1182"/>
                </a:cubicBezTo>
                <a:cubicBezTo>
                  <a:pt x="342" y="347"/>
                  <a:pt x="531" y="-79"/>
                  <a:pt x="723" y="12"/>
                </a:cubicBezTo>
                <a:lnTo>
                  <a:pt x="20948" y="12"/>
                </a:lnTo>
                <a:cubicBezTo>
                  <a:pt x="21140" y="27"/>
                  <a:pt x="21321" y="560"/>
                  <a:pt x="21445" y="1474"/>
                </a:cubicBezTo>
                <a:cubicBezTo>
                  <a:pt x="21544" y="2202"/>
                  <a:pt x="21599" y="3121"/>
                  <a:pt x="21600" y="4074"/>
                </a:cubicBezTo>
                <a:lnTo>
                  <a:pt x="21600" y="21521"/>
                </a:lnTo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1" name="gaoding-7">
            <a:extLst>
              <a:ext uri="{FF2B5EF4-FFF2-40B4-BE49-F238E27FC236}">
                <a16:creationId xmlns:a16="http://schemas.microsoft.com/office/drawing/2014/main" id="{54A70ED3-B058-F242-115B-C5251993FBD8}"/>
              </a:ext>
            </a:extLst>
          </p:cNvPr>
          <p:cNvSpPr/>
          <p:nvPr/>
        </p:nvSpPr>
        <p:spPr>
          <a:xfrm>
            <a:off x="4081312" y="2982067"/>
            <a:ext cx="679132" cy="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2" name="gaoding-8">
            <a:extLst>
              <a:ext uri="{FF2B5EF4-FFF2-40B4-BE49-F238E27FC236}">
                <a16:creationId xmlns:a16="http://schemas.microsoft.com/office/drawing/2014/main" id="{F81D3D3E-F383-AD91-88CD-3D2299EEE66B}"/>
              </a:ext>
            </a:extLst>
          </p:cNvPr>
          <p:cNvSpPr/>
          <p:nvPr/>
        </p:nvSpPr>
        <p:spPr>
          <a:xfrm>
            <a:off x="4079195" y="4374835"/>
            <a:ext cx="679132" cy="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3" name="gaoding-9">
            <a:extLst>
              <a:ext uri="{FF2B5EF4-FFF2-40B4-BE49-F238E27FC236}">
                <a16:creationId xmlns:a16="http://schemas.microsoft.com/office/drawing/2014/main" id="{05385EFC-DBBC-C2A7-796E-2C39CC2BAA69}"/>
              </a:ext>
            </a:extLst>
          </p:cNvPr>
          <p:cNvSpPr/>
          <p:nvPr/>
        </p:nvSpPr>
        <p:spPr>
          <a:xfrm>
            <a:off x="4698792" y="1277139"/>
            <a:ext cx="2789236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6" name="gaoding-12">
            <a:extLst>
              <a:ext uri="{FF2B5EF4-FFF2-40B4-BE49-F238E27FC236}">
                <a16:creationId xmlns:a16="http://schemas.microsoft.com/office/drawing/2014/main" id="{81A6D1AF-8196-39A9-7A51-3D571B30A984}"/>
              </a:ext>
            </a:extLst>
          </p:cNvPr>
          <p:cNvSpPr/>
          <p:nvPr/>
        </p:nvSpPr>
        <p:spPr>
          <a:xfrm>
            <a:off x="4698792" y="4083963"/>
            <a:ext cx="2789236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9" name="gaoding-15">
            <a:extLst>
              <a:ext uri="{FF2B5EF4-FFF2-40B4-BE49-F238E27FC236}">
                <a16:creationId xmlns:a16="http://schemas.microsoft.com/office/drawing/2014/main" id="{A676E61A-F7AE-C31B-B456-57DC405FFC51}"/>
              </a:ext>
            </a:extLst>
          </p:cNvPr>
          <p:cNvSpPr/>
          <p:nvPr/>
        </p:nvSpPr>
        <p:spPr>
          <a:xfrm>
            <a:off x="4698792" y="2680550"/>
            <a:ext cx="2789236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2" name="gaoding-18">
            <a:extLst>
              <a:ext uri="{FF2B5EF4-FFF2-40B4-BE49-F238E27FC236}">
                <a16:creationId xmlns:a16="http://schemas.microsoft.com/office/drawing/2014/main" id="{8505CBB3-0259-A607-36D9-8BC20184AC91}"/>
              </a:ext>
            </a:extLst>
          </p:cNvPr>
          <p:cNvSpPr/>
          <p:nvPr/>
        </p:nvSpPr>
        <p:spPr>
          <a:xfrm>
            <a:off x="4698792" y="5487375"/>
            <a:ext cx="2789236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6" name="gaoding-22">
            <a:extLst>
              <a:ext uri="{FF2B5EF4-FFF2-40B4-BE49-F238E27FC236}">
                <a16:creationId xmlns:a16="http://schemas.microsoft.com/office/drawing/2014/main" id="{BC0F4641-6E27-62E6-07CC-BBA248E7AE8C}"/>
              </a:ext>
            </a:extLst>
          </p:cNvPr>
          <p:cNvSpPr/>
          <p:nvPr/>
        </p:nvSpPr>
        <p:spPr>
          <a:xfrm>
            <a:off x="8063879" y="2680550"/>
            <a:ext cx="3329184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68" y="0"/>
                </a:moveTo>
                <a:lnTo>
                  <a:pt x="20832" y="0"/>
                </a:lnTo>
                <a:cubicBezTo>
                  <a:pt x="20942" y="0"/>
                  <a:pt x="21025" y="0"/>
                  <a:pt x="21095" y="25"/>
                </a:cubicBezTo>
                <a:cubicBezTo>
                  <a:pt x="21166" y="51"/>
                  <a:pt x="21223" y="102"/>
                  <a:pt x="21283" y="204"/>
                </a:cubicBezTo>
                <a:cubicBezTo>
                  <a:pt x="21348" y="332"/>
                  <a:pt x="21406" y="534"/>
                  <a:pt x="21454" y="792"/>
                </a:cubicBezTo>
                <a:cubicBezTo>
                  <a:pt x="21501" y="1051"/>
                  <a:pt x="21539" y="1365"/>
                  <a:pt x="21562" y="1716"/>
                </a:cubicBezTo>
                <a:cubicBezTo>
                  <a:pt x="21581" y="2037"/>
                  <a:pt x="21591" y="2349"/>
                  <a:pt x="21595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5" y="18870"/>
                </a:cubicBezTo>
                <a:cubicBezTo>
                  <a:pt x="21591" y="19251"/>
                  <a:pt x="21581" y="19563"/>
                  <a:pt x="21562" y="19884"/>
                </a:cubicBezTo>
                <a:cubicBezTo>
                  <a:pt x="21539" y="20235"/>
                  <a:pt x="21501" y="20549"/>
                  <a:pt x="21454" y="20808"/>
                </a:cubicBezTo>
                <a:cubicBezTo>
                  <a:pt x="21406" y="21066"/>
                  <a:pt x="21348" y="21268"/>
                  <a:pt x="21283" y="21396"/>
                </a:cubicBezTo>
                <a:cubicBezTo>
                  <a:pt x="21223" y="21498"/>
                  <a:pt x="21166" y="21549"/>
                  <a:pt x="21095" y="21575"/>
                </a:cubicBezTo>
                <a:cubicBezTo>
                  <a:pt x="21024" y="21600"/>
                  <a:pt x="20940" y="21600"/>
                  <a:pt x="20828" y="21600"/>
                </a:cubicBezTo>
                <a:lnTo>
                  <a:pt x="768" y="21600"/>
                </a:lnTo>
                <a:cubicBezTo>
                  <a:pt x="658" y="21600"/>
                  <a:pt x="575" y="21600"/>
                  <a:pt x="505" y="21575"/>
                </a:cubicBezTo>
                <a:cubicBezTo>
                  <a:pt x="434" y="21549"/>
                  <a:pt x="377" y="21498"/>
                  <a:pt x="317" y="21396"/>
                </a:cubicBezTo>
                <a:cubicBezTo>
                  <a:pt x="252" y="21268"/>
                  <a:pt x="194" y="21066"/>
                  <a:pt x="146" y="20808"/>
                </a:cubicBezTo>
                <a:cubicBezTo>
                  <a:pt x="99" y="20549"/>
                  <a:pt x="61" y="20235"/>
                  <a:pt x="38" y="19884"/>
                </a:cubicBezTo>
                <a:cubicBezTo>
                  <a:pt x="19" y="19563"/>
                  <a:pt x="9" y="19251"/>
                  <a:pt x="5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5" y="2730"/>
                </a:cubicBezTo>
                <a:cubicBezTo>
                  <a:pt x="9" y="2349"/>
                  <a:pt x="19" y="2037"/>
                  <a:pt x="38" y="1716"/>
                </a:cubicBezTo>
                <a:cubicBezTo>
                  <a:pt x="61" y="1365"/>
                  <a:pt x="99" y="1051"/>
                  <a:pt x="146" y="792"/>
                </a:cubicBezTo>
                <a:cubicBezTo>
                  <a:pt x="194" y="534"/>
                  <a:pt x="252" y="332"/>
                  <a:pt x="317" y="204"/>
                </a:cubicBezTo>
                <a:cubicBezTo>
                  <a:pt x="377" y="102"/>
                  <a:pt x="434" y="51"/>
                  <a:pt x="505" y="25"/>
                </a:cubicBezTo>
                <a:cubicBezTo>
                  <a:pt x="576" y="0"/>
                  <a:pt x="660" y="0"/>
                  <a:pt x="772" y="0"/>
                </a:cubicBezTo>
                <a:lnTo>
                  <a:pt x="768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27" name="gaoding-23">
            <a:extLst>
              <a:ext uri="{FF2B5EF4-FFF2-40B4-BE49-F238E27FC236}">
                <a16:creationId xmlns:a16="http://schemas.microsoft.com/office/drawing/2014/main" id="{F9D3EB6B-60D5-A3EC-FA24-B5737FA4323F}"/>
              </a:ext>
            </a:extLst>
          </p:cNvPr>
          <p:cNvSpPr/>
          <p:nvPr/>
        </p:nvSpPr>
        <p:spPr>
          <a:xfrm>
            <a:off x="8063879" y="4087210"/>
            <a:ext cx="3329184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68" y="0"/>
                </a:moveTo>
                <a:lnTo>
                  <a:pt x="20832" y="0"/>
                </a:lnTo>
                <a:cubicBezTo>
                  <a:pt x="20942" y="0"/>
                  <a:pt x="21025" y="0"/>
                  <a:pt x="21095" y="25"/>
                </a:cubicBezTo>
                <a:cubicBezTo>
                  <a:pt x="21166" y="51"/>
                  <a:pt x="21223" y="102"/>
                  <a:pt x="21283" y="204"/>
                </a:cubicBezTo>
                <a:cubicBezTo>
                  <a:pt x="21348" y="332"/>
                  <a:pt x="21406" y="534"/>
                  <a:pt x="21454" y="792"/>
                </a:cubicBezTo>
                <a:cubicBezTo>
                  <a:pt x="21501" y="1051"/>
                  <a:pt x="21539" y="1365"/>
                  <a:pt x="21562" y="1716"/>
                </a:cubicBezTo>
                <a:cubicBezTo>
                  <a:pt x="21581" y="2037"/>
                  <a:pt x="21591" y="2349"/>
                  <a:pt x="21595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5" y="18870"/>
                </a:cubicBezTo>
                <a:cubicBezTo>
                  <a:pt x="21591" y="19251"/>
                  <a:pt x="21581" y="19563"/>
                  <a:pt x="21562" y="19884"/>
                </a:cubicBezTo>
                <a:cubicBezTo>
                  <a:pt x="21539" y="20235"/>
                  <a:pt x="21501" y="20549"/>
                  <a:pt x="21454" y="20808"/>
                </a:cubicBezTo>
                <a:cubicBezTo>
                  <a:pt x="21406" y="21066"/>
                  <a:pt x="21348" y="21268"/>
                  <a:pt x="21283" y="21396"/>
                </a:cubicBezTo>
                <a:cubicBezTo>
                  <a:pt x="21223" y="21498"/>
                  <a:pt x="21166" y="21549"/>
                  <a:pt x="21095" y="21575"/>
                </a:cubicBezTo>
                <a:cubicBezTo>
                  <a:pt x="21024" y="21600"/>
                  <a:pt x="20940" y="21600"/>
                  <a:pt x="20828" y="21600"/>
                </a:cubicBezTo>
                <a:lnTo>
                  <a:pt x="768" y="21600"/>
                </a:lnTo>
                <a:cubicBezTo>
                  <a:pt x="658" y="21600"/>
                  <a:pt x="575" y="21600"/>
                  <a:pt x="505" y="21575"/>
                </a:cubicBezTo>
                <a:cubicBezTo>
                  <a:pt x="434" y="21549"/>
                  <a:pt x="377" y="21498"/>
                  <a:pt x="317" y="21396"/>
                </a:cubicBezTo>
                <a:cubicBezTo>
                  <a:pt x="252" y="21268"/>
                  <a:pt x="194" y="21066"/>
                  <a:pt x="146" y="20808"/>
                </a:cubicBezTo>
                <a:cubicBezTo>
                  <a:pt x="99" y="20549"/>
                  <a:pt x="61" y="20235"/>
                  <a:pt x="38" y="19884"/>
                </a:cubicBezTo>
                <a:cubicBezTo>
                  <a:pt x="19" y="19563"/>
                  <a:pt x="9" y="19251"/>
                  <a:pt x="5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5" y="2730"/>
                </a:cubicBezTo>
                <a:cubicBezTo>
                  <a:pt x="9" y="2349"/>
                  <a:pt x="19" y="2037"/>
                  <a:pt x="38" y="1716"/>
                </a:cubicBezTo>
                <a:cubicBezTo>
                  <a:pt x="61" y="1365"/>
                  <a:pt x="99" y="1051"/>
                  <a:pt x="146" y="792"/>
                </a:cubicBezTo>
                <a:cubicBezTo>
                  <a:pt x="194" y="534"/>
                  <a:pt x="252" y="332"/>
                  <a:pt x="317" y="204"/>
                </a:cubicBezTo>
                <a:cubicBezTo>
                  <a:pt x="377" y="102"/>
                  <a:pt x="434" y="51"/>
                  <a:pt x="505" y="25"/>
                </a:cubicBezTo>
                <a:cubicBezTo>
                  <a:pt x="576" y="0"/>
                  <a:pt x="660" y="0"/>
                  <a:pt x="772" y="0"/>
                </a:cubicBezTo>
                <a:lnTo>
                  <a:pt x="768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28" name="gaoding-24">
            <a:extLst>
              <a:ext uri="{FF2B5EF4-FFF2-40B4-BE49-F238E27FC236}">
                <a16:creationId xmlns:a16="http://schemas.microsoft.com/office/drawing/2014/main" id="{02B429FF-D0C9-741A-DE62-DF44CD5873AE}"/>
              </a:ext>
            </a:extLst>
          </p:cNvPr>
          <p:cNvSpPr/>
          <p:nvPr/>
        </p:nvSpPr>
        <p:spPr>
          <a:xfrm>
            <a:off x="8063879" y="5488382"/>
            <a:ext cx="3329184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68" y="0"/>
                </a:moveTo>
                <a:lnTo>
                  <a:pt x="20832" y="0"/>
                </a:lnTo>
                <a:cubicBezTo>
                  <a:pt x="20942" y="0"/>
                  <a:pt x="21025" y="0"/>
                  <a:pt x="21095" y="25"/>
                </a:cubicBezTo>
                <a:cubicBezTo>
                  <a:pt x="21166" y="51"/>
                  <a:pt x="21223" y="102"/>
                  <a:pt x="21283" y="204"/>
                </a:cubicBezTo>
                <a:cubicBezTo>
                  <a:pt x="21348" y="332"/>
                  <a:pt x="21406" y="534"/>
                  <a:pt x="21454" y="792"/>
                </a:cubicBezTo>
                <a:cubicBezTo>
                  <a:pt x="21501" y="1051"/>
                  <a:pt x="21539" y="1365"/>
                  <a:pt x="21562" y="1716"/>
                </a:cubicBezTo>
                <a:cubicBezTo>
                  <a:pt x="21581" y="2037"/>
                  <a:pt x="21591" y="2349"/>
                  <a:pt x="21595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5" y="18870"/>
                </a:cubicBezTo>
                <a:cubicBezTo>
                  <a:pt x="21591" y="19251"/>
                  <a:pt x="21581" y="19563"/>
                  <a:pt x="21562" y="19884"/>
                </a:cubicBezTo>
                <a:cubicBezTo>
                  <a:pt x="21539" y="20235"/>
                  <a:pt x="21501" y="20549"/>
                  <a:pt x="21454" y="20808"/>
                </a:cubicBezTo>
                <a:cubicBezTo>
                  <a:pt x="21406" y="21066"/>
                  <a:pt x="21348" y="21268"/>
                  <a:pt x="21283" y="21396"/>
                </a:cubicBezTo>
                <a:cubicBezTo>
                  <a:pt x="21223" y="21498"/>
                  <a:pt x="21166" y="21549"/>
                  <a:pt x="21095" y="21575"/>
                </a:cubicBezTo>
                <a:cubicBezTo>
                  <a:pt x="21024" y="21600"/>
                  <a:pt x="20940" y="21600"/>
                  <a:pt x="20828" y="21600"/>
                </a:cubicBezTo>
                <a:lnTo>
                  <a:pt x="768" y="21600"/>
                </a:lnTo>
                <a:cubicBezTo>
                  <a:pt x="658" y="21600"/>
                  <a:pt x="575" y="21600"/>
                  <a:pt x="505" y="21575"/>
                </a:cubicBezTo>
                <a:cubicBezTo>
                  <a:pt x="434" y="21549"/>
                  <a:pt x="377" y="21498"/>
                  <a:pt x="317" y="21396"/>
                </a:cubicBezTo>
                <a:cubicBezTo>
                  <a:pt x="252" y="21268"/>
                  <a:pt x="194" y="21066"/>
                  <a:pt x="146" y="20808"/>
                </a:cubicBezTo>
                <a:cubicBezTo>
                  <a:pt x="99" y="20549"/>
                  <a:pt x="61" y="20235"/>
                  <a:pt x="38" y="19884"/>
                </a:cubicBezTo>
                <a:cubicBezTo>
                  <a:pt x="19" y="19563"/>
                  <a:pt x="9" y="19251"/>
                  <a:pt x="5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5" y="2730"/>
                </a:cubicBezTo>
                <a:cubicBezTo>
                  <a:pt x="9" y="2349"/>
                  <a:pt x="19" y="2037"/>
                  <a:pt x="38" y="1716"/>
                </a:cubicBezTo>
                <a:cubicBezTo>
                  <a:pt x="61" y="1365"/>
                  <a:pt x="99" y="1051"/>
                  <a:pt x="146" y="792"/>
                </a:cubicBezTo>
                <a:cubicBezTo>
                  <a:pt x="194" y="534"/>
                  <a:pt x="252" y="332"/>
                  <a:pt x="317" y="204"/>
                </a:cubicBezTo>
                <a:cubicBezTo>
                  <a:pt x="377" y="102"/>
                  <a:pt x="434" y="51"/>
                  <a:pt x="505" y="25"/>
                </a:cubicBezTo>
                <a:cubicBezTo>
                  <a:pt x="576" y="0"/>
                  <a:pt x="660" y="0"/>
                  <a:pt x="772" y="0"/>
                </a:cubicBezTo>
                <a:lnTo>
                  <a:pt x="768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41" name="gaoding-38">
            <a:extLst>
              <a:ext uri="{FF2B5EF4-FFF2-40B4-BE49-F238E27FC236}">
                <a16:creationId xmlns:a16="http://schemas.microsoft.com/office/drawing/2014/main" id="{4C511C53-EF4B-8AA7-12D6-5451503968AB}"/>
              </a:ext>
            </a:extLst>
          </p:cNvPr>
          <p:cNvSpPr/>
          <p:nvPr/>
        </p:nvSpPr>
        <p:spPr>
          <a:xfrm>
            <a:off x="815753" y="3399121"/>
            <a:ext cx="2789236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6" name="稿定-9">
            <a:extLst>
              <a:ext uri="{FF2B5EF4-FFF2-40B4-BE49-F238E27FC236}">
                <a16:creationId xmlns:a16="http://schemas.microsoft.com/office/drawing/2014/main" id="{CBC8E7CA-74D2-E20F-AED5-F08AC9CEC68B}"/>
              </a:ext>
            </a:extLst>
          </p:cNvPr>
          <p:cNvSpPr/>
          <p:nvPr/>
        </p:nvSpPr>
        <p:spPr>
          <a:xfrm flipH="1">
            <a:off x="1191143" y="3431399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7" name="稿定-9">
            <a:extLst>
              <a:ext uri="{FF2B5EF4-FFF2-40B4-BE49-F238E27FC236}">
                <a16:creationId xmlns:a16="http://schemas.microsoft.com/office/drawing/2014/main" id="{84C1A85A-E37A-2B53-5ABA-391E999E0809}"/>
              </a:ext>
            </a:extLst>
          </p:cNvPr>
          <p:cNvSpPr/>
          <p:nvPr/>
        </p:nvSpPr>
        <p:spPr>
          <a:xfrm flipH="1">
            <a:off x="5163585" y="1299459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8" name="稿定-9">
            <a:extLst>
              <a:ext uri="{FF2B5EF4-FFF2-40B4-BE49-F238E27FC236}">
                <a16:creationId xmlns:a16="http://schemas.microsoft.com/office/drawing/2014/main" id="{FFED094E-FA8F-301E-B80A-811EF869D750}"/>
              </a:ext>
            </a:extLst>
          </p:cNvPr>
          <p:cNvSpPr/>
          <p:nvPr/>
        </p:nvSpPr>
        <p:spPr>
          <a:xfrm flipH="1">
            <a:off x="5163585" y="2738267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9" name="稿定-9">
            <a:extLst>
              <a:ext uri="{FF2B5EF4-FFF2-40B4-BE49-F238E27FC236}">
                <a16:creationId xmlns:a16="http://schemas.microsoft.com/office/drawing/2014/main" id="{3A9E22C4-F183-B71D-B2AD-A4695A451761}"/>
              </a:ext>
            </a:extLst>
          </p:cNvPr>
          <p:cNvSpPr/>
          <p:nvPr/>
        </p:nvSpPr>
        <p:spPr>
          <a:xfrm flipH="1">
            <a:off x="5163585" y="4119884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0" name="稿定-9">
            <a:extLst>
              <a:ext uri="{FF2B5EF4-FFF2-40B4-BE49-F238E27FC236}">
                <a16:creationId xmlns:a16="http://schemas.microsoft.com/office/drawing/2014/main" id="{153FC90A-492E-E49F-BE78-FCCE7CA8217B}"/>
              </a:ext>
            </a:extLst>
          </p:cNvPr>
          <p:cNvSpPr/>
          <p:nvPr/>
        </p:nvSpPr>
        <p:spPr>
          <a:xfrm flipH="1">
            <a:off x="5163585" y="5563625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BAE457C4-1CF4-BD35-4E63-447C8FE03E37}"/>
              </a:ext>
            </a:extLst>
          </p:cNvPr>
          <p:cNvSpPr txBox="1"/>
          <p:nvPr/>
        </p:nvSpPr>
        <p:spPr>
          <a:xfrm>
            <a:off x="8108868" y="1363433"/>
            <a:ext cx="32615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所有模板素材均可任意编辑，支持一键替换图片、更改文字内容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EB84D659-9AEC-F820-EA71-9020DE9AA5FF}"/>
              </a:ext>
            </a:extLst>
          </p:cNvPr>
          <p:cNvSpPr txBox="1"/>
          <p:nvPr/>
        </p:nvSpPr>
        <p:spPr>
          <a:xfrm>
            <a:off x="8108868" y="2758468"/>
            <a:ext cx="32615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所有模板素材均可任意编辑，支持一键替换图片、更改文字内容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59E2D3AA-327D-16FA-B5C9-B60920501E60}"/>
              </a:ext>
            </a:extLst>
          </p:cNvPr>
          <p:cNvSpPr txBox="1"/>
          <p:nvPr/>
        </p:nvSpPr>
        <p:spPr>
          <a:xfrm>
            <a:off x="8108868" y="4160874"/>
            <a:ext cx="32615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所有模板素材均可任意编辑，支持一键替换图片、更改文字内容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63102F46-4F6E-2DC4-BD6F-0A2509E2DD61}"/>
              </a:ext>
            </a:extLst>
          </p:cNvPr>
          <p:cNvSpPr txBox="1"/>
          <p:nvPr/>
        </p:nvSpPr>
        <p:spPr>
          <a:xfrm>
            <a:off x="8108868" y="5571478"/>
            <a:ext cx="32615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所有模板素材均可任意编辑，支持一键替换图片、更改文字内容</a:t>
            </a:r>
          </a:p>
        </p:txBody>
      </p:sp>
    </p:spTree>
    <p:extLst>
      <p:ext uri="{BB962C8B-B14F-4D97-AF65-F5344CB8AC3E}">
        <p14:creationId xmlns:p14="http://schemas.microsoft.com/office/powerpoint/2010/main" val="2351552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>
            <a:extLst>
              <a:ext uri="{FF2B5EF4-FFF2-40B4-BE49-F238E27FC236}">
                <a16:creationId xmlns:a16="http://schemas.microsoft.com/office/drawing/2014/main" id="{D6E36409-2A06-D897-33DB-0665CB2B0CD8}"/>
              </a:ext>
            </a:extLst>
          </p:cNvPr>
          <p:cNvGrpSpPr/>
          <p:nvPr/>
        </p:nvGrpSpPr>
        <p:grpSpPr>
          <a:xfrm>
            <a:off x="4615208" y="2124610"/>
            <a:ext cx="7576792" cy="5778713"/>
            <a:chOff x="3185796" y="1858492"/>
            <a:chExt cx="2059178" cy="1570508"/>
          </a:xfrm>
          <a:solidFill>
            <a:schemeClr val="tx1">
              <a:lumMod val="50000"/>
              <a:lumOff val="50000"/>
              <a:alpha val="20000"/>
            </a:schemeClr>
          </a:solidFill>
        </p:grpSpPr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378D0468-90A6-665D-A187-E6C065BBF69D}"/>
                </a:ext>
              </a:extLst>
            </p:cNvPr>
            <p:cNvSpPr/>
            <p:nvPr/>
          </p:nvSpPr>
          <p:spPr>
            <a:xfrm>
              <a:off x="4608047" y="2353810"/>
              <a:ext cx="84832" cy="84832"/>
            </a:xfrm>
            <a:custGeom>
              <a:avLst/>
              <a:gdLst>
                <a:gd name="connsiteX0" fmla="*/ 0 w 84832"/>
                <a:gd name="connsiteY0" fmla="*/ 42416 h 84832"/>
                <a:gd name="connsiteX1" fmla="*/ 42416 w 84832"/>
                <a:gd name="connsiteY1" fmla="*/ 84832 h 84832"/>
                <a:gd name="connsiteX2" fmla="*/ 84832 w 84832"/>
                <a:gd name="connsiteY2" fmla="*/ 42416 h 84832"/>
                <a:gd name="connsiteX3" fmla="*/ 42416 w 84832"/>
                <a:gd name="connsiteY3" fmla="*/ 0 h 84832"/>
                <a:gd name="connsiteX4" fmla="*/ 0 w 84832"/>
                <a:gd name="connsiteY4" fmla="*/ 42416 h 84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32" h="84832">
                  <a:moveTo>
                    <a:pt x="0" y="42416"/>
                  </a:moveTo>
                  <a:cubicBezTo>
                    <a:pt x="0" y="65842"/>
                    <a:pt x="18990" y="84832"/>
                    <a:pt x="42416" y="84832"/>
                  </a:cubicBezTo>
                  <a:cubicBezTo>
                    <a:pt x="65843" y="84832"/>
                    <a:pt x="84832" y="65842"/>
                    <a:pt x="84832" y="42416"/>
                  </a:cubicBezTo>
                  <a:cubicBezTo>
                    <a:pt x="84832" y="18990"/>
                    <a:pt x="65843" y="0"/>
                    <a:pt x="42416" y="0"/>
                  </a:cubicBezTo>
                  <a:cubicBezTo>
                    <a:pt x="18990" y="0"/>
                    <a:pt x="0" y="18990"/>
                    <a:pt x="0" y="42416"/>
                  </a:cubicBezTo>
                  <a:close/>
                </a:path>
              </a:pathLst>
            </a:custGeom>
            <a:grpFill/>
            <a:ln w="27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4F0157C-B762-C0DC-B94C-1DC044491123}"/>
                </a:ext>
              </a:extLst>
            </p:cNvPr>
            <p:cNvSpPr/>
            <p:nvPr/>
          </p:nvSpPr>
          <p:spPr>
            <a:xfrm>
              <a:off x="4367783" y="2481058"/>
              <a:ext cx="84831" cy="84832"/>
            </a:xfrm>
            <a:custGeom>
              <a:avLst/>
              <a:gdLst>
                <a:gd name="connsiteX0" fmla="*/ 0 w 84831"/>
                <a:gd name="connsiteY0" fmla="*/ 42416 h 84832"/>
                <a:gd name="connsiteX1" fmla="*/ 42416 w 84831"/>
                <a:gd name="connsiteY1" fmla="*/ 84832 h 84832"/>
                <a:gd name="connsiteX2" fmla="*/ 84832 w 84831"/>
                <a:gd name="connsiteY2" fmla="*/ 42416 h 84832"/>
                <a:gd name="connsiteX3" fmla="*/ 42416 w 84831"/>
                <a:gd name="connsiteY3" fmla="*/ 0 h 84832"/>
                <a:gd name="connsiteX4" fmla="*/ 0 w 84831"/>
                <a:gd name="connsiteY4" fmla="*/ 42416 h 84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31" h="84832">
                  <a:moveTo>
                    <a:pt x="0" y="42416"/>
                  </a:moveTo>
                  <a:cubicBezTo>
                    <a:pt x="0" y="65842"/>
                    <a:pt x="18990" y="84832"/>
                    <a:pt x="42416" y="84832"/>
                  </a:cubicBezTo>
                  <a:cubicBezTo>
                    <a:pt x="65842" y="84832"/>
                    <a:pt x="84832" y="65842"/>
                    <a:pt x="84832" y="42416"/>
                  </a:cubicBezTo>
                  <a:cubicBezTo>
                    <a:pt x="84832" y="18990"/>
                    <a:pt x="65842" y="0"/>
                    <a:pt x="42416" y="0"/>
                  </a:cubicBezTo>
                  <a:cubicBezTo>
                    <a:pt x="18990" y="0"/>
                    <a:pt x="0" y="18990"/>
                    <a:pt x="0" y="42416"/>
                  </a:cubicBezTo>
                  <a:close/>
                </a:path>
              </a:pathLst>
            </a:custGeom>
            <a:grpFill/>
            <a:ln w="27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3E96CD84-6950-5B8C-076B-3EAE599FB464}"/>
                </a:ext>
              </a:extLst>
            </p:cNvPr>
            <p:cNvSpPr/>
            <p:nvPr/>
          </p:nvSpPr>
          <p:spPr>
            <a:xfrm>
              <a:off x="3707557" y="2021485"/>
              <a:ext cx="403470" cy="371937"/>
            </a:xfrm>
            <a:custGeom>
              <a:avLst/>
              <a:gdLst>
                <a:gd name="connsiteX0" fmla="*/ 355500 w 403470"/>
                <a:gd name="connsiteY0" fmla="*/ 2485 h 371937"/>
                <a:gd name="connsiteX1" fmla="*/ 3893 w 403470"/>
                <a:gd name="connsiteY1" fmla="*/ 320605 h 371937"/>
                <a:gd name="connsiteX2" fmla="*/ 19241 w 403470"/>
                <a:gd name="connsiteY2" fmla="*/ 368044 h 371937"/>
                <a:gd name="connsiteX3" fmla="*/ 66680 w 403470"/>
                <a:gd name="connsiteY3" fmla="*/ 352697 h 371937"/>
                <a:gd name="connsiteX4" fmla="*/ 380894 w 403470"/>
                <a:gd name="connsiteY4" fmla="*/ 68342 h 371937"/>
                <a:gd name="connsiteX5" fmla="*/ 400985 w 403470"/>
                <a:gd name="connsiteY5" fmla="*/ 22577 h 371937"/>
                <a:gd name="connsiteX6" fmla="*/ 355500 w 403470"/>
                <a:gd name="connsiteY6" fmla="*/ 2485 h 37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470" h="371937">
                  <a:moveTo>
                    <a:pt x="355500" y="2485"/>
                  </a:moveTo>
                  <a:cubicBezTo>
                    <a:pt x="203416" y="61644"/>
                    <a:pt x="77842" y="175498"/>
                    <a:pt x="3893" y="320605"/>
                  </a:cubicBezTo>
                  <a:cubicBezTo>
                    <a:pt x="-5036" y="337907"/>
                    <a:pt x="1940" y="359394"/>
                    <a:pt x="19241" y="368044"/>
                  </a:cubicBezTo>
                  <a:cubicBezTo>
                    <a:pt x="36543" y="376974"/>
                    <a:pt x="58030" y="369998"/>
                    <a:pt x="66680" y="352697"/>
                  </a:cubicBezTo>
                  <a:cubicBezTo>
                    <a:pt x="132816" y="222937"/>
                    <a:pt x="244995" y="121083"/>
                    <a:pt x="380894" y="68342"/>
                  </a:cubicBezTo>
                  <a:cubicBezTo>
                    <a:pt x="399032" y="61366"/>
                    <a:pt x="408241" y="40716"/>
                    <a:pt x="400985" y="22577"/>
                  </a:cubicBezTo>
                  <a:cubicBezTo>
                    <a:pt x="394288" y="4439"/>
                    <a:pt x="373638" y="-4770"/>
                    <a:pt x="355500" y="2485"/>
                  </a:cubicBezTo>
                  <a:close/>
                </a:path>
              </a:pathLst>
            </a:custGeom>
            <a:grpFill/>
            <a:ln w="27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A8A49B6-2AE1-6390-B99E-773E60C4B8A7}"/>
                </a:ext>
              </a:extLst>
            </p:cNvPr>
            <p:cNvSpPr/>
            <p:nvPr/>
          </p:nvSpPr>
          <p:spPr>
            <a:xfrm>
              <a:off x="3377425" y="1858492"/>
              <a:ext cx="1570508" cy="1570508"/>
            </a:xfrm>
            <a:custGeom>
              <a:avLst/>
              <a:gdLst>
                <a:gd name="connsiteX0" fmla="*/ 784975 w 1570508"/>
                <a:gd name="connsiteY0" fmla="*/ 1570230 h 1570508"/>
                <a:gd name="connsiteX1" fmla="*/ 770744 w 1570508"/>
                <a:gd name="connsiteY1" fmla="*/ 1555998 h 1570508"/>
                <a:gd name="connsiteX2" fmla="*/ 784975 w 1570508"/>
                <a:gd name="connsiteY2" fmla="*/ 1541766 h 1570508"/>
                <a:gd name="connsiteX3" fmla="*/ 1386892 w 1570508"/>
                <a:gd name="connsiteY3" fmla="*/ 1243738 h 1570508"/>
                <a:gd name="connsiteX4" fmla="*/ 1406705 w 1570508"/>
                <a:gd name="connsiteY4" fmla="*/ 1240948 h 1570508"/>
                <a:gd name="connsiteX5" fmla="*/ 1409495 w 1570508"/>
                <a:gd name="connsiteY5" fmla="*/ 1260760 h 1570508"/>
                <a:gd name="connsiteX6" fmla="*/ 784975 w 1570508"/>
                <a:gd name="connsiteY6" fmla="*/ 1570230 h 1570508"/>
                <a:gd name="connsiteX7" fmla="*/ 1418146 w 1570508"/>
                <a:gd name="connsiteY7" fmla="*/ 1249598 h 1570508"/>
                <a:gd name="connsiteX8" fmla="*/ 1398333 w 1570508"/>
                <a:gd name="connsiteY8" fmla="*/ 1252668 h 1570508"/>
                <a:gd name="connsiteX9" fmla="*/ 1395264 w 1570508"/>
                <a:gd name="connsiteY9" fmla="*/ 1232855 h 1570508"/>
                <a:gd name="connsiteX10" fmla="*/ 1403356 w 1570508"/>
                <a:gd name="connsiteY10" fmla="*/ 1221693 h 1570508"/>
                <a:gd name="connsiteX11" fmla="*/ 1423169 w 1570508"/>
                <a:gd name="connsiteY11" fmla="*/ 1218344 h 1570508"/>
                <a:gd name="connsiteX12" fmla="*/ 1426518 w 1570508"/>
                <a:gd name="connsiteY12" fmla="*/ 1238157 h 1570508"/>
                <a:gd name="connsiteX13" fmla="*/ 1418146 w 1570508"/>
                <a:gd name="connsiteY13" fmla="*/ 1249598 h 1570508"/>
                <a:gd name="connsiteX14" fmla="*/ 1498234 w 1570508"/>
                <a:gd name="connsiteY14" fmla="*/ 1114258 h 1570508"/>
                <a:gd name="connsiteX15" fmla="*/ 1479538 w 1570508"/>
                <a:gd name="connsiteY15" fmla="*/ 1121234 h 1570508"/>
                <a:gd name="connsiteX16" fmla="*/ 1472561 w 1570508"/>
                <a:gd name="connsiteY16" fmla="*/ 1102538 h 1570508"/>
                <a:gd name="connsiteX17" fmla="*/ 1542046 w 1570508"/>
                <a:gd name="connsiteY17" fmla="*/ 785813 h 1570508"/>
                <a:gd name="connsiteX18" fmla="*/ 1453865 w 1570508"/>
                <a:gd name="connsiteY18" fmla="*/ 430578 h 1570508"/>
                <a:gd name="connsiteX19" fmla="*/ 1459725 w 1570508"/>
                <a:gd name="connsiteY19" fmla="*/ 411324 h 1570508"/>
                <a:gd name="connsiteX20" fmla="*/ 1478980 w 1570508"/>
                <a:gd name="connsiteY20" fmla="*/ 417184 h 1570508"/>
                <a:gd name="connsiteX21" fmla="*/ 1570509 w 1570508"/>
                <a:gd name="connsiteY21" fmla="*/ 785813 h 1570508"/>
                <a:gd name="connsiteX22" fmla="*/ 1498234 w 1570508"/>
                <a:gd name="connsiteY22" fmla="*/ 1114258 h 1570508"/>
                <a:gd name="connsiteX23" fmla="*/ 1472003 w 1570508"/>
                <a:gd name="connsiteY23" fmla="*/ 404626 h 1570508"/>
                <a:gd name="connsiteX24" fmla="*/ 1466422 w 1570508"/>
                <a:gd name="connsiteY24" fmla="*/ 423881 h 1570508"/>
                <a:gd name="connsiteX25" fmla="*/ 1447168 w 1570508"/>
                <a:gd name="connsiteY25" fmla="*/ 418300 h 1570508"/>
                <a:gd name="connsiteX26" fmla="*/ 1440191 w 1570508"/>
                <a:gd name="connsiteY26" fmla="*/ 406301 h 1570508"/>
                <a:gd name="connsiteX27" fmla="*/ 1445214 w 1570508"/>
                <a:gd name="connsiteY27" fmla="*/ 387046 h 1570508"/>
                <a:gd name="connsiteX28" fmla="*/ 1464469 w 1570508"/>
                <a:gd name="connsiteY28" fmla="*/ 392069 h 1570508"/>
                <a:gd name="connsiteX29" fmla="*/ 1472003 w 1570508"/>
                <a:gd name="connsiteY29" fmla="*/ 404626 h 1570508"/>
                <a:gd name="connsiteX30" fmla="*/ 1381869 w 1570508"/>
                <a:gd name="connsiteY30" fmla="*/ 274867 h 1570508"/>
                <a:gd name="connsiteX31" fmla="*/ 1380195 w 1570508"/>
                <a:gd name="connsiteY31" fmla="*/ 294680 h 1570508"/>
                <a:gd name="connsiteX32" fmla="*/ 1360382 w 1570508"/>
                <a:gd name="connsiteY32" fmla="*/ 293005 h 1570508"/>
                <a:gd name="connsiteX33" fmla="*/ 785254 w 1570508"/>
                <a:gd name="connsiteY33" fmla="*/ 28184 h 1570508"/>
                <a:gd name="connsiteX34" fmla="*/ 743117 w 1570508"/>
                <a:gd name="connsiteY34" fmla="*/ 29301 h 1570508"/>
                <a:gd name="connsiteX35" fmla="*/ 728328 w 1570508"/>
                <a:gd name="connsiteY35" fmla="*/ 15906 h 1570508"/>
                <a:gd name="connsiteX36" fmla="*/ 741722 w 1570508"/>
                <a:gd name="connsiteY36" fmla="*/ 1116 h 1570508"/>
                <a:gd name="connsiteX37" fmla="*/ 785533 w 1570508"/>
                <a:gd name="connsiteY37" fmla="*/ 0 h 1570508"/>
                <a:gd name="connsiteX38" fmla="*/ 1381869 w 1570508"/>
                <a:gd name="connsiteY38" fmla="*/ 274867 h 1570508"/>
                <a:gd name="connsiteX39" fmla="*/ 726932 w 1570508"/>
                <a:gd name="connsiteY39" fmla="*/ 2232 h 1570508"/>
                <a:gd name="connsiteX40" fmla="*/ 742001 w 1570508"/>
                <a:gd name="connsiteY40" fmla="*/ 15348 h 1570508"/>
                <a:gd name="connsiteX41" fmla="*/ 728886 w 1570508"/>
                <a:gd name="connsiteY41" fmla="*/ 30417 h 1570508"/>
                <a:gd name="connsiteX42" fmla="*/ 714933 w 1570508"/>
                <a:gd name="connsiteY42" fmla="*/ 31533 h 1570508"/>
                <a:gd name="connsiteX43" fmla="*/ 699585 w 1570508"/>
                <a:gd name="connsiteY43" fmla="*/ 18697 h 1570508"/>
                <a:gd name="connsiteX44" fmla="*/ 712422 w 1570508"/>
                <a:gd name="connsiteY44" fmla="*/ 3349 h 1570508"/>
                <a:gd name="connsiteX45" fmla="*/ 726932 w 1570508"/>
                <a:gd name="connsiteY45" fmla="*/ 2232 h 1570508"/>
                <a:gd name="connsiteX46" fmla="*/ 571221 w 1570508"/>
                <a:gd name="connsiteY46" fmla="*/ 29580 h 1570508"/>
                <a:gd name="connsiteX47" fmla="*/ 588801 w 1570508"/>
                <a:gd name="connsiteY47" fmla="*/ 39346 h 1570508"/>
                <a:gd name="connsiteX48" fmla="*/ 579034 w 1570508"/>
                <a:gd name="connsiteY48" fmla="*/ 56927 h 1570508"/>
                <a:gd name="connsiteX49" fmla="*/ 81204 w 1570508"/>
                <a:gd name="connsiteY49" fmla="*/ 507597 h 1570508"/>
                <a:gd name="connsiteX50" fmla="*/ 62787 w 1570508"/>
                <a:gd name="connsiteY50" fmla="*/ 515690 h 1570508"/>
                <a:gd name="connsiteX51" fmla="*/ 54694 w 1570508"/>
                <a:gd name="connsiteY51" fmla="*/ 497272 h 1570508"/>
                <a:gd name="connsiteX52" fmla="*/ 571221 w 1570508"/>
                <a:gd name="connsiteY52" fmla="*/ 29580 h 1570508"/>
                <a:gd name="connsiteX53" fmla="*/ 49671 w 1570508"/>
                <a:gd name="connsiteY53" fmla="*/ 510108 h 1570508"/>
                <a:gd name="connsiteX54" fmla="*/ 67810 w 1570508"/>
                <a:gd name="connsiteY54" fmla="*/ 501737 h 1570508"/>
                <a:gd name="connsiteX55" fmla="*/ 76181 w 1570508"/>
                <a:gd name="connsiteY55" fmla="*/ 519875 h 1570508"/>
                <a:gd name="connsiteX56" fmla="*/ 71437 w 1570508"/>
                <a:gd name="connsiteY56" fmla="*/ 532991 h 1570508"/>
                <a:gd name="connsiteX57" fmla="*/ 53299 w 1570508"/>
                <a:gd name="connsiteY57" fmla="*/ 541641 h 1570508"/>
                <a:gd name="connsiteX58" fmla="*/ 44648 w 1570508"/>
                <a:gd name="connsiteY58" fmla="*/ 523503 h 1570508"/>
                <a:gd name="connsiteX59" fmla="*/ 49671 w 1570508"/>
                <a:gd name="connsiteY59" fmla="*/ 510108 h 1570508"/>
                <a:gd name="connsiteX60" fmla="*/ 9488 w 1570508"/>
                <a:gd name="connsiteY60" fmla="*/ 663587 h 1570508"/>
                <a:gd name="connsiteX61" fmla="*/ 25673 w 1570508"/>
                <a:gd name="connsiteY61" fmla="*/ 651867 h 1570508"/>
                <a:gd name="connsiteX62" fmla="*/ 37393 w 1570508"/>
                <a:gd name="connsiteY62" fmla="*/ 668052 h 1570508"/>
                <a:gd name="connsiteX63" fmla="*/ 28463 w 1570508"/>
                <a:gd name="connsiteY63" fmla="*/ 784975 h 1570508"/>
                <a:gd name="connsiteX64" fmla="*/ 238590 w 1570508"/>
                <a:gd name="connsiteY64" fmla="*/ 1308757 h 1570508"/>
                <a:gd name="connsiteX65" fmla="*/ 238032 w 1570508"/>
                <a:gd name="connsiteY65" fmla="*/ 1328849 h 1570508"/>
                <a:gd name="connsiteX66" fmla="*/ 217940 w 1570508"/>
                <a:gd name="connsiteY66" fmla="*/ 1328291 h 1570508"/>
                <a:gd name="connsiteX67" fmla="*/ 0 w 1570508"/>
                <a:gd name="connsiteY67" fmla="*/ 784975 h 1570508"/>
                <a:gd name="connsiteX68" fmla="*/ 9488 w 1570508"/>
                <a:gd name="connsiteY68" fmla="*/ 663587 h 1570508"/>
                <a:gd name="connsiteX69" fmla="*/ 227986 w 1570508"/>
                <a:gd name="connsiteY69" fmla="*/ 1338337 h 1570508"/>
                <a:gd name="connsiteX70" fmla="*/ 227986 w 1570508"/>
                <a:gd name="connsiteY70" fmla="*/ 1318245 h 1570508"/>
                <a:gd name="connsiteX71" fmla="*/ 248078 w 1570508"/>
                <a:gd name="connsiteY71" fmla="*/ 1318245 h 1570508"/>
                <a:gd name="connsiteX72" fmla="*/ 257845 w 1570508"/>
                <a:gd name="connsiteY72" fmla="*/ 1328012 h 1570508"/>
                <a:gd name="connsiteX73" fmla="*/ 258124 w 1570508"/>
                <a:gd name="connsiteY73" fmla="*/ 1348104 h 1570508"/>
                <a:gd name="connsiteX74" fmla="*/ 238032 w 1570508"/>
                <a:gd name="connsiteY74" fmla="*/ 1348383 h 1570508"/>
                <a:gd name="connsiteX75" fmla="*/ 227986 w 1570508"/>
                <a:gd name="connsiteY75" fmla="*/ 1338337 h 1570508"/>
                <a:gd name="connsiteX76" fmla="*/ 351048 w 1570508"/>
                <a:gd name="connsiteY76" fmla="*/ 1439354 h 1570508"/>
                <a:gd name="connsiteX77" fmla="*/ 347142 w 1570508"/>
                <a:gd name="connsiteY77" fmla="*/ 1419820 h 1570508"/>
                <a:gd name="connsiteX78" fmla="*/ 366675 w 1570508"/>
                <a:gd name="connsiteY78" fmla="*/ 1415914 h 1570508"/>
                <a:gd name="connsiteX79" fmla="*/ 785254 w 1570508"/>
                <a:gd name="connsiteY79" fmla="*/ 1542046 h 1570508"/>
                <a:gd name="connsiteX80" fmla="*/ 799486 w 1570508"/>
                <a:gd name="connsiteY80" fmla="*/ 1556277 h 1570508"/>
                <a:gd name="connsiteX81" fmla="*/ 785254 w 1570508"/>
                <a:gd name="connsiteY81" fmla="*/ 1570509 h 1570508"/>
                <a:gd name="connsiteX82" fmla="*/ 351048 w 1570508"/>
                <a:gd name="connsiteY82" fmla="*/ 1439354 h 157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570508" h="1570508">
                  <a:moveTo>
                    <a:pt x="784975" y="1570230"/>
                  </a:moveTo>
                  <a:cubicBezTo>
                    <a:pt x="777162" y="1570230"/>
                    <a:pt x="770744" y="1563812"/>
                    <a:pt x="770744" y="1555998"/>
                  </a:cubicBezTo>
                  <a:cubicBezTo>
                    <a:pt x="770744" y="1548185"/>
                    <a:pt x="777162" y="1541766"/>
                    <a:pt x="784975" y="1541766"/>
                  </a:cubicBezTo>
                  <a:cubicBezTo>
                    <a:pt x="1024124" y="1541766"/>
                    <a:pt x="1244575" y="1430145"/>
                    <a:pt x="1386892" y="1243738"/>
                  </a:cubicBezTo>
                  <a:cubicBezTo>
                    <a:pt x="1391636" y="1237599"/>
                    <a:pt x="1400566" y="1236204"/>
                    <a:pt x="1406705" y="1240948"/>
                  </a:cubicBezTo>
                  <a:cubicBezTo>
                    <a:pt x="1412844" y="1245692"/>
                    <a:pt x="1414239" y="1254621"/>
                    <a:pt x="1409495" y="1260760"/>
                  </a:cubicBezTo>
                  <a:cubicBezTo>
                    <a:pt x="1261877" y="1454702"/>
                    <a:pt x="1033053" y="1570230"/>
                    <a:pt x="784975" y="1570230"/>
                  </a:cubicBezTo>
                  <a:close/>
                  <a:moveTo>
                    <a:pt x="1418146" y="1249598"/>
                  </a:moveTo>
                  <a:cubicBezTo>
                    <a:pt x="1413402" y="1256017"/>
                    <a:pt x="1404752" y="1257133"/>
                    <a:pt x="1398333" y="1252668"/>
                  </a:cubicBezTo>
                  <a:cubicBezTo>
                    <a:pt x="1391915" y="1247924"/>
                    <a:pt x="1390799" y="1239273"/>
                    <a:pt x="1395264" y="1232855"/>
                  </a:cubicBezTo>
                  <a:cubicBezTo>
                    <a:pt x="1398054" y="1229227"/>
                    <a:pt x="1400845" y="1225321"/>
                    <a:pt x="1403356" y="1221693"/>
                  </a:cubicBezTo>
                  <a:cubicBezTo>
                    <a:pt x="1407821" y="1215275"/>
                    <a:pt x="1416751" y="1213879"/>
                    <a:pt x="1423169" y="1218344"/>
                  </a:cubicBezTo>
                  <a:cubicBezTo>
                    <a:pt x="1429587" y="1222809"/>
                    <a:pt x="1430982" y="1231739"/>
                    <a:pt x="1426518" y="1238157"/>
                  </a:cubicBezTo>
                  <a:cubicBezTo>
                    <a:pt x="1423727" y="1241785"/>
                    <a:pt x="1420937" y="1245692"/>
                    <a:pt x="1418146" y="1249598"/>
                  </a:cubicBezTo>
                  <a:close/>
                  <a:moveTo>
                    <a:pt x="1498234" y="1114258"/>
                  </a:moveTo>
                  <a:cubicBezTo>
                    <a:pt x="1494886" y="1121234"/>
                    <a:pt x="1486514" y="1124304"/>
                    <a:pt x="1479538" y="1121234"/>
                  </a:cubicBezTo>
                  <a:cubicBezTo>
                    <a:pt x="1472561" y="1117885"/>
                    <a:pt x="1469492" y="1109514"/>
                    <a:pt x="1472561" y="1102538"/>
                  </a:cubicBezTo>
                  <a:cubicBezTo>
                    <a:pt x="1518047" y="1004032"/>
                    <a:pt x="1542046" y="896596"/>
                    <a:pt x="1542046" y="785813"/>
                  </a:cubicBezTo>
                  <a:cubicBezTo>
                    <a:pt x="1542046" y="659960"/>
                    <a:pt x="1511629" y="538851"/>
                    <a:pt x="1453865" y="430578"/>
                  </a:cubicBezTo>
                  <a:cubicBezTo>
                    <a:pt x="1450237" y="423602"/>
                    <a:pt x="1452749" y="415231"/>
                    <a:pt x="1459725" y="411324"/>
                  </a:cubicBezTo>
                  <a:cubicBezTo>
                    <a:pt x="1466701" y="407696"/>
                    <a:pt x="1475073" y="410208"/>
                    <a:pt x="1478980" y="417184"/>
                  </a:cubicBezTo>
                  <a:cubicBezTo>
                    <a:pt x="1538697" y="529642"/>
                    <a:pt x="1570509" y="655216"/>
                    <a:pt x="1570509" y="785813"/>
                  </a:cubicBezTo>
                  <a:cubicBezTo>
                    <a:pt x="1570230" y="900782"/>
                    <a:pt x="1545394" y="1012124"/>
                    <a:pt x="1498234" y="1114258"/>
                  </a:cubicBezTo>
                  <a:close/>
                  <a:moveTo>
                    <a:pt x="1472003" y="404626"/>
                  </a:moveTo>
                  <a:cubicBezTo>
                    <a:pt x="1475910" y="411324"/>
                    <a:pt x="1473398" y="419974"/>
                    <a:pt x="1466422" y="423881"/>
                  </a:cubicBezTo>
                  <a:cubicBezTo>
                    <a:pt x="1459725" y="427788"/>
                    <a:pt x="1451074" y="425276"/>
                    <a:pt x="1447168" y="418300"/>
                  </a:cubicBezTo>
                  <a:cubicBezTo>
                    <a:pt x="1444935" y="414114"/>
                    <a:pt x="1442703" y="410208"/>
                    <a:pt x="1440191" y="406301"/>
                  </a:cubicBezTo>
                  <a:cubicBezTo>
                    <a:pt x="1436284" y="399604"/>
                    <a:pt x="1438517" y="390953"/>
                    <a:pt x="1445214" y="387046"/>
                  </a:cubicBezTo>
                  <a:cubicBezTo>
                    <a:pt x="1451911" y="383139"/>
                    <a:pt x="1460562" y="385372"/>
                    <a:pt x="1464469" y="392069"/>
                  </a:cubicBezTo>
                  <a:cubicBezTo>
                    <a:pt x="1467259" y="396255"/>
                    <a:pt x="1469492" y="400441"/>
                    <a:pt x="1472003" y="404626"/>
                  </a:cubicBezTo>
                  <a:close/>
                  <a:moveTo>
                    <a:pt x="1381869" y="274867"/>
                  </a:moveTo>
                  <a:cubicBezTo>
                    <a:pt x="1386892" y="280727"/>
                    <a:pt x="1386334" y="289657"/>
                    <a:pt x="1380195" y="294680"/>
                  </a:cubicBezTo>
                  <a:cubicBezTo>
                    <a:pt x="1374056" y="299703"/>
                    <a:pt x="1365405" y="299145"/>
                    <a:pt x="1360382" y="293005"/>
                  </a:cubicBezTo>
                  <a:cubicBezTo>
                    <a:pt x="1217507" y="126132"/>
                    <a:pt x="1009334" y="28184"/>
                    <a:pt x="785254" y="28184"/>
                  </a:cubicBezTo>
                  <a:cubicBezTo>
                    <a:pt x="771023" y="28184"/>
                    <a:pt x="757070" y="28463"/>
                    <a:pt x="743117" y="29301"/>
                  </a:cubicBezTo>
                  <a:cubicBezTo>
                    <a:pt x="735304" y="29859"/>
                    <a:pt x="728607" y="23719"/>
                    <a:pt x="728328" y="15906"/>
                  </a:cubicBezTo>
                  <a:cubicBezTo>
                    <a:pt x="727770" y="8093"/>
                    <a:pt x="733909" y="1395"/>
                    <a:pt x="741722" y="1116"/>
                  </a:cubicBezTo>
                  <a:cubicBezTo>
                    <a:pt x="756233" y="279"/>
                    <a:pt x="770744" y="0"/>
                    <a:pt x="785533" y="0"/>
                  </a:cubicBezTo>
                  <a:cubicBezTo>
                    <a:pt x="1017426" y="0"/>
                    <a:pt x="1233413" y="101854"/>
                    <a:pt x="1381869" y="274867"/>
                  </a:cubicBezTo>
                  <a:close/>
                  <a:moveTo>
                    <a:pt x="726932" y="2232"/>
                  </a:moveTo>
                  <a:cubicBezTo>
                    <a:pt x="734746" y="1674"/>
                    <a:pt x="741443" y="7534"/>
                    <a:pt x="742001" y="15348"/>
                  </a:cubicBezTo>
                  <a:cubicBezTo>
                    <a:pt x="742559" y="23161"/>
                    <a:pt x="736699" y="29859"/>
                    <a:pt x="728886" y="30417"/>
                  </a:cubicBezTo>
                  <a:cubicBezTo>
                    <a:pt x="724142" y="30696"/>
                    <a:pt x="719677" y="31254"/>
                    <a:pt x="714933" y="31533"/>
                  </a:cubicBezTo>
                  <a:cubicBezTo>
                    <a:pt x="707120" y="32370"/>
                    <a:pt x="700143" y="26510"/>
                    <a:pt x="699585" y="18697"/>
                  </a:cubicBezTo>
                  <a:cubicBezTo>
                    <a:pt x="698748" y="10883"/>
                    <a:pt x="704608" y="3907"/>
                    <a:pt x="712422" y="3349"/>
                  </a:cubicBezTo>
                  <a:cubicBezTo>
                    <a:pt x="717445" y="3070"/>
                    <a:pt x="722189" y="2512"/>
                    <a:pt x="726932" y="2232"/>
                  </a:cubicBezTo>
                  <a:close/>
                  <a:moveTo>
                    <a:pt x="571221" y="29580"/>
                  </a:moveTo>
                  <a:cubicBezTo>
                    <a:pt x="578755" y="27347"/>
                    <a:pt x="586569" y="31812"/>
                    <a:pt x="588801" y="39346"/>
                  </a:cubicBezTo>
                  <a:cubicBezTo>
                    <a:pt x="591034" y="46881"/>
                    <a:pt x="586569" y="54694"/>
                    <a:pt x="579034" y="56927"/>
                  </a:cubicBezTo>
                  <a:cubicBezTo>
                    <a:pt x="352165" y="121109"/>
                    <a:pt x="167432" y="288820"/>
                    <a:pt x="81204" y="507597"/>
                  </a:cubicBezTo>
                  <a:cubicBezTo>
                    <a:pt x="78414" y="514852"/>
                    <a:pt x="70042" y="518480"/>
                    <a:pt x="62787" y="515690"/>
                  </a:cubicBezTo>
                  <a:cubicBezTo>
                    <a:pt x="55531" y="512899"/>
                    <a:pt x="51904" y="504527"/>
                    <a:pt x="54694" y="497272"/>
                  </a:cubicBezTo>
                  <a:cubicBezTo>
                    <a:pt x="143991" y="270123"/>
                    <a:pt x="335700" y="96273"/>
                    <a:pt x="571221" y="29580"/>
                  </a:cubicBezTo>
                  <a:close/>
                  <a:moveTo>
                    <a:pt x="49671" y="510108"/>
                  </a:moveTo>
                  <a:cubicBezTo>
                    <a:pt x="52462" y="502853"/>
                    <a:pt x="60554" y="498946"/>
                    <a:pt x="67810" y="501737"/>
                  </a:cubicBezTo>
                  <a:cubicBezTo>
                    <a:pt x="75065" y="504527"/>
                    <a:pt x="78972" y="512620"/>
                    <a:pt x="76181" y="519875"/>
                  </a:cubicBezTo>
                  <a:cubicBezTo>
                    <a:pt x="74507" y="524340"/>
                    <a:pt x="73112" y="528526"/>
                    <a:pt x="71437" y="532991"/>
                  </a:cubicBezTo>
                  <a:cubicBezTo>
                    <a:pt x="68926" y="540246"/>
                    <a:pt x="60834" y="544153"/>
                    <a:pt x="53299" y="541641"/>
                  </a:cubicBezTo>
                  <a:cubicBezTo>
                    <a:pt x="46044" y="539130"/>
                    <a:pt x="42137" y="531037"/>
                    <a:pt x="44648" y="523503"/>
                  </a:cubicBezTo>
                  <a:lnTo>
                    <a:pt x="49671" y="510108"/>
                  </a:lnTo>
                  <a:close/>
                  <a:moveTo>
                    <a:pt x="9488" y="663587"/>
                  </a:moveTo>
                  <a:cubicBezTo>
                    <a:pt x="10604" y="655774"/>
                    <a:pt x="17859" y="650472"/>
                    <a:pt x="25673" y="651867"/>
                  </a:cubicBezTo>
                  <a:cubicBezTo>
                    <a:pt x="33486" y="652983"/>
                    <a:pt x="38788" y="660239"/>
                    <a:pt x="37393" y="668052"/>
                  </a:cubicBezTo>
                  <a:cubicBezTo>
                    <a:pt x="31533" y="706562"/>
                    <a:pt x="28463" y="745629"/>
                    <a:pt x="28463" y="784975"/>
                  </a:cubicBezTo>
                  <a:cubicBezTo>
                    <a:pt x="28463" y="983103"/>
                    <a:pt x="104645" y="1168673"/>
                    <a:pt x="238590" y="1308757"/>
                  </a:cubicBezTo>
                  <a:cubicBezTo>
                    <a:pt x="243892" y="1314338"/>
                    <a:pt x="243892" y="1323268"/>
                    <a:pt x="238032" y="1328849"/>
                  </a:cubicBezTo>
                  <a:cubicBezTo>
                    <a:pt x="232451" y="1334151"/>
                    <a:pt x="223521" y="1334151"/>
                    <a:pt x="217940" y="1328291"/>
                  </a:cubicBezTo>
                  <a:cubicBezTo>
                    <a:pt x="78972" y="1183184"/>
                    <a:pt x="0" y="990358"/>
                    <a:pt x="0" y="784975"/>
                  </a:cubicBezTo>
                  <a:cubicBezTo>
                    <a:pt x="0" y="743955"/>
                    <a:pt x="3070" y="703492"/>
                    <a:pt x="9488" y="663587"/>
                  </a:cubicBezTo>
                  <a:close/>
                  <a:moveTo>
                    <a:pt x="227986" y="1338337"/>
                  </a:moveTo>
                  <a:cubicBezTo>
                    <a:pt x="222405" y="1332756"/>
                    <a:pt x="222405" y="1323826"/>
                    <a:pt x="227986" y="1318245"/>
                  </a:cubicBezTo>
                  <a:cubicBezTo>
                    <a:pt x="233567" y="1312664"/>
                    <a:pt x="242497" y="1312664"/>
                    <a:pt x="248078" y="1318245"/>
                  </a:cubicBezTo>
                  <a:lnTo>
                    <a:pt x="257845" y="1328012"/>
                  </a:lnTo>
                  <a:cubicBezTo>
                    <a:pt x="263426" y="1333593"/>
                    <a:pt x="263705" y="1342523"/>
                    <a:pt x="258124" y="1348104"/>
                  </a:cubicBezTo>
                  <a:cubicBezTo>
                    <a:pt x="252543" y="1353685"/>
                    <a:pt x="243613" y="1353964"/>
                    <a:pt x="238032" y="1348383"/>
                  </a:cubicBezTo>
                  <a:cubicBezTo>
                    <a:pt x="234683" y="1345313"/>
                    <a:pt x="231335" y="1341686"/>
                    <a:pt x="227986" y="1338337"/>
                  </a:cubicBezTo>
                  <a:close/>
                  <a:moveTo>
                    <a:pt x="351048" y="1439354"/>
                  </a:moveTo>
                  <a:cubicBezTo>
                    <a:pt x="344630" y="1434889"/>
                    <a:pt x="342677" y="1426239"/>
                    <a:pt x="347142" y="1419820"/>
                  </a:cubicBezTo>
                  <a:cubicBezTo>
                    <a:pt x="351606" y="1413402"/>
                    <a:pt x="360257" y="1411449"/>
                    <a:pt x="366675" y="1415914"/>
                  </a:cubicBezTo>
                  <a:cubicBezTo>
                    <a:pt x="489738" y="1497676"/>
                    <a:pt x="634008" y="1542046"/>
                    <a:pt x="785254" y="1542046"/>
                  </a:cubicBezTo>
                  <a:cubicBezTo>
                    <a:pt x="793068" y="1542046"/>
                    <a:pt x="799486" y="1548464"/>
                    <a:pt x="799486" y="1556277"/>
                  </a:cubicBezTo>
                  <a:cubicBezTo>
                    <a:pt x="799486" y="1564091"/>
                    <a:pt x="793068" y="1570509"/>
                    <a:pt x="785254" y="1570509"/>
                  </a:cubicBezTo>
                  <a:cubicBezTo>
                    <a:pt x="628427" y="1570230"/>
                    <a:pt x="478575" y="1524465"/>
                    <a:pt x="351048" y="1439354"/>
                  </a:cubicBezTo>
                  <a:close/>
                </a:path>
              </a:pathLst>
            </a:custGeom>
            <a:grpFill/>
            <a:ln w="27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6F147E6-E37C-8303-D4D3-F1A4661232CE}"/>
                </a:ext>
              </a:extLst>
            </p:cNvPr>
            <p:cNvSpPr/>
            <p:nvPr/>
          </p:nvSpPr>
          <p:spPr>
            <a:xfrm>
              <a:off x="3185796" y="2151410"/>
              <a:ext cx="2059178" cy="892106"/>
            </a:xfrm>
            <a:custGeom>
              <a:avLst/>
              <a:gdLst>
                <a:gd name="connsiteX0" fmla="*/ 268647 w 2059178"/>
                <a:gd name="connsiteY0" fmla="*/ 362297 h 892106"/>
                <a:gd name="connsiteX1" fmla="*/ 288181 w 2059178"/>
                <a:gd name="connsiteY1" fmla="*/ 366762 h 892106"/>
                <a:gd name="connsiteX2" fmla="*/ 283716 w 2059178"/>
                <a:gd name="connsiteY2" fmla="*/ 386296 h 892106"/>
                <a:gd name="connsiteX3" fmla="*/ 32011 w 2059178"/>
                <a:gd name="connsiteY3" fmla="*/ 708881 h 892106"/>
                <a:gd name="connsiteX4" fmla="*/ 226231 w 2059178"/>
                <a:gd name="connsiteY4" fmla="*/ 839477 h 892106"/>
                <a:gd name="connsiteX5" fmla="*/ 236835 w 2059178"/>
                <a:gd name="connsiteY5" fmla="*/ 856500 h 892106"/>
                <a:gd name="connsiteX6" fmla="*/ 219813 w 2059178"/>
                <a:gd name="connsiteY6" fmla="*/ 867104 h 892106"/>
                <a:gd name="connsiteX7" fmla="*/ 4663 w 2059178"/>
                <a:gd name="connsiteY7" fmla="*/ 716136 h 892106"/>
                <a:gd name="connsiteX8" fmla="*/ 268647 w 2059178"/>
                <a:gd name="connsiteY8" fmla="*/ 362297 h 892106"/>
                <a:gd name="connsiteX9" fmla="*/ 234045 w 2059178"/>
                <a:gd name="connsiteY9" fmla="*/ 870173 h 892106"/>
                <a:gd name="connsiteX10" fmla="*/ 223162 w 2059178"/>
                <a:gd name="connsiteY10" fmla="*/ 853430 h 892106"/>
                <a:gd name="connsiteX11" fmla="*/ 239905 w 2059178"/>
                <a:gd name="connsiteY11" fmla="*/ 842547 h 892106"/>
                <a:gd name="connsiteX12" fmla="*/ 253578 w 2059178"/>
                <a:gd name="connsiteY12" fmla="*/ 845338 h 892106"/>
                <a:gd name="connsiteX13" fmla="*/ 264741 w 2059178"/>
                <a:gd name="connsiteY13" fmla="*/ 861802 h 892106"/>
                <a:gd name="connsiteX14" fmla="*/ 248276 w 2059178"/>
                <a:gd name="connsiteY14" fmla="*/ 872964 h 892106"/>
                <a:gd name="connsiteX15" fmla="*/ 234045 w 2059178"/>
                <a:gd name="connsiteY15" fmla="*/ 870173 h 892106"/>
                <a:gd name="connsiteX16" fmla="*/ 391430 w 2059178"/>
                <a:gd name="connsiteY16" fmla="*/ 889986 h 892106"/>
                <a:gd name="connsiteX17" fmla="*/ 378036 w 2059178"/>
                <a:gd name="connsiteY17" fmla="*/ 875196 h 892106"/>
                <a:gd name="connsiteX18" fmla="*/ 392826 w 2059178"/>
                <a:gd name="connsiteY18" fmla="*/ 861802 h 892106"/>
                <a:gd name="connsiteX19" fmla="*/ 1088225 w 2059178"/>
                <a:gd name="connsiteY19" fmla="*/ 777807 h 892106"/>
                <a:gd name="connsiteX20" fmla="*/ 1105526 w 2059178"/>
                <a:gd name="connsiteY20" fmla="*/ 787853 h 892106"/>
                <a:gd name="connsiteX21" fmla="*/ 1095481 w 2059178"/>
                <a:gd name="connsiteY21" fmla="*/ 805154 h 892106"/>
                <a:gd name="connsiteX22" fmla="*/ 391430 w 2059178"/>
                <a:gd name="connsiteY22" fmla="*/ 889986 h 892106"/>
                <a:gd name="connsiteX23" fmla="*/ 1109154 w 2059178"/>
                <a:gd name="connsiteY23" fmla="*/ 801526 h 892106"/>
                <a:gd name="connsiteX24" fmla="*/ 1091853 w 2059178"/>
                <a:gd name="connsiteY24" fmla="*/ 791480 h 892106"/>
                <a:gd name="connsiteX25" fmla="*/ 1101899 w 2059178"/>
                <a:gd name="connsiteY25" fmla="*/ 774179 h 892106"/>
                <a:gd name="connsiteX26" fmla="*/ 1115572 w 2059178"/>
                <a:gd name="connsiteY26" fmla="*/ 770552 h 892106"/>
                <a:gd name="connsiteX27" fmla="*/ 1132874 w 2059178"/>
                <a:gd name="connsiteY27" fmla="*/ 780597 h 892106"/>
                <a:gd name="connsiteX28" fmla="*/ 1122828 w 2059178"/>
                <a:gd name="connsiteY28" fmla="*/ 797899 h 892106"/>
                <a:gd name="connsiteX29" fmla="*/ 1109154 w 2059178"/>
                <a:gd name="connsiteY29" fmla="*/ 801526 h 892106"/>
                <a:gd name="connsiteX30" fmla="*/ 1259285 w 2059178"/>
                <a:gd name="connsiteY30" fmla="*/ 757994 h 892106"/>
                <a:gd name="connsiteX31" fmla="*/ 1241425 w 2059178"/>
                <a:gd name="connsiteY31" fmla="*/ 748785 h 892106"/>
                <a:gd name="connsiteX32" fmla="*/ 1250634 w 2059178"/>
                <a:gd name="connsiteY32" fmla="*/ 730926 h 892106"/>
                <a:gd name="connsiteX33" fmla="*/ 1878224 w 2059178"/>
                <a:gd name="connsiteY33" fmla="*/ 423968 h 892106"/>
                <a:gd name="connsiteX34" fmla="*/ 1898036 w 2059178"/>
                <a:gd name="connsiteY34" fmla="*/ 426200 h 892106"/>
                <a:gd name="connsiteX35" fmla="*/ 1895804 w 2059178"/>
                <a:gd name="connsiteY35" fmla="*/ 446013 h 892106"/>
                <a:gd name="connsiteX36" fmla="*/ 1259285 w 2059178"/>
                <a:gd name="connsiteY36" fmla="*/ 757994 h 892106"/>
                <a:gd name="connsiteX37" fmla="*/ 1907524 w 2059178"/>
                <a:gd name="connsiteY37" fmla="*/ 436804 h 892106"/>
                <a:gd name="connsiteX38" fmla="*/ 1887711 w 2059178"/>
                <a:gd name="connsiteY38" fmla="*/ 434851 h 892106"/>
                <a:gd name="connsiteX39" fmla="*/ 1889665 w 2059178"/>
                <a:gd name="connsiteY39" fmla="*/ 415038 h 892106"/>
                <a:gd name="connsiteX40" fmla="*/ 1900269 w 2059178"/>
                <a:gd name="connsiteY40" fmla="*/ 406109 h 892106"/>
                <a:gd name="connsiteX41" fmla="*/ 1920081 w 2059178"/>
                <a:gd name="connsiteY41" fmla="*/ 407504 h 892106"/>
                <a:gd name="connsiteX42" fmla="*/ 1918686 w 2059178"/>
                <a:gd name="connsiteY42" fmla="*/ 427317 h 892106"/>
                <a:gd name="connsiteX43" fmla="*/ 1907524 w 2059178"/>
                <a:gd name="connsiteY43" fmla="*/ 436804 h 892106"/>
                <a:gd name="connsiteX44" fmla="*/ 2016913 w 2059178"/>
                <a:gd name="connsiteY44" fmla="*/ 321277 h 892106"/>
                <a:gd name="connsiteX45" fmla="*/ 2054585 w 2059178"/>
                <a:gd name="connsiteY45" fmla="*/ 167239 h 892106"/>
                <a:gd name="connsiteX46" fmla="*/ 1747906 w 2059178"/>
                <a:gd name="connsiteY46" fmla="*/ 87 h 892106"/>
                <a:gd name="connsiteX47" fmla="*/ 1732279 w 2059178"/>
                <a:gd name="connsiteY47" fmla="*/ 12365 h 892106"/>
                <a:gd name="connsiteX48" fmla="*/ 1744557 w 2059178"/>
                <a:gd name="connsiteY48" fmla="*/ 27992 h 892106"/>
                <a:gd name="connsiteX49" fmla="*/ 2027238 w 2059178"/>
                <a:gd name="connsiteY49" fmla="*/ 174216 h 892106"/>
                <a:gd name="connsiteX50" fmla="*/ 1993472 w 2059178"/>
                <a:gd name="connsiteY50" fmla="*/ 305092 h 892106"/>
                <a:gd name="connsiteX51" fmla="*/ 1997379 w 2059178"/>
                <a:gd name="connsiteY51" fmla="*/ 324625 h 892106"/>
                <a:gd name="connsiteX52" fmla="*/ 2016913 w 2059178"/>
                <a:gd name="connsiteY52" fmla="*/ 321277 h 892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059178" h="892106">
                  <a:moveTo>
                    <a:pt x="268647" y="362297"/>
                  </a:moveTo>
                  <a:cubicBezTo>
                    <a:pt x="275345" y="358112"/>
                    <a:pt x="283995" y="360065"/>
                    <a:pt x="288181" y="366762"/>
                  </a:cubicBezTo>
                  <a:cubicBezTo>
                    <a:pt x="292367" y="373459"/>
                    <a:pt x="290413" y="382110"/>
                    <a:pt x="283716" y="386296"/>
                  </a:cubicBezTo>
                  <a:cubicBezTo>
                    <a:pt x="99820" y="502661"/>
                    <a:pt x="8291" y="620421"/>
                    <a:pt x="32011" y="708881"/>
                  </a:cubicBezTo>
                  <a:cubicBezTo>
                    <a:pt x="47917" y="768319"/>
                    <a:pt x="115168" y="813526"/>
                    <a:pt x="226231" y="839477"/>
                  </a:cubicBezTo>
                  <a:cubicBezTo>
                    <a:pt x="233766" y="841152"/>
                    <a:pt x="238510" y="848965"/>
                    <a:pt x="236835" y="856500"/>
                  </a:cubicBezTo>
                  <a:cubicBezTo>
                    <a:pt x="235161" y="864034"/>
                    <a:pt x="227347" y="868778"/>
                    <a:pt x="219813" y="867104"/>
                  </a:cubicBezTo>
                  <a:cubicBezTo>
                    <a:pt x="99541" y="838919"/>
                    <a:pt x="23918" y="787853"/>
                    <a:pt x="4663" y="716136"/>
                  </a:cubicBezTo>
                  <a:cubicBezTo>
                    <a:pt x="-23242" y="611491"/>
                    <a:pt x="75264" y="484801"/>
                    <a:pt x="268647" y="362297"/>
                  </a:cubicBezTo>
                  <a:close/>
                  <a:moveTo>
                    <a:pt x="234045" y="870173"/>
                  </a:moveTo>
                  <a:cubicBezTo>
                    <a:pt x="226510" y="868499"/>
                    <a:pt x="221487" y="860965"/>
                    <a:pt x="223162" y="853430"/>
                  </a:cubicBezTo>
                  <a:cubicBezTo>
                    <a:pt x="224836" y="845896"/>
                    <a:pt x="232370" y="840873"/>
                    <a:pt x="239905" y="842547"/>
                  </a:cubicBezTo>
                  <a:cubicBezTo>
                    <a:pt x="244370" y="843384"/>
                    <a:pt x="248835" y="844501"/>
                    <a:pt x="253578" y="845338"/>
                  </a:cubicBezTo>
                  <a:cubicBezTo>
                    <a:pt x="261113" y="846733"/>
                    <a:pt x="266136" y="854267"/>
                    <a:pt x="264741" y="861802"/>
                  </a:cubicBezTo>
                  <a:cubicBezTo>
                    <a:pt x="263345" y="869336"/>
                    <a:pt x="255811" y="874359"/>
                    <a:pt x="248276" y="872964"/>
                  </a:cubicBezTo>
                  <a:cubicBezTo>
                    <a:pt x="243533" y="872127"/>
                    <a:pt x="238789" y="871290"/>
                    <a:pt x="234045" y="870173"/>
                  </a:cubicBezTo>
                  <a:close/>
                  <a:moveTo>
                    <a:pt x="391430" y="889986"/>
                  </a:moveTo>
                  <a:cubicBezTo>
                    <a:pt x="383617" y="889428"/>
                    <a:pt x="377757" y="883010"/>
                    <a:pt x="378036" y="875196"/>
                  </a:cubicBezTo>
                  <a:cubicBezTo>
                    <a:pt x="378594" y="867383"/>
                    <a:pt x="385012" y="861523"/>
                    <a:pt x="392826" y="861802"/>
                  </a:cubicBezTo>
                  <a:cubicBezTo>
                    <a:pt x="587326" y="872406"/>
                    <a:pt x="833729" y="843384"/>
                    <a:pt x="1088225" y="777807"/>
                  </a:cubicBezTo>
                  <a:cubicBezTo>
                    <a:pt x="1095760" y="775853"/>
                    <a:pt x="1103573" y="780318"/>
                    <a:pt x="1105526" y="787853"/>
                  </a:cubicBezTo>
                  <a:cubicBezTo>
                    <a:pt x="1107480" y="795387"/>
                    <a:pt x="1103015" y="803201"/>
                    <a:pt x="1095481" y="805154"/>
                  </a:cubicBezTo>
                  <a:cubicBezTo>
                    <a:pt x="838194" y="871290"/>
                    <a:pt x="589000" y="900590"/>
                    <a:pt x="391430" y="889986"/>
                  </a:cubicBezTo>
                  <a:close/>
                  <a:moveTo>
                    <a:pt x="1109154" y="801526"/>
                  </a:moveTo>
                  <a:cubicBezTo>
                    <a:pt x="1101620" y="803480"/>
                    <a:pt x="1093806" y="799015"/>
                    <a:pt x="1091853" y="791480"/>
                  </a:cubicBezTo>
                  <a:cubicBezTo>
                    <a:pt x="1089900" y="783946"/>
                    <a:pt x="1094364" y="776133"/>
                    <a:pt x="1101899" y="774179"/>
                  </a:cubicBezTo>
                  <a:cubicBezTo>
                    <a:pt x="1106364" y="773063"/>
                    <a:pt x="1111107" y="771668"/>
                    <a:pt x="1115572" y="770552"/>
                  </a:cubicBezTo>
                  <a:cubicBezTo>
                    <a:pt x="1123107" y="768598"/>
                    <a:pt x="1130920" y="773063"/>
                    <a:pt x="1132874" y="780597"/>
                  </a:cubicBezTo>
                  <a:cubicBezTo>
                    <a:pt x="1134827" y="788132"/>
                    <a:pt x="1130362" y="795945"/>
                    <a:pt x="1122828" y="797899"/>
                  </a:cubicBezTo>
                  <a:cubicBezTo>
                    <a:pt x="1118363" y="799015"/>
                    <a:pt x="1113619" y="800131"/>
                    <a:pt x="1109154" y="801526"/>
                  </a:cubicBezTo>
                  <a:close/>
                  <a:moveTo>
                    <a:pt x="1259285" y="757994"/>
                  </a:moveTo>
                  <a:cubicBezTo>
                    <a:pt x="1251750" y="760227"/>
                    <a:pt x="1243937" y="756320"/>
                    <a:pt x="1241425" y="748785"/>
                  </a:cubicBezTo>
                  <a:cubicBezTo>
                    <a:pt x="1239193" y="741251"/>
                    <a:pt x="1243099" y="733437"/>
                    <a:pt x="1250634" y="730926"/>
                  </a:cubicBezTo>
                  <a:cubicBezTo>
                    <a:pt x="1511827" y="648047"/>
                    <a:pt x="1736744" y="537542"/>
                    <a:pt x="1878224" y="423968"/>
                  </a:cubicBezTo>
                  <a:cubicBezTo>
                    <a:pt x="1884363" y="418945"/>
                    <a:pt x="1893292" y="420061"/>
                    <a:pt x="1898036" y="426200"/>
                  </a:cubicBezTo>
                  <a:cubicBezTo>
                    <a:pt x="1903059" y="432340"/>
                    <a:pt x="1901943" y="441269"/>
                    <a:pt x="1895804" y="446013"/>
                  </a:cubicBezTo>
                  <a:cubicBezTo>
                    <a:pt x="1751534" y="562099"/>
                    <a:pt x="1523827" y="674278"/>
                    <a:pt x="1259285" y="757994"/>
                  </a:cubicBezTo>
                  <a:close/>
                  <a:moveTo>
                    <a:pt x="1907524" y="436804"/>
                  </a:moveTo>
                  <a:cubicBezTo>
                    <a:pt x="1901385" y="441827"/>
                    <a:pt x="1892455" y="440990"/>
                    <a:pt x="1887711" y="434851"/>
                  </a:cubicBezTo>
                  <a:cubicBezTo>
                    <a:pt x="1882688" y="428712"/>
                    <a:pt x="1883525" y="419782"/>
                    <a:pt x="1889665" y="415038"/>
                  </a:cubicBezTo>
                  <a:cubicBezTo>
                    <a:pt x="1893292" y="411969"/>
                    <a:pt x="1896920" y="409178"/>
                    <a:pt x="1900269" y="406109"/>
                  </a:cubicBezTo>
                  <a:cubicBezTo>
                    <a:pt x="1906129" y="401086"/>
                    <a:pt x="1915059" y="401644"/>
                    <a:pt x="1920081" y="407504"/>
                  </a:cubicBezTo>
                  <a:cubicBezTo>
                    <a:pt x="1925104" y="413364"/>
                    <a:pt x="1924546" y="422294"/>
                    <a:pt x="1918686" y="427317"/>
                  </a:cubicBezTo>
                  <a:cubicBezTo>
                    <a:pt x="1914779" y="430665"/>
                    <a:pt x="1911152" y="433735"/>
                    <a:pt x="1907524" y="436804"/>
                  </a:cubicBezTo>
                  <a:close/>
                  <a:moveTo>
                    <a:pt x="2016913" y="321277"/>
                  </a:moveTo>
                  <a:cubicBezTo>
                    <a:pt x="2053748" y="266861"/>
                    <a:pt x="2067142" y="214678"/>
                    <a:pt x="2054585" y="167239"/>
                  </a:cubicBezTo>
                  <a:cubicBezTo>
                    <a:pt x="2030865" y="78222"/>
                    <a:pt x="1920919" y="21295"/>
                    <a:pt x="1747906" y="87"/>
                  </a:cubicBezTo>
                  <a:cubicBezTo>
                    <a:pt x="1740092" y="-750"/>
                    <a:pt x="1733116" y="4552"/>
                    <a:pt x="1732279" y="12365"/>
                  </a:cubicBezTo>
                  <a:cubicBezTo>
                    <a:pt x="1731442" y="20179"/>
                    <a:pt x="1736744" y="27155"/>
                    <a:pt x="1744557" y="27992"/>
                  </a:cubicBezTo>
                  <a:cubicBezTo>
                    <a:pt x="1907245" y="47805"/>
                    <a:pt x="2007425" y="99709"/>
                    <a:pt x="2027238" y="174216"/>
                  </a:cubicBezTo>
                  <a:cubicBezTo>
                    <a:pt x="2037563" y="212725"/>
                    <a:pt x="2026121" y="256815"/>
                    <a:pt x="1993472" y="305092"/>
                  </a:cubicBezTo>
                  <a:cubicBezTo>
                    <a:pt x="1989007" y="311510"/>
                    <a:pt x="1990682" y="320439"/>
                    <a:pt x="1997379" y="324625"/>
                  </a:cubicBezTo>
                  <a:cubicBezTo>
                    <a:pt x="2003797" y="329369"/>
                    <a:pt x="2012448" y="327695"/>
                    <a:pt x="2016913" y="321277"/>
                  </a:cubicBezTo>
                  <a:close/>
                </a:path>
              </a:pathLst>
            </a:custGeom>
            <a:grpFill/>
            <a:ln w="27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46CDE19A-1E73-F850-2B35-956934AA9F67}"/>
                </a:ext>
              </a:extLst>
            </p:cNvPr>
            <p:cNvSpPr/>
            <p:nvPr/>
          </p:nvSpPr>
          <p:spPr>
            <a:xfrm>
              <a:off x="4480899" y="2532225"/>
              <a:ext cx="270760" cy="175202"/>
            </a:xfrm>
            <a:custGeom>
              <a:avLst/>
              <a:gdLst>
                <a:gd name="connsiteX0" fmla="*/ 10504 w 270760"/>
                <a:gd name="connsiteY0" fmla="*/ 167890 h 175202"/>
                <a:gd name="connsiteX1" fmla="*/ 270302 w 270760"/>
                <a:gd name="connsiteY1" fmla="*/ 17760 h 175202"/>
                <a:gd name="connsiteX2" fmla="*/ 260256 w 270760"/>
                <a:gd name="connsiteY2" fmla="*/ 458 h 175202"/>
                <a:gd name="connsiteX3" fmla="*/ 242955 w 270760"/>
                <a:gd name="connsiteY3" fmla="*/ 10504 h 175202"/>
                <a:gd name="connsiteX4" fmla="*/ 17760 w 270760"/>
                <a:gd name="connsiteY4" fmla="*/ 140543 h 175202"/>
                <a:gd name="connsiteX5" fmla="*/ 458 w 270760"/>
                <a:gd name="connsiteY5" fmla="*/ 150589 h 175202"/>
                <a:gd name="connsiteX6" fmla="*/ 10504 w 270760"/>
                <a:gd name="connsiteY6" fmla="*/ 167890 h 175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760" h="175202">
                  <a:moveTo>
                    <a:pt x="10504" y="167890"/>
                  </a:moveTo>
                  <a:cubicBezTo>
                    <a:pt x="123800" y="198307"/>
                    <a:pt x="240165" y="131055"/>
                    <a:pt x="270302" y="17760"/>
                  </a:cubicBezTo>
                  <a:cubicBezTo>
                    <a:pt x="272256" y="10225"/>
                    <a:pt x="267791" y="2412"/>
                    <a:pt x="260256" y="458"/>
                  </a:cubicBezTo>
                  <a:cubicBezTo>
                    <a:pt x="252722" y="-1495"/>
                    <a:pt x="244909" y="2970"/>
                    <a:pt x="242955" y="10504"/>
                  </a:cubicBezTo>
                  <a:cubicBezTo>
                    <a:pt x="216724" y="108731"/>
                    <a:pt x="115707" y="166774"/>
                    <a:pt x="17760" y="140543"/>
                  </a:cubicBezTo>
                  <a:cubicBezTo>
                    <a:pt x="10225" y="138590"/>
                    <a:pt x="2412" y="143054"/>
                    <a:pt x="458" y="150589"/>
                  </a:cubicBezTo>
                  <a:cubicBezTo>
                    <a:pt x="-1495" y="158123"/>
                    <a:pt x="2970" y="165937"/>
                    <a:pt x="10504" y="167890"/>
                  </a:cubicBezTo>
                  <a:close/>
                </a:path>
              </a:pathLst>
            </a:custGeom>
            <a:grpFill/>
            <a:ln w="27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E55092BF-14FE-5C05-36B0-81EA69D6C9F8}"/>
              </a:ext>
            </a:extLst>
          </p:cNvPr>
          <p:cNvSpPr txBox="1"/>
          <p:nvPr/>
        </p:nvSpPr>
        <p:spPr>
          <a:xfrm>
            <a:off x="557318" y="1164834"/>
            <a:ext cx="16209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chemeClr val="bg1"/>
                </a:solidFill>
                <a:latin typeface="微软雅黑 Semibold" panose="020B0702040204020203" pitchFamily="34" charset="-122"/>
                <a:ea typeface="微软雅黑 Semibold" panose="020B0702040204020203" pitchFamily="34" charset="-122"/>
                <a:cs typeface="OPPOSans R" panose="00020600040101010101" pitchFamily="18" charset="-122"/>
              </a:defRPr>
            </a:lvl1pPr>
          </a:lstStyle>
          <a:p>
            <a:r>
              <a:rPr lang="zh-CN" altLang="en-US" sz="2800" dirty="0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使用说明</a:t>
            </a:r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825DD9E6-57BE-C98D-BE54-65E55C5F98FE}"/>
              </a:ext>
            </a:extLst>
          </p:cNvPr>
          <p:cNvSpPr/>
          <p:nvPr/>
        </p:nvSpPr>
        <p:spPr>
          <a:xfrm>
            <a:off x="673446" y="815220"/>
            <a:ext cx="2833840" cy="361636"/>
          </a:xfrm>
          <a:custGeom>
            <a:avLst/>
            <a:gdLst/>
            <a:ahLst/>
            <a:cxnLst/>
            <a:rect l="l" t="t" r="r" b="b"/>
            <a:pathLst>
              <a:path w="2833840" h="361636">
                <a:moveTo>
                  <a:pt x="923030" y="65751"/>
                </a:moveTo>
                <a:lnTo>
                  <a:pt x="923030" y="179270"/>
                </a:lnTo>
                <a:lnTo>
                  <a:pt x="953377" y="179270"/>
                </a:lnTo>
                <a:cubicBezTo>
                  <a:pt x="967613" y="179270"/>
                  <a:pt x="979508" y="176460"/>
                  <a:pt x="989062" y="170840"/>
                </a:cubicBezTo>
                <a:cubicBezTo>
                  <a:pt x="998615" y="165221"/>
                  <a:pt x="1005827" y="158196"/>
                  <a:pt x="1010698" y="149766"/>
                </a:cubicBezTo>
                <a:cubicBezTo>
                  <a:pt x="1015568" y="141337"/>
                  <a:pt x="1018004" y="132252"/>
                  <a:pt x="1018004" y="122511"/>
                </a:cubicBezTo>
                <a:cubicBezTo>
                  <a:pt x="1018004" y="112770"/>
                  <a:pt x="1015568" y="103684"/>
                  <a:pt x="1010698" y="95255"/>
                </a:cubicBezTo>
                <a:cubicBezTo>
                  <a:pt x="1005827" y="86825"/>
                  <a:pt x="998334" y="79801"/>
                  <a:pt x="988219" y="74181"/>
                </a:cubicBezTo>
                <a:cubicBezTo>
                  <a:pt x="978103" y="68561"/>
                  <a:pt x="965365" y="65751"/>
                  <a:pt x="950005" y="65751"/>
                </a:cubicBezTo>
                <a:close/>
                <a:moveTo>
                  <a:pt x="2155355" y="58445"/>
                </a:moveTo>
                <a:cubicBezTo>
                  <a:pt x="2139620" y="58445"/>
                  <a:pt x="2125009" y="62848"/>
                  <a:pt x="2111521" y="71652"/>
                </a:cubicBezTo>
                <a:cubicBezTo>
                  <a:pt x="2098034" y="80456"/>
                  <a:pt x="2086794" y="93569"/>
                  <a:pt x="2077803" y="110990"/>
                </a:cubicBezTo>
                <a:cubicBezTo>
                  <a:pt x="2068811" y="128411"/>
                  <a:pt x="2064315" y="150235"/>
                  <a:pt x="2064315" y="176460"/>
                </a:cubicBezTo>
                <a:cubicBezTo>
                  <a:pt x="2064315" y="204559"/>
                  <a:pt x="2068905" y="227881"/>
                  <a:pt x="2078084" y="246426"/>
                </a:cubicBezTo>
                <a:cubicBezTo>
                  <a:pt x="2087263" y="264971"/>
                  <a:pt x="2098689" y="278927"/>
                  <a:pt x="2112364" y="288293"/>
                </a:cubicBezTo>
                <a:cubicBezTo>
                  <a:pt x="2126039" y="297660"/>
                  <a:pt x="2140838" y="302249"/>
                  <a:pt x="2156760" y="302062"/>
                </a:cubicBezTo>
                <a:cubicBezTo>
                  <a:pt x="2172683" y="301874"/>
                  <a:pt x="2187482" y="297191"/>
                  <a:pt x="2201156" y="288012"/>
                </a:cubicBezTo>
                <a:cubicBezTo>
                  <a:pt x="2214831" y="278833"/>
                  <a:pt x="2226258" y="264878"/>
                  <a:pt x="2235437" y="246145"/>
                </a:cubicBezTo>
                <a:cubicBezTo>
                  <a:pt x="2244616" y="227413"/>
                  <a:pt x="2249205" y="204184"/>
                  <a:pt x="2249205" y="176460"/>
                </a:cubicBezTo>
                <a:cubicBezTo>
                  <a:pt x="2248456" y="150235"/>
                  <a:pt x="2243398" y="128411"/>
                  <a:pt x="2234032" y="110990"/>
                </a:cubicBezTo>
                <a:cubicBezTo>
                  <a:pt x="2224665" y="93569"/>
                  <a:pt x="2213145" y="80456"/>
                  <a:pt x="2199470" y="71652"/>
                </a:cubicBezTo>
                <a:cubicBezTo>
                  <a:pt x="2185796" y="62848"/>
                  <a:pt x="2171091" y="58445"/>
                  <a:pt x="2155355" y="58445"/>
                </a:cubicBezTo>
                <a:close/>
                <a:moveTo>
                  <a:pt x="2350513" y="9554"/>
                </a:moveTo>
                <a:lnTo>
                  <a:pt x="2405025" y="9554"/>
                </a:lnTo>
                <a:cubicBezTo>
                  <a:pt x="2412143" y="9554"/>
                  <a:pt x="2419074" y="11708"/>
                  <a:pt x="2425818" y="16016"/>
                </a:cubicBezTo>
                <a:cubicBezTo>
                  <a:pt x="2432561" y="20325"/>
                  <a:pt x="2436870" y="25851"/>
                  <a:pt x="2438743" y="32595"/>
                </a:cubicBezTo>
                <a:lnTo>
                  <a:pt x="2531469" y="261880"/>
                </a:lnTo>
                <a:lnTo>
                  <a:pt x="2531469" y="19107"/>
                </a:lnTo>
                <a:cubicBezTo>
                  <a:pt x="2531469" y="16110"/>
                  <a:pt x="2531656" y="13768"/>
                  <a:pt x="2532031" y="12083"/>
                </a:cubicBezTo>
                <a:cubicBezTo>
                  <a:pt x="2532405" y="10397"/>
                  <a:pt x="2534091" y="9554"/>
                  <a:pt x="2537089" y="9554"/>
                </a:cubicBezTo>
                <a:lnTo>
                  <a:pt x="2593848" y="9554"/>
                </a:lnTo>
                <a:cubicBezTo>
                  <a:pt x="2596845" y="9554"/>
                  <a:pt x="2598531" y="10771"/>
                  <a:pt x="2598906" y="13206"/>
                </a:cubicBezTo>
                <a:cubicBezTo>
                  <a:pt x="2599280" y="15642"/>
                  <a:pt x="2599468" y="17609"/>
                  <a:pt x="2599468" y="19107"/>
                </a:cubicBezTo>
                <a:lnTo>
                  <a:pt x="2599468" y="329879"/>
                </a:lnTo>
                <a:cubicBezTo>
                  <a:pt x="2599468" y="336998"/>
                  <a:pt x="2597220" y="342899"/>
                  <a:pt x="2592724" y="347582"/>
                </a:cubicBezTo>
                <a:cubicBezTo>
                  <a:pt x="2588228" y="352265"/>
                  <a:pt x="2582234" y="354606"/>
                  <a:pt x="2574741" y="354606"/>
                </a:cubicBezTo>
                <a:lnTo>
                  <a:pt x="2520791" y="354606"/>
                </a:lnTo>
                <a:cubicBezTo>
                  <a:pt x="2514422" y="354606"/>
                  <a:pt x="2508053" y="352265"/>
                  <a:pt x="2501684" y="347582"/>
                </a:cubicBezTo>
                <a:cubicBezTo>
                  <a:pt x="2495315" y="342899"/>
                  <a:pt x="2490070" y="336998"/>
                  <a:pt x="2485949" y="329879"/>
                </a:cubicBezTo>
                <a:lnTo>
                  <a:pt x="2394347" y="101156"/>
                </a:lnTo>
                <a:lnTo>
                  <a:pt x="2394347" y="343929"/>
                </a:lnTo>
                <a:cubicBezTo>
                  <a:pt x="2394347" y="345053"/>
                  <a:pt x="2394066" y="347113"/>
                  <a:pt x="2393504" y="350111"/>
                </a:cubicBezTo>
                <a:cubicBezTo>
                  <a:pt x="2392942" y="353108"/>
                  <a:pt x="2390975" y="354606"/>
                  <a:pt x="2387603" y="354606"/>
                </a:cubicBezTo>
                <a:lnTo>
                  <a:pt x="2333092" y="354606"/>
                </a:lnTo>
                <a:cubicBezTo>
                  <a:pt x="2329720" y="354606"/>
                  <a:pt x="2327753" y="353576"/>
                  <a:pt x="2327191" y="351515"/>
                </a:cubicBezTo>
                <a:cubicBezTo>
                  <a:pt x="2326629" y="349455"/>
                  <a:pt x="2326348" y="346926"/>
                  <a:pt x="2326348" y="343929"/>
                </a:cubicBezTo>
                <a:lnTo>
                  <a:pt x="2326348" y="32595"/>
                </a:lnTo>
                <a:cubicBezTo>
                  <a:pt x="2326348" y="25851"/>
                  <a:pt x="2328690" y="20325"/>
                  <a:pt x="2333373" y="16016"/>
                </a:cubicBezTo>
                <a:cubicBezTo>
                  <a:pt x="2338056" y="11708"/>
                  <a:pt x="2343769" y="9554"/>
                  <a:pt x="2350513" y="9554"/>
                </a:cubicBezTo>
                <a:close/>
                <a:moveTo>
                  <a:pt x="1920145" y="9554"/>
                </a:moveTo>
                <a:lnTo>
                  <a:pt x="1975780" y="9554"/>
                </a:lnTo>
                <a:cubicBezTo>
                  <a:pt x="1978778" y="9554"/>
                  <a:pt x="1980557" y="10771"/>
                  <a:pt x="1981119" y="13206"/>
                </a:cubicBezTo>
                <a:cubicBezTo>
                  <a:pt x="1981681" y="15642"/>
                  <a:pt x="1981962" y="17609"/>
                  <a:pt x="1981962" y="19107"/>
                </a:cubicBezTo>
                <a:lnTo>
                  <a:pt x="1981962" y="343929"/>
                </a:lnTo>
                <a:cubicBezTo>
                  <a:pt x="1981962" y="345053"/>
                  <a:pt x="1981681" y="347113"/>
                  <a:pt x="1981119" y="350111"/>
                </a:cubicBezTo>
                <a:cubicBezTo>
                  <a:pt x="1980557" y="353108"/>
                  <a:pt x="1978778" y="354606"/>
                  <a:pt x="1975780" y="354606"/>
                </a:cubicBezTo>
                <a:lnTo>
                  <a:pt x="1920145" y="354606"/>
                </a:lnTo>
                <a:cubicBezTo>
                  <a:pt x="1917148" y="354606"/>
                  <a:pt x="1915462" y="353576"/>
                  <a:pt x="1915087" y="351515"/>
                </a:cubicBezTo>
                <a:cubicBezTo>
                  <a:pt x="1914713" y="349455"/>
                  <a:pt x="1914525" y="346926"/>
                  <a:pt x="1914525" y="343929"/>
                </a:cubicBezTo>
                <a:lnTo>
                  <a:pt x="1914525" y="19107"/>
                </a:lnTo>
                <a:cubicBezTo>
                  <a:pt x="1914525" y="16110"/>
                  <a:pt x="1914713" y="13768"/>
                  <a:pt x="1915087" y="12083"/>
                </a:cubicBezTo>
                <a:cubicBezTo>
                  <a:pt x="1915462" y="10397"/>
                  <a:pt x="1917148" y="9554"/>
                  <a:pt x="1920145" y="9554"/>
                </a:cubicBezTo>
                <a:close/>
                <a:moveTo>
                  <a:pt x="1664094" y="9554"/>
                </a:moveTo>
                <a:lnTo>
                  <a:pt x="1892256" y="9554"/>
                </a:lnTo>
                <a:cubicBezTo>
                  <a:pt x="1895253" y="9554"/>
                  <a:pt x="1897782" y="10209"/>
                  <a:pt x="1899842" y="11521"/>
                </a:cubicBezTo>
                <a:cubicBezTo>
                  <a:pt x="1901903" y="12832"/>
                  <a:pt x="1902933" y="14424"/>
                  <a:pt x="1902933" y="16297"/>
                </a:cubicBezTo>
                <a:lnTo>
                  <a:pt x="1902933" y="60131"/>
                </a:lnTo>
                <a:cubicBezTo>
                  <a:pt x="1902933" y="63878"/>
                  <a:pt x="1902184" y="66032"/>
                  <a:pt x="1900685" y="66594"/>
                </a:cubicBezTo>
                <a:cubicBezTo>
                  <a:pt x="1899187" y="67156"/>
                  <a:pt x="1896377" y="67437"/>
                  <a:pt x="1892256" y="67437"/>
                </a:cubicBezTo>
                <a:lnTo>
                  <a:pt x="1814703" y="67437"/>
                </a:lnTo>
                <a:lnTo>
                  <a:pt x="1814703" y="343929"/>
                </a:lnTo>
                <a:cubicBezTo>
                  <a:pt x="1814703" y="345053"/>
                  <a:pt x="1814137" y="347113"/>
                  <a:pt x="1813004" y="350111"/>
                </a:cubicBezTo>
                <a:cubicBezTo>
                  <a:pt x="1811871" y="353108"/>
                  <a:pt x="1810550" y="354606"/>
                  <a:pt x="1809040" y="354606"/>
                </a:cubicBezTo>
                <a:lnTo>
                  <a:pt x="1750138" y="354606"/>
                </a:lnTo>
                <a:cubicBezTo>
                  <a:pt x="1747872" y="354606"/>
                  <a:pt x="1746078" y="353576"/>
                  <a:pt x="1744755" y="351515"/>
                </a:cubicBezTo>
                <a:cubicBezTo>
                  <a:pt x="1743432" y="349455"/>
                  <a:pt x="1742770" y="346926"/>
                  <a:pt x="1742770" y="343929"/>
                </a:cubicBezTo>
                <a:lnTo>
                  <a:pt x="1742770" y="67437"/>
                </a:lnTo>
                <a:lnTo>
                  <a:pt x="1664094" y="67437"/>
                </a:lnTo>
                <a:cubicBezTo>
                  <a:pt x="1661097" y="67437"/>
                  <a:pt x="1658568" y="67156"/>
                  <a:pt x="1656507" y="66594"/>
                </a:cubicBezTo>
                <a:cubicBezTo>
                  <a:pt x="1654447" y="66032"/>
                  <a:pt x="1653416" y="63878"/>
                  <a:pt x="1653416" y="60131"/>
                </a:cubicBezTo>
                <a:lnTo>
                  <a:pt x="1654540" y="16297"/>
                </a:lnTo>
                <a:cubicBezTo>
                  <a:pt x="1654540" y="14424"/>
                  <a:pt x="1655758" y="12832"/>
                  <a:pt x="1658193" y="11521"/>
                </a:cubicBezTo>
                <a:cubicBezTo>
                  <a:pt x="1660628" y="10209"/>
                  <a:pt x="1662595" y="9554"/>
                  <a:pt x="1664094" y="9554"/>
                </a:cubicBezTo>
                <a:close/>
                <a:moveTo>
                  <a:pt x="1112206" y="9554"/>
                </a:moveTo>
                <a:lnTo>
                  <a:pt x="1169527" y="9554"/>
                </a:lnTo>
                <a:cubicBezTo>
                  <a:pt x="1171401" y="9554"/>
                  <a:pt x="1173087" y="10771"/>
                  <a:pt x="1174585" y="13206"/>
                </a:cubicBezTo>
                <a:cubicBezTo>
                  <a:pt x="1176084" y="15642"/>
                  <a:pt x="1176833" y="17609"/>
                  <a:pt x="1176833" y="19107"/>
                </a:cubicBezTo>
                <a:lnTo>
                  <a:pt x="1176833" y="219732"/>
                </a:lnTo>
                <a:cubicBezTo>
                  <a:pt x="1176833" y="237716"/>
                  <a:pt x="1180392" y="252795"/>
                  <a:pt x="1187511" y="264971"/>
                </a:cubicBezTo>
                <a:cubicBezTo>
                  <a:pt x="1194629" y="277147"/>
                  <a:pt x="1203433" y="286326"/>
                  <a:pt x="1213923" y="292508"/>
                </a:cubicBezTo>
                <a:cubicBezTo>
                  <a:pt x="1224414" y="298690"/>
                  <a:pt x="1235934" y="301968"/>
                  <a:pt x="1248485" y="302343"/>
                </a:cubicBezTo>
                <a:cubicBezTo>
                  <a:pt x="1261036" y="302717"/>
                  <a:pt x="1272556" y="300095"/>
                  <a:pt x="1283046" y="294475"/>
                </a:cubicBezTo>
                <a:cubicBezTo>
                  <a:pt x="1293536" y="288855"/>
                  <a:pt x="1302341" y="280238"/>
                  <a:pt x="1309459" y="268624"/>
                </a:cubicBezTo>
                <a:cubicBezTo>
                  <a:pt x="1316578" y="257010"/>
                  <a:pt x="1320137" y="242586"/>
                  <a:pt x="1320137" y="225352"/>
                </a:cubicBezTo>
                <a:cubicBezTo>
                  <a:pt x="1320137" y="190135"/>
                  <a:pt x="1319387" y="155573"/>
                  <a:pt x="1317889" y="121668"/>
                </a:cubicBezTo>
                <a:cubicBezTo>
                  <a:pt x="1316390" y="87762"/>
                  <a:pt x="1315641" y="53575"/>
                  <a:pt x="1315641" y="19107"/>
                </a:cubicBezTo>
                <a:cubicBezTo>
                  <a:pt x="1315641" y="16110"/>
                  <a:pt x="1316578" y="13768"/>
                  <a:pt x="1318451" y="12083"/>
                </a:cubicBezTo>
                <a:cubicBezTo>
                  <a:pt x="1320324" y="10397"/>
                  <a:pt x="1322759" y="9554"/>
                  <a:pt x="1325756" y="9554"/>
                </a:cubicBezTo>
                <a:lnTo>
                  <a:pt x="1380830" y="9554"/>
                </a:lnTo>
                <a:cubicBezTo>
                  <a:pt x="1383078" y="9554"/>
                  <a:pt x="1384764" y="10771"/>
                  <a:pt x="1385888" y="13206"/>
                </a:cubicBezTo>
                <a:cubicBezTo>
                  <a:pt x="1387012" y="15642"/>
                  <a:pt x="1387574" y="17609"/>
                  <a:pt x="1387574" y="19107"/>
                </a:cubicBezTo>
                <a:lnTo>
                  <a:pt x="1387574" y="225352"/>
                </a:lnTo>
                <a:cubicBezTo>
                  <a:pt x="1387574" y="255324"/>
                  <a:pt x="1380549" y="280426"/>
                  <a:pt x="1366500" y="300657"/>
                </a:cubicBezTo>
                <a:cubicBezTo>
                  <a:pt x="1352450" y="320888"/>
                  <a:pt x="1334935" y="336061"/>
                  <a:pt x="1313955" y="346177"/>
                </a:cubicBezTo>
                <a:cubicBezTo>
                  <a:pt x="1292974" y="356292"/>
                  <a:pt x="1270214" y="361444"/>
                  <a:pt x="1245675" y="361631"/>
                </a:cubicBezTo>
                <a:cubicBezTo>
                  <a:pt x="1221135" y="361818"/>
                  <a:pt x="1198375" y="357042"/>
                  <a:pt x="1177395" y="347301"/>
                </a:cubicBezTo>
                <a:cubicBezTo>
                  <a:pt x="1156415" y="337560"/>
                  <a:pt x="1138900" y="322761"/>
                  <a:pt x="1124850" y="302905"/>
                </a:cubicBezTo>
                <a:cubicBezTo>
                  <a:pt x="1110801" y="283048"/>
                  <a:pt x="1103776" y="258134"/>
                  <a:pt x="1103776" y="228162"/>
                </a:cubicBezTo>
                <a:lnTo>
                  <a:pt x="1103776" y="19107"/>
                </a:lnTo>
                <a:cubicBezTo>
                  <a:pt x="1103776" y="16110"/>
                  <a:pt x="1104619" y="13768"/>
                  <a:pt x="1106305" y="12083"/>
                </a:cubicBezTo>
                <a:cubicBezTo>
                  <a:pt x="1107991" y="10397"/>
                  <a:pt x="1109958" y="9554"/>
                  <a:pt x="1112206" y="9554"/>
                </a:cubicBezTo>
                <a:close/>
                <a:moveTo>
                  <a:pt x="875824" y="9554"/>
                </a:moveTo>
                <a:lnTo>
                  <a:pt x="957310" y="9554"/>
                </a:lnTo>
                <a:cubicBezTo>
                  <a:pt x="982787" y="9554"/>
                  <a:pt x="1004423" y="13394"/>
                  <a:pt x="1022218" y="21074"/>
                </a:cubicBezTo>
                <a:cubicBezTo>
                  <a:pt x="1040014" y="28754"/>
                  <a:pt x="1054251" y="38776"/>
                  <a:pt x="1064928" y="51140"/>
                </a:cubicBezTo>
                <a:cubicBezTo>
                  <a:pt x="1075606" y="63503"/>
                  <a:pt x="1082912" y="77365"/>
                  <a:pt x="1086846" y="92726"/>
                </a:cubicBezTo>
                <a:cubicBezTo>
                  <a:pt x="1090779" y="108087"/>
                  <a:pt x="1091529" y="123354"/>
                  <a:pt x="1089094" y="138527"/>
                </a:cubicBezTo>
                <a:cubicBezTo>
                  <a:pt x="1086658" y="153700"/>
                  <a:pt x="1081132" y="167937"/>
                  <a:pt x="1072515" y="181237"/>
                </a:cubicBezTo>
                <a:cubicBezTo>
                  <a:pt x="1063898" y="194537"/>
                  <a:pt x="1052471" y="205496"/>
                  <a:pt x="1038235" y="214113"/>
                </a:cubicBezTo>
                <a:lnTo>
                  <a:pt x="1091060" y="343929"/>
                </a:lnTo>
                <a:cubicBezTo>
                  <a:pt x="1091810" y="345053"/>
                  <a:pt x="1091810" y="347113"/>
                  <a:pt x="1091060" y="350111"/>
                </a:cubicBezTo>
                <a:cubicBezTo>
                  <a:pt x="1090311" y="353108"/>
                  <a:pt x="1088813" y="354606"/>
                  <a:pt x="1086565" y="354606"/>
                </a:cubicBezTo>
                <a:lnTo>
                  <a:pt x="1032053" y="354606"/>
                </a:lnTo>
                <a:cubicBezTo>
                  <a:pt x="1028681" y="354606"/>
                  <a:pt x="1026059" y="353576"/>
                  <a:pt x="1024185" y="351515"/>
                </a:cubicBezTo>
                <a:cubicBezTo>
                  <a:pt x="1022312" y="349455"/>
                  <a:pt x="1021376" y="346926"/>
                  <a:pt x="1021376" y="343929"/>
                </a:cubicBezTo>
                <a:lnTo>
                  <a:pt x="977541" y="230410"/>
                </a:lnTo>
                <a:lnTo>
                  <a:pt x="923030" y="234344"/>
                </a:lnTo>
                <a:lnTo>
                  <a:pt x="923030" y="343929"/>
                </a:lnTo>
                <a:cubicBezTo>
                  <a:pt x="923030" y="345053"/>
                  <a:pt x="922093" y="347113"/>
                  <a:pt x="920220" y="350111"/>
                </a:cubicBezTo>
                <a:cubicBezTo>
                  <a:pt x="918347" y="353108"/>
                  <a:pt x="916099" y="354606"/>
                  <a:pt x="913476" y="354606"/>
                </a:cubicBezTo>
                <a:lnTo>
                  <a:pt x="858965" y="354606"/>
                </a:lnTo>
                <a:cubicBezTo>
                  <a:pt x="857091" y="354606"/>
                  <a:pt x="855312" y="353576"/>
                  <a:pt x="853626" y="351515"/>
                </a:cubicBezTo>
                <a:cubicBezTo>
                  <a:pt x="851940" y="349455"/>
                  <a:pt x="851097" y="346926"/>
                  <a:pt x="851097" y="343929"/>
                </a:cubicBezTo>
                <a:lnTo>
                  <a:pt x="851097" y="32595"/>
                </a:lnTo>
                <a:cubicBezTo>
                  <a:pt x="851097" y="25851"/>
                  <a:pt x="853064" y="20325"/>
                  <a:pt x="856998" y="16016"/>
                </a:cubicBezTo>
                <a:cubicBezTo>
                  <a:pt x="860932" y="11708"/>
                  <a:pt x="867207" y="9554"/>
                  <a:pt x="875824" y="9554"/>
                </a:cubicBezTo>
                <a:close/>
                <a:moveTo>
                  <a:pt x="112138" y="9554"/>
                </a:moveTo>
                <a:lnTo>
                  <a:pt x="166650" y="9554"/>
                </a:lnTo>
                <a:cubicBezTo>
                  <a:pt x="173768" y="9554"/>
                  <a:pt x="180699" y="11708"/>
                  <a:pt x="187443" y="16016"/>
                </a:cubicBezTo>
                <a:cubicBezTo>
                  <a:pt x="194186" y="20325"/>
                  <a:pt x="198495" y="25851"/>
                  <a:pt x="200368" y="32595"/>
                </a:cubicBezTo>
                <a:lnTo>
                  <a:pt x="293094" y="261880"/>
                </a:lnTo>
                <a:lnTo>
                  <a:pt x="293094" y="19107"/>
                </a:lnTo>
                <a:cubicBezTo>
                  <a:pt x="293094" y="16110"/>
                  <a:pt x="293281" y="13768"/>
                  <a:pt x="293656" y="12083"/>
                </a:cubicBezTo>
                <a:cubicBezTo>
                  <a:pt x="294031" y="10397"/>
                  <a:pt x="295717" y="9554"/>
                  <a:pt x="298714" y="9554"/>
                </a:cubicBezTo>
                <a:lnTo>
                  <a:pt x="355473" y="9554"/>
                </a:lnTo>
                <a:cubicBezTo>
                  <a:pt x="358470" y="9554"/>
                  <a:pt x="360156" y="10771"/>
                  <a:pt x="360531" y="13206"/>
                </a:cubicBezTo>
                <a:cubicBezTo>
                  <a:pt x="360906" y="15642"/>
                  <a:pt x="361093" y="17609"/>
                  <a:pt x="361093" y="19107"/>
                </a:cubicBezTo>
                <a:lnTo>
                  <a:pt x="361093" y="329879"/>
                </a:lnTo>
                <a:cubicBezTo>
                  <a:pt x="361093" y="336998"/>
                  <a:pt x="358845" y="342899"/>
                  <a:pt x="354349" y="347582"/>
                </a:cubicBezTo>
                <a:cubicBezTo>
                  <a:pt x="349853" y="352265"/>
                  <a:pt x="343859" y="354606"/>
                  <a:pt x="336366" y="354606"/>
                </a:cubicBezTo>
                <a:lnTo>
                  <a:pt x="282416" y="354606"/>
                </a:lnTo>
                <a:cubicBezTo>
                  <a:pt x="276047" y="354606"/>
                  <a:pt x="269678" y="352265"/>
                  <a:pt x="263309" y="347582"/>
                </a:cubicBezTo>
                <a:cubicBezTo>
                  <a:pt x="256940" y="342899"/>
                  <a:pt x="251695" y="336998"/>
                  <a:pt x="247574" y="329879"/>
                </a:cubicBezTo>
                <a:lnTo>
                  <a:pt x="155972" y="101156"/>
                </a:lnTo>
                <a:lnTo>
                  <a:pt x="155972" y="343929"/>
                </a:lnTo>
                <a:cubicBezTo>
                  <a:pt x="155972" y="345053"/>
                  <a:pt x="155691" y="347113"/>
                  <a:pt x="155129" y="350111"/>
                </a:cubicBezTo>
                <a:cubicBezTo>
                  <a:pt x="154567" y="353108"/>
                  <a:pt x="152600" y="354606"/>
                  <a:pt x="149228" y="354606"/>
                </a:cubicBezTo>
                <a:lnTo>
                  <a:pt x="94717" y="354606"/>
                </a:lnTo>
                <a:cubicBezTo>
                  <a:pt x="91345" y="354606"/>
                  <a:pt x="89378" y="353576"/>
                  <a:pt x="88816" y="351515"/>
                </a:cubicBezTo>
                <a:cubicBezTo>
                  <a:pt x="88254" y="349455"/>
                  <a:pt x="87973" y="346926"/>
                  <a:pt x="87973" y="343929"/>
                </a:cubicBezTo>
                <a:lnTo>
                  <a:pt x="87973" y="32595"/>
                </a:lnTo>
                <a:cubicBezTo>
                  <a:pt x="87973" y="25851"/>
                  <a:pt x="90315" y="20325"/>
                  <a:pt x="94998" y="16016"/>
                </a:cubicBezTo>
                <a:cubicBezTo>
                  <a:pt x="99681" y="11708"/>
                  <a:pt x="105394" y="9554"/>
                  <a:pt x="112138" y="9554"/>
                </a:cubicBezTo>
                <a:close/>
                <a:moveTo>
                  <a:pt x="5620" y="9554"/>
                </a:moveTo>
                <a:lnTo>
                  <a:pt x="61255" y="9554"/>
                </a:lnTo>
                <a:cubicBezTo>
                  <a:pt x="64253" y="9554"/>
                  <a:pt x="66032" y="10771"/>
                  <a:pt x="66594" y="13206"/>
                </a:cubicBezTo>
                <a:cubicBezTo>
                  <a:pt x="67156" y="15642"/>
                  <a:pt x="67437" y="17609"/>
                  <a:pt x="67437" y="19107"/>
                </a:cubicBezTo>
                <a:lnTo>
                  <a:pt x="67437" y="343929"/>
                </a:lnTo>
                <a:cubicBezTo>
                  <a:pt x="67437" y="345053"/>
                  <a:pt x="67156" y="347113"/>
                  <a:pt x="66594" y="350111"/>
                </a:cubicBezTo>
                <a:cubicBezTo>
                  <a:pt x="66032" y="353108"/>
                  <a:pt x="64253" y="354606"/>
                  <a:pt x="61255" y="354606"/>
                </a:cubicBezTo>
                <a:lnTo>
                  <a:pt x="5620" y="354606"/>
                </a:lnTo>
                <a:cubicBezTo>
                  <a:pt x="2623" y="354606"/>
                  <a:pt x="937" y="353576"/>
                  <a:pt x="562" y="351515"/>
                </a:cubicBezTo>
                <a:cubicBezTo>
                  <a:pt x="188" y="349455"/>
                  <a:pt x="0" y="346926"/>
                  <a:pt x="0" y="343929"/>
                </a:cubicBezTo>
                <a:lnTo>
                  <a:pt x="0" y="19107"/>
                </a:lnTo>
                <a:cubicBezTo>
                  <a:pt x="0" y="16110"/>
                  <a:pt x="188" y="13768"/>
                  <a:pt x="562" y="12083"/>
                </a:cubicBezTo>
                <a:cubicBezTo>
                  <a:pt x="937" y="10397"/>
                  <a:pt x="2623" y="9554"/>
                  <a:pt x="5620" y="9554"/>
                </a:cubicBezTo>
                <a:close/>
                <a:moveTo>
                  <a:pt x="1544041" y="6744"/>
                </a:moveTo>
                <a:cubicBezTo>
                  <a:pt x="1566145" y="6744"/>
                  <a:pt x="1584878" y="8992"/>
                  <a:pt x="1600238" y="13487"/>
                </a:cubicBezTo>
                <a:cubicBezTo>
                  <a:pt x="1615599" y="17983"/>
                  <a:pt x="1631147" y="24352"/>
                  <a:pt x="1646882" y="32595"/>
                </a:cubicBezTo>
                <a:cubicBezTo>
                  <a:pt x="1648006" y="35217"/>
                  <a:pt x="1649130" y="37184"/>
                  <a:pt x="1650254" y="38495"/>
                </a:cubicBezTo>
                <a:cubicBezTo>
                  <a:pt x="1651378" y="39807"/>
                  <a:pt x="1651003" y="41212"/>
                  <a:pt x="1649130" y="42710"/>
                </a:cubicBezTo>
                <a:lnTo>
                  <a:pt x="1630023" y="81486"/>
                </a:lnTo>
                <a:cubicBezTo>
                  <a:pt x="1628150" y="84484"/>
                  <a:pt x="1626370" y="86170"/>
                  <a:pt x="1624684" y="86544"/>
                </a:cubicBezTo>
                <a:cubicBezTo>
                  <a:pt x="1622998" y="86919"/>
                  <a:pt x="1620844" y="86357"/>
                  <a:pt x="1618221" y="84858"/>
                </a:cubicBezTo>
                <a:cubicBezTo>
                  <a:pt x="1608481" y="79988"/>
                  <a:pt x="1598365" y="75867"/>
                  <a:pt x="1587875" y="72495"/>
                </a:cubicBezTo>
                <a:cubicBezTo>
                  <a:pt x="1577385" y="69123"/>
                  <a:pt x="1566894" y="67156"/>
                  <a:pt x="1556404" y="66594"/>
                </a:cubicBezTo>
                <a:cubicBezTo>
                  <a:pt x="1545914" y="66032"/>
                  <a:pt x="1535518" y="67343"/>
                  <a:pt x="1525215" y="70528"/>
                </a:cubicBezTo>
                <a:cubicBezTo>
                  <a:pt x="1514912" y="73712"/>
                  <a:pt x="1505077" y="79426"/>
                  <a:pt x="1495711" y="87668"/>
                </a:cubicBezTo>
                <a:cubicBezTo>
                  <a:pt x="1484846" y="99657"/>
                  <a:pt x="1476698" y="114081"/>
                  <a:pt x="1471265" y="130940"/>
                </a:cubicBezTo>
                <a:cubicBezTo>
                  <a:pt x="1465832" y="147800"/>
                  <a:pt x="1463116" y="165033"/>
                  <a:pt x="1463116" y="182642"/>
                </a:cubicBezTo>
                <a:cubicBezTo>
                  <a:pt x="1463116" y="200251"/>
                  <a:pt x="1465832" y="217297"/>
                  <a:pt x="1471265" y="233782"/>
                </a:cubicBezTo>
                <a:cubicBezTo>
                  <a:pt x="1476698" y="250266"/>
                  <a:pt x="1484846" y="264128"/>
                  <a:pt x="1495711" y="275368"/>
                </a:cubicBezTo>
                <a:cubicBezTo>
                  <a:pt x="1505077" y="284734"/>
                  <a:pt x="1514912" y="291291"/>
                  <a:pt x="1525215" y="295037"/>
                </a:cubicBezTo>
                <a:cubicBezTo>
                  <a:pt x="1535518" y="298784"/>
                  <a:pt x="1545914" y="300563"/>
                  <a:pt x="1556404" y="300376"/>
                </a:cubicBezTo>
                <a:cubicBezTo>
                  <a:pt x="1566894" y="300188"/>
                  <a:pt x="1577385" y="298409"/>
                  <a:pt x="1587875" y="295037"/>
                </a:cubicBezTo>
                <a:cubicBezTo>
                  <a:pt x="1598365" y="291665"/>
                  <a:pt x="1608481" y="287544"/>
                  <a:pt x="1618221" y="282674"/>
                </a:cubicBezTo>
                <a:cubicBezTo>
                  <a:pt x="1622717" y="279302"/>
                  <a:pt x="1626651" y="279302"/>
                  <a:pt x="1630023" y="282674"/>
                </a:cubicBezTo>
                <a:lnTo>
                  <a:pt x="1649130" y="318640"/>
                </a:lnTo>
                <a:cubicBezTo>
                  <a:pt x="1651003" y="320513"/>
                  <a:pt x="1651378" y="322574"/>
                  <a:pt x="1650254" y="324822"/>
                </a:cubicBezTo>
                <a:cubicBezTo>
                  <a:pt x="1649130" y="327070"/>
                  <a:pt x="1648006" y="328755"/>
                  <a:pt x="1646882" y="329879"/>
                </a:cubicBezTo>
                <a:cubicBezTo>
                  <a:pt x="1631147" y="339620"/>
                  <a:pt x="1615599" y="347113"/>
                  <a:pt x="1600238" y="352358"/>
                </a:cubicBezTo>
                <a:cubicBezTo>
                  <a:pt x="1584878" y="357604"/>
                  <a:pt x="1566145" y="360226"/>
                  <a:pt x="1544041" y="360226"/>
                </a:cubicBezTo>
                <a:cubicBezTo>
                  <a:pt x="1518565" y="360226"/>
                  <a:pt x="1496179" y="355168"/>
                  <a:pt x="1476885" y="345053"/>
                </a:cubicBezTo>
                <a:cubicBezTo>
                  <a:pt x="1457590" y="334937"/>
                  <a:pt x="1441574" y="321543"/>
                  <a:pt x="1428836" y="304872"/>
                </a:cubicBezTo>
                <a:cubicBezTo>
                  <a:pt x="1416098" y="288200"/>
                  <a:pt x="1406544" y="269280"/>
                  <a:pt x="1400175" y="248112"/>
                </a:cubicBezTo>
                <a:cubicBezTo>
                  <a:pt x="1393806" y="226944"/>
                  <a:pt x="1390622" y="205402"/>
                  <a:pt x="1390622" y="183485"/>
                </a:cubicBezTo>
                <a:cubicBezTo>
                  <a:pt x="1390622" y="161568"/>
                  <a:pt x="1393806" y="140025"/>
                  <a:pt x="1400175" y="118858"/>
                </a:cubicBezTo>
                <a:cubicBezTo>
                  <a:pt x="1406544" y="97690"/>
                  <a:pt x="1416098" y="78770"/>
                  <a:pt x="1428836" y="62098"/>
                </a:cubicBezTo>
                <a:cubicBezTo>
                  <a:pt x="1441574" y="45426"/>
                  <a:pt x="1457590" y="32033"/>
                  <a:pt x="1476885" y="21917"/>
                </a:cubicBezTo>
                <a:cubicBezTo>
                  <a:pt x="1496179" y="11802"/>
                  <a:pt x="1518565" y="6744"/>
                  <a:pt x="1544041" y="6744"/>
                </a:cubicBezTo>
                <a:close/>
                <a:moveTo>
                  <a:pt x="2714349" y="2107"/>
                </a:moveTo>
                <a:cubicBezTo>
                  <a:pt x="2721748" y="1920"/>
                  <a:pt x="2729147" y="2248"/>
                  <a:pt x="2736547" y="3091"/>
                </a:cubicBezTo>
                <a:cubicBezTo>
                  <a:pt x="2751346" y="4777"/>
                  <a:pt x="2765863" y="8149"/>
                  <a:pt x="2780100" y="13206"/>
                </a:cubicBezTo>
                <a:cubicBezTo>
                  <a:pt x="2794337" y="18264"/>
                  <a:pt x="2807637" y="24727"/>
                  <a:pt x="2820000" y="32595"/>
                </a:cubicBezTo>
                <a:cubicBezTo>
                  <a:pt x="2821124" y="35217"/>
                  <a:pt x="2821780" y="37184"/>
                  <a:pt x="2821967" y="38495"/>
                </a:cubicBezTo>
                <a:cubicBezTo>
                  <a:pt x="2822154" y="39807"/>
                  <a:pt x="2822248" y="41212"/>
                  <a:pt x="2822248" y="42710"/>
                </a:cubicBezTo>
                <a:lnTo>
                  <a:pt x="2803703" y="81486"/>
                </a:lnTo>
                <a:cubicBezTo>
                  <a:pt x="2801455" y="84484"/>
                  <a:pt x="2799582" y="86170"/>
                  <a:pt x="2798083" y="86544"/>
                </a:cubicBezTo>
                <a:cubicBezTo>
                  <a:pt x="2796585" y="86919"/>
                  <a:pt x="2794899" y="86357"/>
                  <a:pt x="2793026" y="84858"/>
                </a:cubicBezTo>
                <a:cubicBezTo>
                  <a:pt x="2784408" y="79239"/>
                  <a:pt x="2773824" y="74649"/>
                  <a:pt x="2761274" y="71090"/>
                </a:cubicBezTo>
                <a:cubicBezTo>
                  <a:pt x="2748723" y="67531"/>
                  <a:pt x="2736641" y="65751"/>
                  <a:pt x="2725027" y="65751"/>
                </a:cubicBezTo>
                <a:cubicBezTo>
                  <a:pt x="2713787" y="65751"/>
                  <a:pt x="2703765" y="67624"/>
                  <a:pt x="2694961" y="71371"/>
                </a:cubicBezTo>
                <a:cubicBezTo>
                  <a:pt x="2686156" y="75117"/>
                  <a:pt x="2679787" y="79894"/>
                  <a:pt x="2675854" y="85701"/>
                </a:cubicBezTo>
                <a:cubicBezTo>
                  <a:pt x="2671920" y="91508"/>
                  <a:pt x="2671077" y="98158"/>
                  <a:pt x="2673325" y="105651"/>
                </a:cubicBezTo>
                <a:cubicBezTo>
                  <a:pt x="2675573" y="113144"/>
                  <a:pt x="2682129" y="120637"/>
                  <a:pt x="2692994" y="128130"/>
                </a:cubicBezTo>
                <a:cubicBezTo>
                  <a:pt x="2697490" y="130753"/>
                  <a:pt x="2703016" y="133750"/>
                  <a:pt x="2709572" y="137122"/>
                </a:cubicBezTo>
                <a:cubicBezTo>
                  <a:pt x="2716128" y="140494"/>
                  <a:pt x="2722966" y="143866"/>
                  <a:pt x="2730084" y="147238"/>
                </a:cubicBezTo>
                <a:cubicBezTo>
                  <a:pt x="2737203" y="150609"/>
                  <a:pt x="2744227" y="153981"/>
                  <a:pt x="2751158" y="157353"/>
                </a:cubicBezTo>
                <a:cubicBezTo>
                  <a:pt x="2758089" y="160725"/>
                  <a:pt x="2764365" y="163909"/>
                  <a:pt x="2769985" y="166907"/>
                </a:cubicBezTo>
                <a:cubicBezTo>
                  <a:pt x="2789092" y="176648"/>
                  <a:pt x="2804077" y="189386"/>
                  <a:pt x="2814943" y="205121"/>
                </a:cubicBezTo>
                <a:cubicBezTo>
                  <a:pt x="2825807" y="220856"/>
                  <a:pt x="2831989" y="237247"/>
                  <a:pt x="2833488" y="254294"/>
                </a:cubicBezTo>
                <a:cubicBezTo>
                  <a:pt x="2834986" y="271340"/>
                  <a:pt x="2831708" y="287919"/>
                  <a:pt x="2823653" y="304029"/>
                </a:cubicBezTo>
                <a:cubicBezTo>
                  <a:pt x="2815598" y="320139"/>
                  <a:pt x="2802204" y="333439"/>
                  <a:pt x="2783472" y="343929"/>
                </a:cubicBezTo>
                <a:cubicBezTo>
                  <a:pt x="2769985" y="351422"/>
                  <a:pt x="2755841" y="356292"/>
                  <a:pt x="2741043" y="358540"/>
                </a:cubicBezTo>
                <a:cubicBezTo>
                  <a:pt x="2726244" y="360788"/>
                  <a:pt x="2711539" y="360975"/>
                  <a:pt x="2696928" y="359102"/>
                </a:cubicBezTo>
                <a:cubicBezTo>
                  <a:pt x="2682316" y="357229"/>
                  <a:pt x="2668080" y="353576"/>
                  <a:pt x="2654218" y="348144"/>
                </a:cubicBezTo>
                <a:cubicBezTo>
                  <a:pt x="2640356" y="342711"/>
                  <a:pt x="2627430" y="335874"/>
                  <a:pt x="2615441" y="327632"/>
                </a:cubicBezTo>
                <a:cubicBezTo>
                  <a:pt x="2612069" y="327632"/>
                  <a:pt x="2610103" y="326508"/>
                  <a:pt x="2609541" y="324260"/>
                </a:cubicBezTo>
                <a:cubicBezTo>
                  <a:pt x="2608979" y="322012"/>
                  <a:pt x="2608698" y="319389"/>
                  <a:pt x="2608698" y="316392"/>
                </a:cubicBezTo>
                <a:lnTo>
                  <a:pt x="2629491" y="282674"/>
                </a:lnTo>
                <a:cubicBezTo>
                  <a:pt x="2630989" y="278927"/>
                  <a:pt x="2633237" y="276866"/>
                  <a:pt x="2636235" y="276492"/>
                </a:cubicBezTo>
                <a:cubicBezTo>
                  <a:pt x="2639231" y="276117"/>
                  <a:pt x="2641292" y="276866"/>
                  <a:pt x="2642416" y="278740"/>
                </a:cubicBezTo>
                <a:cubicBezTo>
                  <a:pt x="2648785" y="282861"/>
                  <a:pt x="2656278" y="286701"/>
                  <a:pt x="2664895" y="290260"/>
                </a:cubicBezTo>
                <a:cubicBezTo>
                  <a:pt x="2673512" y="293819"/>
                  <a:pt x="2682316" y="296442"/>
                  <a:pt x="2691308" y="298128"/>
                </a:cubicBezTo>
                <a:cubicBezTo>
                  <a:pt x="2700300" y="299814"/>
                  <a:pt x="2709198" y="300282"/>
                  <a:pt x="2718002" y="299533"/>
                </a:cubicBezTo>
                <a:cubicBezTo>
                  <a:pt x="2726806" y="298784"/>
                  <a:pt x="2734580" y="296348"/>
                  <a:pt x="2741324" y="292227"/>
                </a:cubicBezTo>
                <a:cubicBezTo>
                  <a:pt x="2751814" y="287357"/>
                  <a:pt x="2757715" y="280238"/>
                  <a:pt x="2759026" y="270872"/>
                </a:cubicBezTo>
                <a:cubicBezTo>
                  <a:pt x="2760337" y="261506"/>
                  <a:pt x="2756684" y="251952"/>
                  <a:pt x="2748068" y="242211"/>
                </a:cubicBezTo>
                <a:cubicBezTo>
                  <a:pt x="2744696" y="238090"/>
                  <a:pt x="2739263" y="233688"/>
                  <a:pt x="2731770" y="229005"/>
                </a:cubicBezTo>
                <a:cubicBezTo>
                  <a:pt x="2724277" y="224322"/>
                  <a:pt x="2716316" y="219732"/>
                  <a:pt x="2707886" y="215237"/>
                </a:cubicBezTo>
                <a:cubicBezTo>
                  <a:pt x="2699457" y="210741"/>
                  <a:pt x="2691121" y="206526"/>
                  <a:pt x="2682878" y="202592"/>
                </a:cubicBezTo>
                <a:cubicBezTo>
                  <a:pt x="2674636" y="198658"/>
                  <a:pt x="2668080" y="195380"/>
                  <a:pt x="2663209" y="192758"/>
                </a:cubicBezTo>
                <a:cubicBezTo>
                  <a:pt x="2645226" y="183017"/>
                  <a:pt x="2630896" y="170372"/>
                  <a:pt x="2620218" y="154824"/>
                </a:cubicBezTo>
                <a:cubicBezTo>
                  <a:pt x="2609541" y="139276"/>
                  <a:pt x="2603265" y="123166"/>
                  <a:pt x="2601392" y="106494"/>
                </a:cubicBezTo>
                <a:cubicBezTo>
                  <a:pt x="2599519" y="89822"/>
                  <a:pt x="2602422" y="73619"/>
                  <a:pt x="2610103" y="57883"/>
                </a:cubicBezTo>
                <a:cubicBezTo>
                  <a:pt x="2617783" y="42148"/>
                  <a:pt x="2630989" y="29223"/>
                  <a:pt x="2649722" y="19107"/>
                </a:cubicBezTo>
                <a:cubicBezTo>
                  <a:pt x="2663209" y="11614"/>
                  <a:pt x="2677352" y="6650"/>
                  <a:pt x="2692151" y="4215"/>
                </a:cubicBezTo>
                <a:cubicBezTo>
                  <a:pt x="2699550" y="2997"/>
                  <a:pt x="2706949" y="2295"/>
                  <a:pt x="2714349" y="2107"/>
                </a:cubicBezTo>
                <a:close/>
                <a:moveTo>
                  <a:pt x="485499" y="2107"/>
                </a:moveTo>
                <a:cubicBezTo>
                  <a:pt x="492898" y="1920"/>
                  <a:pt x="500298" y="2248"/>
                  <a:pt x="507697" y="3091"/>
                </a:cubicBezTo>
                <a:cubicBezTo>
                  <a:pt x="522496" y="4777"/>
                  <a:pt x="537013" y="8149"/>
                  <a:pt x="551250" y="13206"/>
                </a:cubicBezTo>
                <a:cubicBezTo>
                  <a:pt x="558368" y="15735"/>
                  <a:pt x="565253" y="18615"/>
                  <a:pt x="571903" y="21847"/>
                </a:cubicBezTo>
                <a:lnTo>
                  <a:pt x="587376" y="30487"/>
                </a:lnTo>
                <a:lnTo>
                  <a:pt x="587740" y="16297"/>
                </a:lnTo>
                <a:cubicBezTo>
                  <a:pt x="587740" y="14424"/>
                  <a:pt x="588958" y="12832"/>
                  <a:pt x="591393" y="11521"/>
                </a:cubicBezTo>
                <a:cubicBezTo>
                  <a:pt x="593828" y="10209"/>
                  <a:pt x="595795" y="9554"/>
                  <a:pt x="597294" y="9554"/>
                </a:cubicBezTo>
                <a:lnTo>
                  <a:pt x="825456" y="9554"/>
                </a:lnTo>
                <a:cubicBezTo>
                  <a:pt x="828453" y="9554"/>
                  <a:pt x="830982" y="10209"/>
                  <a:pt x="833042" y="11521"/>
                </a:cubicBezTo>
                <a:cubicBezTo>
                  <a:pt x="835103" y="12832"/>
                  <a:pt x="836133" y="14424"/>
                  <a:pt x="836133" y="16297"/>
                </a:cubicBezTo>
                <a:lnTo>
                  <a:pt x="836133" y="60131"/>
                </a:lnTo>
                <a:cubicBezTo>
                  <a:pt x="836133" y="63878"/>
                  <a:pt x="835384" y="66032"/>
                  <a:pt x="833885" y="66594"/>
                </a:cubicBezTo>
                <a:cubicBezTo>
                  <a:pt x="832387" y="67156"/>
                  <a:pt x="829577" y="67437"/>
                  <a:pt x="825456" y="67437"/>
                </a:cubicBezTo>
                <a:lnTo>
                  <a:pt x="747903" y="67437"/>
                </a:lnTo>
                <a:lnTo>
                  <a:pt x="747903" y="343929"/>
                </a:lnTo>
                <a:cubicBezTo>
                  <a:pt x="747903" y="345053"/>
                  <a:pt x="747337" y="347113"/>
                  <a:pt x="746204" y="350111"/>
                </a:cubicBezTo>
                <a:cubicBezTo>
                  <a:pt x="745071" y="353108"/>
                  <a:pt x="743750" y="354606"/>
                  <a:pt x="742239" y="354606"/>
                </a:cubicBezTo>
                <a:lnTo>
                  <a:pt x="683338" y="354606"/>
                </a:lnTo>
                <a:cubicBezTo>
                  <a:pt x="681072" y="354606"/>
                  <a:pt x="679278" y="353576"/>
                  <a:pt x="677955" y="351515"/>
                </a:cubicBezTo>
                <a:cubicBezTo>
                  <a:pt x="676632" y="349455"/>
                  <a:pt x="675970" y="346926"/>
                  <a:pt x="675970" y="343929"/>
                </a:cubicBezTo>
                <a:lnTo>
                  <a:pt x="675970" y="67437"/>
                </a:lnTo>
                <a:lnTo>
                  <a:pt x="597294" y="67437"/>
                </a:lnTo>
                <a:cubicBezTo>
                  <a:pt x="594297" y="67437"/>
                  <a:pt x="591768" y="67156"/>
                  <a:pt x="589707" y="66594"/>
                </a:cubicBezTo>
                <a:cubicBezTo>
                  <a:pt x="587647" y="66032"/>
                  <a:pt x="586616" y="63878"/>
                  <a:pt x="586616" y="60131"/>
                </a:cubicBezTo>
                <a:lnTo>
                  <a:pt x="586704" y="56707"/>
                </a:lnTo>
                <a:lnTo>
                  <a:pt x="574853" y="81486"/>
                </a:lnTo>
                <a:cubicBezTo>
                  <a:pt x="572605" y="84484"/>
                  <a:pt x="570732" y="86170"/>
                  <a:pt x="569233" y="86544"/>
                </a:cubicBezTo>
                <a:cubicBezTo>
                  <a:pt x="567735" y="86919"/>
                  <a:pt x="566049" y="86357"/>
                  <a:pt x="564175" y="84858"/>
                </a:cubicBezTo>
                <a:cubicBezTo>
                  <a:pt x="555558" y="79239"/>
                  <a:pt x="544975" y="74649"/>
                  <a:pt x="532424" y="71090"/>
                </a:cubicBezTo>
                <a:cubicBezTo>
                  <a:pt x="519873" y="67531"/>
                  <a:pt x="507791" y="65751"/>
                  <a:pt x="496176" y="65751"/>
                </a:cubicBezTo>
                <a:cubicBezTo>
                  <a:pt x="484937" y="65751"/>
                  <a:pt x="474915" y="67624"/>
                  <a:pt x="466111" y="71371"/>
                </a:cubicBezTo>
                <a:cubicBezTo>
                  <a:pt x="457307" y="75117"/>
                  <a:pt x="450937" y="79894"/>
                  <a:pt x="447004" y="85701"/>
                </a:cubicBezTo>
                <a:cubicBezTo>
                  <a:pt x="443070" y="91508"/>
                  <a:pt x="442227" y="98158"/>
                  <a:pt x="444475" y="105651"/>
                </a:cubicBezTo>
                <a:cubicBezTo>
                  <a:pt x="446723" y="113144"/>
                  <a:pt x="453279" y="120637"/>
                  <a:pt x="464144" y="128130"/>
                </a:cubicBezTo>
                <a:cubicBezTo>
                  <a:pt x="468640" y="130753"/>
                  <a:pt x="474166" y="133750"/>
                  <a:pt x="480722" y="137122"/>
                </a:cubicBezTo>
                <a:cubicBezTo>
                  <a:pt x="487278" y="140494"/>
                  <a:pt x="494116" y="143866"/>
                  <a:pt x="501234" y="147238"/>
                </a:cubicBezTo>
                <a:cubicBezTo>
                  <a:pt x="508353" y="150609"/>
                  <a:pt x="515377" y="153981"/>
                  <a:pt x="522308" y="157353"/>
                </a:cubicBezTo>
                <a:cubicBezTo>
                  <a:pt x="529239" y="160725"/>
                  <a:pt x="535515" y="163909"/>
                  <a:pt x="541134" y="166907"/>
                </a:cubicBezTo>
                <a:cubicBezTo>
                  <a:pt x="560242" y="176648"/>
                  <a:pt x="575228" y="189386"/>
                  <a:pt x="586092" y="205121"/>
                </a:cubicBezTo>
                <a:cubicBezTo>
                  <a:pt x="596957" y="220856"/>
                  <a:pt x="603139" y="237247"/>
                  <a:pt x="604638" y="254294"/>
                </a:cubicBezTo>
                <a:cubicBezTo>
                  <a:pt x="606136" y="271340"/>
                  <a:pt x="602858" y="287919"/>
                  <a:pt x="594803" y="304029"/>
                </a:cubicBezTo>
                <a:cubicBezTo>
                  <a:pt x="586748" y="320139"/>
                  <a:pt x="573354" y="333439"/>
                  <a:pt x="554622" y="343929"/>
                </a:cubicBezTo>
                <a:cubicBezTo>
                  <a:pt x="541134" y="351422"/>
                  <a:pt x="526991" y="356292"/>
                  <a:pt x="512193" y="358540"/>
                </a:cubicBezTo>
                <a:cubicBezTo>
                  <a:pt x="497394" y="360788"/>
                  <a:pt x="482689" y="360975"/>
                  <a:pt x="468078" y="359102"/>
                </a:cubicBezTo>
                <a:cubicBezTo>
                  <a:pt x="453466" y="357229"/>
                  <a:pt x="439230" y="353576"/>
                  <a:pt x="425368" y="348144"/>
                </a:cubicBezTo>
                <a:cubicBezTo>
                  <a:pt x="411506" y="342711"/>
                  <a:pt x="398580" y="335874"/>
                  <a:pt x="386591" y="327632"/>
                </a:cubicBezTo>
                <a:cubicBezTo>
                  <a:pt x="383219" y="327632"/>
                  <a:pt x="381253" y="326508"/>
                  <a:pt x="380691" y="324260"/>
                </a:cubicBezTo>
                <a:cubicBezTo>
                  <a:pt x="380129" y="322012"/>
                  <a:pt x="379848" y="319389"/>
                  <a:pt x="379848" y="316392"/>
                </a:cubicBezTo>
                <a:lnTo>
                  <a:pt x="400641" y="282674"/>
                </a:lnTo>
                <a:cubicBezTo>
                  <a:pt x="402139" y="278927"/>
                  <a:pt x="404387" y="276866"/>
                  <a:pt x="407384" y="276492"/>
                </a:cubicBezTo>
                <a:cubicBezTo>
                  <a:pt x="410382" y="276117"/>
                  <a:pt x="412442" y="276866"/>
                  <a:pt x="413566" y="278740"/>
                </a:cubicBezTo>
                <a:cubicBezTo>
                  <a:pt x="419935" y="282861"/>
                  <a:pt x="427428" y="286701"/>
                  <a:pt x="436045" y="290260"/>
                </a:cubicBezTo>
                <a:cubicBezTo>
                  <a:pt x="444662" y="293819"/>
                  <a:pt x="453466" y="296442"/>
                  <a:pt x="462458" y="298128"/>
                </a:cubicBezTo>
                <a:cubicBezTo>
                  <a:pt x="471450" y="299814"/>
                  <a:pt x="480347" y="300282"/>
                  <a:pt x="489152" y="299533"/>
                </a:cubicBezTo>
                <a:cubicBezTo>
                  <a:pt x="497956" y="298784"/>
                  <a:pt x="505730" y="296348"/>
                  <a:pt x="512474" y="292227"/>
                </a:cubicBezTo>
                <a:cubicBezTo>
                  <a:pt x="522964" y="287357"/>
                  <a:pt x="528865" y="280238"/>
                  <a:pt x="530176" y="270872"/>
                </a:cubicBezTo>
                <a:cubicBezTo>
                  <a:pt x="531487" y="261506"/>
                  <a:pt x="527834" y="251952"/>
                  <a:pt x="519217" y="242211"/>
                </a:cubicBezTo>
                <a:cubicBezTo>
                  <a:pt x="515846" y="238090"/>
                  <a:pt x="510413" y="233688"/>
                  <a:pt x="502920" y="229005"/>
                </a:cubicBezTo>
                <a:cubicBezTo>
                  <a:pt x="495427" y="224322"/>
                  <a:pt x="487466" y="219732"/>
                  <a:pt x="479036" y="215237"/>
                </a:cubicBezTo>
                <a:cubicBezTo>
                  <a:pt x="470607" y="210741"/>
                  <a:pt x="462271" y="206526"/>
                  <a:pt x="454028" y="202592"/>
                </a:cubicBezTo>
                <a:cubicBezTo>
                  <a:pt x="445786" y="198658"/>
                  <a:pt x="439230" y="195380"/>
                  <a:pt x="434359" y="192758"/>
                </a:cubicBezTo>
                <a:cubicBezTo>
                  <a:pt x="416376" y="183017"/>
                  <a:pt x="402046" y="170372"/>
                  <a:pt x="391368" y="154824"/>
                </a:cubicBezTo>
                <a:cubicBezTo>
                  <a:pt x="380691" y="139276"/>
                  <a:pt x="374415" y="123166"/>
                  <a:pt x="372542" y="106494"/>
                </a:cubicBezTo>
                <a:cubicBezTo>
                  <a:pt x="370669" y="89822"/>
                  <a:pt x="373572" y="73619"/>
                  <a:pt x="381253" y="57883"/>
                </a:cubicBezTo>
                <a:cubicBezTo>
                  <a:pt x="388933" y="42148"/>
                  <a:pt x="402139" y="29223"/>
                  <a:pt x="420872" y="19107"/>
                </a:cubicBezTo>
                <a:cubicBezTo>
                  <a:pt x="434359" y="11614"/>
                  <a:pt x="448502" y="6650"/>
                  <a:pt x="463301" y="4215"/>
                </a:cubicBezTo>
                <a:cubicBezTo>
                  <a:pt x="470700" y="2997"/>
                  <a:pt x="478100" y="2295"/>
                  <a:pt x="485499" y="2107"/>
                </a:cubicBezTo>
                <a:close/>
                <a:moveTo>
                  <a:pt x="2156760" y="0"/>
                </a:moveTo>
                <a:cubicBezTo>
                  <a:pt x="2177553" y="0"/>
                  <a:pt x="2197972" y="3653"/>
                  <a:pt x="2218015" y="10959"/>
                </a:cubicBezTo>
                <a:cubicBezTo>
                  <a:pt x="2238059" y="18264"/>
                  <a:pt x="2255855" y="29316"/>
                  <a:pt x="2271403" y="44115"/>
                </a:cubicBezTo>
                <a:cubicBezTo>
                  <a:pt x="2286951" y="58914"/>
                  <a:pt x="2299502" y="77272"/>
                  <a:pt x="2309056" y="99189"/>
                </a:cubicBezTo>
                <a:cubicBezTo>
                  <a:pt x="2318609" y="121106"/>
                  <a:pt x="2323386" y="146863"/>
                  <a:pt x="2323386" y="176460"/>
                </a:cubicBezTo>
                <a:cubicBezTo>
                  <a:pt x="2323011" y="207182"/>
                  <a:pt x="2317953" y="233969"/>
                  <a:pt x="2308213" y="256823"/>
                </a:cubicBezTo>
                <a:cubicBezTo>
                  <a:pt x="2298472" y="279676"/>
                  <a:pt x="2285734" y="298690"/>
                  <a:pt x="2269998" y="313863"/>
                </a:cubicBezTo>
                <a:cubicBezTo>
                  <a:pt x="2254263" y="329036"/>
                  <a:pt x="2236467" y="340463"/>
                  <a:pt x="2216611" y="348144"/>
                </a:cubicBezTo>
                <a:cubicBezTo>
                  <a:pt x="2196754" y="355824"/>
                  <a:pt x="2176429" y="359664"/>
                  <a:pt x="2155636" y="359664"/>
                </a:cubicBezTo>
                <a:cubicBezTo>
                  <a:pt x="2134843" y="359664"/>
                  <a:pt x="2114518" y="355824"/>
                  <a:pt x="2094662" y="348144"/>
                </a:cubicBezTo>
                <a:cubicBezTo>
                  <a:pt x="2074806" y="340463"/>
                  <a:pt x="2057103" y="329036"/>
                  <a:pt x="2041555" y="313863"/>
                </a:cubicBezTo>
                <a:cubicBezTo>
                  <a:pt x="2026007" y="298690"/>
                  <a:pt x="2013550" y="279676"/>
                  <a:pt x="2004184" y="256823"/>
                </a:cubicBezTo>
                <a:cubicBezTo>
                  <a:pt x="1994818" y="233969"/>
                  <a:pt x="1990135" y="207182"/>
                  <a:pt x="1990135" y="176460"/>
                </a:cubicBezTo>
                <a:cubicBezTo>
                  <a:pt x="1990135" y="146863"/>
                  <a:pt x="1994911" y="121106"/>
                  <a:pt x="2004465" y="99189"/>
                </a:cubicBezTo>
                <a:cubicBezTo>
                  <a:pt x="2014019" y="77272"/>
                  <a:pt x="2026569" y="58914"/>
                  <a:pt x="2042117" y="44115"/>
                </a:cubicBezTo>
                <a:cubicBezTo>
                  <a:pt x="2057665" y="29316"/>
                  <a:pt x="2075461" y="18264"/>
                  <a:pt x="2095505" y="10959"/>
                </a:cubicBezTo>
                <a:cubicBezTo>
                  <a:pt x="2115549" y="3653"/>
                  <a:pt x="2135967" y="0"/>
                  <a:pt x="2156760" y="0"/>
                </a:cubicBezTo>
                <a:close/>
              </a:path>
            </a:pathLst>
          </a:custGeom>
          <a:solidFill>
            <a:srgbClr val="0F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BC7B9AD-D01B-7F95-ADD4-F253242A4F75}"/>
              </a:ext>
            </a:extLst>
          </p:cNvPr>
          <p:cNvSpPr txBox="1"/>
          <p:nvPr/>
        </p:nvSpPr>
        <p:spPr>
          <a:xfrm>
            <a:off x="557318" y="2367418"/>
            <a:ext cx="2725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chemeClr val="bg1"/>
                </a:solidFill>
                <a:latin typeface="微软雅黑 Semibold" panose="020B0702040204020203" pitchFamily="34" charset="-122"/>
                <a:ea typeface="微软雅黑 Semibold" panose="020B0702040204020203" pitchFamily="34" charset="-122"/>
                <a:cs typeface="OPPOSans R" panose="00020600040101010101" pitchFamily="18" charset="-122"/>
              </a:defRPr>
            </a:lvl1pPr>
          </a:lstStyle>
          <a:p>
            <a:r>
              <a:rPr lang="en-US" altLang="zh-CN" sz="2400" dirty="0">
                <a:solidFill>
                  <a:srgbClr val="0F1428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1-40</a:t>
            </a:r>
            <a:r>
              <a:rPr lang="zh-CN" altLang="en-US" sz="2400" dirty="0">
                <a:solidFill>
                  <a:srgbClr val="0F1428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页流程图样例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6F806A2-49FA-A007-AEB6-9BEC4077445D}"/>
              </a:ext>
            </a:extLst>
          </p:cNvPr>
          <p:cNvSpPr txBox="1"/>
          <p:nvPr/>
        </p:nvSpPr>
        <p:spPr>
          <a:xfrm>
            <a:off x="547059" y="2754823"/>
            <a:ext cx="39741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chemeClr val="bg1"/>
                </a:solidFill>
                <a:latin typeface="微软雅黑 Semibold" panose="020B0702040204020203" pitchFamily="34" charset="-122"/>
                <a:ea typeface="微软雅黑 Semibold" panose="020B0702040204020203" pitchFamily="34" charset="-122"/>
                <a:cs typeface="OPPOSans R" panose="00020600040101010101" pitchFamily="18" charset="-122"/>
              </a:defRPr>
            </a:lvl1pPr>
          </a:lstStyle>
          <a:p>
            <a:r>
              <a:rPr lang="zh-CN" altLang="en-US" sz="1800" dirty="0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前期案例，可根据需求任意编辑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A9D1654F-042E-9282-4B64-D9A674A872EE}"/>
              </a:ext>
            </a:extLst>
          </p:cNvPr>
          <p:cNvSpPr txBox="1"/>
          <p:nvPr/>
        </p:nvSpPr>
        <p:spPr>
          <a:xfrm>
            <a:off x="560320" y="3772814"/>
            <a:ext cx="14077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chemeClr val="bg1"/>
                </a:solidFill>
                <a:latin typeface="微软雅黑 Semibold" panose="020B0702040204020203" pitchFamily="34" charset="-122"/>
                <a:ea typeface="微软雅黑 Semibold" panose="020B0702040204020203" pitchFamily="34" charset="-122"/>
                <a:cs typeface="OPPOSans R" panose="00020600040101010101" pitchFamily="18" charset="-122"/>
              </a:defRPr>
            </a:lvl1pPr>
          </a:lstStyle>
          <a:p>
            <a:r>
              <a:rPr lang="zh-CN" altLang="en-US" sz="2400" dirty="0">
                <a:solidFill>
                  <a:srgbClr val="0F1428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使用字体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E789452-E156-488F-0D9E-6A4D43D508BF}"/>
              </a:ext>
            </a:extLst>
          </p:cNvPr>
          <p:cNvSpPr txBox="1"/>
          <p:nvPr/>
        </p:nvSpPr>
        <p:spPr>
          <a:xfrm>
            <a:off x="560320" y="4181407"/>
            <a:ext cx="5360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chemeClr val="bg1"/>
                </a:solidFill>
                <a:latin typeface="微软雅黑 Semibold" panose="020B0702040204020203" pitchFamily="34" charset="-122"/>
                <a:ea typeface="微软雅黑 Semibold" panose="020B0702040204020203" pitchFamily="34" charset="-122"/>
                <a:cs typeface="OPPOSans R" panose="00020600040101010101" pitchFamily="18" charset="-122"/>
              </a:defRPr>
            </a:lvl1pPr>
          </a:lstStyle>
          <a:p>
            <a:r>
              <a:rPr lang="zh-CN" altLang="en-US" sz="1800" dirty="0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标题：</a:t>
            </a:r>
            <a:r>
              <a:rPr lang="en-US" altLang="zh-CN" sz="1800" dirty="0" err="1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OPPOSans</a:t>
            </a:r>
            <a:r>
              <a:rPr lang="en-US" altLang="zh-CN" sz="1800" dirty="0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 H    </a:t>
            </a:r>
            <a:r>
              <a:rPr lang="zh-CN" altLang="en-US" sz="1800" dirty="0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正文：</a:t>
            </a:r>
            <a:r>
              <a:rPr lang="en-US" altLang="zh-CN" sz="1800" dirty="0" err="1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OPPOSans</a:t>
            </a:r>
            <a:r>
              <a:rPr lang="en-US" altLang="zh-CN" sz="1800" dirty="0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 R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CB68AAE3-21A8-EC91-4F2E-BE615659D3D0}"/>
              </a:ext>
            </a:extLst>
          </p:cNvPr>
          <p:cNvSpPr txBox="1"/>
          <p:nvPr/>
        </p:nvSpPr>
        <p:spPr>
          <a:xfrm>
            <a:off x="6221518" y="2367418"/>
            <a:ext cx="29338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chemeClr val="bg1"/>
                </a:solidFill>
                <a:latin typeface="微软雅黑 Semibold" panose="020B0702040204020203" pitchFamily="34" charset="-122"/>
                <a:ea typeface="微软雅黑 Semibold" panose="020B0702040204020203" pitchFamily="34" charset="-122"/>
                <a:cs typeface="OPPOSans R" panose="00020600040101010101" pitchFamily="18" charset="-122"/>
              </a:defRPr>
            </a:lvl1pPr>
          </a:lstStyle>
          <a:p>
            <a:r>
              <a:rPr lang="en-US" altLang="zh-CN" sz="2400" dirty="0">
                <a:solidFill>
                  <a:srgbClr val="0F1428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41-80</a:t>
            </a:r>
            <a:r>
              <a:rPr lang="zh-CN" altLang="en-US" sz="2400" dirty="0">
                <a:solidFill>
                  <a:srgbClr val="0F1428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页流程图样例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9118FCF4-5778-1D7A-1082-B1FF51D1E07C}"/>
              </a:ext>
            </a:extLst>
          </p:cNvPr>
          <p:cNvSpPr txBox="1"/>
          <p:nvPr/>
        </p:nvSpPr>
        <p:spPr>
          <a:xfrm>
            <a:off x="6211259" y="2754823"/>
            <a:ext cx="5360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chemeClr val="bg1"/>
                </a:solidFill>
                <a:latin typeface="微软雅黑 Semibold" panose="020B0702040204020203" pitchFamily="34" charset="-122"/>
                <a:ea typeface="微软雅黑 Semibold" panose="020B0702040204020203" pitchFamily="34" charset="-122"/>
                <a:cs typeface="OPPOSans R" panose="00020600040101010101" pitchFamily="18" charset="-122"/>
              </a:defRPr>
            </a:lvl1pPr>
          </a:lstStyle>
          <a:p>
            <a:r>
              <a:rPr lang="en-US" altLang="zh-CN" sz="1800" dirty="0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7</a:t>
            </a:r>
            <a:r>
              <a:rPr lang="zh-CN" altLang="en-US" sz="1800" dirty="0">
                <a:solidFill>
                  <a:srgbClr val="0F1428"/>
                </a:solidFill>
                <a:latin typeface="OPPOSans R" panose="00020600040101010101" pitchFamily="18" charset="-122"/>
                <a:ea typeface="OPPOSans R" panose="00020600040101010101" pitchFamily="18" charset="-122"/>
              </a:rPr>
              <a:t>月更新，各种风格任意编辑</a:t>
            </a:r>
          </a:p>
        </p:txBody>
      </p:sp>
    </p:spTree>
    <p:extLst>
      <p:ext uri="{BB962C8B-B14F-4D97-AF65-F5344CB8AC3E}">
        <p14:creationId xmlns:p14="http://schemas.microsoft.com/office/powerpoint/2010/main" val="27031830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CE91F792-C8C1-12D7-3896-881E5EDE6D30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AEA58A4-61A9-E48C-F466-21BE38172FB3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5931A30-3AA1-6D8F-F997-43835FAFB7E5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1">
            <a:extLst>
              <a:ext uri="{FF2B5EF4-FFF2-40B4-BE49-F238E27FC236}">
                <a16:creationId xmlns:a16="http://schemas.microsoft.com/office/drawing/2014/main" id="{359B2325-CABE-D24A-70C8-F80CDB81B471}"/>
              </a:ext>
            </a:extLst>
          </p:cNvPr>
          <p:cNvSpPr/>
          <p:nvPr/>
        </p:nvSpPr>
        <p:spPr>
          <a:xfrm flipV="1">
            <a:off x="6084391" y="3479402"/>
            <a:ext cx="0" cy="54000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6" name="gaoding-2">
            <a:extLst>
              <a:ext uri="{FF2B5EF4-FFF2-40B4-BE49-F238E27FC236}">
                <a16:creationId xmlns:a16="http://schemas.microsoft.com/office/drawing/2014/main" id="{D7D783E0-EE1D-D667-37BB-364169B14ACC}"/>
              </a:ext>
            </a:extLst>
          </p:cNvPr>
          <p:cNvSpPr/>
          <p:nvPr/>
        </p:nvSpPr>
        <p:spPr>
          <a:xfrm flipV="1">
            <a:off x="8258935" y="3479402"/>
            <a:ext cx="0" cy="54000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7" name="gaoding-3">
            <a:extLst>
              <a:ext uri="{FF2B5EF4-FFF2-40B4-BE49-F238E27FC236}">
                <a16:creationId xmlns:a16="http://schemas.microsoft.com/office/drawing/2014/main" id="{1CE5426D-A12F-CC65-4860-266713A62EC6}"/>
              </a:ext>
            </a:extLst>
          </p:cNvPr>
          <p:cNvSpPr/>
          <p:nvPr/>
        </p:nvSpPr>
        <p:spPr>
          <a:xfrm flipV="1">
            <a:off x="3909847" y="3479402"/>
            <a:ext cx="0" cy="54000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8" name="gaoding-4">
            <a:extLst>
              <a:ext uri="{FF2B5EF4-FFF2-40B4-BE49-F238E27FC236}">
                <a16:creationId xmlns:a16="http://schemas.microsoft.com/office/drawing/2014/main" id="{A8870B72-342E-3569-317E-8BCED8764508}"/>
              </a:ext>
            </a:extLst>
          </p:cNvPr>
          <p:cNvSpPr/>
          <p:nvPr/>
        </p:nvSpPr>
        <p:spPr>
          <a:xfrm flipV="1">
            <a:off x="1735303" y="3479402"/>
            <a:ext cx="0" cy="54000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9" name="gaoding-5">
            <a:extLst>
              <a:ext uri="{FF2B5EF4-FFF2-40B4-BE49-F238E27FC236}">
                <a16:creationId xmlns:a16="http://schemas.microsoft.com/office/drawing/2014/main" id="{BC6F1AF6-E35B-5C83-9DAE-D94010E8FE6E}"/>
              </a:ext>
            </a:extLst>
          </p:cNvPr>
          <p:cNvSpPr/>
          <p:nvPr/>
        </p:nvSpPr>
        <p:spPr>
          <a:xfrm flipV="1">
            <a:off x="10433479" y="3479402"/>
            <a:ext cx="0" cy="54000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10" name="gaoding-6">
            <a:extLst>
              <a:ext uri="{FF2B5EF4-FFF2-40B4-BE49-F238E27FC236}">
                <a16:creationId xmlns:a16="http://schemas.microsoft.com/office/drawing/2014/main" id="{02B6A5FB-343E-9253-6FF3-11A71E7984B3}"/>
              </a:ext>
            </a:extLst>
          </p:cNvPr>
          <p:cNvSpPr/>
          <p:nvPr/>
        </p:nvSpPr>
        <p:spPr>
          <a:xfrm flipV="1">
            <a:off x="3909570" y="2739608"/>
            <a:ext cx="0" cy="504344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11" name="gaoding-7">
            <a:extLst>
              <a:ext uri="{FF2B5EF4-FFF2-40B4-BE49-F238E27FC236}">
                <a16:creationId xmlns:a16="http://schemas.microsoft.com/office/drawing/2014/main" id="{F28A3B5C-BF9D-873C-87CE-CD2032C27BB6}"/>
              </a:ext>
            </a:extLst>
          </p:cNvPr>
          <p:cNvSpPr/>
          <p:nvPr/>
        </p:nvSpPr>
        <p:spPr>
          <a:xfrm flipV="1">
            <a:off x="8266745" y="2739608"/>
            <a:ext cx="0" cy="504344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12" name="gaoding-8">
            <a:extLst>
              <a:ext uri="{FF2B5EF4-FFF2-40B4-BE49-F238E27FC236}">
                <a16:creationId xmlns:a16="http://schemas.microsoft.com/office/drawing/2014/main" id="{6D309BB0-146B-8236-2CB5-BF49A03517F1}"/>
              </a:ext>
            </a:extLst>
          </p:cNvPr>
          <p:cNvSpPr/>
          <p:nvPr/>
        </p:nvSpPr>
        <p:spPr>
          <a:xfrm flipV="1">
            <a:off x="6082036" y="2255368"/>
            <a:ext cx="0" cy="955503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13" name="gaoding-9">
            <a:extLst>
              <a:ext uri="{FF2B5EF4-FFF2-40B4-BE49-F238E27FC236}">
                <a16:creationId xmlns:a16="http://schemas.microsoft.com/office/drawing/2014/main" id="{86F02FA6-2523-3D4C-F43A-12BE07130FA2}"/>
              </a:ext>
            </a:extLst>
          </p:cNvPr>
          <p:cNvSpPr/>
          <p:nvPr/>
        </p:nvSpPr>
        <p:spPr>
          <a:xfrm>
            <a:off x="1741921" y="2741233"/>
            <a:ext cx="8692930" cy="4194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73" extrusionOk="0">
                <a:moveTo>
                  <a:pt x="0" y="21295"/>
                </a:moveTo>
                <a:lnTo>
                  <a:pt x="0" y="6662"/>
                </a:lnTo>
                <a:cubicBezTo>
                  <a:pt x="1" y="4864"/>
                  <a:pt x="36" y="3145"/>
                  <a:pt x="99" y="1893"/>
                </a:cubicBezTo>
                <a:cubicBezTo>
                  <a:pt x="166" y="555"/>
                  <a:pt x="258" y="-127"/>
                  <a:pt x="351" y="20"/>
                </a:cubicBezTo>
                <a:lnTo>
                  <a:pt x="21284" y="20"/>
                </a:lnTo>
                <a:cubicBezTo>
                  <a:pt x="21377" y="43"/>
                  <a:pt x="21465" y="897"/>
                  <a:pt x="21525" y="2361"/>
                </a:cubicBezTo>
                <a:cubicBezTo>
                  <a:pt x="21573" y="3526"/>
                  <a:pt x="21599" y="5000"/>
                  <a:pt x="21600" y="6527"/>
                </a:cubicBezTo>
                <a:lnTo>
                  <a:pt x="21600" y="21473"/>
                </a:lnTo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14" name="gaoding-10">
            <a:extLst>
              <a:ext uri="{FF2B5EF4-FFF2-40B4-BE49-F238E27FC236}">
                <a16:creationId xmlns:a16="http://schemas.microsoft.com/office/drawing/2014/main" id="{F6D7A3C7-CE11-AF58-6897-0D785B141921}"/>
              </a:ext>
            </a:extLst>
          </p:cNvPr>
          <p:cNvSpPr/>
          <p:nvPr/>
        </p:nvSpPr>
        <p:spPr>
          <a:xfrm>
            <a:off x="4912518" y="1700226"/>
            <a:ext cx="2352121" cy="588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7" y="0"/>
                </a:moveTo>
                <a:lnTo>
                  <a:pt x="20513" y="0"/>
                </a:lnTo>
                <a:cubicBezTo>
                  <a:pt x="20669" y="0"/>
                  <a:pt x="20786" y="0"/>
                  <a:pt x="20886" y="27"/>
                </a:cubicBezTo>
                <a:cubicBezTo>
                  <a:pt x="20985" y="53"/>
                  <a:pt x="21067" y="106"/>
                  <a:pt x="21151" y="213"/>
                </a:cubicBezTo>
                <a:cubicBezTo>
                  <a:pt x="21243" y="347"/>
                  <a:pt x="21325" y="558"/>
                  <a:pt x="21393" y="828"/>
                </a:cubicBezTo>
                <a:cubicBezTo>
                  <a:pt x="21460" y="1098"/>
                  <a:pt x="21513" y="1427"/>
                  <a:pt x="21547" y="1794"/>
                </a:cubicBezTo>
                <a:cubicBezTo>
                  <a:pt x="21573" y="2130"/>
                  <a:pt x="21587" y="2456"/>
                  <a:pt x="21593" y="2856"/>
                </a:cubicBezTo>
                <a:cubicBezTo>
                  <a:pt x="21600" y="3256"/>
                  <a:pt x="21600" y="3730"/>
                  <a:pt x="21600" y="4362"/>
                </a:cubicBezTo>
                <a:lnTo>
                  <a:pt x="21600" y="17257"/>
                </a:lnTo>
                <a:cubicBezTo>
                  <a:pt x="21600" y="17879"/>
                  <a:pt x="21600" y="18349"/>
                  <a:pt x="21593" y="18746"/>
                </a:cubicBezTo>
                <a:cubicBezTo>
                  <a:pt x="21587" y="19144"/>
                  <a:pt x="21573" y="19470"/>
                  <a:pt x="21547" y="19806"/>
                </a:cubicBezTo>
                <a:cubicBezTo>
                  <a:pt x="21513" y="20173"/>
                  <a:pt x="21460" y="20502"/>
                  <a:pt x="21393" y="20772"/>
                </a:cubicBezTo>
                <a:cubicBezTo>
                  <a:pt x="21325" y="21042"/>
                  <a:pt x="21243" y="21253"/>
                  <a:pt x="21151" y="21387"/>
                </a:cubicBezTo>
                <a:cubicBezTo>
                  <a:pt x="21067" y="21494"/>
                  <a:pt x="20985" y="21547"/>
                  <a:pt x="20885" y="21573"/>
                </a:cubicBezTo>
                <a:cubicBezTo>
                  <a:pt x="20785" y="21600"/>
                  <a:pt x="20666" y="21600"/>
                  <a:pt x="20508" y="21600"/>
                </a:cubicBezTo>
                <a:lnTo>
                  <a:pt x="1087" y="21600"/>
                </a:lnTo>
                <a:cubicBezTo>
                  <a:pt x="931" y="21600"/>
                  <a:pt x="814" y="21600"/>
                  <a:pt x="714" y="21573"/>
                </a:cubicBezTo>
                <a:cubicBezTo>
                  <a:pt x="615" y="21547"/>
                  <a:pt x="533" y="21494"/>
                  <a:pt x="449" y="21387"/>
                </a:cubicBezTo>
                <a:cubicBezTo>
                  <a:pt x="357" y="21253"/>
                  <a:pt x="275" y="21042"/>
                  <a:pt x="207" y="20772"/>
                </a:cubicBezTo>
                <a:cubicBezTo>
                  <a:pt x="140" y="20502"/>
                  <a:pt x="87" y="20173"/>
                  <a:pt x="53" y="19806"/>
                </a:cubicBezTo>
                <a:cubicBezTo>
                  <a:pt x="27" y="19470"/>
                  <a:pt x="13" y="19144"/>
                  <a:pt x="7" y="18744"/>
                </a:cubicBezTo>
                <a:cubicBezTo>
                  <a:pt x="0" y="18344"/>
                  <a:pt x="0" y="17870"/>
                  <a:pt x="0" y="17238"/>
                </a:cubicBezTo>
                <a:lnTo>
                  <a:pt x="0" y="4343"/>
                </a:lnTo>
                <a:cubicBezTo>
                  <a:pt x="0" y="3721"/>
                  <a:pt x="0" y="3251"/>
                  <a:pt x="7" y="2854"/>
                </a:cubicBezTo>
                <a:cubicBezTo>
                  <a:pt x="13" y="2456"/>
                  <a:pt x="27" y="2130"/>
                  <a:pt x="53" y="1794"/>
                </a:cubicBezTo>
                <a:cubicBezTo>
                  <a:pt x="87" y="1427"/>
                  <a:pt x="140" y="1098"/>
                  <a:pt x="207" y="828"/>
                </a:cubicBezTo>
                <a:cubicBezTo>
                  <a:pt x="275" y="558"/>
                  <a:pt x="357" y="347"/>
                  <a:pt x="449" y="213"/>
                </a:cubicBezTo>
                <a:cubicBezTo>
                  <a:pt x="533" y="106"/>
                  <a:pt x="615" y="53"/>
                  <a:pt x="715" y="27"/>
                </a:cubicBezTo>
                <a:cubicBezTo>
                  <a:pt x="815" y="0"/>
                  <a:pt x="934" y="0"/>
                  <a:pt x="1092" y="0"/>
                </a:cubicBezTo>
                <a:lnTo>
                  <a:pt x="108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15" name="gaoding-11">
            <a:extLst>
              <a:ext uri="{FF2B5EF4-FFF2-40B4-BE49-F238E27FC236}">
                <a16:creationId xmlns:a16="http://schemas.microsoft.com/office/drawing/2014/main" id="{D6DF1857-D773-E180-4116-FBDA147D4314}"/>
              </a:ext>
            </a:extLst>
          </p:cNvPr>
          <p:cNvSpPr/>
          <p:nvPr/>
        </p:nvSpPr>
        <p:spPr>
          <a:xfrm>
            <a:off x="5161096" y="4026498"/>
            <a:ext cx="1846037" cy="1763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355" y="0"/>
                </a:moveTo>
                <a:lnTo>
                  <a:pt x="19245" y="0"/>
                </a:lnTo>
                <a:cubicBezTo>
                  <a:pt x="19583" y="0"/>
                  <a:pt x="19837" y="0"/>
                  <a:pt x="20053" y="13"/>
                </a:cubicBezTo>
                <a:cubicBezTo>
                  <a:pt x="20268" y="26"/>
                  <a:pt x="20445" y="52"/>
                  <a:pt x="20627" y="104"/>
                </a:cubicBezTo>
                <a:cubicBezTo>
                  <a:pt x="20826" y="170"/>
                  <a:pt x="21004" y="274"/>
                  <a:pt x="21151" y="406"/>
                </a:cubicBezTo>
                <a:cubicBezTo>
                  <a:pt x="21297" y="539"/>
                  <a:pt x="21412" y="700"/>
                  <a:pt x="21485" y="880"/>
                </a:cubicBezTo>
                <a:cubicBezTo>
                  <a:pt x="21542" y="1045"/>
                  <a:pt x="21571" y="1204"/>
                  <a:pt x="21586" y="1401"/>
                </a:cubicBezTo>
                <a:cubicBezTo>
                  <a:pt x="21600" y="1597"/>
                  <a:pt x="21600" y="1829"/>
                  <a:pt x="21600" y="2139"/>
                </a:cubicBezTo>
                <a:lnTo>
                  <a:pt x="21600" y="19470"/>
                </a:lnTo>
                <a:cubicBezTo>
                  <a:pt x="21600" y="19775"/>
                  <a:pt x="21600" y="20006"/>
                  <a:pt x="21586" y="20201"/>
                </a:cubicBezTo>
                <a:cubicBezTo>
                  <a:pt x="21571" y="20396"/>
                  <a:pt x="21542" y="20555"/>
                  <a:pt x="21485" y="20720"/>
                </a:cubicBezTo>
                <a:cubicBezTo>
                  <a:pt x="21412" y="20900"/>
                  <a:pt x="21297" y="21061"/>
                  <a:pt x="21151" y="21194"/>
                </a:cubicBezTo>
                <a:cubicBezTo>
                  <a:pt x="21004" y="21326"/>
                  <a:pt x="20826" y="21430"/>
                  <a:pt x="20627" y="21496"/>
                </a:cubicBezTo>
                <a:cubicBezTo>
                  <a:pt x="20445" y="21548"/>
                  <a:pt x="20268" y="21574"/>
                  <a:pt x="20051" y="21587"/>
                </a:cubicBezTo>
                <a:cubicBezTo>
                  <a:pt x="19834" y="21600"/>
                  <a:pt x="19577" y="21600"/>
                  <a:pt x="19235" y="21600"/>
                </a:cubicBezTo>
                <a:lnTo>
                  <a:pt x="2355" y="21600"/>
                </a:lnTo>
                <a:cubicBezTo>
                  <a:pt x="2017" y="21600"/>
                  <a:pt x="1763" y="21600"/>
                  <a:pt x="1547" y="21587"/>
                </a:cubicBezTo>
                <a:cubicBezTo>
                  <a:pt x="1332" y="21574"/>
                  <a:pt x="1155" y="21548"/>
                  <a:pt x="973" y="21496"/>
                </a:cubicBezTo>
                <a:cubicBezTo>
                  <a:pt x="774" y="21430"/>
                  <a:pt x="596" y="21326"/>
                  <a:pt x="449" y="21194"/>
                </a:cubicBezTo>
                <a:cubicBezTo>
                  <a:pt x="303" y="21061"/>
                  <a:pt x="188" y="20900"/>
                  <a:pt x="115" y="20720"/>
                </a:cubicBezTo>
                <a:cubicBezTo>
                  <a:pt x="58" y="20555"/>
                  <a:pt x="29" y="20396"/>
                  <a:pt x="14" y="20199"/>
                </a:cubicBezTo>
                <a:cubicBezTo>
                  <a:pt x="0" y="20003"/>
                  <a:pt x="0" y="19771"/>
                  <a:pt x="0" y="19461"/>
                </a:cubicBezTo>
                <a:lnTo>
                  <a:pt x="0" y="2130"/>
                </a:lnTo>
                <a:cubicBezTo>
                  <a:pt x="0" y="1825"/>
                  <a:pt x="0" y="1594"/>
                  <a:pt x="14" y="1399"/>
                </a:cubicBezTo>
                <a:cubicBezTo>
                  <a:pt x="29" y="1204"/>
                  <a:pt x="58" y="1045"/>
                  <a:pt x="115" y="880"/>
                </a:cubicBezTo>
                <a:cubicBezTo>
                  <a:pt x="188" y="700"/>
                  <a:pt x="303" y="539"/>
                  <a:pt x="449" y="406"/>
                </a:cubicBezTo>
                <a:cubicBezTo>
                  <a:pt x="596" y="274"/>
                  <a:pt x="774" y="170"/>
                  <a:pt x="973" y="104"/>
                </a:cubicBezTo>
                <a:cubicBezTo>
                  <a:pt x="1155" y="52"/>
                  <a:pt x="1332" y="26"/>
                  <a:pt x="1549" y="13"/>
                </a:cubicBezTo>
                <a:cubicBezTo>
                  <a:pt x="1766" y="0"/>
                  <a:pt x="2023" y="0"/>
                  <a:pt x="2365" y="0"/>
                </a:cubicBezTo>
                <a:lnTo>
                  <a:pt x="2355" y="0"/>
                </a:lnTo>
                <a:close/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16" name="gaoding-12">
            <a:extLst>
              <a:ext uri="{FF2B5EF4-FFF2-40B4-BE49-F238E27FC236}">
                <a16:creationId xmlns:a16="http://schemas.microsoft.com/office/drawing/2014/main" id="{D2E4DB26-BE7E-250B-0363-C752C338A2C1}"/>
              </a:ext>
            </a:extLst>
          </p:cNvPr>
          <p:cNvSpPr/>
          <p:nvPr/>
        </p:nvSpPr>
        <p:spPr>
          <a:xfrm>
            <a:off x="5253854" y="4155043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7" name="gaoding-13">
            <a:extLst>
              <a:ext uri="{FF2B5EF4-FFF2-40B4-BE49-F238E27FC236}">
                <a16:creationId xmlns:a16="http://schemas.microsoft.com/office/drawing/2014/main" id="{013A059C-AE96-C060-AE82-4B85DFC3E5DE}"/>
              </a:ext>
            </a:extLst>
          </p:cNvPr>
          <p:cNvSpPr/>
          <p:nvPr/>
        </p:nvSpPr>
        <p:spPr>
          <a:xfrm>
            <a:off x="5253854" y="4709825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8" name="gaoding-14">
            <a:extLst>
              <a:ext uri="{FF2B5EF4-FFF2-40B4-BE49-F238E27FC236}">
                <a16:creationId xmlns:a16="http://schemas.microsoft.com/office/drawing/2014/main" id="{9E680611-B2A7-3657-7D90-B89A43D28EC7}"/>
              </a:ext>
            </a:extLst>
          </p:cNvPr>
          <p:cNvSpPr/>
          <p:nvPr/>
        </p:nvSpPr>
        <p:spPr>
          <a:xfrm>
            <a:off x="5253854" y="5264608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19" name="gaoding-15">
            <a:extLst>
              <a:ext uri="{FF2B5EF4-FFF2-40B4-BE49-F238E27FC236}">
                <a16:creationId xmlns:a16="http://schemas.microsoft.com/office/drawing/2014/main" id="{C93239C4-1A48-2B2D-27F9-0DB2EA35B48B}"/>
              </a:ext>
            </a:extLst>
          </p:cNvPr>
          <p:cNvSpPr/>
          <p:nvPr/>
        </p:nvSpPr>
        <p:spPr>
          <a:xfrm>
            <a:off x="5253854" y="3140600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1" name="gaoding-17">
            <a:extLst>
              <a:ext uri="{FF2B5EF4-FFF2-40B4-BE49-F238E27FC236}">
                <a16:creationId xmlns:a16="http://schemas.microsoft.com/office/drawing/2014/main" id="{9DF16A4F-89BC-03F5-A842-77F1CD723299}"/>
              </a:ext>
            </a:extLst>
          </p:cNvPr>
          <p:cNvSpPr/>
          <p:nvPr/>
        </p:nvSpPr>
        <p:spPr>
          <a:xfrm>
            <a:off x="7335640" y="4026498"/>
            <a:ext cx="1846037" cy="1763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355" y="0"/>
                </a:moveTo>
                <a:lnTo>
                  <a:pt x="19245" y="0"/>
                </a:lnTo>
                <a:cubicBezTo>
                  <a:pt x="19583" y="0"/>
                  <a:pt x="19837" y="0"/>
                  <a:pt x="20053" y="13"/>
                </a:cubicBezTo>
                <a:cubicBezTo>
                  <a:pt x="20268" y="26"/>
                  <a:pt x="20445" y="52"/>
                  <a:pt x="20627" y="104"/>
                </a:cubicBezTo>
                <a:cubicBezTo>
                  <a:pt x="20826" y="170"/>
                  <a:pt x="21004" y="274"/>
                  <a:pt x="21151" y="406"/>
                </a:cubicBezTo>
                <a:cubicBezTo>
                  <a:pt x="21297" y="539"/>
                  <a:pt x="21412" y="700"/>
                  <a:pt x="21485" y="880"/>
                </a:cubicBezTo>
                <a:cubicBezTo>
                  <a:pt x="21542" y="1045"/>
                  <a:pt x="21571" y="1204"/>
                  <a:pt x="21586" y="1401"/>
                </a:cubicBezTo>
                <a:cubicBezTo>
                  <a:pt x="21600" y="1597"/>
                  <a:pt x="21600" y="1829"/>
                  <a:pt x="21600" y="2139"/>
                </a:cubicBezTo>
                <a:lnTo>
                  <a:pt x="21600" y="19470"/>
                </a:lnTo>
                <a:cubicBezTo>
                  <a:pt x="21600" y="19775"/>
                  <a:pt x="21600" y="20006"/>
                  <a:pt x="21586" y="20201"/>
                </a:cubicBezTo>
                <a:cubicBezTo>
                  <a:pt x="21571" y="20396"/>
                  <a:pt x="21542" y="20555"/>
                  <a:pt x="21485" y="20720"/>
                </a:cubicBezTo>
                <a:cubicBezTo>
                  <a:pt x="21412" y="20900"/>
                  <a:pt x="21297" y="21061"/>
                  <a:pt x="21151" y="21194"/>
                </a:cubicBezTo>
                <a:cubicBezTo>
                  <a:pt x="21004" y="21326"/>
                  <a:pt x="20826" y="21430"/>
                  <a:pt x="20627" y="21496"/>
                </a:cubicBezTo>
                <a:cubicBezTo>
                  <a:pt x="20445" y="21548"/>
                  <a:pt x="20268" y="21574"/>
                  <a:pt x="20051" y="21587"/>
                </a:cubicBezTo>
                <a:cubicBezTo>
                  <a:pt x="19834" y="21600"/>
                  <a:pt x="19577" y="21600"/>
                  <a:pt x="19235" y="21600"/>
                </a:cubicBezTo>
                <a:lnTo>
                  <a:pt x="2355" y="21600"/>
                </a:lnTo>
                <a:cubicBezTo>
                  <a:pt x="2017" y="21600"/>
                  <a:pt x="1763" y="21600"/>
                  <a:pt x="1547" y="21587"/>
                </a:cubicBezTo>
                <a:cubicBezTo>
                  <a:pt x="1332" y="21574"/>
                  <a:pt x="1155" y="21548"/>
                  <a:pt x="973" y="21496"/>
                </a:cubicBezTo>
                <a:cubicBezTo>
                  <a:pt x="774" y="21430"/>
                  <a:pt x="596" y="21326"/>
                  <a:pt x="449" y="21194"/>
                </a:cubicBezTo>
                <a:cubicBezTo>
                  <a:pt x="303" y="21061"/>
                  <a:pt x="188" y="20900"/>
                  <a:pt x="115" y="20720"/>
                </a:cubicBezTo>
                <a:cubicBezTo>
                  <a:pt x="58" y="20555"/>
                  <a:pt x="29" y="20396"/>
                  <a:pt x="14" y="20199"/>
                </a:cubicBezTo>
                <a:cubicBezTo>
                  <a:pt x="0" y="20003"/>
                  <a:pt x="0" y="19771"/>
                  <a:pt x="0" y="19461"/>
                </a:cubicBezTo>
                <a:lnTo>
                  <a:pt x="0" y="2130"/>
                </a:lnTo>
                <a:cubicBezTo>
                  <a:pt x="0" y="1825"/>
                  <a:pt x="0" y="1594"/>
                  <a:pt x="14" y="1399"/>
                </a:cubicBezTo>
                <a:cubicBezTo>
                  <a:pt x="29" y="1204"/>
                  <a:pt x="58" y="1045"/>
                  <a:pt x="115" y="880"/>
                </a:cubicBezTo>
                <a:cubicBezTo>
                  <a:pt x="188" y="700"/>
                  <a:pt x="303" y="539"/>
                  <a:pt x="449" y="406"/>
                </a:cubicBezTo>
                <a:cubicBezTo>
                  <a:pt x="596" y="274"/>
                  <a:pt x="774" y="170"/>
                  <a:pt x="973" y="104"/>
                </a:cubicBezTo>
                <a:cubicBezTo>
                  <a:pt x="1155" y="52"/>
                  <a:pt x="1332" y="26"/>
                  <a:pt x="1549" y="13"/>
                </a:cubicBezTo>
                <a:cubicBezTo>
                  <a:pt x="1766" y="0"/>
                  <a:pt x="2023" y="0"/>
                  <a:pt x="2365" y="0"/>
                </a:cubicBezTo>
                <a:lnTo>
                  <a:pt x="2355" y="0"/>
                </a:lnTo>
                <a:close/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22" name="gaoding-18">
            <a:extLst>
              <a:ext uri="{FF2B5EF4-FFF2-40B4-BE49-F238E27FC236}">
                <a16:creationId xmlns:a16="http://schemas.microsoft.com/office/drawing/2014/main" id="{095E0FA2-D8F5-D81D-0398-EA59247E743E}"/>
              </a:ext>
            </a:extLst>
          </p:cNvPr>
          <p:cNvSpPr/>
          <p:nvPr/>
        </p:nvSpPr>
        <p:spPr>
          <a:xfrm>
            <a:off x="7428398" y="4155043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23" name="gaoding-19">
            <a:extLst>
              <a:ext uri="{FF2B5EF4-FFF2-40B4-BE49-F238E27FC236}">
                <a16:creationId xmlns:a16="http://schemas.microsoft.com/office/drawing/2014/main" id="{0D10AC52-867C-24F8-783E-CC8463F8D98C}"/>
              </a:ext>
            </a:extLst>
          </p:cNvPr>
          <p:cNvSpPr/>
          <p:nvPr/>
        </p:nvSpPr>
        <p:spPr>
          <a:xfrm>
            <a:off x="7428398" y="4709825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24" name="gaoding-20">
            <a:extLst>
              <a:ext uri="{FF2B5EF4-FFF2-40B4-BE49-F238E27FC236}">
                <a16:creationId xmlns:a16="http://schemas.microsoft.com/office/drawing/2014/main" id="{401B95EE-52AF-405C-4F31-C9E3118A53C5}"/>
              </a:ext>
            </a:extLst>
          </p:cNvPr>
          <p:cNvSpPr/>
          <p:nvPr/>
        </p:nvSpPr>
        <p:spPr>
          <a:xfrm>
            <a:off x="7428398" y="5264608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25" name="gaoding-21">
            <a:extLst>
              <a:ext uri="{FF2B5EF4-FFF2-40B4-BE49-F238E27FC236}">
                <a16:creationId xmlns:a16="http://schemas.microsoft.com/office/drawing/2014/main" id="{789C74DF-E217-416E-E11C-7A13CA504B09}"/>
              </a:ext>
            </a:extLst>
          </p:cNvPr>
          <p:cNvSpPr/>
          <p:nvPr/>
        </p:nvSpPr>
        <p:spPr>
          <a:xfrm>
            <a:off x="7428398" y="3140600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7" name="gaoding-23">
            <a:extLst>
              <a:ext uri="{FF2B5EF4-FFF2-40B4-BE49-F238E27FC236}">
                <a16:creationId xmlns:a16="http://schemas.microsoft.com/office/drawing/2014/main" id="{CA73822F-425F-CC90-8BC3-A33B6FD574CC}"/>
              </a:ext>
            </a:extLst>
          </p:cNvPr>
          <p:cNvSpPr/>
          <p:nvPr/>
        </p:nvSpPr>
        <p:spPr>
          <a:xfrm>
            <a:off x="2986552" y="4026498"/>
            <a:ext cx="1846036" cy="1763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355" y="0"/>
                </a:moveTo>
                <a:lnTo>
                  <a:pt x="19245" y="0"/>
                </a:lnTo>
                <a:cubicBezTo>
                  <a:pt x="19583" y="0"/>
                  <a:pt x="19837" y="0"/>
                  <a:pt x="20053" y="13"/>
                </a:cubicBezTo>
                <a:cubicBezTo>
                  <a:pt x="20268" y="26"/>
                  <a:pt x="20445" y="52"/>
                  <a:pt x="20627" y="104"/>
                </a:cubicBezTo>
                <a:cubicBezTo>
                  <a:pt x="20826" y="170"/>
                  <a:pt x="21004" y="274"/>
                  <a:pt x="21151" y="406"/>
                </a:cubicBezTo>
                <a:cubicBezTo>
                  <a:pt x="21297" y="539"/>
                  <a:pt x="21412" y="700"/>
                  <a:pt x="21485" y="880"/>
                </a:cubicBezTo>
                <a:cubicBezTo>
                  <a:pt x="21542" y="1045"/>
                  <a:pt x="21571" y="1204"/>
                  <a:pt x="21586" y="1401"/>
                </a:cubicBezTo>
                <a:cubicBezTo>
                  <a:pt x="21600" y="1597"/>
                  <a:pt x="21600" y="1829"/>
                  <a:pt x="21600" y="2139"/>
                </a:cubicBezTo>
                <a:lnTo>
                  <a:pt x="21600" y="19470"/>
                </a:lnTo>
                <a:cubicBezTo>
                  <a:pt x="21600" y="19775"/>
                  <a:pt x="21600" y="20006"/>
                  <a:pt x="21586" y="20201"/>
                </a:cubicBezTo>
                <a:cubicBezTo>
                  <a:pt x="21571" y="20396"/>
                  <a:pt x="21542" y="20555"/>
                  <a:pt x="21485" y="20720"/>
                </a:cubicBezTo>
                <a:cubicBezTo>
                  <a:pt x="21412" y="20900"/>
                  <a:pt x="21297" y="21061"/>
                  <a:pt x="21151" y="21194"/>
                </a:cubicBezTo>
                <a:cubicBezTo>
                  <a:pt x="21004" y="21326"/>
                  <a:pt x="20826" y="21430"/>
                  <a:pt x="20627" y="21496"/>
                </a:cubicBezTo>
                <a:cubicBezTo>
                  <a:pt x="20445" y="21548"/>
                  <a:pt x="20268" y="21574"/>
                  <a:pt x="20051" y="21587"/>
                </a:cubicBezTo>
                <a:cubicBezTo>
                  <a:pt x="19834" y="21600"/>
                  <a:pt x="19577" y="21600"/>
                  <a:pt x="19235" y="21600"/>
                </a:cubicBezTo>
                <a:lnTo>
                  <a:pt x="2355" y="21600"/>
                </a:lnTo>
                <a:cubicBezTo>
                  <a:pt x="2017" y="21600"/>
                  <a:pt x="1763" y="21600"/>
                  <a:pt x="1547" y="21587"/>
                </a:cubicBezTo>
                <a:cubicBezTo>
                  <a:pt x="1332" y="21574"/>
                  <a:pt x="1155" y="21548"/>
                  <a:pt x="973" y="21496"/>
                </a:cubicBezTo>
                <a:cubicBezTo>
                  <a:pt x="774" y="21430"/>
                  <a:pt x="596" y="21326"/>
                  <a:pt x="449" y="21194"/>
                </a:cubicBezTo>
                <a:cubicBezTo>
                  <a:pt x="303" y="21061"/>
                  <a:pt x="188" y="20900"/>
                  <a:pt x="115" y="20720"/>
                </a:cubicBezTo>
                <a:cubicBezTo>
                  <a:pt x="58" y="20555"/>
                  <a:pt x="29" y="20396"/>
                  <a:pt x="14" y="20199"/>
                </a:cubicBezTo>
                <a:cubicBezTo>
                  <a:pt x="0" y="20003"/>
                  <a:pt x="0" y="19771"/>
                  <a:pt x="0" y="19461"/>
                </a:cubicBezTo>
                <a:lnTo>
                  <a:pt x="0" y="2130"/>
                </a:lnTo>
                <a:cubicBezTo>
                  <a:pt x="0" y="1825"/>
                  <a:pt x="0" y="1594"/>
                  <a:pt x="14" y="1399"/>
                </a:cubicBezTo>
                <a:cubicBezTo>
                  <a:pt x="29" y="1204"/>
                  <a:pt x="58" y="1045"/>
                  <a:pt x="115" y="880"/>
                </a:cubicBezTo>
                <a:cubicBezTo>
                  <a:pt x="188" y="700"/>
                  <a:pt x="303" y="539"/>
                  <a:pt x="449" y="406"/>
                </a:cubicBezTo>
                <a:cubicBezTo>
                  <a:pt x="596" y="274"/>
                  <a:pt x="774" y="170"/>
                  <a:pt x="973" y="104"/>
                </a:cubicBezTo>
                <a:cubicBezTo>
                  <a:pt x="1155" y="52"/>
                  <a:pt x="1332" y="26"/>
                  <a:pt x="1549" y="13"/>
                </a:cubicBezTo>
                <a:cubicBezTo>
                  <a:pt x="1766" y="0"/>
                  <a:pt x="2023" y="0"/>
                  <a:pt x="2365" y="0"/>
                </a:cubicBezTo>
                <a:lnTo>
                  <a:pt x="2355" y="0"/>
                </a:lnTo>
                <a:close/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28" name="gaoding-24">
            <a:extLst>
              <a:ext uri="{FF2B5EF4-FFF2-40B4-BE49-F238E27FC236}">
                <a16:creationId xmlns:a16="http://schemas.microsoft.com/office/drawing/2014/main" id="{FF5C671E-909C-63FC-97FA-2CA49DE64A92}"/>
              </a:ext>
            </a:extLst>
          </p:cNvPr>
          <p:cNvSpPr/>
          <p:nvPr/>
        </p:nvSpPr>
        <p:spPr>
          <a:xfrm>
            <a:off x="3079309" y="4155043"/>
            <a:ext cx="1670623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29" name="gaoding-25">
            <a:extLst>
              <a:ext uri="{FF2B5EF4-FFF2-40B4-BE49-F238E27FC236}">
                <a16:creationId xmlns:a16="http://schemas.microsoft.com/office/drawing/2014/main" id="{C1F1AA21-7BD1-C425-98A6-4D62B04E5F60}"/>
              </a:ext>
            </a:extLst>
          </p:cNvPr>
          <p:cNvSpPr/>
          <p:nvPr/>
        </p:nvSpPr>
        <p:spPr>
          <a:xfrm>
            <a:off x="3079309" y="4709825"/>
            <a:ext cx="1670623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30" name="gaoding-26">
            <a:extLst>
              <a:ext uri="{FF2B5EF4-FFF2-40B4-BE49-F238E27FC236}">
                <a16:creationId xmlns:a16="http://schemas.microsoft.com/office/drawing/2014/main" id="{B74F043C-E116-6803-02C2-51974F598111}"/>
              </a:ext>
            </a:extLst>
          </p:cNvPr>
          <p:cNvSpPr/>
          <p:nvPr/>
        </p:nvSpPr>
        <p:spPr>
          <a:xfrm>
            <a:off x="3079309" y="5264608"/>
            <a:ext cx="1670623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31" name="gaoding-27">
            <a:extLst>
              <a:ext uri="{FF2B5EF4-FFF2-40B4-BE49-F238E27FC236}">
                <a16:creationId xmlns:a16="http://schemas.microsoft.com/office/drawing/2014/main" id="{AAD103C1-45FC-F8D4-8287-012A794965CC}"/>
              </a:ext>
            </a:extLst>
          </p:cNvPr>
          <p:cNvSpPr/>
          <p:nvPr/>
        </p:nvSpPr>
        <p:spPr>
          <a:xfrm>
            <a:off x="3079309" y="3140600"/>
            <a:ext cx="1670623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33" name="gaoding-29">
            <a:extLst>
              <a:ext uri="{FF2B5EF4-FFF2-40B4-BE49-F238E27FC236}">
                <a16:creationId xmlns:a16="http://schemas.microsoft.com/office/drawing/2014/main" id="{2751E8CE-918D-F907-2AF3-0D80A8F724F3}"/>
              </a:ext>
            </a:extLst>
          </p:cNvPr>
          <p:cNvSpPr/>
          <p:nvPr/>
        </p:nvSpPr>
        <p:spPr>
          <a:xfrm>
            <a:off x="812008" y="4026498"/>
            <a:ext cx="1846036" cy="1763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355" y="0"/>
                </a:moveTo>
                <a:lnTo>
                  <a:pt x="19245" y="0"/>
                </a:lnTo>
                <a:cubicBezTo>
                  <a:pt x="19583" y="0"/>
                  <a:pt x="19837" y="0"/>
                  <a:pt x="20053" y="13"/>
                </a:cubicBezTo>
                <a:cubicBezTo>
                  <a:pt x="20268" y="26"/>
                  <a:pt x="20445" y="52"/>
                  <a:pt x="20627" y="104"/>
                </a:cubicBezTo>
                <a:cubicBezTo>
                  <a:pt x="20826" y="170"/>
                  <a:pt x="21004" y="274"/>
                  <a:pt x="21151" y="406"/>
                </a:cubicBezTo>
                <a:cubicBezTo>
                  <a:pt x="21297" y="539"/>
                  <a:pt x="21412" y="700"/>
                  <a:pt x="21485" y="880"/>
                </a:cubicBezTo>
                <a:cubicBezTo>
                  <a:pt x="21542" y="1045"/>
                  <a:pt x="21571" y="1204"/>
                  <a:pt x="21586" y="1401"/>
                </a:cubicBezTo>
                <a:cubicBezTo>
                  <a:pt x="21600" y="1597"/>
                  <a:pt x="21600" y="1829"/>
                  <a:pt x="21600" y="2139"/>
                </a:cubicBezTo>
                <a:lnTo>
                  <a:pt x="21600" y="19470"/>
                </a:lnTo>
                <a:cubicBezTo>
                  <a:pt x="21600" y="19775"/>
                  <a:pt x="21600" y="20006"/>
                  <a:pt x="21586" y="20201"/>
                </a:cubicBezTo>
                <a:cubicBezTo>
                  <a:pt x="21571" y="20396"/>
                  <a:pt x="21542" y="20555"/>
                  <a:pt x="21485" y="20720"/>
                </a:cubicBezTo>
                <a:cubicBezTo>
                  <a:pt x="21412" y="20900"/>
                  <a:pt x="21297" y="21061"/>
                  <a:pt x="21151" y="21194"/>
                </a:cubicBezTo>
                <a:cubicBezTo>
                  <a:pt x="21004" y="21326"/>
                  <a:pt x="20826" y="21430"/>
                  <a:pt x="20627" y="21496"/>
                </a:cubicBezTo>
                <a:cubicBezTo>
                  <a:pt x="20445" y="21548"/>
                  <a:pt x="20268" y="21574"/>
                  <a:pt x="20051" y="21587"/>
                </a:cubicBezTo>
                <a:cubicBezTo>
                  <a:pt x="19834" y="21600"/>
                  <a:pt x="19577" y="21600"/>
                  <a:pt x="19235" y="21600"/>
                </a:cubicBezTo>
                <a:lnTo>
                  <a:pt x="2355" y="21600"/>
                </a:lnTo>
                <a:cubicBezTo>
                  <a:pt x="2017" y="21600"/>
                  <a:pt x="1763" y="21600"/>
                  <a:pt x="1547" y="21587"/>
                </a:cubicBezTo>
                <a:cubicBezTo>
                  <a:pt x="1332" y="21574"/>
                  <a:pt x="1155" y="21548"/>
                  <a:pt x="973" y="21496"/>
                </a:cubicBezTo>
                <a:cubicBezTo>
                  <a:pt x="774" y="21430"/>
                  <a:pt x="596" y="21326"/>
                  <a:pt x="449" y="21194"/>
                </a:cubicBezTo>
                <a:cubicBezTo>
                  <a:pt x="303" y="21061"/>
                  <a:pt x="188" y="20900"/>
                  <a:pt x="115" y="20720"/>
                </a:cubicBezTo>
                <a:cubicBezTo>
                  <a:pt x="58" y="20555"/>
                  <a:pt x="29" y="20396"/>
                  <a:pt x="14" y="20199"/>
                </a:cubicBezTo>
                <a:cubicBezTo>
                  <a:pt x="0" y="20003"/>
                  <a:pt x="0" y="19771"/>
                  <a:pt x="0" y="19461"/>
                </a:cubicBezTo>
                <a:lnTo>
                  <a:pt x="0" y="2130"/>
                </a:lnTo>
                <a:cubicBezTo>
                  <a:pt x="0" y="1825"/>
                  <a:pt x="0" y="1594"/>
                  <a:pt x="14" y="1399"/>
                </a:cubicBezTo>
                <a:cubicBezTo>
                  <a:pt x="29" y="1204"/>
                  <a:pt x="58" y="1045"/>
                  <a:pt x="115" y="880"/>
                </a:cubicBezTo>
                <a:cubicBezTo>
                  <a:pt x="188" y="700"/>
                  <a:pt x="303" y="539"/>
                  <a:pt x="449" y="406"/>
                </a:cubicBezTo>
                <a:cubicBezTo>
                  <a:pt x="596" y="274"/>
                  <a:pt x="774" y="170"/>
                  <a:pt x="973" y="104"/>
                </a:cubicBezTo>
                <a:cubicBezTo>
                  <a:pt x="1155" y="52"/>
                  <a:pt x="1332" y="26"/>
                  <a:pt x="1549" y="13"/>
                </a:cubicBezTo>
                <a:cubicBezTo>
                  <a:pt x="1766" y="0"/>
                  <a:pt x="2023" y="0"/>
                  <a:pt x="2365" y="0"/>
                </a:cubicBezTo>
                <a:lnTo>
                  <a:pt x="2355" y="0"/>
                </a:lnTo>
                <a:close/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34" name="gaoding-30">
            <a:extLst>
              <a:ext uri="{FF2B5EF4-FFF2-40B4-BE49-F238E27FC236}">
                <a16:creationId xmlns:a16="http://schemas.microsoft.com/office/drawing/2014/main" id="{D6D4C04F-CEF8-002B-73A6-E5C93B019DB5}"/>
              </a:ext>
            </a:extLst>
          </p:cNvPr>
          <p:cNvSpPr/>
          <p:nvPr/>
        </p:nvSpPr>
        <p:spPr>
          <a:xfrm>
            <a:off x="904765" y="4155043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>
                <a:lumMod val="85000"/>
                <a:lumOff val="15000"/>
              </a:schemeClr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35" name="gaoding-31">
            <a:extLst>
              <a:ext uri="{FF2B5EF4-FFF2-40B4-BE49-F238E27FC236}">
                <a16:creationId xmlns:a16="http://schemas.microsoft.com/office/drawing/2014/main" id="{B75A0262-31D4-DC17-D801-09540E75B2CD}"/>
              </a:ext>
            </a:extLst>
          </p:cNvPr>
          <p:cNvSpPr/>
          <p:nvPr/>
        </p:nvSpPr>
        <p:spPr>
          <a:xfrm>
            <a:off x="904765" y="4709825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>
                <a:lumMod val="85000"/>
                <a:lumOff val="15000"/>
              </a:schemeClr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36" name="gaoding-32">
            <a:extLst>
              <a:ext uri="{FF2B5EF4-FFF2-40B4-BE49-F238E27FC236}">
                <a16:creationId xmlns:a16="http://schemas.microsoft.com/office/drawing/2014/main" id="{5BB997FD-7FC3-D607-0D4C-3C758F85FAF8}"/>
              </a:ext>
            </a:extLst>
          </p:cNvPr>
          <p:cNvSpPr/>
          <p:nvPr/>
        </p:nvSpPr>
        <p:spPr>
          <a:xfrm>
            <a:off x="904765" y="5264608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>
                <a:lumMod val="85000"/>
                <a:lumOff val="15000"/>
              </a:schemeClr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37" name="gaoding-33">
            <a:extLst>
              <a:ext uri="{FF2B5EF4-FFF2-40B4-BE49-F238E27FC236}">
                <a16:creationId xmlns:a16="http://schemas.microsoft.com/office/drawing/2014/main" id="{AC3A78C0-FB17-64F5-1FF5-312281EC9BAC}"/>
              </a:ext>
            </a:extLst>
          </p:cNvPr>
          <p:cNvSpPr/>
          <p:nvPr/>
        </p:nvSpPr>
        <p:spPr>
          <a:xfrm>
            <a:off x="904765" y="3140600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39" name="gaoding-35">
            <a:extLst>
              <a:ext uri="{FF2B5EF4-FFF2-40B4-BE49-F238E27FC236}">
                <a16:creationId xmlns:a16="http://schemas.microsoft.com/office/drawing/2014/main" id="{B03B1AF0-8F1B-E504-91D9-D4D5D87BE58A}"/>
              </a:ext>
            </a:extLst>
          </p:cNvPr>
          <p:cNvSpPr/>
          <p:nvPr/>
        </p:nvSpPr>
        <p:spPr>
          <a:xfrm>
            <a:off x="9510184" y="4026498"/>
            <a:ext cx="1846036" cy="1763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355" y="0"/>
                </a:moveTo>
                <a:lnTo>
                  <a:pt x="19245" y="0"/>
                </a:lnTo>
                <a:cubicBezTo>
                  <a:pt x="19583" y="0"/>
                  <a:pt x="19837" y="0"/>
                  <a:pt x="20053" y="13"/>
                </a:cubicBezTo>
                <a:cubicBezTo>
                  <a:pt x="20268" y="26"/>
                  <a:pt x="20445" y="52"/>
                  <a:pt x="20627" y="104"/>
                </a:cubicBezTo>
                <a:cubicBezTo>
                  <a:pt x="20826" y="170"/>
                  <a:pt x="21004" y="274"/>
                  <a:pt x="21151" y="406"/>
                </a:cubicBezTo>
                <a:cubicBezTo>
                  <a:pt x="21297" y="539"/>
                  <a:pt x="21412" y="700"/>
                  <a:pt x="21485" y="880"/>
                </a:cubicBezTo>
                <a:cubicBezTo>
                  <a:pt x="21542" y="1045"/>
                  <a:pt x="21571" y="1204"/>
                  <a:pt x="21586" y="1401"/>
                </a:cubicBezTo>
                <a:cubicBezTo>
                  <a:pt x="21600" y="1597"/>
                  <a:pt x="21600" y="1829"/>
                  <a:pt x="21600" y="2139"/>
                </a:cubicBezTo>
                <a:lnTo>
                  <a:pt x="21600" y="19470"/>
                </a:lnTo>
                <a:cubicBezTo>
                  <a:pt x="21600" y="19775"/>
                  <a:pt x="21600" y="20006"/>
                  <a:pt x="21586" y="20201"/>
                </a:cubicBezTo>
                <a:cubicBezTo>
                  <a:pt x="21571" y="20396"/>
                  <a:pt x="21542" y="20555"/>
                  <a:pt x="21485" y="20720"/>
                </a:cubicBezTo>
                <a:cubicBezTo>
                  <a:pt x="21412" y="20900"/>
                  <a:pt x="21297" y="21061"/>
                  <a:pt x="21151" y="21194"/>
                </a:cubicBezTo>
                <a:cubicBezTo>
                  <a:pt x="21004" y="21326"/>
                  <a:pt x="20826" y="21430"/>
                  <a:pt x="20627" y="21496"/>
                </a:cubicBezTo>
                <a:cubicBezTo>
                  <a:pt x="20445" y="21548"/>
                  <a:pt x="20268" y="21574"/>
                  <a:pt x="20051" y="21587"/>
                </a:cubicBezTo>
                <a:cubicBezTo>
                  <a:pt x="19834" y="21600"/>
                  <a:pt x="19577" y="21600"/>
                  <a:pt x="19235" y="21600"/>
                </a:cubicBezTo>
                <a:lnTo>
                  <a:pt x="2355" y="21600"/>
                </a:lnTo>
                <a:cubicBezTo>
                  <a:pt x="2017" y="21600"/>
                  <a:pt x="1763" y="21600"/>
                  <a:pt x="1547" y="21587"/>
                </a:cubicBezTo>
                <a:cubicBezTo>
                  <a:pt x="1332" y="21574"/>
                  <a:pt x="1155" y="21548"/>
                  <a:pt x="973" y="21496"/>
                </a:cubicBezTo>
                <a:cubicBezTo>
                  <a:pt x="774" y="21430"/>
                  <a:pt x="596" y="21326"/>
                  <a:pt x="449" y="21194"/>
                </a:cubicBezTo>
                <a:cubicBezTo>
                  <a:pt x="303" y="21061"/>
                  <a:pt x="188" y="20900"/>
                  <a:pt x="115" y="20720"/>
                </a:cubicBezTo>
                <a:cubicBezTo>
                  <a:pt x="58" y="20555"/>
                  <a:pt x="29" y="20396"/>
                  <a:pt x="14" y="20199"/>
                </a:cubicBezTo>
                <a:cubicBezTo>
                  <a:pt x="0" y="20003"/>
                  <a:pt x="0" y="19771"/>
                  <a:pt x="0" y="19461"/>
                </a:cubicBezTo>
                <a:lnTo>
                  <a:pt x="0" y="2130"/>
                </a:lnTo>
                <a:cubicBezTo>
                  <a:pt x="0" y="1825"/>
                  <a:pt x="0" y="1594"/>
                  <a:pt x="14" y="1399"/>
                </a:cubicBezTo>
                <a:cubicBezTo>
                  <a:pt x="29" y="1204"/>
                  <a:pt x="58" y="1045"/>
                  <a:pt x="115" y="880"/>
                </a:cubicBezTo>
                <a:cubicBezTo>
                  <a:pt x="188" y="700"/>
                  <a:pt x="303" y="539"/>
                  <a:pt x="449" y="406"/>
                </a:cubicBezTo>
                <a:cubicBezTo>
                  <a:pt x="596" y="274"/>
                  <a:pt x="774" y="170"/>
                  <a:pt x="973" y="104"/>
                </a:cubicBezTo>
                <a:cubicBezTo>
                  <a:pt x="1155" y="52"/>
                  <a:pt x="1332" y="26"/>
                  <a:pt x="1549" y="13"/>
                </a:cubicBezTo>
                <a:cubicBezTo>
                  <a:pt x="1766" y="0"/>
                  <a:pt x="2023" y="0"/>
                  <a:pt x="2365" y="0"/>
                </a:cubicBezTo>
                <a:lnTo>
                  <a:pt x="2355" y="0"/>
                </a:lnTo>
                <a:close/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ys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40" name="gaoding-36">
            <a:extLst>
              <a:ext uri="{FF2B5EF4-FFF2-40B4-BE49-F238E27FC236}">
                <a16:creationId xmlns:a16="http://schemas.microsoft.com/office/drawing/2014/main" id="{891543E4-4839-1A9F-00FD-2AAF65FF3BA3}"/>
              </a:ext>
            </a:extLst>
          </p:cNvPr>
          <p:cNvSpPr/>
          <p:nvPr/>
        </p:nvSpPr>
        <p:spPr>
          <a:xfrm>
            <a:off x="9602941" y="4155043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41" name="gaoding-37">
            <a:extLst>
              <a:ext uri="{FF2B5EF4-FFF2-40B4-BE49-F238E27FC236}">
                <a16:creationId xmlns:a16="http://schemas.microsoft.com/office/drawing/2014/main" id="{23EA4AC0-43AF-7C32-DE97-378E15A728A7}"/>
              </a:ext>
            </a:extLst>
          </p:cNvPr>
          <p:cNvSpPr/>
          <p:nvPr/>
        </p:nvSpPr>
        <p:spPr>
          <a:xfrm>
            <a:off x="9602941" y="4709825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42" name="gaoding-38">
            <a:extLst>
              <a:ext uri="{FF2B5EF4-FFF2-40B4-BE49-F238E27FC236}">
                <a16:creationId xmlns:a16="http://schemas.microsoft.com/office/drawing/2014/main" id="{8586954F-0B21-21EC-75B4-F58E5880299F}"/>
              </a:ext>
            </a:extLst>
          </p:cNvPr>
          <p:cNvSpPr/>
          <p:nvPr/>
        </p:nvSpPr>
        <p:spPr>
          <a:xfrm>
            <a:off x="9602941" y="5264608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chemeClr val="tx1"/>
          </a:solidFill>
          <a:ln w="6350" cap="flat">
            <a:solidFill>
              <a:schemeClr val="tx1"/>
            </a:solidFill>
            <a:prstDash val="dash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3F4F5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3F4F5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43" name="gaoding-39">
            <a:extLst>
              <a:ext uri="{FF2B5EF4-FFF2-40B4-BE49-F238E27FC236}">
                <a16:creationId xmlns:a16="http://schemas.microsoft.com/office/drawing/2014/main" id="{57FB4872-A3AE-F09A-15D7-B2DC7FA1596B}"/>
              </a:ext>
            </a:extLst>
          </p:cNvPr>
          <p:cNvSpPr/>
          <p:nvPr/>
        </p:nvSpPr>
        <p:spPr>
          <a:xfrm>
            <a:off x="9602941" y="3140600"/>
            <a:ext cx="1670624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9" y="0"/>
                </a:moveTo>
                <a:lnTo>
                  <a:pt x="20031" y="0"/>
                </a:lnTo>
                <a:cubicBezTo>
                  <a:pt x="20256" y="0"/>
                  <a:pt x="20426" y="0"/>
                  <a:pt x="20569" y="38"/>
                </a:cubicBezTo>
                <a:cubicBezTo>
                  <a:pt x="20713" y="75"/>
                  <a:pt x="20831" y="151"/>
                  <a:pt x="20952" y="302"/>
                </a:cubicBezTo>
                <a:cubicBezTo>
                  <a:pt x="21085" y="491"/>
                  <a:pt x="21203" y="791"/>
                  <a:pt x="21301" y="1174"/>
                </a:cubicBezTo>
                <a:cubicBezTo>
                  <a:pt x="21398" y="1556"/>
                  <a:pt x="21475" y="2022"/>
                  <a:pt x="21523" y="2543"/>
                </a:cubicBezTo>
                <a:cubicBezTo>
                  <a:pt x="21562" y="3019"/>
                  <a:pt x="21581" y="3480"/>
                  <a:pt x="21590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0" y="17556"/>
                </a:cubicBezTo>
                <a:cubicBezTo>
                  <a:pt x="21581" y="18120"/>
                  <a:pt x="21562" y="18581"/>
                  <a:pt x="21523" y="19057"/>
                </a:cubicBezTo>
                <a:cubicBezTo>
                  <a:pt x="21475" y="19578"/>
                  <a:pt x="21398" y="20044"/>
                  <a:pt x="21301" y="20426"/>
                </a:cubicBezTo>
                <a:cubicBezTo>
                  <a:pt x="21203" y="20809"/>
                  <a:pt x="21085" y="21109"/>
                  <a:pt x="20952" y="21298"/>
                </a:cubicBezTo>
                <a:cubicBezTo>
                  <a:pt x="20831" y="21449"/>
                  <a:pt x="20713" y="21525"/>
                  <a:pt x="20568" y="21562"/>
                </a:cubicBezTo>
                <a:cubicBezTo>
                  <a:pt x="20424" y="21600"/>
                  <a:pt x="20253" y="21600"/>
                  <a:pt x="20024" y="21600"/>
                </a:cubicBezTo>
                <a:lnTo>
                  <a:pt x="1569" y="21600"/>
                </a:lnTo>
                <a:cubicBezTo>
                  <a:pt x="1344" y="21600"/>
                  <a:pt x="1174" y="21600"/>
                  <a:pt x="1031" y="21562"/>
                </a:cubicBezTo>
                <a:cubicBezTo>
                  <a:pt x="887" y="21525"/>
                  <a:pt x="769" y="21449"/>
                  <a:pt x="648" y="21298"/>
                </a:cubicBezTo>
                <a:cubicBezTo>
                  <a:pt x="515" y="21109"/>
                  <a:pt x="397" y="20809"/>
                  <a:pt x="299" y="20426"/>
                </a:cubicBezTo>
                <a:cubicBezTo>
                  <a:pt x="202" y="20044"/>
                  <a:pt x="125" y="19578"/>
                  <a:pt x="77" y="19057"/>
                </a:cubicBezTo>
                <a:cubicBezTo>
                  <a:pt x="38" y="18581"/>
                  <a:pt x="19" y="18120"/>
                  <a:pt x="10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10" y="4044"/>
                </a:cubicBezTo>
                <a:cubicBezTo>
                  <a:pt x="19" y="3480"/>
                  <a:pt x="38" y="3019"/>
                  <a:pt x="77" y="2543"/>
                </a:cubicBezTo>
                <a:cubicBezTo>
                  <a:pt x="125" y="2022"/>
                  <a:pt x="202" y="1556"/>
                  <a:pt x="299" y="1174"/>
                </a:cubicBezTo>
                <a:cubicBezTo>
                  <a:pt x="397" y="791"/>
                  <a:pt x="515" y="491"/>
                  <a:pt x="648" y="302"/>
                </a:cubicBezTo>
                <a:cubicBezTo>
                  <a:pt x="769" y="151"/>
                  <a:pt x="887" y="75"/>
                  <a:pt x="1032" y="38"/>
                </a:cubicBezTo>
                <a:cubicBezTo>
                  <a:pt x="1176" y="0"/>
                  <a:pt x="1347" y="0"/>
                  <a:pt x="1576" y="0"/>
                </a:cubicBezTo>
                <a:lnTo>
                  <a:pt x="1569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66" name="稿定-9">
            <a:extLst>
              <a:ext uri="{FF2B5EF4-FFF2-40B4-BE49-F238E27FC236}">
                <a16:creationId xmlns:a16="http://schemas.microsoft.com/office/drawing/2014/main" id="{EB9CB479-75CD-F995-7B5F-07BD4C89A06D}"/>
              </a:ext>
            </a:extLst>
          </p:cNvPr>
          <p:cNvSpPr/>
          <p:nvPr/>
        </p:nvSpPr>
        <p:spPr>
          <a:xfrm flipH="1">
            <a:off x="5171030" y="1742439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7" name="稿定-9">
            <a:extLst>
              <a:ext uri="{FF2B5EF4-FFF2-40B4-BE49-F238E27FC236}">
                <a16:creationId xmlns:a16="http://schemas.microsoft.com/office/drawing/2014/main" id="{374B29A2-D385-431D-3B2F-4AE96DD9E893}"/>
              </a:ext>
            </a:extLst>
          </p:cNvPr>
          <p:cNvSpPr/>
          <p:nvPr/>
        </p:nvSpPr>
        <p:spPr>
          <a:xfrm flipH="1">
            <a:off x="812008" y="314317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1" name="稿定-9">
            <a:extLst>
              <a:ext uri="{FF2B5EF4-FFF2-40B4-BE49-F238E27FC236}">
                <a16:creationId xmlns:a16="http://schemas.microsoft.com/office/drawing/2014/main" id="{2783646A-23CD-2F3F-9ACA-CD41DB110FE6}"/>
              </a:ext>
            </a:extLst>
          </p:cNvPr>
          <p:cNvSpPr/>
          <p:nvPr/>
        </p:nvSpPr>
        <p:spPr>
          <a:xfrm flipH="1">
            <a:off x="2988218" y="314317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5" name="稿定-9">
            <a:extLst>
              <a:ext uri="{FF2B5EF4-FFF2-40B4-BE49-F238E27FC236}">
                <a16:creationId xmlns:a16="http://schemas.microsoft.com/office/drawing/2014/main" id="{2E9E7BA8-9570-E32B-42B9-7EB40E84FC5E}"/>
              </a:ext>
            </a:extLst>
          </p:cNvPr>
          <p:cNvSpPr/>
          <p:nvPr/>
        </p:nvSpPr>
        <p:spPr>
          <a:xfrm flipH="1">
            <a:off x="5175965" y="314317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9" name="稿定-9">
            <a:extLst>
              <a:ext uri="{FF2B5EF4-FFF2-40B4-BE49-F238E27FC236}">
                <a16:creationId xmlns:a16="http://schemas.microsoft.com/office/drawing/2014/main" id="{B5FF8CE7-C6C3-7D3C-EC4B-4AB944C59990}"/>
              </a:ext>
            </a:extLst>
          </p:cNvPr>
          <p:cNvSpPr/>
          <p:nvPr/>
        </p:nvSpPr>
        <p:spPr>
          <a:xfrm flipH="1">
            <a:off x="7352151" y="314317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3" name="稿定-9">
            <a:extLst>
              <a:ext uri="{FF2B5EF4-FFF2-40B4-BE49-F238E27FC236}">
                <a16:creationId xmlns:a16="http://schemas.microsoft.com/office/drawing/2014/main" id="{28C486F1-A95B-8AE3-7ABF-95E0BAC8CF36}"/>
              </a:ext>
            </a:extLst>
          </p:cNvPr>
          <p:cNvSpPr/>
          <p:nvPr/>
        </p:nvSpPr>
        <p:spPr>
          <a:xfrm flipH="1">
            <a:off x="9529527" y="3143174"/>
            <a:ext cx="184993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1" name="稿定-31">
            <a:extLst>
              <a:ext uri="{FF2B5EF4-FFF2-40B4-BE49-F238E27FC236}">
                <a16:creationId xmlns:a16="http://schemas.microsoft.com/office/drawing/2014/main" id="{1FE05522-141A-7F10-FE99-BF7AA325ED4E}"/>
              </a:ext>
            </a:extLst>
          </p:cNvPr>
          <p:cNvSpPr/>
          <p:nvPr/>
        </p:nvSpPr>
        <p:spPr>
          <a:xfrm flipH="1">
            <a:off x="1013080" y="4260988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2" name="稿定-31">
            <a:extLst>
              <a:ext uri="{FF2B5EF4-FFF2-40B4-BE49-F238E27FC236}">
                <a16:creationId xmlns:a16="http://schemas.microsoft.com/office/drawing/2014/main" id="{9ECC4000-5B5F-DB05-AE83-0AACF6714A1D}"/>
              </a:ext>
            </a:extLst>
          </p:cNvPr>
          <p:cNvSpPr/>
          <p:nvPr/>
        </p:nvSpPr>
        <p:spPr>
          <a:xfrm flipH="1">
            <a:off x="1013080" y="4807745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3" name="稿定-31">
            <a:extLst>
              <a:ext uri="{FF2B5EF4-FFF2-40B4-BE49-F238E27FC236}">
                <a16:creationId xmlns:a16="http://schemas.microsoft.com/office/drawing/2014/main" id="{72CA5329-26FC-238E-8EB3-2ECBD79CCCFD}"/>
              </a:ext>
            </a:extLst>
          </p:cNvPr>
          <p:cNvSpPr/>
          <p:nvPr/>
        </p:nvSpPr>
        <p:spPr>
          <a:xfrm flipH="1">
            <a:off x="1013080" y="5362466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4" name="稿定-31">
            <a:extLst>
              <a:ext uri="{FF2B5EF4-FFF2-40B4-BE49-F238E27FC236}">
                <a16:creationId xmlns:a16="http://schemas.microsoft.com/office/drawing/2014/main" id="{12E3C531-7671-B23E-3929-39CA52FB0C8B}"/>
              </a:ext>
            </a:extLst>
          </p:cNvPr>
          <p:cNvSpPr/>
          <p:nvPr/>
        </p:nvSpPr>
        <p:spPr>
          <a:xfrm flipH="1">
            <a:off x="3187624" y="4260988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5" name="稿定-31">
            <a:extLst>
              <a:ext uri="{FF2B5EF4-FFF2-40B4-BE49-F238E27FC236}">
                <a16:creationId xmlns:a16="http://schemas.microsoft.com/office/drawing/2014/main" id="{F8D3C7A2-7EFD-A2BD-2F8D-91C01BB52612}"/>
              </a:ext>
            </a:extLst>
          </p:cNvPr>
          <p:cNvSpPr/>
          <p:nvPr/>
        </p:nvSpPr>
        <p:spPr>
          <a:xfrm flipH="1">
            <a:off x="3187624" y="4807745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7" name="稿定-31">
            <a:extLst>
              <a:ext uri="{FF2B5EF4-FFF2-40B4-BE49-F238E27FC236}">
                <a16:creationId xmlns:a16="http://schemas.microsoft.com/office/drawing/2014/main" id="{A266F26A-314E-6AB0-F88E-FB6E9EF12570}"/>
              </a:ext>
            </a:extLst>
          </p:cNvPr>
          <p:cNvSpPr/>
          <p:nvPr/>
        </p:nvSpPr>
        <p:spPr>
          <a:xfrm flipH="1">
            <a:off x="3187624" y="5362466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8" name="稿定-31">
            <a:extLst>
              <a:ext uri="{FF2B5EF4-FFF2-40B4-BE49-F238E27FC236}">
                <a16:creationId xmlns:a16="http://schemas.microsoft.com/office/drawing/2014/main" id="{6C825EF9-39E7-F738-036A-C399890EB4CF}"/>
              </a:ext>
            </a:extLst>
          </p:cNvPr>
          <p:cNvSpPr/>
          <p:nvPr/>
        </p:nvSpPr>
        <p:spPr>
          <a:xfrm flipH="1">
            <a:off x="5374054" y="4260988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9" name="稿定-31">
            <a:extLst>
              <a:ext uri="{FF2B5EF4-FFF2-40B4-BE49-F238E27FC236}">
                <a16:creationId xmlns:a16="http://schemas.microsoft.com/office/drawing/2014/main" id="{829CBBE5-481A-3F0D-4C96-2C3B6DAFBEB8}"/>
              </a:ext>
            </a:extLst>
          </p:cNvPr>
          <p:cNvSpPr/>
          <p:nvPr/>
        </p:nvSpPr>
        <p:spPr>
          <a:xfrm flipH="1">
            <a:off x="5374054" y="4807745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0" name="稿定-31">
            <a:extLst>
              <a:ext uri="{FF2B5EF4-FFF2-40B4-BE49-F238E27FC236}">
                <a16:creationId xmlns:a16="http://schemas.microsoft.com/office/drawing/2014/main" id="{6413CE45-08E5-E724-D967-27B60843AF9A}"/>
              </a:ext>
            </a:extLst>
          </p:cNvPr>
          <p:cNvSpPr/>
          <p:nvPr/>
        </p:nvSpPr>
        <p:spPr>
          <a:xfrm flipH="1">
            <a:off x="5374054" y="5362466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1" name="稿定-31">
            <a:extLst>
              <a:ext uri="{FF2B5EF4-FFF2-40B4-BE49-F238E27FC236}">
                <a16:creationId xmlns:a16="http://schemas.microsoft.com/office/drawing/2014/main" id="{C658B3B1-436A-ED49-74B3-EAC7B234C861}"/>
              </a:ext>
            </a:extLst>
          </p:cNvPr>
          <p:cNvSpPr/>
          <p:nvPr/>
        </p:nvSpPr>
        <p:spPr>
          <a:xfrm flipH="1">
            <a:off x="7544799" y="4260988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2" name="稿定-31">
            <a:extLst>
              <a:ext uri="{FF2B5EF4-FFF2-40B4-BE49-F238E27FC236}">
                <a16:creationId xmlns:a16="http://schemas.microsoft.com/office/drawing/2014/main" id="{73180B01-4FA3-D183-11B3-2FF63635F8C5}"/>
              </a:ext>
            </a:extLst>
          </p:cNvPr>
          <p:cNvSpPr/>
          <p:nvPr/>
        </p:nvSpPr>
        <p:spPr>
          <a:xfrm flipH="1">
            <a:off x="7544799" y="4807745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3" name="稿定-31">
            <a:extLst>
              <a:ext uri="{FF2B5EF4-FFF2-40B4-BE49-F238E27FC236}">
                <a16:creationId xmlns:a16="http://schemas.microsoft.com/office/drawing/2014/main" id="{28C5D874-8229-D520-A34D-C99B837F3165}"/>
              </a:ext>
            </a:extLst>
          </p:cNvPr>
          <p:cNvSpPr/>
          <p:nvPr/>
        </p:nvSpPr>
        <p:spPr>
          <a:xfrm flipH="1">
            <a:off x="7544799" y="5362466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4" name="稿定-31">
            <a:extLst>
              <a:ext uri="{FF2B5EF4-FFF2-40B4-BE49-F238E27FC236}">
                <a16:creationId xmlns:a16="http://schemas.microsoft.com/office/drawing/2014/main" id="{C3023F96-6B83-A6CC-A51C-1B959BADC054}"/>
              </a:ext>
            </a:extLst>
          </p:cNvPr>
          <p:cNvSpPr/>
          <p:nvPr/>
        </p:nvSpPr>
        <p:spPr>
          <a:xfrm flipH="1">
            <a:off x="9726406" y="4260988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5" name="稿定-31">
            <a:extLst>
              <a:ext uri="{FF2B5EF4-FFF2-40B4-BE49-F238E27FC236}">
                <a16:creationId xmlns:a16="http://schemas.microsoft.com/office/drawing/2014/main" id="{925164D2-3E0B-206A-ADFC-A157260A12C9}"/>
              </a:ext>
            </a:extLst>
          </p:cNvPr>
          <p:cNvSpPr/>
          <p:nvPr/>
        </p:nvSpPr>
        <p:spPr>
          <a:xfrm flipH="1">
            <a:off x="9726406" y="4807745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6" name="稿定-31">
            <a:extLst>
              <a:ext uri="{FF2B5EF4-FFF2-40B4-BE49-F238E27FC236}">
                <a16:creationId xmlns:a16="http://schemas.microsoft.com/office/drawing/2014/main" id="{90790D48-5731-CB2B-082C-50140398D923}"/>
              </a:ext>
            </a:extLst>
          </p:cNvPr>
          <p:cNvSpPr/>
          <p:nvPr/>
        </p:nvSpPr>
        <p:spPr>
          <a:xfrm flipH="1">
            <a:off x="9726406" y="5362466"/>
            <a:ext cx="1443891" cy="1892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64171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CE91F792-C8C1-12D7-3896-881E5EDE6D30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AEA58A4-61A9-E48C-F466-21BE38172FB3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5931A30-3AA1-6D8F-F997-43835FAFB7E5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61" name="gaoding-1">
            <a:extLst>
              <a:ext uri="{FF2B5EF4-FFF2-40B4-BE49-F238E27FC236}">
                <a16:creationId xmlns:a16="http://schemas.microsoft.com/office/drawing/2014/main" id="{2EDCDCC0-4D55-8587-8F35-1C5983EF0155}"/>
              </a:ext>
            </a:extLst>
          </p:cNvPr>
          <p:cNvSpPr/>
          <p:nvPr/>
        </p:nvSpPr>
        <p:spPr>
          <a:xfrm flipV="1">
            <a:off x="6096378" y="2340623"/>
            <a:ext cx="0" cy="533400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62" name="gaoding-2">
            <a:extLst>
              <a:ext uri="{FF2B5EF4-FFF2-40B4-BE49-F238E27FC236}">
                <a16:creationId xmlns:a16="http://schemas.microsoft.com/office/drawing/2014/main" id="{9250DE0D-4388-6F2F-9DA5-482CA09B3C5A}"/>
              </a:ext>
            </a:extLst>
          </p:cNvPr>
          <p:cNvSpPr/>
          <p:nvPr/>
        </p:nvSpPr>
        <p:spPr>
          <a:xfrm>
            <a:off x="4696201" y="1521249"/>
            <a:ext cx="2787651" cy="7830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23" y="0"/>
                </a:moveTo>
                <a:lnTo>
                  <a:pt x="20777" y="0"/>
                </a:lnTo>
                <a:cubicBezTo>
                  <a:pt x="20895" y="0"/>
                  <a:pt x="20984" y="0"/>
                  <a:pt x="21059" y="9"/>
                </a:cubicBezTo>
                <a:cubicBezTo>
                  <a:pt x="21134" y="19"/>
                  <a:pt x="21196" y="37"/>
                  <a:pt x="21260" y="75"/>
                </a:cubicBezTo>
                <a:cubicBezTo>
                  <a:pt x="21330" y="122"/>
                  <a:pt x="21392" y="196"/>
                  <a:pt x="21443" y="291"/>
                </a:cubicBezTo>
                <a:cubicBezTo>
                  <a:pt x="21494" y="386"/>
                  <a:pt x="21534" y="502"/>
                  <a:pt x="21560" y="631"/>
                </a:cubicBezTo>
                <a:cubicBezTo>
                  <a:pt x="21580" y="749"/>
                  <a:pt x="21590" y="864"/>
                  <a:pt x="21595" y="1005"/>
                </a:cubicBezTo>
                <a:cubicBezTo>
                  <a:pt x="21600" y="1145"/>
                  <a:pt x="21600" y="1312"/>
                  <a:pt x="21600" y="1535"/>
                </a:cubicBezTo>
                <a:lnTo>
                  <a:pt x="21600" y="20072"/>
                </a:lnTo>
                <a:cubicBezTo>
                  <a:pt x="21600" y="20291"/>
                  <a:pt x="21600" y="20456"/>
                  <a:pt x="21595" y="20596"/>
                </a:cubicBezTo>
                <a:cubicBezTo>
                  <a:pt x="21590" y="20736"/>
                  <a:pt x="21580" y="20851"/>
                  <a:pt x="21560" y="20969"/>
                </a:cubicBezTo>
                <a:cubicBezTo>
                  <a:pt x="21534" y="21098"/>
                  <a:pt x="21494" y="21214"/>
                  <a:pt x="21443" y="21309"/>
                </a:cubicBezTo>
                <a:cubicBezTo>
                  <a:pt x="21392" y="21404"/>
                  <a:pt x="21330" y="21478"/>
                  <a:pt x="21260" y="21525"/>
                </a:cubicBezTo>
                <a:cubicBezTo>
                  <a:pt x="21196" y="21563"/>
                  <a:pt x="21134" y="21581"/>
                  <a:pt x="21059" y="21591"/>
                </a:cubicBezTo>
                <a:cubicBezTo>
                  <a:pt x="20983" y="21600"/>
                  <a:pt x="20893" y="21600"/>
                  <a:pt x="20773" y="21600"/>
                </a:cubicBezTo>
                <a:lnTo>
                  <a:pt x="823" y="21600"/>
                </a:lnTo>
                <a:cubicBezTo>
                  <a:pt x="705" y="21600"/>
                  <a:pt x="616" y="21600"/>
                  <a:pt x="541" y="21591"/>
                </a:cubicBezTo>
                <a:cubicBezTo>
                  <a:pt x="466" y="21581"/>
                  <a:pt x="404" y="21563"/>
                  <a:pt x="340" y="21525"/>
                </a:cubicBezTo>
                <a:cubicBezTo>
                  <a:pt x="270" y="21478"/>
                  <a:pt x="208" y="21404"/>
                  <a:pt x="157" y="21309"/>
                </a:cubicBezTo>
                <a:cubicBezTo>
                  <a:pt x="106" y="21214"/>
                  <a:pt x="66" y="21098"/>
                  <a:pt x="40" y="20969"/>
                </a:cubicBezTo>
                <a:cubicBezTo>
                  <a:pt x="20" y="20851"/>
                  <a:pt x="10" y="20736"/>
                  <a:pt x="5" y="20595"/>
                </a:cubicBezTo>
                <a:cubicBezTo>
                  <a:pt x="0" y="20455"/>
                  <a:pt x="0" y="20288"/>
                  <a:pt x="0" y="20065"/>
                </a:cubicBezTo>
                <a:lnTo>
                  <a:pt x="0" y="1528"/>
                </a:lnTo>
                <a:cubicBezTo>
                  <a:pt x="0" y="1309"/>
                  <a:pt x="0" y="1144"/>
                  <a:pt x="5" y="1004"/>
                </a:cubicBezTo>
                <a:cubicBezTo>
                  <a:pt x="10" y="864"/>
                  <a:pt x="20" y="749"/>
                  <a:pt x="40" y="631"/>
                </a:cubicBezTo>
                <a:cubicBezTo>
                  <a:pt x="66" y="502"/>
                  <a:pt x="106" y="386"/>
                  <a:pt x="157" y="291"/>
                </a:cubicBezTo>
                <a:cubicBezTo>
                  <a:pt x="208" y="196"/>
                  <a:pt x="270" y="122"/>
                  <a:pt x="340" y="75"/>
                </a:cubicBezTo>
                <a:cubicBezTo>
                  <a:pt x="404" y="37"/>
                  <a:pt x="466" y="19"/>
                  <a:pt x="541" y="9"/>
                </a:cubicBezTo>
                <a:cubicBezTo>
                  <a:pt x="617" y="0"/>
                  <a:pt x="707" y="0"/>
                  <a:pt x="827" y="0"/>
                </a:cubicBezTo>
                <a:lnTo>
                  <a:pt x="823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zh-CN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63" name="gaoding-3">
            <a:extLst>
              <a:ext uri="{FF2B5EF4-FFF2-40B4-BE49-F238E27FC236}">
                <a16:creationId xmlns:a16="http://schemas.microsoft.com/office/drawing/2014/main" id="{8B2E3593-F1B7-130F-BA9E-334D33FA2B77}"/>
              </a:ext>
            </a:extLst>
          </p:cNvPr>
          <p:cNvSpPr/>
          <p:nvPr/>
        </p:nvSpPr>
        <p:spPr>
          <a:xfrm>
            <a:off x="1635613" y="2879195"/>
            <a:ext cx="8908829" cy="6734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1" extrusionOk="0">
                <a:moveTo>
                  <a:pt x="0" y="21410"/>
                </a:moveTo>
                <a:lnTo>
                  <a:pt x="0" y="4159"/>
                </a:lnTo>
                <a:cubicBezTo>
                  <a:pt x="0" y="3036"/>
                  <a:pt x="35" y="1963"/>
                  <a:pt x="96" y="1182"/>
                </a:cubicBezTo>
                <a:cubicBezTo>
                  <a:pt x="162" y="347"/>
                  <a:pt x="251" y="-79"/>
                  <a:pt x="342" y="12"/>
                </a:cubicBezTo>
                <a:lnTo>
                  <a:pt x="21291" y="12"/>
                </a:lnTo>
                <a:cubicBezTo>
                  <a:pt x="21382" y="27"/>
                  <a:pt x="21468" y="560"/>
                  <a:pt x="21527" y="1474"/>
                </a:cubicBezTo>
                <a:cubicBezTo>
                  <a:pt x="21573" y="2202"/>
                  <a:pt x="21599" y="3121"/>
                  <a:pt x="21600" y="4074"/>
                </a:cubicBezTo>
                <a:lnTo>
                  <a:pt x="21600" y="21521"/>
                </a:lnTo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64" name="gaoding-4">
            <a:extLst>
              <a:ext uri="{FF2B5EF4-FFF2-40B4-BE49-F238E27FC236}">
                <a16:creationId xmlns:a16="http://schemas.microsoft.com/office/drawing/2014/main" id="{D847A13B-E907-8D0C-84BD-FE118F671BF9}"/>
              </a:ext>
            </a:extLst>
          </p:cNvPr>
          <p:cNvSpPr/>
          <p:nvPr/>
        </p:nvSpPr>
        <p:spPr>
          <a:xfrm flipV="1">
            <a:off x="3416677" y="2878257"/>
            <a:ext cx="0" cy="546521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65" name="gaoding-5">
            <a:extLst>
              <a:ext uri="{FF2B5EF4-FFF2-40B4-BE49-F238E27FC236}">
                <a16:creationId xmlns:a16="http://schemas.microsoft.com/office/drawing/2014/main" id="{E173ADAC-13DF-4CE1-CEB0-627547FFE547}"/>
              </a:ext>
            </a:extLst>
          </p:cNvPr>
          <p:cNvSpPr/>
          <p:nvPr/>
        </p:nvSpPr>
        <p:spPr>
          <a:xfrm flipV="1">
            <a:off x="5207378" y="2874023"/>
            <a:ext cx="0" cy="546521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87" name="gaoding-6">
            <a:extLst>
              <a:ext uri="{FF2B5EF4-FFF2-40B4-BE49-F238E27FC236}">
                <a16:creationId xmlns:a16="http://schemas.microsoft.com/office/drawing/2014/main" id="{8D21E95B-299F-96E2-F9A3-2B66150BD02F}"/>
              </a:ext>
            </a:extLst>
          </p:cNvPr>
          <p:cNvSpPr/>
          <p:nvPr/>
        </p:nvSpPr>
        <p:spPr>
          <a:xfrm flipV="1">
            <a:off x="6981144" y="2878257"/>
            <a:ext cx="0" cy="546521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88" name="gaoding-7">
            <a:extLst>
              <a:ext uri="{FF2B5EF4-FFF2-40B4-BE49-F238E27FC236}">
                <a16:creationId xmlns:a16="http://schemas.microsoft.com/office/drawing/2014/main" id="{7C7BA641-B613-806C-2CAD-30237D8CB7CF}"/>
              </a:ext>
            </a:extLst>
          </p:cNvPr>
          <p:cNvSpPr/>
          <p:nvPr/>
        </p:nvSpPr>
        <p:spPr>
          <a:xfrm flipV="1">
            <a:off x="8763378" y="2874023"/>
            <a:ext cx="0" cy="546521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89" name="gaoding-8">
            <a:extLst>
              <a:ext uri="{FF2B5EF4-FFF2-40B4-BE49-F238E27FC236}">
                <a16:creationId xmlns:a16="http://schemas.microsoft.com/office/drawing/2014/main" id="{AC8D8C51-C878-13BA-3B0C-6D6C89CA4BBE}"/>
              </a:ext>
            </a:extLst>
          </p:cNvPr>
          <p:cNvSpPr/>
          <p:nvPr/>
        </p:nvSpPr>
        <p:spPr>
          <a:xfrm>
            <a:off x="810861" y="3351503"/>
            <a:ext cx="1647183" cy="2487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2" y="0"/>
                </a:moveTo>
                <a:lnTo>
                  <a:pt x="20048" y="0"/>
                </a:lnTo>
                <a:cubicBezTo>
                  <a:pt x="20270" y="0"/>
                  <a:pt x="20438" y="0"/>
                  <a:pt x="20580" y="6"/>
                </a:cubicBezTo>
                <a:cubicBezTo>
                  <a:pt x="20722" y="13"/>
                  <a:pt x="20839" y="25"/>
                  <a:pt x="20959" y="50"/>
                </a:cubicBezTo>
                <a:cubicBezTo>
                  <a:pt x="21090" y="82"/>
                  <a:pt x="21207" y="132"/>
                  <a:pt x="21304" y="196"/>
                </a:cubicBezTo>
                <a:cubicBezTo>
                  <a:pt x="21400" y="260"/>
                  <a:pt x="21476" y="338"/>
                  <a:pt x="21524" y="425"/>
                </a:cubicBezTo>
                <a:cubicBezTo>
                  <a:pt x="21562" y="504"/>
                  <a:pt x="21581" y="581"/>
                  <a:pt x="21590" y="676"/>
                </a:cubicBezTo>
                <a:cubicBezTo>
                  <a:pt x="21600" y="771"/>
                  <a:pt x="21600" y="883"/>
                  <a:pt x="21600" y="1033"/>
                </a:cubicBezTo>
                <a:lnTo>
                  <a:pt x="21600" y="20572"/>
                </a:lnTo>
                <a:cubicBezTo>
                  <a:pt x="21600" y="20719"/>
                  <a:pt x="21600" y="20830"/>
                  <a:pt x="21590" y="20924"/>
                </a:cubicBezTo>
                <a:cubicBezTo>
                  <a:pt x="21581" y="21019"/>
                  <a:pt x="21562" y="21096"/>
                  <a:pt x="21524" y="21175"/>
                </a:cubicBezTo>
                <a:cubicBezTo>
                  <a:pt x="21476" y="21262"/>
                  <a:pt x="21400" y="21340"/>
                  <a:pt x="21304" y="21404"/>
                </a:cubicBezTo>
                <a:cubicBezTo>
                  <a:pt x="21207" y="21468"/>
                  <a:pt x="21090" y="21518"/>
                  <a:pt x="20959" y="21550"/>
                </a:cubicBezTo>
                <a:cubicBezTo>
                  <a:pt x="20839" y="21575"/>
                  <a:pt x="20722" y="21587"/>
                  <a:pt x="20579" y="21594"/>
                </a:cubicBezTo>
                <a:cubicBezTo>
                  <a:pt x="20436" y="21600"/>
                  <a:pt x="20267" y="21600"/>
                  <a:pt x="20041" y="21600"/>
                </a:cubicBezTo>
                <a:lnTo>
                  <a:pt x="1552" y="21600"/>
                </a:lnTo>
                <a:cubicBezTo>
                  <a:pt x="1330" y="21600"/>
                  <a:pt x="1162" y="21600"/>
                  <a:pt x="1020" y="21594"/>
                </a:cubicBezTo>
                <a:cubicBezTo>
                  <a:pt x="878" y="21587"/>
                  <a:pt x="761" y="21575"/>
                  <a:pt x="641" y="21550"/>
                </a:cubicBezTo>
                <a:cubicBezTo>
                  <a:pt x="510" y="21518"/>
                  <a:pt x="393" y="21468"/>
                  <a:pt x="296" y="21404"/>
                </a:cubicBezTo>
                <a:cubicBezTo>
                  <a:pt x="200" y="21340"/>
                  <a:pt x="124" y="21262"/>
                  <a:pt x="76" y="21175"/>
                </a:cubicBezTo>
                <a:cubicBezTo>
                  <a:pt x="38" y="21096"/>
                  <a:pt x="19" y="21019"/>
                  <a:pt x="10" y="20924"/>
                </a:cubicBezTo>
                <a:cubicBezTo>
                  <a:pt x="0" y="20829"/>
                  <a:pt x="0" y="20717"/>
                  <a:pt x="0" y="20567"/>
                </a:cubicBezTo>
                <a:lnTo>
                  <a:pt x="0" y="1028"/>
                </a:lnTo>
                <a:cubicBezTo>
                  <a:pt x="0" y="881"/>
                  <a:pt x="0" y="770"/>
                  <a:pt x="10" y="676"/>
                </a:cubicBezTo>
                <a:cubicBezTo>
                  <a:pt x="19" y="581"/>
                  <a:pt x="38" y="504"/>
                  <a:pt x="76" y="425"/>
                </a:cubicBezTo>
                <a:cubicBezTo>
                  <a:pt x="124" y="338"/>
                  <a:pt x="200" y="260"/>
                  <a:pt x="296" y="196"/>
                </a:cubicBezTo>
                <a:cubicBezTo>
                  <a:pt x="393" y="132"/>
                  <a:pt x="510" y="82"/>
                  <a:pt x="641" y="50"/>
                </a:cubicBezTo>
                <a:cubicBezTo>
                  <a:pt x="761" y="25"/>
                  <a:pt x="878" y="13"/>
                  <a:pt x="1021" y="6"/>
                </a:cubicBezTo>
                <a:cubicBezTo>
                  <a:pt x="1164" y="0"/>
                  <a:pt x="1333" y="0"/>
                  <a:pt x="1559" y="0"/>
                </a:cubicBezTo>
                <a:lnTo>
                  <a:pt x="1552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1" name="gaoding-10">
            <a:extLst>
              <a:ext uri="{FF2B5EF4-FFF2-40B4-BE49-F238E27FC236}">
                <a16:creationId xmlns:a16="http://schemas.microsoft.com/office/drawing/2014/main" id="{D460BB68-81CB-67E3-5C7A-2EBFA8DC9EE9}"/>
              </a:ext>
            </a:extLst>
          </p:cNvPr>
          <p:cNvSpPr/>
          <p:nvPr/>
        </p:nvSpPr>
        <p:spPr>
          <a:xfrm>
            <a:off x="2593401" y="3351503"/>
            <a:ext cx="1647184" cy="2487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2" y="0"/>
                </a:moveTo>
                <a:lnTo>
                  <a:pt x="20048" y="0"/>
                </a:lnTo>
                <a:cubicBezTo>
                  <a:pt x="20270" y="0"/>
                  <a:pt x="20438" y="0"/>
                  <a:pt x="20580" y="6"/>
                </a:cubicBezTo>
                <a:cubicBezTo>
                  <a:pt x="20722" y="13"/>
                  <a:pt x="20839" y="25"/>
                  <a:pt x="20959" y="50"/>
                </a:cubicBezTo>
                <a:cubicBezTo>
                  <a:pt x="21090" y="82"/>
                  <a:pt x="21207" y="132"/>
                  <a:pt x="21304" y="196"/>
                </a:cubicBezTo>
                <a:cubicBezTo>
                  <a:pt x="21400" y="260"/>
                  <a:pt x="21476" y="338"/>
                  <a:pt x="21524" y="425"/>
                </a:cubicBezTo>
                <a:cubicBezTo>
                  <a:pt x="21562" y="504"/>
                  <a:pt x="21581" y="581"/>
                  <a:pt x="21590" y="676"/>
                </a:cubicBezTo>
                <a:cubicBezTo>
                  <a:pt x="21600" y="771"/>
                  <a:pt x="21600" y="883"/>
                  <a:pt x="21600" y="1033"/>
                </a:cubicBezTo>
                <a:lnTo>
                  <a:pt x="21600" y="20572"/>
                </a:lnTo>
                <a:cubicBezTo>
                  <a:pt x="21600" y="20719"/>
                  <a:pt x="21600" y="20830"/>
                  <a:pt x="21590" y="20924"/>
                </a:cubicBezTo>
                <a:cubicBezTo>
                  <a:pt x="21581" y="21019"/>
                  <a:pt x="21562" y="21096"/>
                  <a:pt x="21524" y="21175"/>
                </a:cubicBezTo>
                <a:cubicBezTo>
                  <a:pt x="21476" y="21262"/>
                  <a:pt x="21400" y="21340"/>
                  <a:pt x="21304" y="21404"/>
                </a:cubicBezTo>
                <a:cubicBezTo>
                  <a:pt x="21207" y="21468"/>
                  <a:pt x="21090" y="21518"/>
                  <a:pt x="20959" y="21550"/>
                </a:cubicBezTo>
                <a:cubicBezTo>
                  <a:pt x="20839" y="21575"/>
                  <a:pt x="20722" y="21587"/>
                  <a:pt x="20579" y="21594"/>
                </a:cubicBezTo>
                <a:cubicBezTo>
                  <a:pt x="20436" y="21600"/>
                  <a:pt x="20267" y="21600"/>
                  <a:pt x="20041" y="21600"/>
                </a:cubicBezTo>
                <a:lnTo>
                  <a:pt x="1552" y="21600"/>
                </a:lnTo>
                <a:cubicBezTo>
                  <a:pt x="1330" y="21600"/>
                  <a:pt x="1162" y="21600"/>
                  <a:pt x="1020" y="21594"/>
                </a:cubicBezTo>
                <a:cubicBezTo>
                  <a:pt x="878" y="21587"/>
                  <a:pt x="761" y="21575"/>
                  <a:pt x="641" y="21550"/>
                </a:cubicBezTo>
                <a:cubicBezTo>
                  <a:pt x="510" y="21518"/>
                  <a:pt x="393" y="21468"/>
                  <a:pt x="296" y="21404"/>
                </a:cubicBezTo>
                <a:cubicBezTo>
                  <a:pt x="200" y="21340"/>
                  <a:pt x="124" y="21262"/>
                  <a:pt x="76" y="21175"/>
                </a:cubicBezTo>
                <a:cubicBezTo>
                  <a:pt x="38" y="21096"/>
                  <a:pt x="19" y="21019"/>
                  <a:pt x="10" y="20924"/>
                </a:cubicBezTo>
                <a:cubicBezTo>
                  <a:pt x="0" y="20829"/>
                  <a:pt x="0" y="20717"/>
                  <a:pt x="0" y="20567"/>
                </a:cubicBezTo>
                <a:lnTo>
                  <a:pt x="0" y="1028"/>
                </a:lnTo>
                <a:cubicBezTo>
                  <a:pt x="0" y="881"/>
                  <a:pt x="0" y="770"/>
                  <a:pt x="10" y="676"/>
                </a:cubicBezTo>
                <a:cubicBezTo>
                  <a:pt x="19" y="581"/>
                  <a:pt x="38" y="504"/>
                  <a:pt x="76" y="425"/>
                </a:cubicBezTo>
                <a:cubicBezTo>
                  <a:pt x="124" y="338"/>
                  <a:pt x="200" y="260"/>
                  <a:pt x="296" y="196"/>
                </a:cubicBezTo>
                <a:cubicBezTo>
                  <a:pt x="393" y="132"/>
                  <a:pt x="510" y="82"/>
                  <a:pt x="641" y="50"/>
                </a:cubicBezTo>
                <a:cubicBezTo>
                  <a:pt x="761" y="25"/>
                  <a:pt x="878" y="13"/>
                  <a:pt x="1021" y="6"/>
                </a:cubicBezTo>
                <a:cubicBezTo>
                  <a:pt x="1164" y="0"/>
                  <a:pt x="1333" y="0"/>
                  <a:pt x="1559" y="0"/>
                </a:cubicBezTo>
                <a:lnTo>
                  <a:pt x="1552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3" name="gaoding-12">
            <a:extLst>
              <a:ext uri="{FF2B5EF4-FFF2-40B4-BE49-F238E27FC236}">
                <a16:creationId xmlns:a16="http://schemas.microsoft.com/office/drawing/2014/main" id="{3D3355A0-7E1B-B274-4503-8EBE2A05DCA9}"/>
              </a:ext>
            </a:extLst>
          </p:cNvPr>
          <p:cNvSpPr/>
          <p:nvPr/>
        </p:nvSpPr>
        <p:spPr>
          <a:xfrm>
            <a:off x="4375940" y="3351503"/>
            <a:ext cx="1647184" cy="2487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2" y="0"/>
                </a:moveTo>
                <a:lnTo>
                  <a:pt x="20048" y="0"/>
                </a:lnTo>
                <a:cubicBezTo>
                  <a:pt x="20270" y="0"/>
                  <a:pt x="20438" y="0"/>
                  <a:pt x="20580" y="6"/>
                </a:cubicBezTo>
                <a:cubicBezTo>
                  <a:pt x="20722" y="13"/>
                  <a:pt x="20839" y="25"/>
                  <a:pt x="20959" y="50"/>
                </a:cubicBezTo>
                <a:cubicBezTo>
                  <a:pt x="21090" y="82"/>
                  <a:pt x="21207" y="132"/>
                  <a:pt x="21304" y="196"/>
                </a:cubicBezTo>
                <a:cubicBezTo>
                  <a:pt x="21400" y="260"/>
                  <a:pt x="21476" y="338"/>
                  <a:pt x="21524" y="425"/>
                </a:cubicBezTo>
                <a:cubicBezTo>
                  <a:pt x="21562" y="504"/>
                  <a:pt x="21581" y="581"/>
                  <a:pt x="21590" y="676"/>
                </a:cubicBezTo>
                <a:cubicBezTo>
                  <a:pt x="21600" y="771"/>
                  <a:pt x="21600" y="883"/>
                  <a:pt x="21600" y="1033"/>
                </a:cubicBezTo>
                <a:lnTo>
                  <a:pt x="21600" y="20572"/>
                </a:lnTo>
                <a:cubicBezTo>
                  <a:pt x="21600" y="20719"/>
                  <a:pt x="21600" y="20830"/>
                  <a:pt x="21590" y="20924"/>
                </a:cubicBezTo>
                <a:cubicBezTo>
                  <a:pt x="21581" y="21019"/>
                  <a:pt x="21562" y="21096"/>
                  <a:pt x="21524" y="21175"/>
                </a:cubicBezTo>
                <a:cubicBezTo>
                  <a:pt x="21476" y="21262"/>
                  <a:pt x="21400" y="21340"/>
                  <a:pt x="21304" y="21404"/>
                </a:cubicBezTo>
                <a:cubicBezTo>
                  <a:pt x="21207" y="21468"/>
                  <a:pt x="21090" y="21518"/>
                  <a:pt x="20959" y="21550"/>
                </a:cubicBezTo>
                <a:cubicBezTo>
                  <a:pt x="20839" y="21575"/>
                  <a:pt x="20722" y="21587"/>
                  <a:pt x="20579" y="21594"/>
                </a:cubicBezTo>
                <a:cubicBezTo>
                  <a:pt x="20436" y="21600"/>
                  <a:pt x="20267" y="21600"/>
                  <a:pt x="20041" y="21600"/>
                </a:cubicBezTo>
                <a:lnTo>
                  <a:pt x="1552" y="21600"/>
                </a:lnTo>
                <a:cubicBezTo>
                  <a:pt x="1330" y="21600"/>
                  <a:pt x="1162" y="21600"/>
                  <a:pt x="1020" y="21594"/>
                </a:cubicBezTo>
                <a:cubicBezTo>
                  <a:pt x="878" y="21587"/>
                  <a:pt x="761" y="21575"/>
                  <a:pt x="641" y="21550"/>
                </a:cubicBezTo>
                <a:cubicBezTo>
                  <a:pt x="510" y="21518"/>
                  <a:pt x="393" y="21468"/>
                  <a:pt x="296" y="21404"/>
                </a:cubicBezTo>
                <a:cubicBezTo>
                  <a:pt x="200" y="21340"/>
                  <a:pt x="124" y="21262"/>
                  <a:pt x="76" y="21175"/>
                </a:cubicBezTo>
                <a:cubicBezTo>
                  <a:pt x="38" y="21096"/>
                  <a:pt x="19" y="21019"/>
                  <a:pt x="10" y="20924"/>
                </a:cubicBezTo>
                <a:cubicBezTo>
                  <a:pt x="0" y="20829"/>
                  <a:pt x="0" y="20717"/>
                  <a:pt x="0" y="20567"/>
                </a:cubicBezTo>
                <a:lnTo>
                  <a:pt x="0" y="1028"/>
                </a:lnTo>
                <a:cubicBezTo>
                  <a:pt x="0" y="881"/>
                  <a:pt x="0" y="770"/>
                  <a:pt x="10" y="676"/>
                </a:cubicBezTo>
                <a:cubicBezTo>
                  <a:pt x="19" y="581"/>
                  <a:pt x="38" y="504"/>
                  <a:pt x="76" y="425"/>
                </a:cubicBezTo>
                <a:cubicBezTo>
                  <a:pt x="124" y="338"/>
                  <a:pt x="200" y="260"/>
                  <a:pt x="296" y="196"/>
                </a:cubicBezTo>
                <a:cubicBezTo>
                  <a:pt x="393" y="132"/>
                  <a:pt x="510" y="82"/>
                  <a:pt x="641" y="50"/>
                </a:cubicBezTo>
                <a:cubicBezTo>
                  <a:pt x="761" y="25"/>
                  <a:pt x="878" y="13"/>
                  <a:pt x="1021" y="6"/>
                </a:cubicBezTo>
                <a:cubicBezTo>
                  <a:pt x="1164" y="0"/>
                  <a:pt x="1333" y="0"/>
                  <a:pt x="1559" y="0"/>
                </a:cubicBezTo>
                <a:lnTo>
                  <a:pt x="1552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5" name="gaoding-14">
            <a:extLst>
              <a:ext uri="{FF2B5EF4-FFF2-40B4-BE49-F238E27FC236}">
                <a16:creationId xmlns:a16="http://schemas.microsoft.com/office/drawing/2014/main" id="{06417708-898D-59CD-D503-90B03BDB02F5}"/>
              </a:ext>
            </a:extLst>
          </p:cNvPr>
          <p:cNvSpPr/>
          <p:nvPr/>
        </p:nvSpPr>
        <p:spPr>
          <a:xfrm>
            <a:off x="6158481" y="3351504"/>
            <a:ext cx="1647184" cy="2487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2" y="0"/>
                </a:moveTo>
                <a:lnTo>
                  <a:pt x="20048" y="0"/>
                </a:lnTo>
                <a:cubicBezTo>
                  <a:pt x="20270" y="0"/>
                  <a:pt x="20438" y="0"/>
                  <a:pt x="20580" y="6"/>
                </a:cubicBezTo>
                <a:cubicBezTo>
                  <a:pt x="20722" y="13"/>
                  <a:pt x="20839" y="25"/>
                  <a:pt x="20959" y="50"/>
                </a:cubicBezTo>
                <a:cubicBezTo>
                  <a:pt x="21090" y="82"/>
                  <a:pt x="21207" y="132"/>
                  <a:pt x="21304" y="196"/>
                </a:cubicBezTo>
                <a:cubicBezTo>
                  <a:pt x="21400" y="260"/>
                  <a:pt x="21476" y="338"/>
                  <a:pt x="21524" y="425"/>
                </a:cubicBezTo>
                <a:cubicBezTo>
                  <a:pt x="21562" y="504"/>
                  <a:pt x="21581" y="581"/>
                  <a:pt x="21590" y="676"/>
                </a:cubicBezTo>
                <a:cubicBezTo>
                  <a:pt x="21600" y="771"/>
                  <a:pt x="21600" y="883"/>
                  <a:pt x="21600" y="1033"/>
                </a:cubicBezTo>
                <a:lnTo>
                  <a:pt x="21600" y="20572"/>
                </a:lnTo>
                <a:cubicBezTo>
                  <a:pt x="21600" y="20719"/>
                  <a:pt x="21600" y="20830"/>
                  <a:pt x="21590" y="20924"/>
                </a:cubicBezTo>
                <a:cubicBezTo>
                  <a:pt x="21581" y="21019"/>
                  <a:pt x="21562" y="21096"/>
                  <a:pt x="21524" y="21175"/>
                </a:cubicBezTo>
                <a:cubicBezTo>
                  <a:pt x="21476" y="21262"/>
                  <a:pt x="21400" y="21340"/>
                  <a:pt x="21304" y="21404"/>
                </a:cubicBezTo>
                <a:cubicBezTo>
                  <a:pt x="21207" y="21468"/>
                  <a:pt x="21090" y="21518"/>
                  <a:pt x="20959" y="21550"/>
                </a:cubicBezTo>
                <a:cubicBezTo>
                  <a:pt x="20839" y="21575"/>
                  <a:pt x="20722" y="21587"/>
                  <a:pt x="20579" y="21594"/>
                </a:cubicBezTo>
                <a:cubicBezTo>
                  <a:pt x="20436" y="21600"/>
                  <a:pt x="20267" y="21600"/>
                  <a:pt x="20041" y="21600"/>
                </a:cubicBezTo>
                <a:lnTo>
                  <a:pt x="1552" y="21600"/>
                </a:lnTo>
                <a:cubicBezTo>
                  <a:pt x="1330" y="21600"/>
                  <a:pt x="1162" y="21600"/>
                  <a:pt x="1020" y="21594"/>
                </a:cubicBezTo>
                <a:cubicBezTo>
                  <a:pt x="878" y="21587"/>
                  <a:pt x="761" y="21575"/>
                  <a:pt x="641" y="21550"/>
                </a:cubicBezTo>
                <a:cubicBezTo>
                  <a:pt x="510" y="21518"/>
                  <a:pt x="393" y="21468"/>
                  <a:pt x="296" y="21404"/>
                </a:cubicBezTo>
                <a:cubicBezTo>
                  <a:pt x="200" y="21340"/>
                  <a:pt x="124" y="21262"/>
                  <a:pt x="76" y="21175"/>
                </a:cubicBezTo>
                <a:cubicBezTo>
                  <a:pt x="38" y="21096"/>
                  <a:pt x="19" y="21019"/>
                  <a:pt x="10" y="20924"/>
                </a:cubicBezTo>
                <a:cubicBezTo>
                  <a:pt x="0" y="20829"/>
                  <a:pt x="0" y="20717"/>
                  <a:pt x="0" y="20567"/>
                </a:cubicBezTo>
                <a:lnTo>
                  <a:pt x="0" y="1028"/>
                </a:lnTo>
                <a:cubicBezTo>
                  <a:pt x="0" y="881"/>
                  <a:pt x="0" y="770"/>
                  <a:pt x="10" y="676"/>
                </a:cubicBezTo>
                <a:cubicBezTo>
                  <a:pt x="19" y="581"/>
                  <a:pt x="38" y="504"/>
                  <a:pt x="76" y="425"/>
                </a:cubicBezTo>
                <a:cubicBezTo>
                  <a:pt x="124" y="338"/>
                  <a:pt x="200" y="260"/>
                  <a:pt x="296" y="196"/>
                </a:cubicBezTo>
                <a:cubicBezTo>
                  <a:pt x="393" y="132"/>
                  <a:pt x="510" y="82"/>
                  <a:pt x="641" y="50"/>
                </a:cubicBezTo>
                <a:cubicBezTo>
                  <a:pt x="761" y="25"/>
                  <a:pt x="878" y="13"/>
                  <a:pt x="1021" y="6"/>
                </a:cubicBezTo>
                <a:cubicBezTo>
                  <a:pt x="1164" y="0"/>
                  <a:pt x="1333" y="0"/>
                  <a:pt x="1559" y="0"/>
                </a:cubicBezTo>
                <a:lnTo>
                  <a:pt x="1552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7" name="gaoding-16">
            <a:extLst>
              <a:ext uri="{FF2B5EF4-FFF2-40B4-BE49-F238E27FC236}">
                <a16:creationId xmlns:a16="http://schemas.microsoft.com/office/drawing/2014/main" id="{8AC17CE0-AE39-C963-DFFF-44663A2B495E}"/>
              </a:ext>
            </a:extLst>
          </p:cNvPr>
          <p:cNvSpPr/>
          <p:nvPr/>
        </p:nvSpPr>
        <p:spPr>
          <a:xfrm>
            <a:off x="7941021" y="3351504"/>
            <a:ext cx="1647184" cy="2487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2" y="0"/>
                </a:moveTo>
                <a:lnTo>
                  <a:pt x="20048" y="0"/>
                </a:lnTo>
                <a:cubicBezTo>
                  <a:pt x="20270" y="0"/>
                  <a:pt x="20438" y="0"/>
                  <a:pt x="20580" y="6"/>
                </a:cubicBezTo>
                <a:cubicBezTo>
                  <a:pt x="20722" y="13"/>
                  <a:pt x="20839" y="25"/>
                  <a:pt x="20959" y="50"/>
                </a:cubicBezTo>
                <a:cubicBezTo>
                  <a:pt x="21090" y="82"/>
                  <a:pt x="21207" y="132"/>
                  <a:pt x="21304" y="196"/>
                </a:cubicBezTo>
                <a:cubicBezTo>
                  <a:pt x="21400" y="260"/>
                  <a:pt x="21476" y="338"/>
                  <a:pt x="21524" y="425"/>
                </a:cubicBezTo>
                <a:cubicBezTo>
                  <a:pt x="21562" y="504"/>
                  <a:pt x="21581" y="581"/>
                  <a:pt x="21590" y="676"/>
                </a:cubicBezTo>
                <a:cubicBezTo>
                  <a:pt x="21600" y="771"/>
                  <a:pt x="21600" y="883"/>
                  <a:pt x="21600" y="1033"/>
                </a:cubicBezTo>
                <a:lnTo>
                  <a:pt x="21600" y="20572"/>
                </a:lnTo>
                <a:cubicBezTo>
                  <a:pt x="21600" y="20719"/>
                  <a:pt x="21600" y="20830"/>
                  <a:pt x="21590" y="20924"/>
                </a:cubicBezTo>
                <a:cubicBezTo>
                  <a:pt x="21581" y="21019"/>
                  <a:pt x="21562" y="21096"/>
                  <a:pt x="21524" y="21175"/>
                </a:cubicBezTo>
                <a:cubicBezTo>
                  <a:pt x="21476" y="21262"/>
                  <a:pt x="21400" y="21340"/>
                  <a:pt x="21304" y="21404"/>
                </a:cubicBezTo>
                <a:cubicBezTo>
                  <a:pt x="21207" y="21468"/>
                  <a:pt x="21090" y="21518"/>
                  <a:pt x="20959" y="21550"/>
                </a:cubicBezTo>
                <a:cubicBezTo>
                  <a:pt x="20839" y="21575"/>
                  <a:pt x="20722" y="21587"/>
                  <a:pt x="20579" y="21594"/>
                </a:cubicBezTo>
                <a:cubicBezTo>
                  <a:pt x="20436" y="21600"/>
                  <a:pt x="20267" y="21600"/>
                  <a:pt x="20041" y="21600"/>
                </a:cubicBezTo>
                <a:lnTo>
                  <a:pt x="1552" y="21600"/>
                </a:lnTo>
                <a:cubicBezTo>
                  <a:pt x="1330" y="21600"/>
                  <a:pt x="1162" y="21600"/>
                  <a:pt x="1020" y="21594"/>
                </a:cubicBezTo>
                <a:cubicBezTo>
                  <a:pt x="878" y="21587"/>
                  <a:pt x="761" y="21575"/>
                  <a:pt x="641" y="21550"/>
                </a:cubicBezTo>
                <a:cubicBezTo>
                  <a:pt x="510" y="21518"/>
                  <a:pt x="393" y="21468"/>
                  <a:pt x="296" y="21404"/>
                </a:cubicBezTo>
                <a:cubicBezTo>
                  <a:pt x="200" y="21340"/>
                  <a:pt x="124" y="21262"/>
                  <a:pt x="76" y="21175"/>
                </a:cubicBezTo>
                <a:cubicBezTo>
                  <a:pt x="38" y="21096"/>
                  <a:pt x="19" y="21019"/>
                  <a:pt x="10" y="20924"/>
                </a:cubicBezTo>
                <a:cubicBezTo>
                  <a:pt x="0" y="20829"/>
                  <a:pt x="0" y="20717"/>
                  <a:pt x="0" y="20567"/>
                </a:cubicBezTo>
                <a:lnTo>
                  <a:pt x="0" y="1028"/>
                </a:lnTo>
                <a:cubicBezTo>
                  <a:pt x="0" y="881"/>
                  <a:pt x="0" y="770"/>
                  <a:pt x="10" y="676"/>
                </a:cubicBezTo>
                <a:cubicBezTo>
                  <a:pt x="19" y="581"/>
                  <a:pt x="38" y="504"/>
                  <a:pt x="76" y="425"/>
                </a:cubicBezTo>
                <a:cubicBezTo>
                  <a:pt x="124" y="338"/>
                  <a:pt x="200" y="260"/>
                  <a:pt x="296" y="196"/>
                </a:cubicBezTo>
                <a:cubicBezTo>
                  <a:pt x="393" y="132"/>
                  <a:pt x="510" y="82"/>
                  <a:pt x="641" y="50"/>
                </a:cubicBezTo>
                <a:cubicBezTo>
                  <a:pt x="761" y="25"/>
                  <a:pt x="878" y="13"/>
                  <a:pt x="1021" y="6"/>
                </a:cubicBezTo>
                <a:cubicBezTo>
                  <a:pt x="1164" y="0"/>
                  <a:pt x="1333" y="0"/>
                  <a:pt x="1559" y="0"/>
                </a:cubicBezTo>
                <a:lnTo>
                  <a:pt x="1552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9" name="gaoding-18">
            <a:extLst>
              <a:ext uri="{FF2B5EF4-FFF2-40B4-BE49-F238E27FC236}">
                <a16:creationId xmlns:a16="http://schemas.microsoft.com/office/drawing/2014/main" id="{0061D6B6-1190-6911-7F6B-8FC55F6AE2AD}"/>
              </a:ext>
            </a:extLst>
          </p:cNvPr>
          <p:cNvSpPr/>
          <p:nvPr/>
        </p:nvSpPr>
        <p:spPr>
          <a:xfrm>
            <a:off x="9723561" y="3351504"/>
            <a:ext cx="1647184" cy="2487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2" y="0"/>
                </a:moveTo>
                <a:lnTo>
                  <a:pt x="20048" y="0"/>
                </a:lnTo>
                <a:cubicBezTo>
                  <a:pt x="20270" y="0"/>
                  <a:pt x="20438" y="0"/>
                  <a:pt x="20580" y="6"/>
                </a:cubicBezTo>
                <a:cubicBezTo>
                  <a:pt x="20722" y="13"/>
                  <a:pt x="20839" y="25"/>
                  <a:pt x="20959" y="50"/>
                </a:cubicBezTo>
                <a:cubicBezTo>
                  <a:pt x="21090" y="82"/>
                  <a:pt x="21207" y="132"/>
                  <a:pt x="21304" y="196"/>
                </a:cubicBezTo>
                <a:cubicBezTo>
                  <a:pt x="21400" y="260"/>
                  <a:pt x="21476" y="338"/>
                  <a:pt x="21524" y="425"/>
                </a:cubicBezTo>
                <a:cubicBezTo>
                  <a:pt x="21562" y="504"/>
                  <a:pt x="21581" y="581"/>
                  <a:pt x="21590" y="676"/>
                </a:cubicBezTo>
                <a:cubicBezTo>
                  <a:pt x="21600" y="771"/>
                  <a:pt x="21600" y="883"/>
                  <a:pt x="21600" y="1033"/>
                </a:cubicBezTo>
                <a:lnTo>
                  <a:pt x="21600" y="20572"/>
                </a:lnTo>
                <a:cubicBezTo>
                  <a:pt x="21600" y="20719"/>
                  <a:pt x="21600" y="20830"/>
                  <a:pt x="21590" y="20924"/>
                </a:cubicBezTo>
                <a:cubicBezTo>
                  <a:pt x="21581" y="21019"/>
                  <a:pt x="21562" y="21096"/>
                  <a:pt x="21524" y="21175"/>
                </a:cubicBezTo>
                <a:cubicBezTo>
                  <a:pt x="21476" y="21262"/>
                  <a:pt x="21400" y="21340"/>
                  <a:pt x="21304" y="21404"/>
                </a:cubicBezTo>
                <a:cubicBezTo>
                  <a:pt x="21207" y="21468"/>
                  <a:pt x="21090" y="21518"/>
                  <a:pt x="20959" y="21550"/>
                </a:cubicBezTo>
                <a:cubicBezTo>
                  <a:pt x="20839" y="21575"/>
                  <a:pt x="20722" y="21587"/>
                  <a:pt x="20579" y="21594"/>
                </a:cubicBezTo>
                <a:cubicBezTo>
                  <a:pt x="20436" y="21600"/>
                  <a:pt x="20267" y="21600"/>
                  <a:pt x="20041" y="21600"/>
                </a:cubicBezTo>
                <a:lnTo>
                  <a:pt x="1552" y="21600"/>
                </a:lnTo>
                <a:cubicBezTo>
                  <a:pt x="1330" y="21600"/>
                  <a:pt x="1162" y="21600"/>
                  <a:pt x="1020" y="21594"/>
                </a:cubicBezTo>
                <a:cubicBezTo>
                  <a:pt x="878" y="21587"/>
                  <a:pt x="761" y="21575"/>
                  <a:pt x="641" y="21550"/>
                </a:cubicBezTo>
                <a:cubicBezTo>
                  <a:pt x="510" y="21518"/>
                  <a:pt x="393" y="21468"/>
                  <a:pt x="296" y="21404"/>
                </a:cubicBezTo>
                <a:cubicBezTo>
                  <a:pt x="200" y="21340"/>
                  <a:pt x="124" y="21262"/>
                  <a:pt x="76" y="21175"/>
                </a:cubicBezTo>
                <a:cubicBezTo>
                  <a:pt x="38" y="21096"/>
                  <a:pt x="19" y="21019"/>
                  <a:pt x="10" y="20924"/>
                </a:cubicBezTo>
                <a:cubicBezTo>
                  <a:pt x="0" y="20829"/>
                  <a:pt x="0" y="20717"/>
                  <a:pt x="0" y="20567"/>
                </a:cubicBezTo>
                <a:lnTo>
                  <a:pt x="0" y="1028"/>
                </a:lnTo>
                <a:cubicBezTo>
                  <a:pt x="0" y="881"/>
                  <a:pt x="0" y="770"/>
                  <a:pt x="10" y="676"/>
                </a:cubicBezTo>
                <a:cubicBezTo>
                  <a:pt x="19" y="581"/>
                  <a:pt x="38" y="504"/>
                  <a:pt x="76" y="425"/>
                </a:cubicBezTo>
                <a:cubicBezTo>
                  <a:pt x="124" y="338"/>
                  <a:pt x="200" y="260"/>
                  <a:pt x="296" y="196"/>
                </a:cubicBezTo>
                <a:cubicBezTo>
                  <a:pt x="393" y="132"/>
                  <a:pt x="510" y="82"/>
                  <a:pt x="641" y="50"/>
                </a:cubicBezTo>
                <a:cubicBezTo>
                  <a:pt x="761" y="25"/>
                  <a:pt x="878" y="13"/>
                  <a:pt x="1021" y="6"/>
                </a:cubicBezTo>
                <a:cubicBezTo>
                  <a:pt x="1164" y="0"/>
                  <a:pt x="1333" y="0"/>
                  <a:pt x="1559" y="0"/>
                </a:cubicBezTo>
                <a:lnTo>
                  <a:pt x="1552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19" name="稿定-9">
            <a:extLst>
              <a:ext uri="{FF2B5EF4-FFF2-40B4-BE49-F238E27FC236}">
                <a16:creationId xmlns:a16="http://schemas.microsoft.com/office/drawing/2014/main" id="{821BFF07-D05A-D9E9-21B6-A28C73EDF809}"/>
              </a:ext>
            </a:extLst>
          </p:cNvPr>
          <p:cNvSpPr/>
          <p:nvPr/>
        </p:nvSpPr>
        <p:spPr>
          <a:xfrm flipH="1">
            <a:off x="5171030" y="1650644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0" name="稿定-9">
            <a:extLst>
              <a:ext uri="{FF2B5EF4-FFF2-40B4-BE49-F238E27FC236}">
                <a16:creationId xmlns:a16="http://schemas.microsoft.com/office/drawing/2014/main" id="{B1E6EA51-EA31-F44C-C5DF-DEAF082568F5}"/>
              </a:ext>
            </a:extLst>
          </p:cNvPr>
          <p:cNvSpPr/>
          <p:nvPr/>
        </p:nvSpPr>
        <p:spPr>
          <a:xfrm flipH="1">
            <a:off x="710411" y="3756139"/>
            <a:ext cx="1849939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1" name="稿定-31">
            <a:extLst>
              <a:ext uri="{FF2B5EF4-FFF2-40B4-BE49-F238E27FC236}">
                <a16:creationId xmlns:a16="http://schemas.microsoft.com/office/drawing/2014/main" id="{F1C81737-0EE3-1439-00A2-14E0600790FB}"/>
              </a:ext>
            </a:extLst>
          </p:cNvPr>
          <p:cNvSpPr/>
          <p:nvPr/>
        </p:nvSpPr>
        <p:spPr>
          <a:xfrm flipH="1">
            <a:off x="927500" y="4101682"/>
            <a:ext cx="1413904" cy="842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22" name="稿定-9">
            <a:extLst>
              <a:ext uri="{FF2B5EF4-FFF2-40B4-BE49-F238E27FC236}">
                <a16:creationId xmlns:a16="http://schemas.microsoft.com/office/drawing/2014/main" id="{17F34A90-394C-C142-E7CF-DBE4A471B26C}"/>
              </a:ext>
            </a:extLst>
          </p:cNvPr>
          <p:cNvSpPr/>
          <p:nvPr/>
        </p:nvSpPr>
        <p:spPr>
          <a:xfrm flipH="1">
            <a:off x="2491707" y="3756139"/>
            <a:ext cx="1849939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3" name="稿定-31">
            <a:extLst>
              <a:ext uri="{FF2B5EF4-FFF2-40B4-BE49-F238E27FC236}">
                <a16:creationId xmlns:a16="http://schemas.microsoft.com/office/drawing/2014/main" id="{34B973AB-D544-F967-4BFF-881017E41DD9}"/>
              </a:ext>
            </a:extLst>
          </p:cNvPr>
          <p:cNvSpPr/>
          <p:nvPr/>
        </p:nvSpPr>
        <p:spPr>
          <a:xfrm flipH="1">
            <a:off x="2708796" y="4101682"/>
            <a:ext cx="1413904" cy="842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24" name="稿定-9">
            <a:extLst>
              <a:ext uri="{FF2B5EF4-FFF2-40B4-BE49-F238E27FC236}">
                <a16:creationId xmlns:a16="http://schemas.microsoft.com/office/drawing/2014/main" id="{DB6552F9-0DFE-58CD-E29A-215A495D7A88}"/>
              </a:ext>
            </a:extLst>
          </p:cNvPr>
          <p:cNvSpPr/>
          <p:nvPr/>
        </p:nvSpPr>
        <p:spPr>
          <a:xfrm flipH="1">
            <a:off x="4285551" y="3756139"/>
            <a:ext cx="1849939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5" name="稿定-31">
            <a:extLst>
              <a:ext uri="{FF2B5EF4-FFF2-40B4-BE49-F238E27FC236}">
                <a16:creationId xmlns:a16="http://schemas.microsoft.com/office/drawing/2014/main" id="{3E2C136D-F48B-0A4C-B871-B6CC0DCB0198}"/>
              </a:ext>
            </a:extLst>
          </p:cNvPr>
          <p:cNvSpPr/>
          <p:nvPr/>
        </p:nvSpPr>
        <p:spPr>
          <a:xfrm flipH="1">
            <a:off x="4502640" y="4101682"/>
            <a:ext cx="1413904" cy="842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26" name="稿定-9">
            <a:extLst>
              <a:ext uri="{FF2B5EF4-FFF2-40B4-BE49-F238E27FC236}">
                <a16:creationId xmlns:a16="http://schemas.microsoft.com/office/drawing/2014/main" id="{3C097966-599B-B4C3-5D49-33EBD278529F}"/>
              </a:ext>
            </a:extLst>
          </p:cNvPr>
          <p:cNvSpPr/>
          <p:nvPr/>
        </p:nvSpPr>
        <p:spPr>
          <a:xfrm flipH="1">
            <a:off x="6057103" y="3756139"/>
            <a:ext cx="1849939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7" name="稿定-31">
            <a:extLst>
              <a:ext uri="{FF2B5EF4-FFF2-40B4-BE49-F238E27FC236}">
                <a16:creationId xmlns:a16="http://schemas.microsoft.com/office/drawing/2014/main" id="{915A8CF3-6D08-6945-4074-02645F9AA7AF}"/>
              </a:ext>
            </a:extLst>
          </p:cNvPr>
          <p:cNvSpPr/>
          <p:nvPr/>
        </p:nvSpPr>
        <p:spPr>
          <a:xfrm flipH="1">
            <a:off x="6274192" y="4101682"/>
            <a:ext cx="1413904" cy="842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28" name="稿定-9">
            <a:extLst>
              <a:ext uri="{FF2B5EF4-FFF2-40B4-BE49-F238E27FC236}">
                <a16:creationId xmlns:a16="http://schemas.microsoft.com/office/drawing/2014/main" id="{B0A4843D-9BE7-DC82-1254-F4A2567B7453}"/>
              </a:ext>
            </a:extLst>
          </p:cNvPr>
          <p:cNvSpPr/>
          <p:nvPr/>
        </p:nvSpPr>
        <p:spPr>
          <a:xfrm flipH="1">
            <a:off x="7852211" y="3756139"/>
            <a:ext cx="1849939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9" name="稿定-31">
            <a:extLst>
              <a:ext uri="{FF2B5EF4-FFF2-40B4-BE49-F238E27FC236}">
                <a16:creationId xmlns:a16="http://schemas.microsoft.com/office/drawing/2014/main" id="{2BD9FA41-803A-097C-4A42-CAEA9525078F}"/>
              </a:ext>
            </a:extLst>
          </p:cNvPr>
          <p:cNvSpPr/>
          <p:nvPr/>
        </p:nvSpPr>
        <p:spPr>
          <a:xfrm flipH="1">
            <a:off x="8069300" y="4101682"/>
            <a:ext cx="1413904" cy="842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30" name="稿定-9">
            <a:extLst>
              <a:ext uri="{FF2B5EF4-FFF2-40B4-BE49-F238E27FC236}">
                <a16:creationId xmlns:a16="http://schemas.microsoft.com/office/drawing/2014/main" id="{C4E89DD3-9261-8DFD-7A2C-DAA2DFCDEB74}"/>
              </a:ext>
            </a:extLst>
          </p:cNvPr>
          <p:cNvSpPr/>
          <p:nvPr/>
        </p:nvSpPr>
        <p:spPr>
          <a:xfrm flipH="1">
            <a:off x="9656163" y="3756139"/>
            <a:ext cx="1849939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31" name="稿定-31">
            <a:extLst>
              <a:ext uri="{FF2B5EF4-FFF2-40B4-BE49-F238E27FC236}">
                <a16:creationId xmlns:a16="http://schemas.microsoft.com/office/drawing/2014/main" id="{09EA1DE1-6664-A90C-D254-CBC400AB3116}"/>
              </a:ext>
            </a:extLst>
          </p:cNvPr>
          <p:cNvSpPr/>
          <p:nvPr/>
        </p:nvSpPr>
        <p:spPr>
          <a:xfrm flipH="1">
            <a:off x="9873252" y="4101682"/>
            <a:ext cx="1413904" cy="842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142" name="组合 141">
            <a:extLst>
              <a:ext uri="{FF2B5EF4-FFF2-40B4-BE49-F238E27FC236}">
                <a16:creationId xmlns:a16="http://schemas.microsoft.com/office/drawing/2014/main" id="{866E2E57-857A-B827-A751-6A651A7AAF4C}"/>
              </a:ext>
            </a:extLst>
          </p:cNvPr>
          <p:cNvGrpSpPr/>
          <p:nvPr/>
        </p:nvGrpSpPr>
        <p:grpSpPr>
          <a:xfrm>
            <a:off x="5013853" y="5207356"/>
            <a:ext cx="387049" cy="402168"/>
            <a:chOff x="4959329" y="5244522"/>
            <a:chExt cx="440486" cy="457692"/>
          </a:xfrm>
        </p:grpSpPr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8750E9EE-5182-DFDE-87D9-13972FA76C33}"/>
                </a:ext>
              </a:extLst>
            </p:cNvPr>
            <p:cNvSpPr/>
            <p:nvPr/>
          </p:nvSpPr>
          <p:spPr>
            <a:xfrm>
              <a:off x="4959329" y="5280999"/>
              <a:ext cx="440486" cy="421215"/>
            </a:xfrm>
            <a:custGeom>
              <a:avLst/>
              <a:gdLst>
                <a:gd name="connsiteX0" fmla="*/ 310405 w 440486"/>
                <a:gd name="connsiteY0" fmla="*/ 421215 h 421215"/>
                <a:gd name="connsiteX1" fmla="*/ 130081 w 440486"/>
                <a:gd name="connsiteY1" fmla="*/ 421215 h 421215"/>
                <a:gd name="connsiteX2" fmla="*/ 0 w 440486"/>
                <a:gd name="connsiteY2" fmla="*/ 291134 h 421215"/>
                <a:gd name="connsiteX3" fmla="*/ 0 w 440486"/>
                <a:gd name="connsiteY3" fmla="*/ 130081 h 421215"/>
                <a:gd name="connsiteX4" fmla="*/ 130081 w 440486"/>
                <a:gd name="connsiteY4" fmla="*/ 0 h 421215"/>
                <a:gd name="connsiteX5" fmla="*/ 311782 w 440486"/>
                <a:gd name="connsiteY5" fmla="*/ 0 h 421215"/>
                <a:gd name="connsiteX6" fmla="*/ 440486 w 440486"/>
                <a:gd name="connsiteY6" fmla="*/ 130081 h 421215"/>
                <a:gd name="connsiteX7" fmla="*/ 440486 w 440486"/>
                <a:gd name="connsiteY7" fmla="*/ 292511 h 421215"/>
                <a:gd name="connsiteX8" fmla="*/ 310405 w 440486"/>
                <a:gd name="connsiteY8" fmla="*/ 421215 h 421215"/>
                <a:gd name="connsiteX9" fmla="*/ 130081 w 440486"/>
                <a:gd name="connsiteY9" fmla="*/ 27530 h 421215"/>
                <a:gd name="connsiteX10" fmla="*/ 27530 w 440486"/>
                <a:gd name="connsiteY10" fmla="*/ 130081 h 421215"/>
                <a:gd name="connsiteX11" fmla="*/ 27530 w 440486"/>
                <a:gd name="connsiteY11" fmla="*/ 291134 h 421215"/>
                <a:gd name="connsiteX12" fmla="*/ 130081 w 440486"/>
                <a:gd name="connsiteY12" fmla="*/ 393685 h 421215"/>
                <a:gd name="connsiteX13" fmla="*/ 310405 w 440486"/>
                <a:gd name="connsiteY13" fmla="*/ 393685 h 421215"/>
                <a:gd name="connsiteX14" fmla="*/ 412956 w 440486"/>
                <a:gd name="connsiteY14" fmla="*/ 292511 h 421215"/>
                <a:gd name="connsiteX15" fmla="*/ 412956 w 440486"/>
                <a:gd name="connsiteY15" fmla="*/ 130081 h 421215"/>
                <a:gd name="connsiteX16" fmla="*/ 311782 w 440486"/>
                <a:gd name="connsiteY16" fmla="*/ 27530 h 421215"/>
                <a:gd name="connsiteX17" fmla="*/ 130081 w 440486"/>
                <a:gd name="connsiteY17" fmla="*/ 27530 h 42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0486" h="421215">
                  <a:moveTo>
                    <a:pt x="310405" y="421215"/>
                  </a:moveTo>
                  <a:lnTo>
                    <a:pt x="130081" y="421215"/>
                  </a:lnTo>
                  <a:cubicBezTo>
                    <a:pt x="58502" y="421215"/>
                    <a:pt x="0" y="362713"/>
                    <a:pt x="0" y="291134"/>
                  </a:cubicBezTo>
                  <a:lnTo>
                    <a:pt x="0" y="130081"/>
                  </a:lnTo>
                  <a:cubicBezTo>
                    <a:pt x="0" y="58502"/>
                    <a:pt x="58502" y="0"/>
                    <a:pt x="130081" y="0"/>
                  </a:cubicBezTo>
                  <a:lnTo>
                    <a:pt x="311782" y="0"/>
                  </a:lnTo>
                  <a:cubicBezTo>
                    <a:pt x="382673" y="0"/>
                    <a:pt x="440486" y="58502"/>
                    <a:pt x="440486" y="130081"/>
                  </a:cubicBezTo>
                  <a:lnTo>
                    <a:pt x="440486" y="292511"/>
                  </a:lnTo>
                  <a:cubicBezTo>
                    <a:pt x="440486" y="363401"/>
                    <a:pt x="381984" y="421215"/>
                    <a:pt x="310405" y="421215"/>
                  </a:cubicBezTo>
                  <a:close/>
                  <a:moveTo>
                    <a:pt x="130081" y="27530"/>
                  </a:moveTo>
                  <a:cubicBezTo>
                    <a:pt x="73644" y="27530"/>
                    <a:pt x="27530" y="73644"/>
                    <a:pt x="27530" y="130081"/>
                  </a:cubicBezTo>
                  <a:lnTo>
                    <a:pt x="27530" y="291134"/>
                  </a:lnTo>
                  <a:cubicBezTo>
                    <a:pt x="27530" y="347571"/>
                    <a:pt x="73644" y="393685"/>
                    <a:pt x="130081" y="393685"/>
                  </a:cubicBezTo>
                  <a:lnTo>
                    <a:pt x="310405" y="393685"/>
                  </a:lnTo>
                  <a:cubicBezTo>
                    <a:pt x="366843" y="393685"/>
                    <a:pt x="412956" y="348260"/>
                    <a:pt x="412956" y="292511"/>
                  </a:cubicBezTo>
                  <a:lnTo>
                    <a:pt x="412956" y="130081"/>
                  </a:lnTo>
                  <a:cubicBezTo>
                    <a:pt x="412956" y="73644"/>
                    <a:pt x="367531" y="27530"/>
                    <a:pt x="311782" y="27530"/>
                  </a:cubicBezTo>
                  <a:lnTo>
                    <a:pt x="130081" y="27530"/>
                  </a:ln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ADC75987-F832-8323-7DFE-E6462807CFEC}"/>
                </a:ext>
              </a:extLst>
            </p:cNvPr>
            <p:cNvSpPr/>
            <p:nvPr/>
          </p:nvSpPr>
          <p:spPr>
            <a:xfrm>
              <a:off x="5088033" y="5244522"/>
              <a:ext cx="183077" cy="285627"/>
            </a:xfrm>
            <a:custGeom>
              <a:avLst/>
              <a:gdLst>
                <a:gd name="connsiteX0" fmla="*/ 90850 w 183077"/>
                <a:gd name="connsiteY0" fmla="*/ 285628 h 285627"/>
                <a:gd name="connsiteX1" fmla="*/ 30972 w 183077"/>
                <a:gd name="connsiteY1" fmla="*/ 249150 h 285627"/>
                <a:gd name="connsiteX2" fmla="*/ 35101 w 183077"/>
                <a:gd name="connsiteY2" fmla="*/ 232632 h 285627"/>
                <a:gd name="connsiteX3" fmla="*/ 51620 w 183077"/>
                <a:gd name="connsiteY3" fmla="*/ 236761 h 285627"/>
                <a:gd name="connsiteX4" fmla="*/ 91539 w 183077"/>
                <a:gd name="connsiteY4" fmla="*/ 261539 h 285627"/>
                <a:gd name="connsiteX5" fmla="*/ 130769 w 183077"/>
                <a:gd name="connsiteY5" fmla="*/ 236073 h 285627"/>
                <a:gd name="connsiteX6" fmla="*/ 147288 w 183077"/>
                <a:gd name="connsiteY6" fmla="*/ 231255 h 285627"/>
                <a:gd name="connsiteX7" fmla="*/ 152105 w 183077"/>
                <a:gd name="connsiteY7" fmla="*/ 247774 h 285627"/>
                <a:gd name="connsiteX8" fmla="*/ 92915 w 183077"/>
                <a:gd name="connsiteY8" fmla="*/ 285628 h 285627"/>
                <a:gd name="connsiteX9" fmla="*/ 90850 w 183077"/>
                <a:gd name="connsiteY9" fmla="*/ 285628 h 285627"/>
                <a:gd name="connsiteX10" fmla="*/ 13765 w 183077"/>
                <a:gd name="connsiteY10" fmla="*/ 89474 h 285627"/>
                <a:gd name="connsiteX11" fmla="*/ 0 w 183077"/>
                <a:gd name="connsiteY11" fmla="*/ 71579 h 285627"/>
                <a:gd name="connsiteX12" fmla="*/ 0 w 183077"/>
                <a:gd name="connsiteY12" fmla="*/ 17895 h 285627"/>
                <a:gd name="connsiteX13" fmla="*/ 13765 w 183077"/>
                <a:gd name="connsiteY13" fmla="*/ 0 h 285627"/>
                <a:gd name="connsiteX14" fmla="*/ 27530 w 183077"/>
                <a:gd name="connsiteY14" fmla="*/ 17895 h 285627"/>
                <a:gd name="connsiteX15" fmla="*/ 27530 w 183077"/>
                <a:gd name="connsiteY15" fmla="*/ 72267 h 285627"/>
                <a:gd name="connsiteX16" fmla="*/ 13765 w 183077"/>
                <a:gd name="connsiteY16" fmla="*/ 89474 h 285627"/>
                <a:gd name="connsiteX17" fmla="*/ 169312 w 183077"/>
                <a:gd name="connsiteY17" fmla="*/ 89474 h 285627"/>
                <a:gd name="connsiteX18" fmla="*/ 155547 w 183077"/>
                <a:gd name="connsiteY18" fmla="*/ 71579 h 285627"/>
                <a:gd name="connsiteX19" fmla="*/ 155547 w 183077"/>
                <a:gd name="connsiteY19" fmla="*/ 17895 h 285627"/>
                <a:gd name="connsiteX20" fmla="*/ 169312 w 183077"/>
                <a:gd name="connsiteY20" fmla="*/ 0 h 285627"/>
                <a:gd name="connsiteX21" fmla="*/ 183077 w 183077"/>
                <a:gd name="connsiteY21" fmla="*/ 17895 h 285627"/>
                <a:gd name="connsiteX22" fmla="*/ 183077 w 183077"/>
                <a:gd name="connsiteY22" fmla="*/ 72267 h 285627"/>
                <a:gd name="connsiteX23" fmla="*/ 169312 w 183077"/>
                <a:gd name="connsiteY23" fmla="*/ 89474 h 28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83077" h="285627">
                  <a:moveTo>
                    <a:pt x="90850" y="285628"/>
                  </a:moveTo>
                  <a:cubicBezTo>
                    <a:pt x="66761" y="285628"/>
                    <a:pt x="44049" y="271863"/>
                    <a:pt x="30972" y="249150"/>
                  </a:cubicBezTo>
                  <a:cubicBezTo>
                    <a:pt x="27530" y="243644"/>
                    <a:pt x="29595" y="236073"/>
                    <a:pt x="35101" y="232632"/>
                  </a:cubicBezTo>
                  <a:cubicBezTo>
                    <a:pt x="40607" y="229191"/>
                    <a:pt x="48178" y="231255"/>
                    <a:pt x="51620" y="236761"/>
                  </a:cubicBezTo>
                  <a:cubicBezTo>
                    <a:pt x="60567" y="252591"/>
                    <a:pt x="75709" y="261539"/>
                    <a:pt x="91539" y="261539"/>
                  </a:cubicBezTo>
                  <a:cubicBezTo>
                    <a:pt x="108057" y="261539"/>
                    <a:pt x="121822" y="251215"/>
                    <a:pt x="130769" y="236073"/>
                  </a:cubicBezTo>
                  <a:cubicBezTo>
                    <a:pt x="134211" y="230567"/>
                    <a:pt x="141093" y="227814"/>
                    <a:pt x="147288" y="231255"/>
                  </a:cubicBezTo>
                  <a:cubicBezTo>
                    <a:pt x="152794" y="234697"/>
                    <a:pt x="155547" y="241579"/>
                    <a:pt x="152105" y="247774"/>
                  </a:cubicBezTo>
                  <a:cubicBezTo>
                    <a:pt x="139717" y="271174"/>
                    <a:pt x="117004" y="284940"/>
                    <a:pt x="92915" y="285628"/>
                  </a:cubicBezTo>
                  <a:lnTo>
                    <a:pt x="90850" y="285628"/>
                  </a:lnTo>
                  <a:close/>
                  <a:moveTo>
                    <a:pt x="13765" y="89474"/>
                  </a:moveTo>
                  <a:cubicBezTo>
                    <a:pt x="6194" y="89474"/>
                    <a:pt x="0" y="81903"/>
                    <a:pt x="0" y="71579"/>
                  </a:cubicBezTo>
                  <a:lnTo>
                    <a:pt x="0" y="17895"/>
                  </a:lnTo>
                  <a:cubicBezTo>
                    <a:pt x="0" y="8259"/>
                    <a:pt x="6194" y="0"/>
                    <a:pt x="13765" y="0"/>
                  </a:cubicBezTo>
                  <a:cubicBezTo>
                    <a:pt x="21336" y="0"/>
                    <a:pt x="27530" y="7571"/>
                    <a:pt x="27530" y="17895"/>
                  </a:cubicBezTo>
                  <a:lnTo>
                    <a:pt x="27530" y="72267"/>
                  </a:lnTo>
                  <a:cubicBezTo>
                    <a:pt x="27530" y="81903"/>
                    <a:pt x="21336" y="89474"/>
                    <a:pt x="13765" y="89474"/>
                  </a:cubicBezTo>
                  <a:close/>
                  <a:moveTo>
                    <a:pt x="169312" y="89474"/>
                  </a:moveTo>
                  <a:cubicBezTo>
                    <a:pt x="161741" y="89474"/>
                    <a:pt x="155547" y="81903"/>
                    <a:pt x="155547" y="71579"/>
                  </a:cubicBezTo>
                  <a:lnTo>
                    <a:pt x="155547" y="17895"/>
                  </a:lnTo>
                  <a:cubicBezTo>
                    <a:pt x="155547" y="8259"/>
                    <a:pt x="161741" y="0"/>
                    <a:pt x="169312" y="0"/>
                  </a:cubicBezTo>
                  <a:cubicBezTo>
                    <a:pt x="176883" y="0"/>
                    <a:pt x="183077" y="7571"/>
                    <a:pt x="183077" y="17895"/>
                  </a:cubicBezTo>
                  <a:lnTo>
                    <a:pt x="183077" y="72267"/>
                  </a:lnTo>
                  <a:cubicBezTo>
                    <a:pt x="181701" y="81903"/>
                    <a:pt x="176195" y="89474"/>
                    <a:pt x="169312" y="89474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32" name="组合 131">
            <a:extLst>
              <a:ext uri="{FF2B5EF4-FFF2-40B4-BE49-F238E27FC236}">
                <a16:creationId xmlns:a16="http://schemas.microsoft.com/office/drawing/2014/main" id="{B071FCB4-3026-C5C2-57D0-85242B323433}"/>
              </a:ext>
            </a:extLst>
          </p:cNvPr>
          <p:cNvGrpSpPr/>
          <p:nvPr/>
        </p:nvGrpSpPr>
        <p:grpSpPr>
          <a:xfrm>
            <a:off x="3193523" y="5214811"/>
            <a:ext cx="361901" cy="406359"/>
            <a:chOff x="3193522" y="5222129"/>
            <a:chExt cx="395205" cy="443754"/>
          </a:xfrm>
        </p:grpSpPr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3A766AEC-4AF8-C465-BB9D-153530188DCF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43B049B3-35BA-D3B2-07C5-EC624582C4A8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6A98490A-0F1A-4B04-7C09-7069A9B724CE}"/>
              </a:ext>
            </a:extLst>
          </p:cNvPr>
          <p:cNvGrpSpPr/>
          <p:nvPr/>
        </p:nvGrpSpPr>
        <p:grpSpPr>
          <a:xfrm>
            <a:off x="1406740" y="5241237"/>
            <a:ext cx="373508" cy="359000"/>
            <a:chOff x="1406740" y="5275641"/>
            <a:chExt cx="441102" cy="423968"/>
          </a:xfrm>
        </p:grpSpPr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21919D9B-41EA-28AF-E809-B45745E8BB23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BB6594EE-A04F-25AE-0345-C27F156D3F97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63" name="组合 162">
            <a:extLst>
              <a:ext uri="{FF2B5EF4-FFF2-40B4-BE49-F238E27FC236}">
                <a16:creationId xmlns:a16="http://schemas.microsoft.com/office/drawing/2014/main" id="{0F2B55A7-488C-8D80-A4A1-663552BDA146}"/>
              </a:ext>
            </a:extLst>
          </p:cNvPr>
          <p:cNvGrpSpPr/>
          <p:nvPr/>
        </p:nvGrpSpPr>
        <p:grpSpPr>
          <a:xfrm>
            <a:off x="10357510" y="5253191"/>
            <a:ext cx="355003" cy="355003"/>
            <a:chOff x="10357510" y="5253191"/>
            <a:chExt cx="355003" cy="355003"/>
          </a:xfrm>
        </p:grpSpPr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EC4403DA-E361-D8D5-1322-AF2A53AA8D93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D492DA9C-7FAF-9A1F-BCAD-6969618B50C1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58" name="组合 157">
            <a:extLst>
              <a:ext uri="{FF2B5EF4-FFF2-40B4-BE49-F238E27FC236}">
                <a16:creationId xmlns:a16="http://schemas.microsoft.com/office/drawing/2014/main" id="{80230661-25FB-4A88-76E1-0EECEE0AE8B0}"/>
              </a:ext>
            </a:extLst>
          </p:cNvPr>
          <p:cNvGrpSpPr/>
          <p:nvPr/>
        </p:nvGrpSpPr>
        <p:grpSpPr>
          <a:xfrm>
            <a:off x="8607744" y="5255510"/>
            <a:ext cx="287047" cy="366783"/>
            <a:chOff x="8607744" y="5255510"/>
            <a:chExt cx="287047" cy="366783"/>
          </a:xfrm>
        </p:grpSpPr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E3E25FAA-AAC8-E91F-3EBA-7E0417DB4EEF}"/>
                </a:ext>
              </a:extLst>
            </p:cNvPr>
            <p:cNvSpPr/>
            <p:nvPr/>
          </p:nvSpPr>
          <p:spPr>
            <a:xfrm>
              <a:off x="8607744" y="5255510"/>
              <a:ext cx="287047" cy="366783"/>
            </a:xfrm>
            <a:custGeom>
              <a:avLst/>
              <a:gdLst>
                <a:gd name="connsiteX0" fmla="*/ 196681 w 287047"/>
                <a:gd name="connsiteY0" fmla="*/ 366783 h 366783"/>
                <a:gd name="connsiteX1" fmla="*/ 90367 w 287047"/>
                <a:gd name="connsiteY1" fmla="*/ 366783 h 366783"/>
                <a:gd name="connsiteX2" fmla="*/ 0 w 287047"/>
                <a:gd name="connsiteY2" fmla="*/ 276416 h 366783"/>
                <a:gd name="connsiteX3" fmla="*/ 0 w 287047"/>
                <a:gd name="connsiteY3" fmla="*/ 90367 h 366783"/>
                <a:gd name="connsiteX4" fmla="*/ 90367 w 287047"/>
                <a:gd name="connsiteY4" fmla="*/ 0 h 366783"/>
                <a:gd name="connsiteX5" fmla="*/ 196681 w 287047"/>
                <a:gd name="connsiteY5" fmla="*/ 0 h 366783"/>
                <a:gd name="connsiteX6" fmla="*/ 287048 w 287047"/>
                <a:gd name="connsiteY6" fmla="*/ 90367 h 366783"/>
                <a:gd name="connsiteX7" fmla="*/ 287048 w 287047"/>
                <a:gd name="connsiteY7" fmla="*/ 276416 h 366783"/>
                <a:gd name="connsiteX8" fmla="*/ 196681 w 287047"/>
                <a:gd name="connsiteY8" fmla="*/ 366783 h 366783"/>
                <a:gd name="connsiteX9" fmla="*/ 90367 w 287047"/>
                <a:gd name="connsiteY9" fmla="*/ 21263 h 366783"/>
                <a:gd name="connsiteX10" fmla="*/ 21263 w 287047"/>
                <a:gd name="connsiteY10" fmla="*/ 90367 h 366783"/>
                <a:gd name="connsiteX11" fmla="*/ 21263 w 287047"/>
                <a:gd name="connsiteY11" fmla="*/ 276416 h 366783"/>
                <a:gd name="connsiteX12" fmla="*/ 90367 w 287047"/>
                <a:gd name="connsiteY12" fmla="*/ 345521 h 366783"/>
                <a:gd name="connsiteX13" fmla="*/ 196681 w 287047"/>
                <a:gd name="connsiteY13" fmla="*/ 345521 h 366783"/>
                <a:gd name="connsiteX14" fmla="*/ 265785 w 287047"/>
                <a:gd name="connsiteY14" fmla="*/ 276416 h 366783"/>
                <a:gd name="connsiteX15" fmla="*/ 265785 w 287047"/>
                <a:gd name="connsiteY15" fmla="*/ 90367 h 366783"/>
                <a:gd name="connsiteX16" fmla="*/ 196681 w 287047"/>
                <a:gd name="connsiteY16" fmla="*/ 21263 h 366783"/>
                <a:gd name="connsiteX17" fmla="*/ 90367 w 287047"/>
                <a:gd name="connsiteY17" fmla="*/ 21263 h 36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7047" h="366783">
                  <a:moveTo>
                    <a:pt x="196681" y="366783"/>
                  </a:moveTo>
                  <a:lnTo>
                    <a:pt x="90367" y="366783"/>
                  </a:lnTo>
                  <a:cubicBezTo>
                    <a:pt x="40399" y="366783"/>
                    <a:pt x="0" y="326384"/>
                    <a:pt x="0" y="276416"/>
                  </a:cubicBezTo>
                  <a:lnTo>
                    <a:pt x="0" y="90367"/>
                  </a:lnTo>
                  <a:cubicBezTo>
                    <a:pt x="0" y="40399"/>
                    <a:pt x="40399" y="0"/>
                    <a:pt x="90367" y="0"/>
                  </a:cubicBezTo>
                  <a:lnTo>
                    <a:pt x="196681" y="0"/>
                  </a:lnTo>
                  <a:cubicBezTo>
                    <a:pt x="246648" y="0"/>
                    <a:pt x="287048" y="40399"/>
                    <a:pt x="287048" y="90367"/>
                  </a:cubicBezTo>
                  <a:lnTo>
                    <a:pt x="287048" y="276416"/>
                  </a:lnTo>
                  <a:cubicBezTo>
                    <a:pt x="287048" y="326384"/>
                    <a:pt x="246648" y="366783"/>
                    <a:pt x="196681" y="366783"/>
                  </a:cubicBezTo>
                  <a:close/>
                  <a:moveTo>
                    <a:pt x="90367" y="21263"/>
                  </a:moveTo>
                  <a:cubicBezTo>
                    <a:pt x="52094" y="21263"/>
                    <a:pt x="21263" y="52094"/>
                    <a:pt x="21263" y="90367"/>
                  </a:cubicBezTo>
                  <a:lnTo>
                    <a:pt x="21263" y="276416"/>
                  </a:lnTo>
                  <a:cubicBezTo>
                    <a:pt x="21263" y="314689"/>
                    <a:pt x="52094" y="345521"/>
                    <a:pt x="90367" y="345521"/>
                  </a:cubicBezTo>
                  <a:lnTo>
                    <a:pt x="196681" y="345521"/>
                  </a:lnTo>
                  <a:cubicBezTo>
                    <a:pt x="234954" y="345521"/>
                    <a:pt x="265785" y="314689"/>
                    <a:pt x="265785" y="276416"/>
                  </a:cubicBezTo>
                  <a:lnTo>
                    <a:pt x="265785" y="90367"/>
                  </a:lnTo>
                  <a:cubicBezTo>
                    <a:pt x="265785" y="52094"/>
                    <a:pt x="234954" y="21263"/>
                    <a:pt x="196681" y="21263"/>
                  </a:cubicBezTo>
                  <a:lnTo>
                    <a:pt x="90367" y="21263"/>
                  </a:lnTo>
                  <a:close/>
                </a:path>
              </a:pathLst>
            </a:custGeom>
            <a:solidFill>
              <a:schemeClr val="bg1"/>
            </a:solidFill>
            <a:ln w="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AB9D1F65-01F5-AD6E-7F12-F15681C8E0A9}"/>
                </a:ext>
              </a:extLst>
            </p:cNvPr>
            <p:cNvSpPr/>
            <p:nvPr/>
          </p:nvSpPr>
          <p:spPr>
            <a:xfrm>
              <a:off x="8629007" y="5486212"/>
              <a:ext cx="244522" cy="88240"/>
            </a:xfrm>
            <a:custGeom>
              <a:avLst/>
              <a:gdLst>
                <a:gd name="connsiteX0" fmla="*/ 0 w 244522"/>
                <a:gd name="connsiteY0" fmla="*/ 0 h 88240"/>
                <a:gd name="connsiteX1" fmla="*/ 244522 w 244522"/>
                <a:gd name="connsiteY1" fmla="*/ 0 h 88240"/>
                <a:gd name="connsiteX2" fmla="*/ 244522 w 244522"/>
                <a:gd name="connsiteY2" fmla="*/ 21263 h 88240"/>
                <a:gd name="connsiteX3" fmla="*/ 0 w 244522"/>
                <a:gd name="connsiteY3" fmla="*/ 21263 h 88240"/>
                <a:gd name="connsiteX4" fmla="*/ 122261 w 244522"/>
                <a:gd name="connsiteY4" fmla="*/ 88241 h 88240"/>
                <a:gd name="connsiteX5" fmla="*/ 98340 w 244522"/>
                <a:gd name="connsiteY5" fmla="*/ 64320 h 88240"/>
                <a:gd name="connsiteX6" fmla="*/ 122261 w 244522"/>
                <a:gd name="connsiteY6" fmla="*/ 40399 h 88240"/>
                <a:gd name="connsiteX7" fmla="*/ 146182 w 244522"/>
                <a:gd name="connsiteY7" fmla="*/ 64320 h 88240"/>
                <a:gd name="connsiteX8" fmla="*/ 122261 w 244522"/>
                <a:gd name="connsiteY8" fmla="*/ 88241 h 88240"/>
                <a:gd name="connsiteX9" fmla="*/ 122261 w 244522"/>
                <a:gd name="connsiteY9" fmla="*/ 56346 h 88240"/>
                <a:gd name="connsiteX10" fmla="*/ 114288 w 244522"/>
                <a:gd name="connsiteY10" fmla="*/ 64320 h 88240"/>
                <a:gd name="connsiteX11" fmla="*/ 122261 w 244522"/>
                <a:gd name="connsiteY11" fmla="*/ 72294 h 88240"/>
                <a:gd name="connsiteX12" fmla="*/ 130235 w 244522"/>
                <a:gd name="connsiteY12" fmla="*/ 64320 h 88240"/>
                <a:gd name="connsiteX13" fmla="*/ 122261 w 244522"/>
                <a:gd name="connsiteY13" fmla="*/ 56346 h 8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4522" h="88240">
                  <a:moveTo>
                    <a:pt x="0" y="0"/>
                  </a:moveTo>
                  <a:lnTo>
                    <a:pt x="244522" y="0"/>
                  </a:lnTo>
                  <a:lnTo>
                    <a:pt x="244522" y="21263"/>
                  </a:lnTo>
                  <a:lnTo>
                    <a:pt x="0" y="21263"/>
                  </a:lnTo>
                  <a:close/>
                  <a:moveTo>
                    <a:pt x="122261" y="88241"/>
                  </a:moveTo>
                  <a:cubicBezTo>
                    <a:pt x="108972" y="88241"/>
                    <a:pt x="98340" y="77609"/>
                    <a:pt x="98340" y="64320"/>
                  </a:cubicBezTo>
                  <a:cubicBezTo>
                    <a:pt x="98340" y="51031"/>
                    <a:pt x="108972" y="40399"/>
                    <a:pt x="122261" y="40399"/>
                  </a:cubicBezTo>
                  <a:cubicBezTo>
                    <a:pt x="135550" y="40399"/>
                    <a:pt x="146182" y="51031"/>
                    <a:pt x="146182" y="64320"/>
                  </a:cubicBezTo>
                  <a:cubicBezTo>
                    <a:pt x="146182" y="77609"/>
                    <a:pt x="135550" y="88241"/>
                    <a:pt x="122261" y="88241"/>
                  </a:cubicBezTo>
                  <a:close/>
                  <a:moveTo>
                    <a:pt x="122261" y="56346"/>
                  </a:moveTo>
                  <a:cubicBezTo>
                    <a:pt x="118009" y="56346"/>
                    <a:pt x="114288" y="60067"/>
                    <a:pt x="114288" y="64320"/>
                  </a:cubicBezTo>
                  <a:cubicBezTo>
                    <a:pt x="114288" y="68573"/>
                    <a:pt x="118009" y="72294"/>
                    <a:pt x="122261" y="72294"/>
                  </a:cubicBezTo>
                  <a:cubicBezTo>
                    <a:pt x="126514" y="72294"/>
                    <a:pt x="130235" y="68573"/>
                    <a:pt x="130235" y="64320"/>
                  </a:cubicBezTo>
                  <a:cubicBezTo>
                    <a:pt x="130235" y="60067"/>
                    <a:pt x="126514" y="56346"/>
                    <a:pt x="122261" y="56346"/>
                  </a:cubicBezTo>
                  <a:close/>
                </a:path>
              </a:pathLst>
            </a:custGeom>
            <a:solidFill>
              <a:schemeClr val="bg1"/>
            </a:solidFill>
            <a:ln w="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53" name="组合 152">
            <a:extLst>
              <a:ext uri="{FF2B5EF4-FFF2-40B4-BE49-F238E27FC236}">
                <a16:creationId xmlns:a16="http://schemas.microsoft.com/office/drawing/2014/main" id="{60EF4B3B-DD97-B56F-DFBB-16C2E494A24A}"/>
              </a:ext>
            </a:extLst>
          </p:cNvPr>
          <p:cNvGrpSpPr/>
          <p:nvPr/>
        </p:nvGrpSpPr>
        <p:grpSpPr>
          <a:xfrm>
            <a:off x="6770456" y="5253911"/>
            <a:ext cx="382904" cy="373907"/>
            <a:chOff x="6770455" y="5253911"/>
            <a:chExt cx="387355" cy="378253"/>
          </a:xfrm>
          <a:solidFill>
            <a:schemeClr val="bg1"/>
          </a:solidFill>
        </p:grpSpPr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B62D61BF-9A8F-3D1D-9E1B-7CF7FAE7C633}"/>
                </a:ext>
              </a:extLst>
            </p:cNvPr>
            <p:cNvSpPr/>
            <p:nvPr/>
          </p:nvSpPr>
          <p:spPr>
            <a:xfrm>
              <a:off x="6770455" y="5253911"/>
              <a:ext cx="387355" cy="378253"/>
            </a:xfrm>
            <a:custGeom>
              <a:avLst/>
              <a:gdLst>
                <a:gd name="connsiteX0" fmla="*/ 291860 w 387355"/>
                <a:gd name="connsiteY0" fmla="*/ 378254 h 378253"/>
                <a:gd name="connsiteX1" fmla="*/ 95496 w 387355"/>
                <a:gd name="connsiteY1" fmla="*/ 378254 h 378253"/>
                <a:gd name="connsiteX2" fmla="*/ 0 w 387355"/>
                <a:gd name="connsiteY2" fmla="*/ 282758 h 378253"/>
                <a:gd name="connsiteX3" fmla="*/ 0 w 387355"/>
                <a:gd name="connsiteY3" fmla="*/ 168162 h 378253"/>
                <a:gd name="connsiteX4" fmla="*/ 38198 w 387355"/>
                <a:gd name="connsiteY4" fmla="*/ 91169 h 378253"/>
                <a:gd name="connsiteX5" fmla="*/ 133098 w 387355"/>
                <a:gd name="connsiteY5" fmla="*/ 20144 h 378253"/>
                <a:gd name="connsiteX6" fmla="*/ 254855 w 387355"/>
                <a:gd name="connsiteY6" fmla="*/ 20144 h 378253"/>
                <a:gd name="connsiteX7" fmla="*/ 349157 w 387355"/>
                <a:gd name="connsiteY7" fmla="*/ 91169 h 378253"/>
                <a:gd name="connsiteX8" fmla="*/ 387356 w 387355"/>
                <a:gd name="connsiteY8" fmla="*/ 168162 h 378253"/>
                <a:gd name="connsiteX9" fmla="*/ 387356 w 387355"/>
                <a:gd name="connsiteY9" fmla="*/ 282161 h 378253"/>
                <a:gd name="connsiteX10" fmla="*/ 291860 w 387355"/>
                <a:gd name="connsiteY10" fmla="*/ 378254 h 378253"/>
                <a:gd name="connsiteX11" fmla="*/ 147422 w 387355"/>
                <a:gd name="connsiteY11" fmla="*/ 39840 h 378253"/>
                <a:gd name="connsiteX12" fmla="*/ 52523 w 387355"/>
                <a:gd name="connsiteY12" fmla="*/ 110865 h 378253"/>
                <a:gd name="connsiteX13" fmla="*/ 23874 w 387355"/>
                <a:gd name="connsiteY13" fmla="*/ 168759 h 378253"/>
                <a:gd name="connsiteX14" fmla="*/ 23874 w 387355"/>
                <a:gd name="connsiteY14" fmla="*/ 282758 h 378253"/>
                <a:gd name="connsiteX15" fmla="*/ 95496 w 387355"/>
                <a:gd name="connsiteY15" fmla="*/ 354380 h 378253"/>
                <a:gd name="connsiteX16" fmla="*/ 291860 w 387355"/>
                <a:gd name="connsiteY16" fmla="*/ 354380 h 378253"/>
                <a:gd name="connsiteX17" fmla="*/ 363482 w 387355"/>
                <a:gd name="connsiteY17" fmla="*/ 282758 h 378253"/>
                <a:gd name="connsiteX18" fmla="*/ 363482 w 387355"/>
                <a:gd name="connsiteY18" fmla="*/ 168162 h 378253"/>
                <a:gd name="connsiteX19" fmla="*/ 334833 w 387355"/>
                <a:gd name="connsiteY19" fmla="*/ 110268 h 378253"/>
                <a:gd name="connsiteX20" fmla="*/ 240531 w 387355"/>
                <a:gd name="connsiteY20" fmla="*/ 39243 h 378253"/>
                <a:gd name="connsiteX21" fmla="*/ 147422 w 387355"/>
                <a:gd name="connsiteY21" fmla="*/ 39840 h 37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7355" h="378253">
                  <a:moveTo>
                    <a:pt x="291860" y="378254"/>
                  </a:moveTo>
                  <a:lnTo>
                    <a:pt x="95496" y="378254"/>
                  </a:lnTo>
                  <a:cubicBezTo>
                    <a:pt x="42973" y="378254"/>
                    <a:pt x="0" y="335281"/>
                    <a:pt x="0" y="282758"/>
                  </a:cubicBezTo>
                  <a:lnTo>
                    <a:pt x="0" y="168162"/>
                  </a:lnTo>
                  <a:cubicBezTo>
                    <a:pt x="0" y="137723"/>
                    <a:pt x="14324" y="109074"/>
                    <a:pt x="38198" y="91169"/>
                  </a:cubicBezTo>
                  <a:lnTo>
                    <a:pt x="133098" y="20144"/>
                  </a:lnTo>
                  <a:cubicBezTo>
                    <a:pt x="169505" y="-6715"/>
                    <a:pt x="218447" y="-6715"/>
                    <a:pt x="254855" y="20144"/>
                  </a:cubicBezTo>
                  <a:lnTo>
                    <a:pt x="349157" y="91169"/>
                  </a:lnTo>
                  <a:cubicBezTo>
                    <a:pt x="373628" y="109671"/>
                    <a:pt x="387356" y="137723"/>
                    <a:pt x="387356" y="168162"/>
                  </a:cubicBezTo>
                  <a:lnTo>
                    <a:pt x="387356" y="282161"/>
                  </a:lnTo>
                  <a:cubicBezTo>
                    <a:pt x="387356" y="335281"/>
                    <a:pt x="344382" y="378254"/>
                    <a:pt x="291860" y="378254"/>
                  </a:cubicBezTo>
                  <a:close/>
                  <a:moveTo>
                    <a:pt x="147422" y="39840"/>
                  </a:moveTo>
                  <a:lnTo>
                    <a:pt x="52523" y="110865"/>
                  </a:lnTo>
                  <a:cubicBezTo>
                    <a:pt x="34617" y="123996"/>
                    <a:pt x="23874" y="145482"/>
                    <a:pt x="23874" y="168759"/>
                  </a:cubicBezTo>
                  <a:lnTo>
                    <a:pt x="23874" y="282758"/>
                  </a:lnTo>
                  <a:cubicBezTo>
                    <a:pt x="23874" y="322150"/>
                    <a:pt x="56104" y="354380"/>
                    <a:pt x="95496" y="354380"/>
                  </a:cubicBezTo>
                  <a:lnTo>
                    <a:pt x="291860" y="354380"/>
                  </a:lnTo>
                  <a:cubicBezTo>
                    <a:pt x="331252" y="354380"/>
                    <a:pt x="363482" y="322150"/>
                    <a:pt x="363482" y="282758"/>
                  </a:cubicBezTo>
                  <a:lnTo>
                    <a:pt x="363482" y="168162"/>
                  </a:lnTo>
                  <a:cubicBezTo>
                    <a:pt x="363482" y="145482"/>
                    <a:pt x="352738" y="124592"/>
                    <a:pt x="334833" y="110268"/>
                  </a:cubicBezTo>
                  <a:lnTo>
                    <a:pt x="240531" y="39243"/>
                  </a:lnTo>
                  <a:cubicBezTo>
                    <a:pt x="212479" y="18950"/>
                    <a:pt x="174877" y="18950"/>
                    <a:pt x="147422" y="39840"/>
                  </a:cubicBez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A94018F5-C252-2A1E-EE95-2137A2344365}"/>
                </a:ext>
              </a:extLst>
            </p:cNvPr>
            <p:cNvSpPr/>
            <p:nvPr/>
          </p:nvSpPr>
          <p:spPr>
            <a:xfrm>
              <a:off x="6905100" y="5482249"/>
              <a:ext cx="118526" cy="53225"/>
            </a:xfrm>
            <a:custGeom>
              <a:avLst/>
              <a:gdLst>
                <a:gd name="connsiteX0" fmla="*/ 58735 w 118526"/>
                <a:gd name="connsiteY0" fmla="*/ 53226 h 53225"/>
                <a:gd name="connsiteX1" fmla="*/ 1438 w 118526"/>
                <a:gd name="connsiteY1" fmla="*/ 18012 h 53225"/>
                <a:gd name="connsiteX2" fmla="*/ 5616 w 118526"/>
                <a:gd name="connsiteY2" fmla="*/ 2494 h 53225"/>
                <a:gd name="connsiteX3" fmla="*/ 21134 w 118526"/>
                <a:gd name="connsiteY3" fmla="*/ 6672 h 53225"/>
                <a:gd name="connsiteX4" fmla="*/ 59332 w 118526"/>
                <a:gd name="connsiteY4" fmla="*/ 30546 h 53225"/>
                <a:gd name="connsiteX5" fmla="*/ 96934 w 118526"/>
                <a:gd name="connsiteY5" fmla="*/ 6075 h 53225"/>
                <a:gd name="connsiteX6" fmla="*/ 112452 w 118526"/>
                <a:gd name="connsiteY6" fmla="*/ 1300 h 53225"/>
                <a:gd name="connsiteX7" fmla="*/ 117227 w 118526"/>
                <a:gd name="connsiteY7" fmla="*/ 16818 h 53225"/>
                <a:gd name="connsiteX8" fmla="*/ 60526 w 118526"/>
                <a:gd name="connsiteY8" fmla="*/ 53226 h 53225"/>
                <a:gd name="connsiteX9" fmla="*/ 58735 w 118526"/>
                <a:gd name="connsiteY9" fmla="*/ 53226 h 5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526" h="53225">
                  <a:moveTo>
                    <a:pt x="58735" y="53226"/>
                  </a:moveTo>
                  <a:cubicBezTo>
                    <a:pt x="35458" y="53226"/>
                    <a:pt x="13971" y="40095"/>
                    <a:pt x="1438" y="18012"/>
                  </a:cubicBezTo>
                  <a:cubicBezTo>
                    <a:pt x="-1547" y="12640"/>
                    <a:pt x="244" y="5478"/>
                    <a:pt x="5616" y="2494"/>
                  </a:cubicBezTo>
                  <a:cubicBezTo>
                    <a:pt x="10987" y="-491"/>
                    <a:pt x="18149" y="1300"/>
                    <a:pt x="21134" y="6672"/>
                  </a:cubicBezTo>
                  <a:cubicBezTo>
                    <a:pt x="29490" y="21593"/>
                    <a:pt x="44411" y="30546"/>
                    <a:pt x="59332" y="30546"/>
                  </a:cubicBezTo>
                  <a:cubicBezTo>
                    <a:pt x="74850" y="30546"/>
                    <a:pt x="88578" y="20996"/>
                    <a:pt x="96934" y="6075"/>
                  </a:cubicBezTo>
                  <a:cubicBezTo>
                    <a:pt x="99918" y="703"/>
                    <a:pt x="107080" y="-1684"/>
                    <a:pt x="112452" y="1300"/>
                  </a:cubicBezTo>
                  <a:cubicBezTo>
                    <a:pt x="117823" y="4284"/>
                    <a:pt x="120211" y="11446"/>
                    <a:pt x="117227" y="16818"/>
                  </a:cubicBezTo>
                  <a:cubicBezTo>
                    <a:pt x="105290" y="38902"/>
                    <a:pt x="83803" y="52629"/>
                    <a:pt x="60526" y="53226"/>
                  </a:cubicBezTo>
                  <a:lnTo>
                    <a:pt x="58735" y="53226"/>
                  </a:ln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2046756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C2D90FEC-644E-993D-3F1A-B704AFFB443F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E8BE1097-5B49-23F0-CB14-9701B51E9A7F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2F856ED-1700-AC5D-8CFB-770A9A25B4B1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5" name="gaoding-1">
            <a:extLst>
              <a:ext uri="{FF2B5EF4-FFF2-40B4-BE49-F238E27FC236}">
                <a16:creationId xmlns:a16="http://schemas.microsoft.com/office/drawing/2014/main" id="{4C37F557-F62F-FEBF-B2A5-F1C2A284867A}"/>
              </a:ext>
            </a:extLst>
          </p:cNvPr>
          <p:cNvSpPr/>
          <p:nvPr/>
        </p:nvSpPr>
        <p:spPr>
          <a:xfrm>
            <a:off x="8975232" y="2468542"/>
            <a:ext cx="1434648" cy="526804"/>
          </a:xfrm>
          <a:prstGeom prst="roundRect">
            <a:avLst>
              <a:gd name="adj" fmla="val 6929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56" name="gaoding-2">
            <a:extLst>
              <a:ext uri="{FF2B5EF4-FFF2-40B4-BE49-F238E27FC236}">
                <a16:creationId xmlns:a16="http://schemas.microsoft.com/office/drawing/2014/main" id="{574DC376-B71C-0243-96A5-48DBE5EF61EF}"/>
              </a:ext>
            </a:extLst>
          </p:cNvPr>
          <p:cNvSpPr/>
          <p:nvPr/>
        </p:nvSpPr>
        <p:spPr>
          <a:xfrm>
            <a:off x="5462992" y="2468542"/>
            <a:ext cx="1434648" cy="526804"/>
          </a:xfrm>
          <a:prstGeom prst="roundRect">
            <a:avLst>
              <a:gd name="adj" fmla="val 6929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57" name="gaoding-3">
            <a:extLst>
              <a:ext uri="{FF2B5EF4-FFF2-40B4-BE49-F238E27FC236}">
                <a16:creationId xmlns:a16="http://schemas.microsoft.com/office/drawing/2014/main" id="{6EECB994-2D8B-19A9-851D-0E7671E2F038}"/>
              </a:ext>
            </a:extLst>
          </p:cNvPr>
          <p:cNvSpPr/>
          <p:nvPr/>
        </p:nvSpPr>
        <p:spPr>
          <a:xfrm>
            <a:off x="1963849" y="2470896"/>
            <a:ext cx="1434648" cy="526804"/>
          </a:xfrm>
          <a:prstGeom prst="roundRect">
            <a:avLst>
              <a:gd name="adj" fmla="val 6929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58" name="gaoding-4">
            <a:extLst>
              <a:ext uri="{FF2B5EF4-FFF2-40B4-BE49-F238E27FC236}">
                <a16:creationId xmlns:a16="http://schemas.microsoft.com/office/drawing/2014/main" id="{0BAB5C5A-7593-5935-BCDB-5DFC58E8D290}"/>
              </a:ext>
            </a:extLst>
          </p:cNvPr>
          <p:cNvSpPr/>
          <p:nvPr/>
        </p:nvSpPr>
        <p:spPr>
          <a:xfrm>
            <a:off x="1219108" y="3251939"/>
            <a:ext cx="2844892" cy="1745555"/>
          </a:xfrm>
          <a:prstGeom prst="roundRect">
            <a:avLst>
              <a:gd name="adj" fmla="val 12847"/>
            </a:avLst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</a:endParaRPr>
          </a:p>
        </p:txBody>
      </p:sp>
      <p:sp>
        <p:nvSpPr>
          <p:cNvPr id="59" name="gaoding-5">
            <a:extLst>
              <a:ext uri="{FF2B5EF4-FFF2-40B4-BE49-F238E27FC236}">
                <a16:creationId xmlns:a16="http://schemas.microsoft.com/office/drawing/2014/main" id="{A457C0D9-8BC9-40E4-4979-593FE926F306}"/>
              </a:ext>
            </a:extLst>
          </p:cNvPr>
          <p:cNvSpPr/>
          <p:nvPr/>
        </p:nvSpPr>
        <p:spPr>
          <a:xfrm>
            <a:off x="4841120" y="3251939"/>
            <a:ext cx="2844892" cy="1745555"/>
          </a:xfrm>
          <a:prstGeom prst="roundRect">
            <a:avLst>
              <a:gd name="adj" fmla="val 12847"/>
            </a:avLst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</a:endParaRPr>
          </a:p>
        </p:txBody>
      </p:sp>
      <p:sp>
        <p:nvSpPr>
          <p:cNvPr id="60" name="gaoding-6">
            <a:extLst>
              <a:ext uri="{FF2B5EF4-FFF2-40B4-BE49-F238E27FC236}">
                <a16:creationId xmlns:a16="http://schemas.microsoft.com/office/drawing/2014/main" id="{7A3826F2-7CEA-27FC-0B18-B697216F8B78}"/>
              </a:ext>
            </a:extLst>
          </p:cNvPr>
          <p:cNvSpPr/>
          <p:nvPr/>
        </p:nvSpPr>
        <p:spPr>
          <a:xfrm>
            <a:off x="8356900" y="3251939"/>
            <a:ext cx="2844892" cy="1745555"/>
          </a:xfrm>
          <a:prstGeom prst="roundRect">
            <a:avLst>
              <a:gd name="adj" fmla="val 12847"/>
            </a:avLst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</a:endParaRPr>
          </a:p>
        </p:txBody>
      </p:sp>
      <p:sp>
        <p:nvSpPr>
          <p:cNvPr id="64" name="gaoding-10">
            <a:extLst>
              <a:ext uri="{FF2B5EF4-FFF2-40B4-BE49-F238E27FC236}">
                <a16:creationId xmlns:a16="http://schemas.microsoft.com/office/drawing/2014/main" id="{960F5E77-503A-8085-0313-CDCED2F1875E}"/>
              </a:ext>
            </a:extLst>
          </p:cNvPr>
          <p:cNvSpPr/>
          <p:nvPr/>
        </p:nvSpPr>
        <p:spPr>
          <a:xfrm>
            <a:off x="999934" y="3542680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</a:endParaRPr>
          </a:p>
        </p:txBody>
      </p:sp>
      <p:sp>
        <p:nvSpPr>
          <p:cNvPr id="65" name="gaoding-11">
            <a:extLst>
              <a:ext uri="{FF2B5EF4-FFF2-40B4-BE49-F238E27FC236}">
                <a16:creationId xmlns:a16="http://schemas.microsoft.com/office/drawing/2014/main" id="{56519D04-B834-93C1-414A-0FBCE6C708D9}"/>
              </a:ext>
            </a:extLst>
          </p:cNvPr>
          <p:cNvSpPr/>
          <p:nvPr/>
        </p:nvSpPr>
        <p:spPr>
          <a:xfrm>
            <a:off x="999934" y="3542680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66" name="gaoding-12">
            <a:extLst>
              <a:ext uri="{FF2B5EF4-FFF2-40B4-BE49-F238E27FC236}">
                <a16:creationId xmlns:a16="http://schemas.microsoft.com/office/drawing/2014/main" id="{284DCA2A-F210-19C7-73C0-9E442A5FE61E}"/>
              </a:ext>
            </a:extLst>
          </p:cNvPr>
          <p:cNvSpPr/>
          <p:nvPr/>
        </p:nvSpPr>
        <p:spPr>
          <a:xfrm>
            <a:off x="999934" y="4155701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67" name="gaoding-13">
            <a:extLst>
              <a:ext uri="{FF2B5EF4-FFF2-40B4-BE49-F238E27FC236}">
                <a16:creationId xmlns:a16="http://schemas.microsoft.com/office/drawing/2014/main" id="{C07AC09B-5347-5F20-9CB6-6D15C25F8569}"/>
              </a:ext>
            </a:extLst>
          </p:cNvPr>
          <p:cNvSpPr/>
          <p:nvPr/>
        </p:nvSpPr>
        <p:spPr>
          <a:xfrm>
            <a:off x="999934" y="4155701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68" name="gaoding-14">
            <a:extLst>
              <a:ext uri="{FF2B5EF4-FFF2-40B4-BE49-F238E27FC236}">
                <a16:creationId xmlns:a16="http://schemas.microsoft.com/office/drawing/2014/main" id="{DA084292-ACC3-E990-8695-97EBB2446BFC}"/>
              </a:ext>
            </a:extLst>
          </p:cNvPr>
          <p:cNvSpPr/>
          <p:nvPr/>
        </p:nvSpPr>
        <p:spPr>
          <a:xfrm>
            <a:off x="2559698" y="3542680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69" name="gaoding-15">
            <a:extLst>
              <a:ext uri="{FF2B5EF4-FFF2-40B4-BE49-F238E27FC236}">
                <a16:creationId xmlns:a16="http://schemas.microsoft.com/office/drawing/2014/main" id="{F83D8375-494B-0123-375A-30C57DE5515A}"/>
              </a:ext>
            </a:extLst>
          </p:cNvPr>
          <p:cNvSpPr/>
          <p:nvPr/>
        </p:nvSpPr>
        <p:spPr>
          <a:xfrm>
            <a:off x="2559698" y="3542680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0" name="gaoding-16">
            <a:extLst>
              <a:ext uri="{FF2B5EF4-FFF2-40B4-BE49-F238E27FC236}">
                <a16:creationId xmlns:a16="http://schemas.microsoft.com/office/drawing/2014/main" id="{94E351E3-EF99-F0E9-F7AE-C7243F5C9485}"/>
              </a:ext>
            </a:extLst>
          </p:cNvPr>
          <p:cNvSpPr/>
          <p:nvPr/>
        </p:nvSpPr>
        <p:spPr>
          <a:xfrm>
            <a:off x="2559698" y="4155701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71" name="gaoding-17">
            <a:extLst>
              <a:ext uri="{FF2B5EF4-FFF2-40B4-BE49-F238E27FC236}">
                <a16:creationId xmlns:a16="http://schemas.microsoft.com/office/drawing/2014/main" id="{6F19B7F3-32D5-C5F9-F890-0EA03D89825B}"/>
              </a:ext>
            </a:extLst>
          </p:cNvPr>
          <p:cNvSpPr/>
          <p:nvPr/>
        </p:nvSpPr>
        <p:spPr>
          <a:xfrm>
            <a:off x="2559698" y="4155701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2" name="gaoding-18">
            <a:extLst>
              <a:ext uri="{FF2B5EF4-FFF2-40B4-BE49-F238E27FC236}">
                <a16:creationId xmlns:a16="http://schemas.microsoft.com/office/drawing/2014/main" id="{285810C8-8AC8-8165-00BC-B9E74A983EFC}"/>
              </a:ext>
            </a:extLst>
          </p:cNvPr>
          <p:cNvSpPr/>
          <p:nvPr/>
        </p:nvSpPr>
        <p:spPr>
          <a:xfrm>
            <a:off x="4605145" y="3542680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73" name="gaoding-19">
            <a:extLst>
              <a:ext uri="{FF2B5EF4-FFF2-40B4-BE49-F238E27FC236}">
                <a16:creationId xmlns:a16="http://schemas.microsoft.com/office/drawing/2014/main" id="{1DE6C43E-21D6-1411-17CF-4484A523EAC2}"/>
              </a:ext>
            </a:extLst>
          </p:cNvPr>
          <p:cNvSpPr/>
          <p:nvPr/>
        </p:nvSpPr>
        <p:spPr>
          <a:xfrm>
            <a:off x="4605145" y="3542680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4" name="gaoding-20">
            <a:extLst>
              <a:ext uri="{FF2B5EF4-FFF2-40B4-BE49-F238E27FC236}">
                <a16:creationId xmlns:a16="http://schemas.microsoft.com/office/drawing/2014/main" id="{4827ADA5-6554-6BB0-3B6B-351BCCC2CDFD}"/>
              </a:ext>
            </a:extLst>
          </p:cNvPr>
          <p:cNvSpPr/>
          <p:nvPr/>
        </p:nvSpPr>
        <p:spPr>
          <a:xfrm>
            <a:off x="4605145" y="4155701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75" name="gaoding-21">
            <a:extLst>
              <a:ext uri="{FF2B5EF4-FFF2-40B4-BE49-F238E27FC236}">
                <a16:creationId xmlns:a16="http://schemas.microsoft.com/office/drawing/2014/main" id="{7FAFCB35-AAE0-773B-B834-3F01737C0F6B}"/>
              </a:ext>
            </a:extLst>
          </p:cNvPr>
          <p:cNvSpPr/>
          <p:nvPr/>
        </p:nvSpPr>
        <p:spPr>
          <a:xfrm>
            <a:off x="4605145" y="4155701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6" name="gaoding-22">
            <a:extLst>
              <a:ext uri="{FF2B5EF4-FFF2-40B4-BE49-F238E27FC236}">
                <a16:creationId xmlns:a16="http://schemas.microsoft.com/office/drawing/2014/main" id="{F1324304-302C-635E-B0C5-28BB828498A6}"/>
              </a:ext>
            </a:extLst>
          </p:cNvPr>
          <p:cNvSpPr/>
          <p:nvPr/>
        </p:nvSpPr>
        <p:spPr>
          <a:xfrm>
            <a:off x="6164909" y="3542680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77" name="gaoding-23">
            <a:extLst>
              <a:ext uri="{FF2B5EF4-FFF2-40B4-BE49-F238E27FC236}">
                <a16:creationId xmlns:a16="http://schemas.microsoft.com/office/drawing/2014/main" id="{1A736B76-F0DD-1DEE-70D6-428480481239}"/>
              </a:ext>
            </a:extLst>
          </p:cNvPr>
          <p:cNvSpPr/>
          <p:nvPr/>
        </p:nvSpPr>
        <p:spPr>
          <a:xfrm>
            <a:off x="6164909" y="3542680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8" name="gaoding-24">
            <a:extLst>
              <a:ext uri="{FF2B5EF4-FFF2-40B4-BE49-F238E27FC236}">
                <a16:creationId xmlns:a16="http://schemas.microsoft.com/office/drawing/2014/main" id="{50149988-A86D-B813-25EE-A31C26F44571}"/>
              </a:ext>
            </a:extLst>
          </p:cNvPr>
          <p:cNvSpPr/>
          <p:nvPr/>
        </p:nvSpPr>
        <p:spPr>
          <a:xfrm>
            <a:off x="6164909" y="4155701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79" name="gaoding-25">
            <a:extLst>
              <a:ext uri="{FF2B5EF4-FFF2-40B4-BE49-F238E27FC236}">
                <a16:creationId xmlns:a16="http://schemas.microsoft.com/office/drawing/2014/main" id="{A152B5CC-E8DA-9E8E-B8DC-CE5716DC8FFC}"/>
              </a:ext>
            </a:extLst>
          </p:cNvPr>
          <p:cNvSpPr/>
          <p:nvPr/>
        </p:nvSpPr>
        <p:spPr>
          <a:xfrm>
            <a:off x="6164909" y="4155701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80" name="gaoding-26">
            <a:extLst>
              <a:ext uri="{FF2B5EF4-FFF2-40B4-BE49-F238E27FC236}">
                <a16:creationId xmlns:a16="http://schemas.microsoft.com/office/drawing/2014/main" id="{DC0E4517-541E-7E9F-67F6-653025825B96}"/>
              </a:ext>
            </a:extLst>
          </p:cNvPr>
          <p:cNvSpPr/>
          <p:nvPr/>
        </p:nvSpPr>
        <p:spPr>
          <a:xfrm>
            <a:off x="8121246" y="3542680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81" name="gaoding-27">
            <a:extLst>
              <a:ext uri="{FF2B5EF4-FFF2-40B4-BE49-F238E27FC236}">
                <a16:creationId xmlns:a16="http://schemas.microsoft.com/office/drawing/2014/main" id="{246BFDF1-56A6-51B3-E9CE-E1E52BDC2EB9}"/>
              </a:ext>
            </a:extLst>
          </p:cNvPr>
          <p:cNvSpPr/>
          <p:nvPr/>
        </p:nvSpPr>
        <p:spPr>
          <a:xfrm>
            <a:off x="8121246" y="3542680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82" name="gaoding-28">
            <a:extLst>
              <a:ext uri="{FF2B5EF4-FFF2-40B4-BE49-F238E27FC236}">
                <a16:creationId xmlns:a16="http://schemas.microsoft.com/office/drawing/2014/main" id="{7AA92F56-744F-9A40-AE6A-E3F678097004}"/>
              </a:ext>
            </a:extLst>
          </p:cNvPr>
          <p:cNvSpPr/>
          <p:nvPr/>
        </p:nvSpPr>
        <p:spPr>
          <a:xfrm>
            <a:off x="8121246" y="4155701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83" name="gaoding-29">
            <a:extLst>
              <a:ext uri="{FF2B5EF4-FFF2-40B4-BE49-F238E27FC236}">
                <a16:creationId xmlns:a16="http://schemas.microsoft.com/office/drawing/2014/main" id="{4339D3BD-FC5F-7BFD-64A9-5C4184307302}"/>
              </a:ext>
            </a:extLst>
          </p:cNvPr>
          <p:cNvSpPr/>
          <p:nvPr/>
        </p:nvSpPr>
        <p:spPr>
          <a:xfrm>
            <a:off x="8121246" y="4155701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84" name="gaoding-30">
            <a:extLst>
              <a:ext uri="{FF2B5EF4-FFF2-40B4-BE49-F238E27FC236}">
                <a16:creationId xmlns:a16="http://schemas.microsoft.com/office/drawing/2014/main" id="{65CD584E-FC5E-0648-040B-031416C5740A}"/>
              </a:ext>
            </a:extLst>
          </p:cNvPr>
          <p:cNvSpPr/>
          <p:nvPr/>
        </p:nvSpPr>
        <p:spPr>
          <a:xfrm>
            <a:off x="9681010" y="3542680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85" name="gaoding-31">
            <a:extLst>
              <a:ext uri="{FF2B5EF4-FFF2-40B4-BE49-F238E27FC236}">
                <a16:creationId xmlns:a16="http://schemas.microsoft.com/office/drawing/2014/main" id="{4ED7521E-706E-DAEC-FBCF-7DCDA78A7046}"/>
              </a:ext>
            </a:extLst>
          </p:cNvPr>
          <p:cNvSpPr/>
          <p:nvPr/>
        </p:nvSpPr>
        <p:spPr>
          <a:xfrm>
            <a:off x="9681010" y="3542680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86" name="gaoding-32">
            <a:extLst>
              <a:ext uri="{FF2B5EF4-FFF2-40B4-BE49-F238E27FC236}">
                <a16:creationId xmlns:a16="http://schemas.microsoft.com/office/drawing/2014/main" id="{71A2FC0A-1944-A90E-68D2-73DBA9D2A814}"/>
              </a:ext>
            </a:extLst>
          </p:cNvPr>
          <p:cNvSpPr/>
          <p:nvPr/>
        </p:nvSpPr>
        <p:spPr>
          <a:xfrm>
            <a:off x="9681010" y="4155701"/>
            <a:ext cx="1434648" cy="526804"/>
          </a:xfrm>
          <a:prstGeom prst="roundRect">
            <a:avLst>
              <a:gd name="adj" fmla="val 6929"/>
            </a:avLst>
          </a:prstGeom>
          <a:solidFill>
            <a:schemeClr val="bg1"/>
          </a:solidFill>
          <a:ln>
            <a:noFill/>
          </a:ln>
          <a:effectLst>
            <a:outerShdw blurRad="165100" dist="215900" dir="2700000" algn="tl" rotWithShape="0">
              <a:srgbClr val="3361F5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srgbClr val="FFFFFF"/>
              </a:solidFill>
              <a:latin typeface="OPPOSans R" panose="00020600040101010101" pitchFamily="18" charset="-122"/>
              <a:ea typeface="微软雅黑"/>
            </a:endParaRPr>
          </a:p>
        </p:txBody>
      </p:sp>
      <p:sp>
        <p:nvSpPr>
          <p:cNvPr id="87" name="gaoding-33">
            <a:extLst>
              <a:ext uri="{FF2B5EF4-FFF2-40B4-BE49-F238E27FC236}">
                <a16:creationId xmlns:a16="http://schemas.microsoft.com/office/drawing/2014/main" id="{7F785929-FDD5-FFB2-6653-1901370DBD79}"/>
              </a:ext>
            </a:extLst>
          </p:cNvPr>
          <p:cNvSpPr/>
          <p:nvPr/>
        </p:nvSpPr>
        <p:spPr>
          <a:xfrm>
            <a:off x="9681010" y="4155701"/>
            <a:ext cx="77813" cy="52680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00" name="稿定-9">
            <a:extLst>
              <a:ext uri="{FF2B5EF4-FFF2-40B4-BE49-F238E27FC236}">
                <a16:creationId xmlns:a16="http://schemas.microsoft.com/office/drawing/2014/main" id="{B0298C8B-4937-B3D6-DD72-356F8DE99F6C}"/>
              </a:ext>
            </a:extLst>
          </p:cNvPr>
          <p:cNvSpPr/>
          <p:nvPr/>
        </p:nvSpPr>
        <p:spPr>
          <a:xfrm flipH="1">
            <a:off x="1950753" y="2545887"/>
            <a:ext cx="1434647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1" name="稿定-9">
            <a:extLst>
              <a:ext uri="{FF2B5EF4-FFF2-40B4-BE49-F238E27FC236}">
                <a16:creationId xmlns:a16="http://schemas.microsoft.com/office/drawing/2014/main" id="{87C062CC-E0F0-D7CE-C08B-36B0830042C8}"/>
              </a:ext>
            </a:extLst>
          </p:cNvPr>
          <p:cNvSpPr/>
          <p:nvPr/>
        </p:nvSpPr>
        <p:spPr>
          <a:xfrm flipH="1">
            <a:off x="5462992" y="2545887"/>
            <a:ext cx="1434647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2" name="稿定-9">
            <a:extLst>
              <a:ext uri="{FF2B5EF4-FFF2-40B4-BE49-F238E27FC236}">
                <a16:creationId xmlns:a16="http://schemas.microsoft.com/office/drawing/2014/main" id="{3B855EF8-BB7E-1A8E-CFDD-0009BA25F82C}"/>
              </a:ext>
            </a:extLst>
          </p:cNvPr>
          <p:cNvSpPr/>
          <p:nvPr/>
        </p:nvSpPr>
        <p:spPr>
          <a:xfrm flipH="1">
            <a:off x="8975233" y="2545887"/>
            <a:ext cx="1434647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3" name="稿定-31">
            <a:extLst>
              <a:ext uri="{FF2B5EF4-FFF2-40B4-BE49-F238E27FC236}">
                <a16:creationId xmlns:a16="http://schemas.microsoft.com/office/drawing/2014/main" id="{254C2CFA-5695-6F60-62ED-2959F3900896}"/>
              </a:ext>
            </a:extLst>
          </p:cNvPr>
          <p:cNvSpPr/>
          <p:nvPr/>
        </p:nvSpPr>
        <p:spPr>
          <a:xfrm flipH="1">
            <a:off x="1131498" y="3721956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9" name="稿定-31">
            <a:extLst>
              <a:ext uri="{FF2B5EF4-FFF2-40B4-BE49-F238E27FC236}">
                <a16:creationId xmlns:a16="http://schemas.microsoft.com/office/drawing/2014/main" id="{C94ECE66-07C6-436F-02E5-1DC83D765DD3}"/>
              </a:ext>
            </a:extLst>
          </p:cNvPr>
          <p:cNvSpPr/>
          <p:nvPr/>
        </p:nvSpPr>
        <p:spPr>
          <a:xfrm flipH="1">
            <a:off x="1131498" y="4334977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0" name="稿定-31">
            <a:extLst>
              <a:ext uri="{FF2B5EF4-FFF2-40B4-BE49-F238E27FC236}">
                <a16:creationId xmlns:a16="http://schemas.microsoft.com/office/drawing/2014/main" id="{293D02A0-8C2E-1FB8-6529-28FE5DEADAE5}"/>
              </a:ext>
            </a:extLst>
          </p:cNvPr>
          <p:cNvSpPr/>
          <p:nvPr/>
        </p:nvSpPr>
        <p:spPr>
          <a:xfrm flipH="1">
            <a:off x="2692667" y="3721956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1" name="稿定-31">
            <a:extLst>
              <a:ext uri="{FF2B5EF4-FFF2-40B4-BE49-F238E27FC236}">
                <a16:creationId xmlns:a16="http://schemas.microsoft.com/office/drawing/2014/main" id="{2A6188A2-001F-33ED-35A9-A6C0606FCD53}"/>
              </a:ext>
            </a:extLst>
          </p:cNvPr>
          <p:cNvSpPr/>
          <p:nvPr/>
        </p:nvSpPr>
        <p:spPr>
          <a:xfrm flipH="1">
            <a:off x="2692667" y="4334977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2" name="稿定-31">
            <a:extLst>
              <a:ext uri="{FF2B5EF4-FFF2-40B4-BE49-F238E27FC236}">
                <a16:creationId xmlns:a16="http://schemas.microsoft.com/office/drawing/2014/main" id="{AA331759-97DE-0FEE-2896-ED09412245AD}"/>
              </a:ext>
            </a:extLst>
          </p:cNvPr>
          <p:cNvSpPr/>
          <p:nvPr/>
        </p:nvSpPr>
        <p:spPr>
          <a:xfrm flipH="1">
            <a:off x="4739578" y="3721956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3" name="稿定-31">
            <a:extLst>
              <a:ext uri="{FF2B5EF4-FFF2-40B4-BE49-F238E27FC236}">
                <a16:creationId xmlns:a16="http://schemas.microsoft.com/office/drawing/2014/main" id="{B45CA8AF-A2F7-76F7-7398-B50B8B55DC2D}"/>
              </a:ext>
            </a:extLst>
          </p:cNvPr>
          <p:cNvSpPr/>
          <p:nvPr/>
        </p:nvSpPr>
        <p:spPr>
          <a:xfrm flipH="1">
            <a:off x="4739578" y="4334977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4" name="稿定-31">
            <a:extLst>
              <a:ext uri="{FF2B5EF4-FFF2-40B4-BE49-F238E27FC236}">
                <a16:creationId xmlns:a16="http://schemas.microsoft.com/office/drawing/2014/main" id="{791A307F-C4CF-58B3-B34C-CACA6066D6BD}"/>
              </a:ext>
            </a:extLst>
          </p:cNvPr>
          <p:cNvSpPr/>
          <p:nvPr/>
        </p:nvSpPr>
        <p:spPr>
          <a:xfrm flipH="1">
            <a:off x="6300747" y="3721956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5" name="稿定-31">
            <a:extLst>
              <a:ext uri="{FF2B5EF4-FFF2-40B4-BE49-F238E27FC236}">
                <a16:creationId xmlns:a16="http://schemas.microsoft.com/office/drawing/2014/main" id="{B1D92AD0-0337-B538-BC92-1EE6C4CAF559}"/>
              </a:ext>
            </a:extLst>
          </p:cNvPr>
          <p:cNvSpPr/>
          <p:nvPr/>
        </p:nvSpPr>
        <p:spPr>
          <a:xfrm flipH="1">
            <a:off x="6300747" y="4334977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6" name="稿定-31">
            <a:extLst>
              <a:ext uri="{FF2B5EF4-FFF2-40B4-BE49-F238E27FC236}">
                <a16:creationId xmlns:a16="http://schemas.microsoft.com/office/drawing/2014/main" id="{E3BE398B-4FBB-8E33-6883-237B9F9FB14E}"/>
              </a:ext>
            </a:extLst>
          </p:cNvPr>
          <p:cNvSpPr/>
          <p:nvPr/>
        </p:nvSpPr>
        <p:spPr>
          <a:xfrm flipH="1">
            <a:off x="8252810" y="3721956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7" name="稿定-31">
            <a:extLst>
              <a:ext uri="{FF2B5EF4-FFF2-40B4-BE49-F238E27FC236}">
                <a16:creationId xmlns:a16="http://schemas.microsoft.com/office/drawing/2014/main" id="{D45CF880-4CC1-B147-94C6-450F88282B55}"/>
              </a:ext>
            </a:extLst>
          </p:cNvPr>
          <p:cNvSpPr/>
          <p:nvPr/>
        </p:nvSpPr>
        <p:spPr>
          <a:xfrm flipH="1">
            <a:off x="8252810" y="4334977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8" name="稿定-31">
            <a:extLst>
              <a:ext uri="{FF2B5EF4-FFF2-40B4-BE49-F238E27FC236}">
                <a16:creationId xmlns:a16="http://schemas.microsoft.com/office/drawing/2014/main" id="{AB5430E5-3FFE-0E6C-C71B-D6A4898B01CF}"/>
              </a:ext>
            </a:extLst>
          </p:cNvPr>
          <p:cNvSpPr/>
          <p:nvPr/>
        </p:nvSpPr>
        <p:spPr>
          <a:xfrm flipH="1">
            <a:off x="9813979" y="3721956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9" name="稿定-31">
            <a:extLst>
              <a:ext uri="{FF2B5EF4-FFF2-40B4-BE49-F238E27FC236}">
                <a16:creationId xmlns:a16="http://schemas.microsoft.com/office/drawing/2014/main" id="{7A9B394D-4874-54ED-A505-B5FB8F339C63}"/>
              </a:ext>
            </a:extLst>
          </p:cNvPr>
          <p:cNvSpPr/>
          <p:nvPr/>
        </p:nvSpPr>
        <p:spPr>
          <a:xfrm flipH="1">
            <a:off x="9813979" y="4334977"/>
            <a:ext cx="1301679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59034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C33A211-4322-7136-8E80-5F0DBD853350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EE4FE4B-36DD-0576-F0BF-9F6E1C447AF1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00171A0-C729-CEB7-1717-87C2D4B0F30E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BAAAA652-620D-29B7-E475-A07007B59BBA}"/>
              </a:ext>
            </a:extLst>
          </p:cNvPr>
          <p:cNvSpPr/>
          <p:nvPr/>
        </p:nvSpPr>
        <p:spPr>
          <a:xfrm>
            <a:off x="3068018" y="2013971"/>
            <a:ext cx="2985077" cy="4221536"/>
          </a:xfrm>
          <a:custGeom>
            <a:avLst/>
            <a:gdLst>
              <a:gd name="connsiteX0" fmla="*/ 2985077 w 2985077"/>
              <a:gd name="connsiteY0" fmla="*/ 0 h 4221536"/>
              <a:gd name="connsiteX1" fmla="*/ 2985077 w 2985077"/>
              <a:gd name="connsiteY1" fmla="*/ 4221536 h 4221536"/>
              <a:gd name="connsiteX2" fmla="*/ 0 w 2985077"/>
              <a:gd name="connsiteY2" fmla="*/ 1236459 h 4221536"/>
              <a:gd name="connsiteX3" fmla="*/ 2985077 w 2985077"/>
              <a:gd name="connsiteY3" fmla="*/ 0 h 422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5077" h="4221536">
                <a:moveTo>
                  <a:pt x="2985077" y="0"/>
                </a:moveTo>
                <a:lnTo>
                  <a:pt x="2985077" y="4221536"/>
                </a:lnTo>
                <a:lnTo>
                  <a:pt x="0" y="1236459"/>
                </a:lnTo>
                <a:cubicBezTo>
                  <a:pt x="791692" y="444768"/>
                  <a:pt x="1865456" y="0"/>
                  <a:pt x="2985077" y="0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8F30DC28-76D1-2B39-46C4-F6A7D1ED429F}"/>
              </a:ext>
            </a:extLst>
          </p:cNvPr>
          <p:cNvSpPr/>
          <p:nvPr/>
        </p:nvSpPr>
        <p:spPr>
          <a:xfrm rot="18900000">
            <a:off x="1871460" y="3865771"/>
            <a:ext cx="2985077" cy="4221536"/>
          </a:xfrm>
          <a:custGeom>
            <a:avLst/>
            <a:gdLst>
              <a:gd name="connsiteX0" fmla="*/ 2985077 w 2985077"/>
              <a:gd name="connsiteY0" fmla="*/ 0 h 4221536"/>
              <a:gd name="connsiteX1" fmla="*/ 2985077 w 2985077"/>
              <a:gd name="connsiteY1" fmla="*/ 4221536 h 4221536"/>
              <a:gd name="connsiteX2" fmla="*/ 0 w 2985077"/>
              <a:gd name="connsiteY2" fmla="*/ 1236459 h 4221536"/>
              <a:gd name="connsiteX3" fmla="*/ 2985077 w 2985077"/>
              <a:gd name="connsiteY3" fmla="*/ 0 h 422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5077" h="4221536">
                <a:moveTo>
                  <a:pt x="2985077" y="0"/>
                </a:moveTo>
                <a:lnTo>
                  <a:pt x="2985077" y="4221536"/>
                </a:lnTo>
                <a:lnTo>
                  <a:pt x="0" y="1236459"/>
                </a:lnTo>
                <a:cubicBezTo>
                  <a:pt x="791692" y="444768"/>
                  <a:pt x="1865456" y="0"/>
                  <a:pt x="2985077" y="0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287706A5-760D-70B7-AA5F-5AA30B0B069B}"/>
              </a:ext>
            </a:extLst>
          </p:cNvPr>
          <p:cNvSpPr/>
          <p:nvPr/>
        </p:nvSpPr>
        <p:spPr>
          <a:xfrm flipH="1">
            <a:off x="6252577" y="2013971"/>
            <a:ext cx="2985077" cy="4221536"/>
          </a:xfrm>
          <a:custGeom>
            <a:avLst/>
            <a:gdLst>
              <a:gd name="connsiteX0" fmla="*/ 2985077 w 2985077"/>
              <a:gd name="connsiteY0" fmla="*/ 0 h 4221536"/>
              <a:gd name="connsiteX1" fmla="*/ 0 w 2985077"/>
              <a:gd name="connsiteY1" fmla="*/ 1236459 h 4221536"/>
              <a:gd name="connsiteX2" fmla="*/ 2985077 w 2985077"/>
              <a:gd name="connsiteY2" fmla="*/ 4221536 h 422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85077" h="4221536">
                <a:moveTo>
                  <a:pt x="2985077" y="0"/>
                </a:moveTo>
                <a:cubicBezTo>
                  <a:pt x="1865456" y="0"/>
                  <a:pt x="791692" y="444768"/>
                  <a:pt x="0" y="1236459"/>
                </a:cubicBezTo>
                <a:lnTo>
                  <a:pt x="2985077" y="4221536"/>
                </a:lnTo>
                <a:close/>
              </a:path>
            </a:pathLst>
          </a:cu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3647251-CCF4-1B6C-838A-12D803F4C007}"/>
              </a:ext>
            </a:extLst>
          </p:cNvPr>
          <p:cNvSpPr/>
          <p:nvPr/>
        </p:nvSpPr>
        <p:spPr>
          <a:xfrm rot="2700000" flipH="1">
            <a:off x="7449134" y="3865771"/>
            <a:ext cx="2985077" cy="4221536"/>
          </a:xfrm>
          <a:custGeom>
            <a:avLst/>
            <a:gdLst>
              <a:gd name="connsiteX0" fmla="*/ 2985077 w 2985077"/>
              <a:gd name="connsiteY0" fmla="*/ 0 h 4221536"/>
              <a:gd name="connsiteX1" fmla="*/ 0 w 2985077"/>
              <a:gd name="connsiteY1" fmla="*/ 1236459 h 4221536"/>
              <a:gd name="connsiteX2" fmla="*/ 2985077 w 2985077"/>
              <a:gd name="connsiteY2" fmla="*/ 4221536 h 422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85077" h="4221536">
                <a:moveTo>
                  <a:pt x="2985077" y="0"/>
                </a:moveTo>
                <a:cubicBezTo>
                  <a:pt x="1865456" y="0"/>
                  <a:pt x="791692" y="444768"/>
                  <a:pt x="0" y="1236459"/>
                </a:cubicBezTo>
                <a:lnTo>
                  <a:pt x="2985077" y="4221536"/>
                </a:lnTo>
                <a:close/>
              </a:path>
            </a:pathLst>
          </a:cu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9" name="不完整圆 8">
            <a:extLst>
              <a:ext uri="{FF2B5EF4-FFF2-40B4-BE49-F238E27FC236}">
                <a16:creationId xmlns:a16="http://schemas.microsoft.com/office/drawing/2014/main" id="{728EF375-569E-0448-22CE-F8F4CEA82A11}"/>
              </a:ext>
            </a:extLst>
          </p:cNvPr>
          <p:cNvSpPr/>
          <p:nvPr/>
        </p:nvSpPr>
        <p:spPr>
          <a:xfrm>
            <a:off x="4084786" y="4267200"/>
            <a:ext cx="3936616" cy="3936614"/>
          </a:xfrm>
          <a:prstGeom prst="pie">
            <a:avLst>
              <a:gd name="adj1" fmla="val 13500000"/>
              <a:gd name="adj2" fmla="val 1620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10" name="不完整圆 9">
            <a:extLst>
              <a:ext uri="{FF2B5EF4-FFF2-40B4-BE49-F238E27FC236}">
                <a16:creationId xmlns:a16="http://schemas.microsoft.com/office/drawing/2014/main" id="{A06B6286-C373-EF05-2593-BD297B0E270E}"/>
              </a:ext>
            </a:extLst>
          </p:cNvPr>
          <p:cNvSpPr/>
          <p:nvPr/>
        </p:nvSpPr>
        <p:spPr>
          <a:xfrm flipH="1">
            <a:off x="4284268" y="4267200"/>
            <a:ext cx="3936616" cy="3936614"/>
          </a:xfrm>
          <a:prstGeom prst="pie">
            <a:avLst>
              <a:gd name="adj1" fmla="val 13500000"/>
              <a:gd name="adj2" fmla="val 1620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A5708E77-15C9-3BD9-0C74-8784F2416DDB}"/>
              </a:ext>
            </a:extLst>
          </p:cNvPr>
          <p:cNvSpPr/>
          <p:nvPr/>
        </p:nvSpPr>
        <p:spPr>
          <a:xfrm rot="2700000" flipH="1">
            <a:off x="4425442" y="4445386"/>
            <a:ext cx="3936616" cy="3936614"/>
          </a:xfrm>
          <a:prstGeom prst="pie">
            <a:avLst>
              <a:gd name="adj1" fmla="val 13500000"/>
              <a:gd name="adj2" fmla="val 1620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12" name="不完整圆 11">
            <a:extLst>
              <a:ext uri="{FF2B5EF4-FFF2-40B4-BE49-F238E27FC236}">
                <a16:creationId xmlns:a16="http://schemas.microsoft.com/office/drawing/2014/main" id="{32728BBD-6B8C-866A-B3CB-E91BCF56AECF}"/>
              </a:ext>
            </a:extLst>
          </p:cNvPr>
          <p:cNvSpPr/>
          <p:nvPr/>
        </p:nvSpPr>
        <p:spPr>
          <a:xfrm rot="18900000">
            <a:off x="3943612" y="4445386"/>
            <a:ext cx="3936616" cy="3936614"/>
          </a:xfrm>
          <a:prstGeom prst="pie">
            <a:avLst>
              <a:gd name="adj1" fmla="val 13500000"/>
              <a:gd name="adj2" fmla="val 1620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42BBFE31-E15A-DF1A-3CD1-006D65A67187}"/>
              </a:ext>
            </a:extLst>
          </p:cNvPr>
          <p:cNvGrpSpPr/>
          <p:nvPr/>
        </p:nvGrpSpPr>
        <p:grpSpPr>
          <a:xfrm>
            <a:off x="5244218" y="4821506"/>
            <a:ext cx="603350" cy="631293"/>
            <a:chOff x="3193522" y="5222129"/>
            <a:chExt cx="424112" cy="443754"/>
          </a:xfrm>
          <a:solidFill>
            <a:schemeClr val="tx1"/>
          </a:solidFill>
        </p:grpSpPr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15BAB56-1CE6-0B43-556C-78322984A54E}"/>
                </a:ext>
              </a:extLst>
            </p:cNvPr>
            <p:cNvSpPr/>
            <p:nvPr/>
          </p:nvSpPr>
          <p:spPr>
            <a:xfrm>
              <a:off x="3342330" y="5358232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D01C9B5-01E3-9EB0-CBFA-D86EE073C73D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4E2F689-2635-3F26-2D45-2614B9F861EF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0B126FAB-3070-E813-E1BF-143DE4EDE18E}"/>
              </a:ext>
            </a:extLst>
          </p:cNvPr>
          <p:cNvGrpSpPr/>
          <p:nvPr/>
        </p:nvGrpSpPr>
        <p:grpSpPr>
          <a:xfrm>
            <a:off x="4295664" y="5617565"/>
            <a:ext cx="629437" cy="631541"/>
            <a:chOff x="1406740" y="5275641"/>
            <a:chExt cx="442449" cy="443928"/>
          </a:xfrm>
          <a:solidFill>
            <a:schemeClr val="tx1"/>
          </a:solidFill>
        </p:grpSpPr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54E004C-520F-45AA-3CD4-A4DB003031F1}"/>
                </a:ext>
              </a:extLst>
            </p:cNvPr>
            <p:cNvSpPr/>
            <p:nvPr/>
          </p:nvSpPr>
          <p:spPr>
            <a:xfrm>
              <a:off x="1573885" y="5444265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D9412AFB-6E91-A14A-A411-30A890963243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4CDE13B8-1B7F-1517-ED88-DA818321C4C9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9AEDBBBB-A4FD-4C2B-1929-1A84A3D36ED8}"/>
              </a:ext>
            </a:extLst>
          </p:cNvPr>
          <p:cNvGrpSpPr/>
          <p:nvPr/>
        </p:nvGrpSpPr>
        <p:grpSpPr>
          <a:xfrm>
            <a:off x="6360821" y="4821506"/>
            <a:ext cx="629964" cy="643448"/>
            <a:chOff x="10357510" y="5253191"/>
            <a:chExt cx="362769" cy="370534"/>
          </a:xfrm>
          <a:solidFill>
            <a:schemeClr val="tx1"/>
          </a:solidFill>
        </p:grpSpPr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703416ED-11A4-37BD-6005-0887D8E8297A}"/>
                </a:ext>
              </a:extLst>
            </p:cNvPr>
            <p:cNvSpPr/>
            <p:nvPr/>
          </p:nvSpPr>
          <p:spPr>
            <a:xfrm>
              <a:off x="10498402" y="5401849"/>
              <a:ext cx="221877" cy="221876"/>
            </a:xfrm>
            <a:custGeom>
              <a:avLst/>
              <a:gdLst>
                <a:gd name="connsiteX0" fmla="*/ 0 w 221877"/>
                <a:gd name="connsiteY0" fmla="*/ 110938 h 221876"/>
                <a:gd name="connsiteX1" fmla="*/ 110939 w 221877"/>
                <a:gd name="connsiteY1" fmla="*/ 221877 h 221876"/>
                <a:gd name="connsiteX2" fmla="*/ 221877 w 221877"/>
                <a:gd name="connsiteY2" fmla="*/ 110938 h 221876"/>
                <a:gd name="connsiteX3" fmla="*/ 110939 w 221877"/>
                <a:gd name="connsiteY3" fmla="*/ 0 h 221876"/>
                <a:gd name="connsiteX4" fmla="*/ 0 w 221877"/>
                <a:gd name="connsiteY4" fmla="*/ 110938 h 22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77" h="221876">
                  <a:moveTo>
                    <a:pt x="0" y="110938"/>
                  </a:moveTo>
                  <a:cubicBezTo>
                    <a:pt x="0" y="172208"/>
                    <a:pt x="49669" y="221877"/>
                    <a:pt x="110939" y="221877"/>
                  </a:cubicBezTo>
                  <a:cubicBezTo>
                    <a:pt x="172208" y="221877"/>
                    <a:pt x="221877" y="172208"/>
                    <a:pt x="221877" y="110938"/>
                  </a:cubicBezTo>
                  <a:cubicBezTo>
                    <a:pt x="221877" y="49669"/>
                    <a:pt x="172208" y="0"/>
                    <a:pt x="110939" y="0"/>
                  </a:cubicBezTo>
                  <a:cubicBezTo>
                    <a:pt x="49669" y="0"/>
                    <a:pt x="0" y="49669"/>
                    <a:pt x="0" y="11093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E890B47E-C067-2319-D99D-F1E496D04485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F8F62E8-54A7-EAD4-6D40-D91960003A16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43203B97-7E99-761C-BAC4-B4665ECA19F6}"/>
              </a:ext>
            </a:extLst>
          </p:cNvPr>
          <p:cNvGrpSpPr/>
          <p:nvPr/>
        </p:nvGrpSpPr>
        <p:grpSpPr>
          <a:xfrm>
            <a:off x="7247428" y="5664281"/>
            <a:ext cx="582477" cy="571226"/>
            <a:chOff x="6770455" y="5253911"/>
            <a:chExt cx="409440" cy="401531"/>
          </a:xfrm>
          <a:solidFill>
            <a:schemeClr val="tx1"/>
          </a:solidFill>
        </p:grpSpPr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C501208-7F69-C014-7C58-E32A3186037E}"/>
                </a:ext>
              </a:extLst>
            </p:cNvPr>
            <p:cNvSpPr/>
            <p:nvPr/>
          </p:nvSpPr>
          <p:spPr>
            <a:xfrm>
              <a:off x="6941155" y="5416702"/>
              <a:ext cx="238740" cy="238740"/>
            </a:xfrm>
            <a:custGeom>
              <a:avLst/>
              <a:gdLst>
                <a:gd name="connsiteX0" fmla="*/ 0 w 238740"/>
                <a:gd name="connsiteY0" fmla="*/ 119370 h 238740"/>
                <a:gd name="connsiteX1" fmla="*/ 119370 w 238740"/>
                <a:gd name="connsiteY1" fmla="*/ 238740 h 238740"/>
                <a:gd name="connsiteX2" fmla="*/ 238740 w 238740"/>
                <a:gd name="connsiteY2" fmla="*/ 119370 h 238740"/>
                <a:gd name="connsiteX3" fmla="*/ 119370 w 238740"/>
                <a:gd name="connsiteY3" fmla="*/ 0 h 238740"/>
                <a:gd name="connsiteX4" fmla="*/ 0 w 238740"/>
                <a:gd name="connsiteY4" fmla="*/ 119370 h 23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40" h="238740">
                  <a:moveTo>
                    <a:pt x="0" y="119370"/>
                  </a:moveTo>
                  <a:cubicBezTo>
                    <a:pt x="0" y="185296"/>
                    <a:pt x="53444" y="238740"/>
                    <a:pt x="119370" y="238740"/>
                  </a:cubicBezTo>
                  <a:cubicBezTo>
                    <a:pt x="185296" y="238740"/>
                    <a:pt x="238740" y="185296"/>
                    <a:pt x="238740" y="119370"/>
                  </a:cubicBezTo>
                  <a:cubicBezTo>
                    <a:pt x="238740" y="53444"/>
                    <a:pt x="185296" y="0"/>
                    <a:pt x="119370" y="0"/>
                  </a:cubicBezTo>
                  <a:cubicBezTo>
                    <a:pt x="53444" y="0"/>
                    <a:pt x="0" y="53444"/>
                    <a:pt x="0" y="119370"/>
                  </a:cubicBezTo>
                  <a:close/>
                </a:path>
              </a:pathLst>
            </a:custGeom>
            <a:solidFill>
              <a:schemeClr val="bg1"/>
            </a:solidFill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grpSp>
          <p:nvGrpSpPr>
            <p:cNvPr id="43" name="组合 42">
              <a:extLst>
                <a:ext uri="{FF2B5EF4-FFF2-40B4-BE49-F238E27FC236}">
                  <a16:creationId xmlns:a16="http://schemas.microsoft.com/office/drawing/2014/main" id="{9F620B9F-5B02-4950-CAC3-009D2A6CC58A}"/>
                </a:ext>
              </a:extLst>
            </p:cNvPr>
            <p:cNvGrpSpPr/>
            <p:nvPr/>
          </p:nvGrpSpPr>
          <p:grpSpPr>
            <a:xfrm>
              <a:off x="6770455" y="5253911"/>
              <a:ext cx="387355" cy="378253"/>
              <a:chOff x="6770455" y="5253911"/>
              <a:chExt cx="387355" cy="378253"/>
            </a:xfrm>
            <a:grpFill/>
          </p:grpSpPr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240C3463-A6D3-B66B-CA02-54262216A46F}"/>
                  </a:ext>
                </a:extLst>
              </p:cNvPr>
              <p:cNvSpPr/>
              <p:nvPr/>
            </p:nvSpPr>
            <p:spPr>
              <a:xfrm>
                <a:off x="6770455" y="5253911"/>
                <a:ext cx="387355" cy="378253"/>
              </a:xfrm>
              <a:custGeom>
                <a:avLst/>
                <a:gdLst>
                  <a:gd name="connsiteX0" fmla="*/ 291860 w 387355"/>
                  <a:gd name="connsiteY0" fmla="*/ 378254 h 378253"/>
                  <a:gd name="connsiteX1" fmla="*/ 95496 w 387355"/>
                  <a:gd name="connsiteY1" fmla="*/ 378254 h 378253"/>
                  <a:gd name="connsiteX2" fmla="*/ 0 w 387355"/>
                  <a:gd name="connsiteY2" fmla="*/ 282758 h 378253"/>
                  <a:gd name="connsiteX3" fmla="*/ 0 w 387355"/>
                  <a:gd name="connsiteY3" fmla="*/ 168162 h 378253"/>
                  <a:gd name="connsiteX4" fmla="*/ 38198 w 387355"/>
                  <a:gd name="connsiteY4" fmla="*/ 91169 h 378253"/>
                  <a:gd name="connsiteX5" fmla="*/ 133098 w 387355"/>
                  <a:gd name="connsiteY5" fmla="*/ 20144 h 378253"/>
                  <a:gd name="connsiteX6" fmla="*/ 254855 w 387355"/>
                  <a:gd name="connsiteY6" fmla="*/ 20144 h 378253"/>
                  <a:gd name="connsiteX7" fmla="*/ 349157 w 387355"/>
                  <a:gd name="connsiteY7" fmla="*/ 91169 h 378253"/>
                  <a:gd name="connsiteX8" fmla="*/ 387356 w 387355"/>
                  <a:gd name="connsiteY8" fmla="*/ 168162 h 378253"/>
                  <a:gd name="connsiteX9" fmla="*/ 387356 w 387355"/>
                  <a:gd name="connsiteY9" fmla="*/ 282161 h 378253"/>
                  <a:gd name="connsiteX10" fmla="*/ 291860 w 387355"/>
                  <a:gd name="connsiteY10" fmla="*/ 378254 h 378253"/>
                  <a:gd name="connsiteX11" fmla="*/ 147422 w 387355"/>
                  <a:gd name="connsiteY11" fmla="*/ 39840 h 378253"/>
                  <a:gd name="connsiteX12" fmla="*/ 52523 w 387355"/>
                  <a:gd name="connsiteY12" fmla="*/ 110865 h 378253"/>
                  <a:gd name="connsiteX13" fmla="*/ 23874 w 387355"/>
                  <a:gd name="connsiteY13" fmla="*/ 168759 h 378253"/>
                  <a:gd name="connsiteX14" fmla="*/ 23874 w 387355"/>
                  <a:gd name="connsiteY14" fmla="*/ 282758 h 378253"/>
                  <a:gd name="connsiteX15" fmla="*/ 95496 w 387355"/>
                  <a:gd name="connsiteY15" fmla="*/ 354380 h 378253"/>
                  <a:gd name="connsiteX16" fmla="*/ 291860 w 387355"/>
                  <a:gd name="connsiteY16" fmla="*/ 354380 h 378253"/>
                  <a:gd name="connsiteX17" fmla="*/ 363482 w 387355"/>
                  <a:gd name="connsiteY17" fmla="*/ 282758 h 378253"/>
                  <a:gd name="connsiteX18" fmla="*/ 363482 w 387355"/>
                  <a:gd name="connsiteY18" fmla="*/ 168162 h 378253"/>
                  <a:gd name="connsiteX19" fmla="*/ 334833 w 387355"/>
                  <a:gd name="connsiteY19" fmla="*/ 110268 h 378253"/>
                  <a:gd name="connsiteX20" fmla="*/ 240531 w 387355"/>
                  <a:gd name="connsiteY20" fmla="*/ 39243 h 378253"/>
                  <a:gd name="connsiteX21" fmla="*/ 147422 w 387355"/>
                  <a:gd name="connsiteY21" fmla="*/ 39840 h 37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7355" h="378253">
                    <a:moveTo>
                      <a:pt x="291860" y="378254"/>
                    </a:moveTo>
                    <a:lnTo>
                      <a:pt x="95496" y="378254"/>
                    </a:lnTo>
                    <a:cubicBezTo>
                      <a:pt x="42973" y="378254"/>
                      <a:pt x="0" y="335281"/>
                      <a:pt x="0" y="282758"/>
                    </a:cubicBezTo>
                    <a:lnTo>
                      <a:pt x="0" y="168162"/>
                    </a:lnTo>
                    <a:cubicBezTo>
                      <a:pt x="0" y="137723"/>
                      <a:pt x="14324" y="109074"/>
                      <a:pt x="38198" y="91169"/>
                    </a:cubicBezTo>
                    <a:lnTo>
                      <a:pt x="133098" y="20144"/>
                    </a:lnTo>
                    <a:cubicBezTo>
                      <a:pt x="169505" y="-6715"/>
                      <a:pt x="218447" y="-6715"/>
                      <a:pt x="254855" y="20144"/>
                    </a:cubicBezTo>
                    <a:lnTo>
                      <a:pt x="349157" y="91169"/>
                    </a:lnTo>
                    <a:cubicBezTo>
                      <a:pt x="373628" y="109671"/>
                      <a:pt x="387356" y="137723"/>
                      <a:pt x="387356" y="168162"/>
                    </a:cubicBezTo>
                    <a:lnTo>
                      <a:pt x="387356" y="282161"/>
                    </a:lnTo>
                    <a:cubicBezTo>
                      <a:pt x="387356" y="335281"/>
                      <a:pt x="344382" y="378254"/>
                      <a:pt x="291860" y="378254"/>
                    </a:cubicBezTo>
                    <a:close/>
                    <a:moveTo>
                      <a:pt x="147422" y="39840"/>
                    </a:moveTo>
                    <a:lnTo>
                      <a:pt x="52523" y="110865"/>
                    </a:lnTo>
                    <a:cubicBezTo>
                      <a:pt x="34617" y="123996"/>
                      <a:pt x="23874" y="145482"/>
                      <a:pt x="23874" y="168759"/>
                    </a:cubicBezTo>
                    <a:lnTo>
                      <a:pt x="23874" y="282758"/>
                    </a:lnTo>
                    <a:cubicBezTo>
                      <a:pt x="23874" y="322150"/>
                      <a:pt x="56104" y="354380"/>
                      <a:pt x="95496" y="354380"/>
                    </a:cubicBezTo>
                    <a:lnTo>
                      <a:pt x="291860" y="354380"/>
                    </a:lnTo>
                    <a:cubicBezTo>
                      <a:pt x="331252" y="354380"/>
                      <a:pt x="363482" y="322150"/>
                      <a:pt x="363482" y="282758"/>
                    </a:cubicBezTo>
                    <a:lnTo>
                      <a:pt x="363482" y="168162"/>
                    </a:lnTo>
                    <a:cubicBezTo>
                      <a:pt x="363482" y="145482"/>
                      <a:pt x="352738" y="124592"/>
                      <a:pt x="334833" y="110268"/>
                    </a:cubicBezTo>
                    <a:lnTo>
                      <a:pt x="240531" y="39243"/>
                    </a:lnTo>
                    <a:cubicBezTo>
                      <a:pt x="212479" y="18950"/>
                      <a:pt x="174877" y="18950"/>
                      <a:pt x="147422" y="39840"/>
                    </a:cubicBez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72D77566-F7D8-D315-8936-A795A6D828CF}"/>
                  </a:ext>
                </a:extLst>
              </p:cNvPr>
              <p:cNvSpPr/>
              <p:nvPr/>
            </p:nvSpPr>
            <p:spPr>
              <a:xfrm>
                <a:off x="6905100" y="5482249"/>
                <a:ext cx="118526" cy="53225"/>
              </a:xfrm>
              <a:custGeom>
                <a:avLst/>
                <a:gdLst>
                  <a:gd name="connsiteX0" fmla="*/ 58735 w 118526"/>
                  <a:gd name="connsiteY0" fmla="*/ 53226 h 53225"/>
                  <a:gd name="connsiteX1" fmla="*/ 1438 w 118526"/>
                  <a:gd name="connsiteY1" fmla="*/ 18012 h 53225"/>
                  <a:gd name="connsiteX2" fmla="*/ 5616 w 118526"/>
                  <a:gd name="connsiteY2" fmla="*/ 2494 h 53225"/>
                  <a:gd name="connsiteX3" fmla="*/ 21134 w 118526"/>
                  <a:gd name="connsiteY3" fmla="*/ 6672 h 53225"/>
                  <a:gd name="connsiteX4" fmla="*/ 59332 w 118526"/>
                  <a:gd name="connsiteY4" fmla="*/ 30546 h 53225"/>
                  <a:gd name="connsiteX5" fmla="*/ 96934 w 118526"/>
                  <a:gd name="connsiteY5" fmla="*/ 6075 h 53225"/>
                  <a:gd name="connsiteX6" fmla="*/ 112452 w 118526"/>
                  <a:gd name="connsiteY6" fmla="*/ 1300 h 53225"/>
                  <a:gd name="connsiteX7" fmla="*/ 117227 w 118526"/>
                  <a:gd name="connsiteY7" fmla="*/ 16818 h 53225"/>
                  <a:gd name="connsiteX8" fmla="*/ 60526 w 118526"/>
                  <a:gd name="connsiteY8" fmla="*/ 53226 h 53225"/>
                  <a:gd name="connsiteX9" fmla="*/ 58735 w 118526"/>
                  <a:gd name="connsiteY9" fmla="*/ 53226 h 5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526" h="53225">
                    <a:moveTo>
                      <a:pt x="58735" y="53226"/>
                    </a:moveTo>
                    <a:cubicBezTo>
                      <a:pt x="35458" y="53226"/>
                      <a:pt x="13971" y="40095"/>
                      <a:pt x="1438" y="18012"/>
                    </a:cubicBezTo>
                    <a:cubicBezTo>
                      <a:pt x="-1547" y="12640"/>
                      <a:pt x="244" y="5478"/>
                      <a:pt x="5616" y="2494"/>
                    </a:cubicBezTo>
                    <a:cubicBezTo>
                      <a:pt x="10987" y="-491"/>
                      <a:pt x="18149" y="1300"/>
                      <a:pt x="21134" y="6672"/>
                    </a:cubicBezTo>
                    <a:cubicBezTo>
                      <a:pt x="29490" y="21593"/>
                      <a:pt x="44411" y="30546"/>
                      <a:pt x="59332" y="30546"/>
                    </a:cubicBezTo>
                    <a:cubicBezTo>
                      <a:pt x="74850" y="30546"/>
                      <a:pt x="88578" y="20996"/>
                      <a:pt x="96934" y="6075"/>
                    </a:cubicBezTo>
                    <a:cubicBezTo>
                      <a:pt x="99918" y="703"/>
                      <a:pt x="107080" y="-1684"/>
                      <a:pt x="112452" y="1300"/>
                    </a:cubicBezTo>
                    <a:cubicBezTo>
                      <a:pt x="117823" y="4284"/>
                      <a:pt x="120211" y="11446"/>
                      <a:pt x="117227" y="16818"/>
                    </a:cubicBezTo>
                    <a:cubicBezTo>
                      <a:pt x="105290" y="38902"/>
                      <a:pt x="83803" y="52629"/>
                      <a:pt x="60526" y="53226"/>
                    </a:cubicBezTo>
                    <a:lnTo>
                      <a:pt x="58735" y="53226"/>
                    </a:ln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6" name="稿定-9">
            <a:extLst>
              <a:ext uri="{FF2B5EF4-FFF2-40B4-BE49-F238E27FC236}">
                <a16:creationId xmlns:a16="http://schemas.microsoft.com/office/drawing/2014/main" id="{06AAD213-49CE-A0ED-862C-FFD8F5EE0F1C}"/>
              </a:ext>
            </a:extLst>
          </p:cNvPr>
          <p:cNvSpPr/>
          <p:nvPr/>
        </p:nvSpPr>
        <p:spPr>
          <a:xfrm flipH="1">
            <a:off x="2254572" y="507965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7" name="稿定-31">
            <a:extLst>
              <a:ext uri="{FF2B5EF4-FFF2-40B4-BE49-F238E27FC236}">
                <a16:creationId xmlns:a16="http://schemas.microsoft.com/office/drawing/2014/main" id="{B86E10BB-748B-D20D-E50D-B12F83814C0D}"/>
              </a:ext>
            </a:extLst>
          </p:cNvPr>
          <p:cNvSpPr/>
          <p:nvPr/>
        </p:nvSpPr>
        <p:spPr>
          <a:xfrm flipH="1">
            <a:off x="2271003" y="534539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2" name="稿定-9">
            <a:extLst>
              <a:ext uri="{FF2B5EF4-FFF2-40B4-BE49-F238E27FC236}">
                <a16:creationId xmlns:a16="http://schemas.microsoft.com/office/drawing/2014/main" id="{4FF31869-D062-DD19-4E40-35E960C961E8}"/>
              </a:ext>
            </a:extLst>
          </p:cNvPr>
          <p:cNvSpPr/>
          <p:nvPr/>
        </p:nvSpPr>
        <p:spPr>
          <a:xfrm flipH="1">
            <a:off x="4161439" y="296947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3" name="稿定-31">
            <a:extLst>
              <a:ext uri="{FF2B5EF4-FFF2-40B4-BE49-F238E27FC236}">
                <a16:creationId xmlns:a16="http://schemas.microsoft.com/office/drawing/2014/main" id="{9E1EF93B-8527-F794-9B2D-F11E7DB95258}"/>
              </a:ext>
            </a:extLst>
          </p:cNvPr>
          <p:cNvSpPr/>
          <p:nvPr/>
        </p:nvSpPr>
        <p:spPr>
          <a:xfrm flipH="1">
            <a:off x="4177870" y="323520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4" name="稿定-9">
            <a:extLst>
              <a:ext uri="{FF2B5EF4-FFF2-40B4-BE49-F238E27FC236}">
                <a16:creationId xmlns:a16="http://schemas.microsoft.com/office/drawing/2014/main" id="{B9093A8C-DF19-9886-0F92-592210960EAC}"/>
              </a:ext>
            </a:extLst>
          </p:cNvPr>
          <p:cNvSpPr/>
          <p:nvPr/>
        </p:nvSpPr>
        <p:spPr>
          <a:xfrm flipH="1">
            <a:off x="6589055" y="296947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5" name="稿定-31">
            <a:extLst>
              <a:ext uri="{FF2B5EF4-FFF2-40B4-BE49-F238E27FC236}">
                <a16:creationId xmlns:a16="http://schemas.microsoft.com/office/drawing/2014/main" id="{116CD7F1-CDFC-2914-AF7F-36B8792761E0}"/>
              </a:ext>
            </a:extLst>
          </p:cNvPr>
          <p:cNvSpPr/>
          <p:nvPr/>
        </p:nvSpPr>
        <p:spPr>
          <a:xfrm flipH="1">
            <a:off x="6605486" y="323520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6" name="稿定-9">
            <a:extLst>
              <a:ext uri="{FF2B5EF4-FFF2-40B4-BE49-F238E27FC236}">
                <a16:creationId xmlns:a16="http://schemas.microsoft.com/office/drawing/2014/main" id="{7BEC6DF9-64B2-F8F1-C2BB-E7DF2538C497}"/>
              </a:ext>
            </a:extLst>
          </p:cNvPr>
          <p:cNvSpPr/>
          <p:nvPr/>
        </p:nvSpPr>
        <p:spPr>
          <a:xfrm flipH="1">
            <a:off x="8585828" y="507965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7" name="稿定-31">
            <a:extLst>
              <a:ext uri="{FF2B5EF4-FFF2-40B4-BE49-F238E27FC236}">
                <a16:creationId xmlns:a16="http://schemas.microsoft.com/office/drawing/2014/main" id="{8A0C032A-B83A-BD1D-EF56-9D045369A0F8}"/>
              </a:ext>
            </a:extLst>
          </p:cNvPr>
          <p:cNvSpPr/>
          <p:nvPr/>
        </p:nvSpPr>
        <p:spPr>
          <a:xfrm flipH="1">
            <a:off x="8602259" y="534539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67765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aoding-8">
            <a:extLst>
              <a:ext uri="{FF2B5EF4-FFF2-40B4-BE49-F238E27FC236}">
                <a16:creationId xmlns:a16="http://schemas.microsoft.com/office/drawing/2014/main" id="{6F39BB6C-B9D6-281D-1811-B9BCD441F3D4}"/>
              </a:ext>
            </a:extLst>
          </p:cNvPr>
          <p:cNvSpPr/>
          <p:nvPr/>
        </p:nvSpPr>
        <p:spPr>
          <a:xfrm flipV="1">
            <a:off x="6096000" y="1988267"/>
            <a:ext cx="0" cy="1706116"/>
          </a:xfrm>
          <a:prstGeom prst="line">
            <a:avLst/>
          </a:pr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DA00C7A5-77CC-A186-920D-801B7FB34F06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413F39D-F732-3214-8155-E53F91A6E03D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E1105B2-16BE-82DA-2B99-4D1C847E35CA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1">
            <a:extLst>
              <a:ext uri="{FF2B5EF4-FFF2-40B4-BE49-F238E27FC236}">
                <a16:creationId xmlns:a16="http://schemas.microsoft.com/office/drawing/2014/main" id="{6A30A6B7-8C19-496F-94AD-F908192B9EE5}"/>
              </a:ext>
            </a:extLst>
          </p:cNvPr>
          <p:cNvSpPr/>
          <p:nvPr/>
        </p:nvSpPr>
        <p:spPr>
          <a:xfrm>
            <a:off x="2224521" y="2376350"/>
            <a:ext cx="7753128" cy="3403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4" extrusionOk="0">
                <a:moveTo>
                  <a:pt x="0" y="21562"/>
                </a:moveTo>
                <a:lnTo>
                  <a:pt x="0" y="825"/>
                </a:lnTo>
                <a:cubicBezTo>
                  <a:pt x="1" y="602"/>
                  <a:pt x="41" y="389"/>
                  <a:pt x="111" y="234"/>
                </a:cubicBezTo>
                <a:cubicBezTo>
                  <a:pt x="186" y="68"/>
                  <a:pt x="289" y="-16"/>
                  <a:pt x="393" y="2"/>
                </a:cubicBezTo>
                <a:lnTo>
                  <a:pt x="21245" y="2"/>
                </a:lnTo>
                <a:cubicBezTo>
                  <a:pt x="21350" y="5"/>
                  <a:pt x="21448" y="111"/>
                  <a:pt x="21516" y="292"/>
                </a:cubicBezTo>
                <a:cubicBezTo>
                  <a:pt x="21570" y="437"/>
                  <a:pt x="21599" y="619"/>
                  <a:pt x="21600" y="808"/>
                </a:cubicBezTo>
                <a:lnTo>
                  <a:pt x="21600" y="21584"/>
                </a:lnTo>
              </a:path>
            </a:pathLst>
          </a:custGeom>
          <a:noFill/>
          <a:ln w="6350" cap="flat">
            <a:solidFill>
              <a:schemeClr val="tx1">
                <a:lumMod val="85000"/>
                <a:lumOff val="15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1600"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6" name="gaoding-2">
            <a:extLst>
              <a:ext uri="{FF2B5EF4-FFF2-40B4-BE49-F238E27FC236}">
                <a16:creationId xmlns:a16="http://schemas.microsoft.com/office/drawing/2014/main" id="{45851B40-A4F9-1B90-4AA9-5D669459AE07}"/>
              </a:ext>
            </a:extLst>
          </p:cNvPr>
          <p:cNvSpPr/>
          <p:nvPr/>
        </p:nvSpPr>
        <p:spPr>
          <a:xfrm>
            <a:off x="815869" y="3699085"/>
            <a:ext cx="11081491" cy="26355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</a:endParaRPr>
          </a:p>
        </p:txBody>
      </p:sp>
      <p:sp>
        <p:nvSpPr>
          <p:cNvPr id="8" name="gaoding-4">
            <a:extLst>
              <a:ext uri="{FF2B5EF4-FFF2-40B4-BE49-F238E27FC236}">
                <a16:creationId xmlns:a16="http://schemas.microsoft.com/office/drawing/2014/main" id="{2FFD5F19-6C41-B1F2-ADBD-03B54094B4EE}"/>
              </a:ext>
            </a:extLst>
          </p:cNvPr>
          <p:cNvSpPr/>
          <p:nvPr/>
        </p:nvSpPr>
        <p:spPr>
          <a:xfrm>
            <a:off x="4713010" y="1372781"/>
            <a:ext cx="2789235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" name="gaoding-6">
            <a:extLst>
              <a:ext uri="{FF2B5EF4-FFF2-40B4-BE49-F238E27FC236}">
                <a16:creationId xmlns:a16="http://schemas.microsoft.com/office/drawing/2014/main" id="{500B7D5C-0F2C-BC89-5EEA-DCC6C4F723BC}"/>
              </a:ext>
            </a:extLst>
          </p:cNvPr>
          <p:cNvSpPr/>
          <p:nvPr/>
        </p:nvSpPr>
        <p:spPr>
          <a:xfrm>
            <a:off x="826517" y="2713836"/>
            <a:ext cx="2789235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gaoding-8">
            <a:extLst>
              <a:ext uri="{FF2B5EF4-FFF2-40B4-BE49-F238E27FC236}">
                <a16:creationId xmlns:a16="http://schemas.microsoft.com/office/drawing/2014/main" id="{058C6599-BA81-E92C-1F0B-C3662EA4C708}"/>
              </a:ext>
            </a:extLst>
          </p:cNvPr>
          <p:cNvSpPr/>
          <p:nvPr/>
        </p:nvSpPr>
        <p:spPr>
          <a:xfrm>
            <a:off x="4712818" y="2713836"/>
            <a:ext cx="2789235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3" name="gaoding-10">
            <a:extLst>
              <a:ext uri="{FF2B5EF4-FFF2-40B4-BE49-F238E27FC236}">
                <a16:creationId xmlns:a16="http://schemas.microsoft.com/office/drawing/2014/main" id="{8D3DF717-5705-C95B-D430-8FFE487DFFE1}"/>
              </a:ext>
            </a:extLst>
          </p:cNvPr>
          <p:cNvSpPr/>
          <p:nvPr/>
        </p:nvSpPr>
        <p:spPr>
          <a:xfrm>
            <a:off x="8577852" y="2713836"/>
            <a:ext cx="2789235" cy="615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7" y="0"/>
                </a:moveTo>
                <a:lnTo>
                  <a:pt x="20683" y="0"/>
                </a:lnTo>
                <a:cubicBezTo>
                  <a:pt x="20815" y="0"/>
                  <a:pt x="20914" y="0"/>
                  <a:pt x="20998" y="25"/>
                </a:cubicBezTo>
                <a:cubicBezTo>
                  <a:pt x="21082" y="51"/>
                  <a:pt x="21150" y="102"/>
                  <a:pt x="21221" y="204"/>
                </a:cubicBezTo>
                <a:cubicBezTo>
                  <a:pt x="21299" y="332"/>
                  <a:pt x="21368" y="534"/>
                  <a:pt x="21425" y="792"/>
                </a:cubicBezTo>
                <a:cubicBezTo>
                  <a:pt x="21482" y="1051"/>
                  <a:pt x="21527" y="1365"/>
                  <a:pt x="21555" y="1716"/>
                </a:cubicBezTo>
                <a:cubicBezTo>
                  <a:pt x="21578" y="2037"/>
                  <a:pt x="21589" y="2349"/>
                  <a:pt x="21594" y="2732"/>
                </a:cubicBezTo>
                <a:cubicBezTo>
                  <a:pt x="21600" y="3115"/>
                  <a:pt x="21600" y="3568"/>
                  <a:pt x="21600" y="4173"/>
                </a:cubicBezTo>
                <a:lnTo>
                  <a:pt x="21600" y="17445"/>
                </a:lnTo>
                <a:cubicBezTo>
                  <a:pt x="21600" y="18041"/>
                  <a:pt x="21600" y="18490"/>
                  <a:pt x="21594" y="18870"/>
                </a:cubicBezTo>
                <a:cubicBezTo>
                  <a:pt x="21589" y="19251"/>
                  <a:pt x="21578" y="19563"/>
                  <a:pt x="21555" y="19884"/>
                </a:cubicBezTo>
                <a:cubicBezTo>
                  <a:pt x="21527" y="20235"/>
                  <a:pt x="21482" y="20549"/>
                  <a:pt x="21425" y="20808"/>
                </a:cubicBezTo>
                <a:cubicBezTo>
                  <a:pt x="21368" y="21066"/>
                  <a:pt x="21299" y="21268"/>
                  <a:pt x="21221" y="21396"/>
                </a:cubicBezTo>
                <a:cubicBezTo>
                  <a:pt x="21150" y="21498"/>
                  <a:pt x="21082" y="21549"/>
                  <a:pt x="20997" y="21575"/>
                </a:cubicBezTo>
                <a:cubicBezTo>
                  <a:pt x="20913" y="21600"/>
                  <a:pt x="20813" y="21600"/>
                  <a:pt x="20679" y="21600"/>
                </a:cubicBezTo>
                <a:lnTo>
                  <a:pt x="917" y="21600"/>
                </a:lnTo>
                <a:cubicBezTo>
                  <a:pt x="785" y="21600"/>
                  <a:pt x="686" y="21600"/>
                  <a:pt x="602" y="21575"/>
                </a:cubicBezTo>
                <a:cubicBezTo>
                  <a:pt x="518" y="21549"/>
                  <a:pt x="450" y="21498"/>
                  <a:pt x="379" y="21396"/>
                </a:cubicBezTo>
                <a:cubicBezTo>
                  <a:pt x="301" y="21268"/>
                  <a:pt x="232" y="21066"/>
                  <a:pt x="175" y="20808"/>
                </a:cubicBezTo>
                <a:cubicBezTo>
                  <a:pt x="118" y="20549"/>
                  <a:pt x="73" y="20235"/>
                  <a:pt x="45" y="19884"/>
                </a:cubicBezTo>
                <a:cubicBezTo>
                  <a:pt x="22" y="19563"/>
                  <a:pt x="11" y="19251"/>
                  <a:pt x="6" y="18868"/>
                </a:cubicBezTo>
                <a:cubicBezTo>
                  <a:pt x="0" y="18485"/>
                  <a:pt x="0" y="18032"/>
                  <a:pt x="0" y="17427"/>
                </a:cubicBezTo>
                <a:lnTo>
                  <a:pt x="0" y="4155"/>
                </a:lnTo>
                <a:cubicBezTo>
                  <a:pt x="0" y="3559"/>
                  <a:pt x="0" y="3110"/>
                  <a:pt x="6" y="2730"/>
                </a:cubicBezTo>
                <a:cubicBezTo>
                  <a:pt x="11" y="2349"/>
                  <a:pt x="22" y="2037"/>
                  <a:pt x="45" y="1716"/>
                </a:cubicBezTo>
                <a:cubicBezTo>
                  <a:pt x="73" y="1365"/>
                  <a:pt x="118" y="1051"/>
                  <a:pt x="175" y="792"/>
                </a:cubicBezTo>
                <a:cubicBezTo>
                  <a:pt x="232" y="534"/>
                  <a:pt x="301" y="332"/>
                  <a:pt x="379" y="204"/>
                </a:cubicBezTo>
                <a:cubicBezTo>
                  <a:pt x="450" y="102"/>
                  <a:pt x="518" y="51"/>
                  <a:pt x="603" y="25"/>
                </a:cubicBezTo>
                <a:cubicBezTo>
                  <a:pt x="687" y="0"/>
                  <a:pt x="787" y="0"/>
                  <a:pt x="921" y="0"/>
                </a:cubicBezTo>
                <a:lnTo>
                  <a:pt x="917" y="0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5" name="gaoding-12">
            <a:extLst>
              <a:ext uri="{FF2B5EF4-FFF2-40B4-BE49-F238E27FC236}">
                <a16:creationId xmlns:a16="http://schemas.microsoft.com/office/drawing/2014/main" id="{C097E4C4-6ECC-66DB-AD27-C8BCAB4B80DA}"/>
              </a:ext>
            </a:extLst>
          </p:cNvPr>
          <p:cNvSpPr/>
          <p:nvPr/>
        </p:nvSpPr>
        <p:spPr>
          <a:xfrm>
            <a:off x="953517" y="3934687"/>
            <a:ext cx="2535235" cy="4258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17" name="gaoding-14">
            <a:extLst>
              <a:ext uri="{FF2B5EF4-FFF2-40B4-BE49-F238E27FC236}">
                <a16:creationId xmlns:a16="http://schemas.microsoft.com/office/drawing/2014/main" id="{0B968B79-D1E7-6B47-F7A6-63E4A4C4D6E9}"/>
              </a:ext>
            </a:extLst>
          </p:cNvPr>
          <p:cNvSpPr/>
          <p:nvPr/>
        </p:nvSpPr>
        <p:spPr>
          <a:xfrm>
            <a:off x="953517" y="4801599"/>
            <a:ext cx="2535235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19" name="gaoding-16">
            <a:extLst>
              <a:ext uri="{FF2B5EF4-FFF2-40B4-BE49-F238E27FC236}">
                <a16:creationId xmlns:a16="http://schemas.microsoft.com/office/drawing/2014/main" id="{DD23F966-7128-E6B4-A15F-C33EA5788096}"/>
              </a:ext>
            </a:extLst>
          </p:cNvPr>
          <p:cNvSpPr/>
          <p:nvPr/>
        </p:nvSpPr>
        <p:spPr>
          <a:xfrm>
            <a:off x="953517" y="5668510"/>
            <a:ext cx="2535235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1" name="gaoding-18">
            <a:extLst>
              <a:ext uri="{FF2B5EF4-FFF2-40B4-BE49-F238E27FC236}">
                <a16:creationId xmlns:a16="http://schemas.microsoft.com/office/drawing/2014/main" id="{D7B64F18-E84E-DE34-01BB-D4A27C3C9C19}"/>
              </a:ext>
            </a:extLst>
          </p:cNvPr>
          <p:cNvSpPr/>
          <p:nvPr/>
        </p:nvSpPr>
        <p:spPr>
          <a:xfrm>
            <a:off x="815869" y="3694384"/>
            <a:ext cx="2789235" cy="26402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9" y="0"/>
                </a:moveTo>
                <a:lnTo>
                  <a:pt x="20041" y="0"/>
                </a:lnTo>
                <a:cubicBezTo>
                  <a:pt x="20265" y="0"/>
                  <a:pt x="20433" y="0"/>
                  <a:pt x="20576" y="10"/>
                </a:cubicBezTo>
                <a:cubicBezTo>
                  <a:pt x="20719" y="20"/>
                  <a:pt x="20836" y="40"/>
                  <a:pt x="20956" y="81"/>
                </a:cubicBezTo>
                <a:cubicBezTo>
                  <a:pt x="21088" y="131"/>
                  <a:pt x="21206" y="212"/>
                  <a:pt x="21303" y="314"/>
                </a:cubicBezTo>
                <a:cubicBezTo>
                  <a:pt x="21400" y="416"/>
                  <a:pt x="21476" y="541"/>
                  <a:pt x="21524" y="680"/>
                </a:cubicBezTo>
                <a:cubicBezTo>
                  <a:pt x="21562" y="808"/>
                  <a:pt x="21581" y="931"/>
                  <a:pt x="21590" y="1083"/>
                </a:cubicBezTo>
                <a:cubicBezTo>
                  <a:pt x="21600" y="1234"/>
                  <a:pt x="21600" y="1414"/>
                  <a:pt x="21600" y="1654"/>
                </a:cubicBezTo>
                <a:lnTo>
                  <a:pt x="21600" y="19953"/>
                </a:lnTo>
                <a:cubicBezTo>
                  <a:pt x="21600" y="20189"/>
                  <a:pt x="21600" y="20367"/>
                  <a:pt x="21590" y="20518"/>
                </a:cubicBezTo>
                <a:cubicBezTo>
                  <a:pt x="21581" y="20669"/>
                  <a:pt x="21562" y="20792"/>
                  <a:pt x="21524" y="20920"/>
                </a:cubicBezTo>
                <a:cubicBezTo>
                  <a:pt x="21476" y="21059"/>
                  <a:pt x="21400" y="21184"/>
                  <a:pt x="21303" y="21286"/>
                </a:cubicBezTo>
                <a:cubicBezTo>
                  <a:pt x="21206" y="21388"/>
                  <a:pt x="21088" y="21469"/>
                  <a:pt x="20956" y="21519"/>
                </a:cubicBezTo>
                <a:cubicBezTo>
                  <a:pt x="20836" y="21560"/>
                  <a:pt x="20719" y="21580"/>
                  <a:pt x="20575" y="21590"/>
                </a:cubicBezTo>
                <a:cubicBezTo>
                  <a:pt x="20431" y="21600"/>
                  <a:pt x="20261" y="21600"/>
                  <a:pt x="20034" y="21600"/>
                </a:cubicBezTo>
                <a:lnTo>
                  <a:pt x="1559" y="21600"/>
                </a:lnTo>
                <a:cubicBezTo>
                  <a:pt x="1335" y="21600"/>
                  <a:pt x="1167" y="21600"/>
                  <a:pt x="1024" y="21590"/>
                </a:cubicBezTo>
                <a:cubicBezTo>
                  <a:pt x="881" y="21580"/>
                  <a:pt x="764" y="21560"/>
                  <a:pt x="644" y="21519"/>
                </a:cubicBezTo>
                <a:cubicBezTo>
                  <a:pt x="512" y="21469"/>
                  <a:pt x="394" y="21388"/>
                  <a:pt x="297" y="21286"/>
                </a:cubicBezTo>
                <a:cubicBezTo>
                  <a:pt x="200" y="21184"/>
                  <a:pt x="124" y="21059"/>
                  <a:pt x="76" y="20920"/>
                </a:cubicBezTo>
                <a:cubicBezTo>
                  <a:pt x="38" y="20792"/>
                  <a:pt x="19" y="20669"/>
                  <a:pt x="10" y="20517"/>
                </a:cubicBezTo>
                <a:cubicBezTo>
                  <a:pt x="0" y="20366"/>
                  <a:pt x="0" y="20186"/>
                  <a:pt x="0" y="19946"/>
                </a:cubicBezTo>
                <a:lnTo>
                  <a:pt x="0" y="1647"/>
                </a:lnTo>
                <a:cubicBezTo>
                  <a:pt x="0" y="1411"/>
                  <a:pt x="0" y="1233"/>
                  <a:pt x="10" y="1082"/>
                </a:cubicBezTo>
                <a:cubicBezTo>
                  <a:pt x="19" y="931"/>
                  <a:pt x="38" y="808"/>
                  <a:pt x="76" y="680"/>
                </a:cubicBezTo>
                <a:cubicBezTo>
                  <a:pt x="124" y="541"/>
                  <a:pt x="200" y="416"/>
                  <a:pt x="297" y="314"/>
                </a:cubicBezTo>
                <a:cubicBezTo>
                  <a:pt x="394" y="212"/>
                  <a:pt x="512" y="131"/>
                  <a:pt x="644" y="81"/>
                </a:cubicBezTo>
                <a:cubicBezTo>
                  <a:pt x="764" y="40"/>
                  <a:pt x="881" y="20"/>
                  <a:pt x="1025" y="10"/>
                </a:cubicBezTo>
                <a:cubicBezTo>
                  <a:pt x="1169" y="0"/>
                  <a:pt x="1339" y="0"/>
                  <a:pt x="1566" y="0"/>
                </a:cubicBezTo>
                <a:lnTo>
                  <a:pt x="1559" y="0"/>
                </a:lnTo>
                <a:close/>
              </a:path>
            </a:pathLst>
          </a:custGeom>
          <a:noFill/>
          <a:ln w="6350">
            <a:solidFill>
              <a:schemeClr val="tx1">
                <a:lumMod val="95000"/>
                <a:lumOff val="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22" name="gaoding-19">
            <a:extLst>
              <a:ext uri="{FF2B5EF4-FFF2-40B4-BE49-F238E27FC236}">
                <a16:creationId xmlns:a16="http://schemas.microsoft.com/office/drawing/2014/main" id="{EA6C6FFF-5F75-D3CE-08B9-3D3A1ECBDEDB}"/>
              </a:ext>
            </a:extLst>
          </p:cNvPr>
          <p:cNvSpPr/>
          <p:nvPr/>
        </p:nvSpPr>
        <p:spPr>
          <a:xfrm>
            <a:off x="4822416" y="3934687"/>
            <a:ext cx="2535235" cy="4258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4" name="gaoding-21">
            <a:extLst>
              <a:ext uri="{FF2B5EF4-FFF2-40B4-BE49-F238E27FC236}">
                <a16:creationId xmlns:a16="http://schemas.microsoft.com/office/drawing/2014/main" id="{BBEA4524-EFD8-7BFD-B58E-367C6B0BACFD}"/>
              </a:ext>
            </a:extLst>
          </p:cNvPr>
          <p:cNvSpPr/>
          <p:nvPr/>
        </p:nvSpPr>
        <p:spPr>
          <a:xfrm>
            <a:off x="4822416" y="4801599"/>
            <a:ext cx="2535235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6" name="gaoding-23">
            <a:extLst>
              <a:ext uri="{FF2B5EF4-FFF2-40B4-BE49-F238E27FC236}">
                <a16:creationId xmlns:a16="http://schemas.microsoft.com/office/drawing/2014/main" id="{04815217-4588-5FD3-BD45-64C49565C38F}"/>
              </a:ext>
            </a:extLst>
          </p:cNvPr>
          <p:cNvSpPr/>
          <p:nvPr/>
        </p:nvSpPr>
        <p:spPr>
          <a:xfrm>
            <a:off x="4822416" y="5668510"/>
            <a:ext cx="2535235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8" name="gaoding-25">
            <a:extLst>
              <a:ext uri="{FF2B5EF4-FFF2-40B4-BE49-F238E27FC236}">
                <a16:creationId xmlns:a16="http://schemas.microsoft.com/office/drawing/2014/main" id="{BF44F864-F935-66A9-E29C-6A53976A2542}"/>
              </a:ext>
            </a:extLst>
          </p:cNvPr>
          <p:cNvSpPr/>
          <p:nvPr/>
        </p:nvSpPr>
        <p:spPr>
          <a:xfrm>
            <a:off x="4684768" y="3694384"/>
            <a:ext cx="2789235" cy="26402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9" y="0"/>
                </a:moveTo>
                <a:lnTo>
                  <a:pt x="20041" y="0"/>
                </a:lnTo>
                <a:cubicBezTo>
                  <a:pt x="20265" y="0"/>
                  <a:pt x="20433" y="0"/>
                  <a:pt x="20576" y="10"/>
                </a:cubicBezTo>
                <a:cubicBezTo>
                  <a:pt x="20719" y="20"/>
                  <a:pt x="20836" y="40"/>
                  <a:pt x="20956" y="81"/>
                </a:cubicBezTo>
                <a:cubicBezTo>
                  <a:pt x="21088" y="131"/>
                  <a:pt x="21206" y="212"/>
                  <a:pt x="21303" y="314"/>
                </a:cubicBezTo>
                <a:cubicBezTo>
                  <a:pt x="21400" y="416"/>
                  <a:pt x="21476" y="541"/>
                  <a:pt x="21524" y="680"/>
                </a:cubicBezTo>
                <a:cubicBezTo>
                  <a:pt x="21562" y="808"/>
                  <a:pt x="21581" y="931"/>
                  <a:pt x="21590" y="1083"/>
                </a:cubicBezTo>
                <a:cubicBezTo>
                  <a:pt x="21600" y="1234"/>
                  <a:pt x="21600" y="1414"/>
                  <a:pt x="21600" y="1654"/>
                </a:cubicBezTo>
                <a:lnTo>
                  <a:pt x="21600" y="19953"/>
                </a:lnTo>
                <a:cubicBezTo>
                  <a:pt x="21600" y="20189"/>
                  <a:pt x="21600" y="20367"/>
                  <a:pt x="21590" y="20518"/>
                </a:cubicBezTo>
                <a:cubicBezTo>
                  <a:pt x="21581" y="20669"/>
                  <a:pt x="21562" y="20792"/>
                  <a:pt x="21524" y="20920"/>
                </a:cubicBezTo>
                <a:cubicBezTo>
                  <a:pt x="21476" y="21059"/>
                  <a:pt x="21400" y="21184"/>
                  <a:pt x="21303" y="21286"/>
                </a:cubicBezTo>
                <a:cubicBezTo>
                  <a:pt x="21206" y="21388"/>
                  <a:pt x="21088" y="21469"/>
                  <a:pt x="20956" y="21519"/>
                </a:cubicBezTo>
                <a:cubicBezTo>
                  <a:pt x="20836" y="21560"/>
                  <a:pt x="20719" y="21580"/>
                  <a:pt x="20575" y="21590"/>
                </a:cubicBezTo>
                <a:cubicBezTo>
                  <a:pt x="20431" y="21600"/>
                  <a:pt x="20261" y="21600"/>
                  <a:pt x="20034" y="21600"/>
                </a:cubicBezTo>
                <a:lnTo>
                  <a:pt x="1559" y="21600"/>
                </a:lnTo>
                <a:cubicBezTo>
                  <a:pt x="1335" y="21600"/>
                  <a:pt x="1167" y="21600"/>
                  <a:pt x="1024" y="21590"/>
                </a:cubicBezTo>
                <a:cubicBezTo>
                  <a:pt x="881" y="21580"/>
                  <a:pt x="764" y="21560"/>
                  <a:pt x="644" y="21519"/>
                </a:cubicBezTo>
                <a:cubicBezTo>
                  <a:pt x="512" y="21469"/>
                  <a:pt x="394" y="21388"/>
                  <a:pt x="297" y="21286"/>
                </a:cubicBezTo>
                <a:cubicBezTo>
                  <a:pt x="200" y="21184"/>
                  <a:pt x="124" y="21059"/>
                  <a:pt x="76" y="20920"/>
                </a:cubicBezTo>
                <a:cubicBezTo>
                  <a:pt x="38" y="20792"/>
                  <a:pt x="19" y="20669"/>
                  <a:pt x="10" y="20517"/>
                </a:cubicBezTo>
                <a:cubicBezTo>
                  <a:pt x="0" y="20366"/>
                  <a:pt x="0" y="20186"/>
                  <a:pt x="0" y="19946"/>
                </a:cubicBezTo>
                <a:lnTo>
                  <a:pt x="0" y="1647"/>
                </a:lnTo>
                <a:cubicBezTo>
                  <a:pt x="0" y="1411"/>
                  <a:pt x="0" y="1233"/>
                  <a:pt x="10" y="1082"/>
                </a:cubicBezTo>
                <a:cubicBezTo>
                  <a:pt x="19" y="931"/>
                  <a:pt x="38" y="808"/>
                  <a:pt x="76" y="680"/>
                </a:cubicBezTo>
                <a:cubicBezTo>
                  <a:pt x="124" y="541"/>
                  <a:pt x="200" y="416"/>
                  <a:pt x="297" y="314"/>
                </a:cubicBezTo>
                <a:cubicBezTo>
                  <a:pt x="394" y="212"/>
                  <a:pt x="512" y="131"/>
                  <a:pt x="644" y="81"/>
                </a:cubicBezTo>
                <a:cubicBezTo>
                  <a:pt x="764" y="40"/>
                  <a:pt x="881" y="20"/>
                  <a:pt x="1025" y="10"/>
                </a:cubicBezTo>
                <a:cubicBezTo>
                  <a:pt x="1169" y="0"/>
                  <a:pt x="1339" y="0"/>
                  <a:pt x="1566" y="0"/>
                </a:cubicBezTo>
                <a:lnTo>
                  <a:pt x="1559" y="0"/>
                </a:lnTo>
                <a:close/>
              </a:path>
            </a:pathLst>
          </a:custGeom>
          <a:noFill/>
          <a:ln w="6350">
            <a:solidFill>
              <a:schemeClr val="tx1">
                <a:lumMod val="95000"/>
                <a:lumOff val="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29" name="gaoding-26">
            <a:extLst>
              <a:ext uri="{FF2B5EF4-FFF2-40B4-BE49-F238E27FC236}">
                <a16:creationId xmlns:a16="http://schemas.microsoft.com/office/drawing/2014/main" id="{9B1D89B8-6C1F-442C-CE60-A156ADDC72D7}"/>
              </a:ext>
            </a:extLst>
          </p:cNvPr>
          <p:cNvSpPr/>
          <p:nvPr/>
        </p:nvSpPr>
        <p:spPr>
          <a:xfrm>
            <a:off x="8698884" y="3934687"/>
            <a:ext cx="2535236" cy="4258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31" name="gaoding-28">
            <a:extLst>
              <a:ext uri="{FF2B5EF4-FFF2-40B4-BE49-F238E27FC236}">
                <a16:creationId xmlns:a16="http://schemas.microsoft.com/office/drawing/2014/main" id="{FEB98863-4324-065E-5C50-9D33E1F6CBC0}"/>
              </a:ext>
            </a:extLst>
          </p:cNvPr>
          <p:cNvSpPr/>
          <p:nvPr/>
        </p:nvSpPr>
        <p:spPr>
          <a:xfrm>
            <a:off x="8698884" y="4801599"/>
            <a:ext cx="2535236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33" name="gaoding-30">
            <a:extLst>
              <a:ext uri="{FF2B5EF4-FFF2-40B4-BE49-F238E27FC236}">
                <a16:creationId xmlns:a16="http://schemas.microsoft.com/office/drawing/2014/main" id="{F403C202-73B4-DF37-09E6-6EF34B5D005E}"/>
              </a:ext>
            </a:extLst>
          </p:cNvPr>
          <p:cNvSpPr/>
          <p:nvPr/>
        </p:nvSpPr>
        <p:spPr>
          <a:xfrm>
            <a:off x="8698884" y="5668510"/>
            <a:ext cx="2535236" cy="425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4" y="0"/>
                </a:moveTo>
                <a:lnTo>
                  <a:pt x="20566" y="0"/>
                </a:lnTo>
                <a:cubicBezTo>
                  <a:pt x="20714" y="0"/>
                  <a:pt x="20826" y="0"/>
                  <a:pt x="20921" y="38"/>
                </a:cubicBezTo>
                <a:cubicBezTo>
                  <a:pt x="21015" y="75"/>
                  <a:pt x="21093" y="151"/>
                  <a:pt x="21173" y="302"/>
                </a:cubicBezTo>
                <a:cubicBezTo>
                  <a:pt x="21260" y="491"/>
                  <a:pt x="21339" y="791"/>
                  <a:pt x="21403" y="1174"/>
                </a:cubicBezTo>
                <a:cubicBezTo>
                  <a:pt x="21467" y="1556"/>
                  <a:pt x="21518" y="2022"/>
                  <a:pt x="21549" y="2543"/>
                </a:cubicBezTo>
                <a:cubicBezTo>
                  <a:pt x="21575" y="3019"/>
                  <a:pt x="21587" y="3480"/>
                  <a:pt x="21594" y="4047"/>
                </a:cubicBezTo>
                <a:cubicBezTo>
                  <a:pt x="21600" y="4614"/>
                  <a:pt x="21600" y="5286"/>
                  <a:pt x="21600" y="6182"/>
                </a:cubicBezTo>
                <a:lnTo>
                  <a:pt x="21600" y="15445"/>
                </a:lnTo>
                <a:cubicBezTo>
                  <a:pt x="21600" y="16327"/>
                  <a:pt x="21600" y="16992"/>
                  <a:pt x="21594" y="17556"/>
                </a:cubicBezTo>
                <a:cubicBezTo>
                  <a:pt x="21587" y="18120"/>
                  <a:pt x="21575" y="18581"/>
                  <a:pt x="21549" y="19057"/>
                </a:cubicBezTo>
                <a:cubicBezTo>
                  <a:pt x="21518" y="19578"/>
                  <a:pt x="21467" y="20044"/>
                  <a:pt x="21403" y="20426"/>
                </a:cubicBezTo>
                <a:cubicBezTo>
                  <a:pt x="21339" y="20809"/>
                  <a:pt x="21260" y="21109"/>
                  <a:pt x="21173" y="21298"/>
                </a:cubicBezTo>
                <a:cubicBezTo>
                  <a:pt x="21093" y="21449"/>
                  <a:pt x="21015" y="21525"/>
                  <a:pt x="20920" y="21562"/>
                </a:cubicBezTo>
                <a:cubicBezTo>
                  <a:pt x="20825" y="21600"/>
                  <a:pt x="20712" y="21600"/>
                  <a:pt x="20562" y="21600"/>
                </a:cubicBezTo>
                <a:lnTo>
                  <a:pt x="1034" y="21600"/>
                </a:lnTo>
                <a:cubicBezTo>
                  <a:pt x="886" y="21600"/>
                  <a:pt x="774" y="21600"/>
                  <a:pt x="679" y="21562"/>
                </a:cubicBezTo>
                <a:cubicBezTo>
                  <a:pt x="585" y="21525"/>
                  <a:pt x="507" y="21449"/>
                  <a:pt x="427" y="21298"/>
                </a:cubicBezTo>
                <a:cubicBezTo>
                  <a:pt x="340" y="21109"/>
                  <a:pt x="261" y="20809"/>
                  <a:pt x="197" y="20426"/>
                </a:cubicBezTo>
                <a:cubicBezTo>
                  <a:pt x="133" y="20044"/>
                  <a:pt x="82" y="19578"/>
                  <a:pt x="51" y="19057"/>
                </a:cubicBezTo>
                <a:cubicBezTo>
                  <a:pt x="25" y="18581"/>
                  <a:pt x="13" y="18120"/>
                  <a:pt x="6" y="17553"/>
                </a:cubicBezTo>
                <a:cubicBezTo>
                  <a:pt x="0" y="16986"/>
                  <a:pt x="0" y="16314"/>
                  <a:pt x="0" y="15418"/>
                </a:cubicBezTo>
                <a:lnTo>
                  <a:pt x="0" y="6155"/>
                </a:lnTo>
                <a:cubicBezTo>
                  <a:pt x="0" y="5273"/>
                  <a:pt x="0" y="4608"/>
                  <a:pt x="6" y="4044"/>
                </a:cubicBezTo>
                <a:cubicBezTo>
                  <a:pt x="13" y="3480"/>
                  <a:pt x="25" y="3019"/>
                  <a:pt x="51" y="2543"/>
                </a:cubicBezTo>
                <a:cubicBezTo>
                  <a:pt x="82" y="2022"/>
                  <a:pt x="133" y="1556"/>
                  <a:pt x="197" y="1174"/>
                </a:cubicBezTo>
                <a:cubicBezTo>
                  <a:pt x="261" y="791"/>
                  <a:pt x="340" y="491"/>
                  <a:pt x="427" y="302"/>
                </a:cubicBezTo>
                <a:cubicBezTo>
                  <a:pt x="507" y="151"/>
                  <a:pt x="585" y="75"/>
                  <a:pt x="680" y="38"/>
                </a:cubicBezTo>
                <a:cubicBezTo>
                  <a:pt x="775" y="0"/>
                  <a:pt x="888" y="0"/>
                  <a:pt x="1038" y="0"/>
                </a:cubicBezTo>
                <a:lnTo>
                  <a:pt x="103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35" name="gaoding-32">
            <a:extLst>
              <a:ext uri="{FF2B5EF4-FFF2-40B4-BE49-F238E27FC236}">
                <a16:creationId xmlns:a16="http://schemas.microsoft.com/office/drawing/2014/main" id="{2B5F1CA6-7DE7-159A-EBD7-5230737F7AD0}"/>
              </a:ext>
            </a:extLst>
          </p:cNvPr>
          <p:cNvSpPr/>
          <p:nvPr/>
        </p:nvSpPr>
        <p:spPr>
          <a:xfrm>
            <a:off x="8561237" y="3694384"/>
            <a:ext cx="2789235" cy="26402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9" y="0"/>
                </a:moveTo>
                <a:lnTo>
                  <a:pt x="20041" y="0"/>
                </a:lnTo>
                <a:cubicBezTo>
                  <a:pt x="20265" y="0"/>
                  <a:pt x="20433" y="0"/>
                  <a:pt x="20576" y="10"/>
                </a:cubicBezTo>
                <a:cubicBezTo>
                  <a:pt x="20719" y="20"/>
                  <a:pt x="20836" y="40"/>
                  <a:pt x="20956" y="81"/>
                </a:cubicBezTo>
                <a:cubicBezTo>
                  <a:pt x="21088" y="131"/>
                  <a:pt x="21206" y="212"/>
                  <a:pt x="21303" y="314"/>
                </a:cubicBezTo>
                <a:cubicBezTo>
                  <a:pt x="21400" y="416"/>
                  <a:pt x="21476" y="541"/>
                  <a:pt x="21524" y="680"/>
                </a:cubicBezTo>
                <a:cubicBezTo>
                  <a:pt x="21562" y="808"/>
                  <a:pt x="21581" y="931"/>
                  <a:pt x="21590" y="1083"/>
                </a:cubicBezTo>
                <a:cubicBezTo>
                  <a:pt x="21600" y="1234"/>
                  <a:pt x="21600" y="1414"/>
                  <a:pt x="21600" y="1654"/>
                </a:cubicBezTo>
                <a:lnTo>
                  <a:pt x="21600" y="19953"/>
                </a:lnTo>
                <a:cubicBezTo>
                  <a:pt x="21600" y="20189"/>
                  <a:pt x="21600" y="20367"/>
                  <a:pt x="21590" y="20518"/>
                </a:cubicBezTo>
                <a:cubicBezTo>
                  <a:pt x="21581" y="20669"/>
                  <a:pt x="21562" y="20792"/>
                  <a:pt x="21524" y="20920"/>
                </a:cubicBezTo>
                <a:cubicBezTo>
                  <a:pt x="21476" y="21059"/>
                  <a:pt x="21400" y="21184"/>
                  <a:pt x="21303" y="21286"/>
                </a:cubicBezTo>
                <a:cubicBezTo>
                  <a:pt x="21206" y="21388"/>
                  <a:pt x="21088" y="21469"/>
                  <a:pt x="20956" y="21519"/>
                </a:cubicBezTo>
                <a:cubicBezTo>
                  <a:pt x="20836" y="21560"/>
                  <a:pt x="20719" y="21580"/>
                  <a:pt x="20575" y="21590"/>
                </a:cubicBezTo>
                <a:cubicBezTo>
                  <a:pt x="20431" y="21600"/>
                  <a:pt x="20261" y="21600"/>
                  <a:pt x="20034" y="21600"/>
                </a:cubicBezTo>
                <a:lnTo>
                  <a:pt x="1559" y="21600"/>
                </a:lnTo>
                <a:cubicBezTo>
                  <a:pt x="1335" y="21600"/>
                  <a:pt x="1167" y="21600"/>
                  <a:pt x="1024" y="21590"/>
                </a:cubicBezTo>
                <a:cubicBezTo>
                  <a:pt x="881" y="21580"/>
                  <a:pt x="764" y="21560"/>
                  <a:pt x="644" y="21519"/>
                </a:cubicBezTo>
                <a:cubicBezTo>
                  <a:pt x="512" y="21469"/>
                  <a:pt x="394" y="21388"/>
                  <a:pt x="297" y="21286"/>
                </a:cubicBezTo>
                <a:cubicBezTo>
                  <a:pt x="200" y="21184"/>
                  <a:pt x="124" y="21059"/>
                  <a:pt x="76" y="20920"/>
                </a:cubicBezTo>
                <a:cubicBezTo>
                  <a:pt x="38" y="20792"/>
                  <a:pt x="19" y="20669"/>
                  <a:pt x="10" y="20517"/>
                </a:cubicBezTo>
                <a:cubicBezTo>
                  <a:pt x="0" y="20366"/>
                  <a:pt x="0" y="20186"/>
                  <a:pt x="0" y="19946"/>
                </a:cubicBezTo>
                <a:lnTo>
                  <a:pt x="0" y="1647"/>
                </a:lnTo>
                <a:cubicBezTo>
                  <a:pt x="0" y="1411"/>
                  <a:pt x="0" y="1233"/>
                  <a:pt x="10" y="1082"/>
                </a:cubicBezTo>
                <a:cubicBezTo>
                  <a:pt x="19" y="931"/>
                  <a:pt x="38" y="808"/>
                  <a:pt x="76" y="680"/>
                </a:cubicBezTo>
                <a:cubicBezTo>
                  <a:pt x="124" y="541"/>
                  <a:pt x="200" y="416"/>
                  <a:pt x="297" y="314"/>
                </a:cubicBezTo>
                <a:cubicBezTo>
                  <a:pt x="394" y="212"/>
                  <a:pt x="512" y="131"/>
                  <a:pt x="644" y="81"/>
                </a:cubicBezTo>
                <a:cubicBezTo>
                  <a:pt x="764" y="40"/>
                  <a:pt x="881" y="20"/>
                  <a:pt x="1025" y="10"/>
                </a:cubicBezTo>
                <a:cubicBezTo>
                  <a:pt x="1169" y="0"/>
                  <a:pt x="1339" y="0"/>
                  <a:pt x="1566" y="0"/>
                </a:cubicBezTo>
                <a:lnTo>
                  <a:pt x="1559" y="0"/>
                </a:lnTo>
                <a:close/>
              </a:path>
            </a:pathLst>
          </a:custGeom>
          <a:noFill/>
          <a:ln w="6350">
            <a:solidFill>
              <a:schemeClr val="tx1">
                <a:lumMod val="95000"/>
                <a:lumOff val="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dirty="0">
              <a:solidFill>
                <a:srgbClr val="FFFFFF"/>
              </a:solidFill>
              <a:latin typeface="OPPOSans R" panose="00020600040101010101" pitchFamily="18" charset="-122"/>
              <a:ea typeface="微软雅黑"/>
              <a:sym typeface="Helvetica Neue Medium"/>
            </a:endParaRPr>
          </a:p>
        </p:txBody>
      </p:sp>
      <p:sp>
        <p:nvSpPr>
          <p:cNvPr id="67" name="稿定-9">
            <a:extLst>
              <a:ext uri="{FF2B5EF4-FFF2-40B4-BE49-F238E27FC236}">
                <a16:creationId xmlns:a16="http://schemas.microsoft.com/office/drawing/2014/main" id="{0453A497-4C79-40DE-66D1-EF2B81861A9B}"/>
              </a:ext>
            </a:extLst>
          </p:cNvPr>
          <p:cNvSpPr/>
          <p:nvPr/>
        </p:nvSpPr>
        <p:spPr>
          <a:xfrm flipH="1">
            <a:off x="5171030" y="1433956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8" name="稿定-9">
            <a:extLst>
              <a:ext uri="{FF2B5EF4-FFF2-40B4-BE49-F238E27FC236}">
                <a16:creationId xmlns:a16="http://schemas.microsoft.com/office/drawing/2014/main" id="{CAF39A7F-7438-85A9-3BA6-C56956D77643}"/>
              </a:ext>
            </a:extLst>
          </p:cNvPr>
          <p:cNvSpPr/>
          <p:nvPr/>
        </p:nvSpPr>
        <p:spPr>
          <a:xfrm flipH="1">
            <a:off x="1296842" y="2768201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9" name="稿定-9">
            <a:extLst>
              <a:ext uri="{FF2B5EF4-FFF2-40B4-BE49-F238E27FC236}">
                <a16:creationId xmlns:a16="http://schemas.microsoft.com/office/drawing/2014/main" id="{8989BCB5-A993-BA09-FB99-DBFE456FCB7D}"/>
              </a:ext>
            </a:extLst>
          </p:cNvPr>
          <p:cNvSpPr/>
          <p:nvPr/>
        </p:nvSpPr>
        <p:spPr>
          <a:xfrm flipH="1">
            <a:off x="5173924" y="2768201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0" name="稿定-9">
            <a:extLst>
              <a:ext uri="{FF2B5EF4-FFF2-40B4-BE49-F238E27FC236}">
                <a16:creationId xmlns:a16="http://schemas.microsoft.com/office/drawing/2014/main" id="{214EF696-D9A3-9F8A-9471-4FD8767ECE8D}"/>
              </a:ext>
            </a:extLst>
          </p:cNvPr>
          <p:cNvSpPr/>
          <p:nvPr/>
        </p:nvSpPr>
        <p:spPr>
          <a:xfrm flipH="1">
            <a:off x="9057221" y="2768201"/>
            <a:ext cx="1849939" cy="42069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2" name="稿定-31">
            <a:extLst>
              <a:ext uri="{FF2B5EF4-FFF2-40B4-BE49-F238E27FC236}">
                <a16:creationId xmlns:a16="http://schemas.microsoft.com/office/drawing/2014/main" id="{1DECE406-DFE0-AE95-D05C-E75E0E9BBC91}"/>
              </a:ext>
            </a:extLst>
          </p:cNvPr>
          <p:cNvSpPr/>
          <p:nvPr/>
        </p:nvSpPr>
        <p:spPr>
          <a:xfrm flipH="1">
            <a:off x="1197720" y="3955551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3" name="稿定-31">
            <a:extLst>
              <a:ext uri="{FF2B5EF4-FFF2-40B4-BE49-F238E27FC236}">
                <a16:creationId xmlns:a16="http://schemas.microsoft.com/office/drawing/2014/main" id="{72D2CD84-7E2D-8C9C-4AF4-F3FB68B92C21}"/>
              </a:ext>
            </a:extLst>
          </p:cNvPr>
          <p:cNvSpPr/>
          <p:nvPr/>
        </p:nvSpPr>
        <p:spPr>
          <a:xfrm flipH="1">
            <a:off x="1197720" y="4841188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4" name="稿定-31">
            <a:extLst>
              <a:ext uri="{FF2B5EF4-FFF2-40B4-BE49-F238E27FC236}">
                <a16:creationId xmlns:a16="http://schemas.microsoft.com/office/drawing/2014/main" id="{52DB4A70-9E95-8A8D-40F1-0F69BA907536}"/>
              </a:ext>
            </a:extLst>
          </p:cNvPr>
          <p:cNvSpPr/>
          <p:nvPr/>
        </p:nvSpPr>
        <p:spPr>
          <a:xfrm flipH="1">
            <a:off x="1197720" y="5704557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5" name="稿定-31">
            <a:extLst>
              <a:ext uri="{FF2B5EF4-FFF2-40B4-BE49-F238E27FC236}">
                <a16:creationId xmlns:a16="http://schemas.microsoft.com/office/drawing/2014/main" id="{8D6FB9D7-0801-DE0E-2D3D-D29453B3AAE0}"/>
              </a:ext>
            </a:extLst>
          </p:cNvPr>
          <p:cNvSpPr/>
          <p:nvPr/>
        </p:nvSpPr>
        <p:spPr>
          <a:xfrm flipH="1">
            <a:off x="5143200" y="3955551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6" name="稿定-31">
            <a:extLst>
              <a:ext uri="{FF2B5EF4-FFF2-40B4-BE49-F238E27FC236}">
                <a16:creationId xmlns:a16="http://schemas.microsoft.com/office/drawing/2014/main" id="{0A9B2D7B-E857-DFB5-1748-9E0E30848C78}"/>
              </a:ext>
            </a:extLst>
          </p:cNvPr>
          <p:cNvSpPr/>
          <p:nvPr/>
        </p:nvSpPr>
        <p:spPr>
          <a:xfrm flipH="1">
            <a:off x="5143200" y="4841188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7" name="稿定-31">
            <a:extLst>
              <a:ext uri="{FF2B5EF4-FFF2-40B4-BE49-F238E27FC236}">
                <a16:creationId xmlns:a16="http://schemas.microsoft.com/office/drawing/2014/main" id="{C668B6D9-4E2D-9A4A-DF30-7E769D19E03B}"/>
              </a:ext>
            </a:extLst>
          </p:cNvPr>
          <p:cNvSpPr/>
          <p:nvPr/>
        </p:nvSpPr>
        <p:spPr>
          <a:xfrm flipH="1">
            <a:off x="5143200" y="5704557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8" name="稿定-31">
            <a:extLst>
              <a:ext uri="{FF2B5EF4-FFF2-40B4-BE49-F238E27FC236}">
                <a16:creationId xmlns:a16="http://schemas.microsoft.com/office/drawing/2014/main" id="{03279325-7737-0198-7D98-57AFFE2724D2}"/>
              </a:ext>
            </a:extLst>
          </p:cNvPr>
          <p:cNvSpPr/>
          <p:nvPr/>
        </p:nvSpPr>
        <p:spPr>
          <a:xfrm flipH="1">
            <a:off x="9020157" y="3955551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9" name="稿定-31">
            <a:extLst>
              <a:ext uri="{FF2B5EF4-FFF2-40B4-BE49-F238E27FC236}">
                <a16:creationId xmlns:a16="http://schemas.microsoft.com/office/drawing/2014/main" id="{325BC2AA-C0B6-6577-1D49-7D38C8D1C957}"/>
              </a:ext>
            </a:extLst>
          </p:cNvPr>
          <p:cNvSpPr/>
          <p:nvPr/>
        </p:nvSpPr>
        <p:spPr>
          <a:xfrm flipH="1">
            <a:off x="9020157" y="4841188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0" name="稿定-31">
            <a:extLst>
              <a:ext uri="{FF2B5EF4-FFF2-40B4-BE49-F238E27FC236}">
                <a16:creationId xmlns:a16="http://schemas.microsoft.com/office/drawing/2014/main" id="{41A92D18-D11E-2597-926C-BED6C0F0F3F0}"/>
              </a:ext>
            </a:extLst>
          </p:cNvPr>
          <p:cNvSpPr/>
          <p:nvPr/>
        </p:nvSpPr>
        <p:spPr>
          <a:xfrm flipH="1">
            <a:off x="9020157" y="5704557"/>
            <a:ext cx="204521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134708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">
            <a:extLst>
              <a:ext uri="{FF2B5EF4-FFF2-40B4-BE49-F238E27FC236}">
                <a16:creationId xmlns:a16="http://schemas.microsoft.com/office/drawing/2014/main" id="{F35840E9-C7B1-870F-5219-D57BD5380579}"/>
              </a:ext>
            </a:extLst>
          </p:cNvPr>
          <p:cNvSpPr/>
          <p:nvPr/>
        </p:nvSpPr>
        <p:spPr>
          <a:xfrm>
            <a:off x="3053326" y="1908308"/>
            <a:ext cx="0" cy="3450384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1136B608-3419-C1B1-E9F6-2D71B453D3E3}"/>
              </a:ext>
            </a:extLst>
          </p:cNvPr>
          <p:cNvSpPr/>
          <p:nvPr/>
        </p:nvSpPr>
        <p:spPr>
          <a:xfrm>
            <a:off x="4572679" y="1908308"/>
            <a:ext cx="0" cy="3450384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77C3FCF9-0923-8EB5-CA0C-C9D378268CEF}"/>
              </a:ext>
            </a:extLst>
          </p:cNvPr>
          <p:cNvSpPr/>
          <p:nvPr/>
        </p:nvSpPr>
        <p:spPr>
          <a:xfrm>
            <a:off x="7611386" y="1908308"/>
            <a:ext cx="0" cy="3450384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9D688CF1-A53D-C11B-408A-911AA48D6948}"/>
              </a:ext>
            </a:extLst>
          </p:cNvPr>
          <p:cNvSpPr/>
          <p:nvPr/>
        </p:nvSpPr>
        <p:spPr>
          <a:xfrm>
            <a:off x="9130740" y="1908308"/>
            <a:ext cx="0" cy="3450384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AFE1DEB8-03F3-F26A-0D39-164EE74BED22}"/>
              </a:ext>
            </a:extLst>
          </p:cNvPr>
          <p:cNvSpPr/>
          <p:nvPr/>
        </p:nvSpPr>
        <p:spPr>
          <a:xfrm>
            <a:off x="6092032" y="1919708"/>
            <a:ext cx="0" cy="3450384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2D90FEC-644E-993D-3F1A-B704AFFB443F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E8BE1097-5B49-23F0-CB14-9701B51E9A7F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2F856ED-1700-AC5D-8CFB-770A9A25B4B1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7CD11392-75A8-E915-6687-FD11F2B84AD1}"/>
              </a:ext>
            </a:extLst>
          </p:cNvPr>
          <p:cNvSpPr/>
          <p:nvPr/>
        </p:nvSpPr>
        <p:spPr>
          <a:xfrm>
            <a:off x="1" y="2514174"/>
            <a:ext cx="10867647" cy="2283159"/>
          </a:xfrm>
          <a:custGeom>
            <a:avLst/>
            <a:gdLst>
              <a:gd name="connsiteX0" fmla="*/ 10414616 w 10867647"/>
              <a:gd name="connsiteY0" fmla="*/ 0 h 2283159"/>
              <a:gd name="connsiteX1" fmla="*/ 10867647 w 10867647"/>
              <a:gd name="connsiteY1" fmla="*/ 305235 h 2283159"/>
              <a:gd name="connsiteX2" fmla="*/ 10414616 w 10867647"/>
              <a:gd name="connsiteY2" fmla="*/ 610471 h 2283159"/>
              <a:gd name="connsiteX3" fmla="*/ 10414616 w 10867647"/>
              <a:gd name="connsiteY3" fmla="*/ 472570 h 2283159"/>
              <a:gd name="connsiteX4" fmla="*/ 2562768 w 10867647"/>
              <a:gd name="connsiteY4" fmla="*/ 472570 h 2283159"/>
              <a:gd name="connsiteX5" fmla="*/ 1880929 w 10867647"/>
              <a:gd name="connsiteY5" fmla="*/ 1156436 h 2283159"/>
              <a:gd name="connsiteX6" fmla="*/ 2552166 w 10867647"/>
              <a:gd name="connsiteY6" fmla="*/ 1824395 h 2283159"/>
              <a:gd name="connsiteX7" fmla="*/ 10414616 w 10867647"/>
              <a:gd name="connsiteY7" fmla="*/ 1824395 h 2283159"/>
              <a:gd name="connsiteX8" fmla="*/ 10414616 w 10867647"/>
              <a:gd name="connsiteY8" fmla="*/ 1672688 h 2283159"/>
              <a:gd name="connsiteX9" fmla="*/ 10867647 w 10867647"/>
              <a:gd name="connsiteY9" fmla="*/ 1977924 h 2283159"/>
              <a:gd name="connsiteX10" fmla="*/ 10414616 w 10867647"/>
              <a:gd name="connsiteY10" fmla="*/ 2283159 h 2283159"/>
              <a:gd name="connsiteX11" fmla="*/ 10414616 w 10867647"/>
              <a:gd name="connsiteY11" fmla="*/ 2135220 h 2283159"/>
              <a:gd name="connsiteX12" fmla="*/ 2417135 w 10867647"/>
              <a:gd name="connsiteY12" fmla="*/ 2135220 h 2283159"/>
              <a:gd name="connsiteX13" fmla="*/ 1732639 w 10867647"/>
              <a:gd name="connsiteY13" fmla="*/ 1452919 h 2283159"/>
              <a:gd name="connsiteX14" fmla="*/ 0 w 10867647"/>
              <a:gd name="connsiteY14" fmla="*/ 1452919 h 2283159"/>
              <a:gd name="connsiteX15" fmla="*/ 0 w 10867647"/>
              <a:gd name="connsiteY15" fmla="*/ 842449 h 2283159"/>
              <a:gd name="connsiteX16" fmla="*/ 1752210 w 10867647"/>
              <a:gd name="connsiteY16" fmla="*/ 842449 h 2283159"/>
              <a:gd name="connsiteX17" fmla="*/ 2432103 w 10867647"/>
              <a:gd name="connsiteY17" fmla="*/ 165298 h 2283159"/>
              <a:gd name="connsiteX18" fmla="*/ 10414616 w 10867647"/>
              <a:gd name="connsiteY18" fmla="*/ 165298 h 2283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867647" h="2283159">
                <a:moveTo>
                  <a:pt x="10414616" y="0"/>
                </a:moveTo>
                <a:lnTo>
                  <a:pt x="10867647" y="305235"/>
                </a:lnTo>
                <a:lnTo>
                  <a:pt x="10414616" y="610471"/>
                </a:lnTo>
                <a:lnTo>
                  <a:pt x="10414616" y="472570"/>
                </a:lnTo>
                <a:lnTo>
                  <a:pt x="2562768" y="472570"/>
                </a:lnTo>
                <a:lnTo>
                  <a:pt x="1880929" y="1156436"/>
                </a:lnTo>
                <a:lnTo>
                  <a:pt x="2552166" y="1824395"/>
                </a:lnTo>
                <a:lnTo>
                  <a:pt x="10414616" y="1824395"/>
                </a:lnTo>
                <a:lnTo>
                  <a:pt x="10414616" y="1672688"/>
                </a:lnTo>
                <a:lnTo>
                  <a:pt x="10867647" y="1977924"/>
                </a:lnTo>
                <a:lnTo>
                  <a:pt x="10414616" y="2283159"/>
                </a:lnTo>
                <a:lnTo>
                  <a:pt x="10414616" y="2135220"/>
                </a:lnTo>
                <a:lnTo>
                  <a:pt x="2417135" y="2135220"/>
                </a:lnTo>
                <a:lnTo>
                  <a:pt x="1732639" y="1452919"/>
                </a:lnTo>
                <a:lnTo>
                  <a:pt x="0" y="1452919"/>
                </a:lnTo>
                <a:lnTo>
                  <a:pt x="0" y="842449"/>
                </a:lnTo>
                <a:lnTo>
                  <a:pt x="1752210" y="842449"/>
                </a:lnTo>
                <a:lnTo>
                  <a:pt x="2432103" y="165298"/>
                </a:lnTo>
                <a:lnTo>
                  <a:pt x="10414616" y="165298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稿定-9">
            <a:extLst>
              <a:ext uri="{FF2B5EF4-FFF2-40B4-BE49-F238E27FC236}">
                <a16:creationId xmlns:a16="http://schemas.microsoft.com/office/drawing/2014/main" id="{0EE9D5EE-1F62-4766-9C5C-0F69271E0573}"/>
              </a:ext>
            </a:extLst>
          </p:cNvPr>
          <p:cNvSpPr/>
          <p:nvPr/>
        </p:nvSpPr>
        <p:spPr>
          <a:xfrm flipH="1">
            <a:off x="3053325" y="183711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" name="稿定-31">
            <a:extLst>
              <a:ext uri="{FF2B5EF4-FFF2-40B4-BE49-F238E27FC236}">
                <a16:creationId xmlns:a16="http://schemas.microsoft.com/office/drawing/2014/main" id="{9B2BD7F1-8F30-B416-0539-FA477EEB22C7}"/>
              </a:ext>
            </a:extLst>
          </p:cNvPr>
          <p:cNvSpPr/>
          <p:nvPr/>
        </p:nvSpPr>
        <p:spPr>
          <a:xfrm flipH="1">
            <a:off x="3129952" y="2068520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3" name="稿定-9">
            <a:extLst>
              <a:ext uri="{FF2B5EF4-FFF2-40B4-BE49-F238E27FC236}">
                <a16:creationId xmlns:a16="http://schemas.microsoft.com/office/drawing/2014/main" id="{224D7595-41E7-4B3D-F770-442484C500F6}"/>
              </a:ext>
            </a:extLst>
          </p:cNvPr>
          <p:cNvSpPr/>
          <p:nvPr/>
        </p:nvSpPr>
        <p:spPr>
          <a:xfrm flipH="1">
            <a:off x="3053325" y="464187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4" name="稿定-31">
            <a:extLst>
              <a:ext uri="{FF2B5EF4-FFF2-40B4-BE49-F238E27FC236}">
                <a16:creationId xmlns:a16="http://schemas.microsoft.com/office/drawing/2014/main" id="{029C36DE-1F43-EC6B-DE4F-040C284E2336}"/>
              </a:ext>
            </a:extLst>
          </p:cNvPr>
          <p:cNvSpPr/>
          <p:nvPr/>
        </p:nvSpPr>
        <p:spPr>
          <a:xfrm flipH="1">
            <a:off x="3129952" y="4873289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5" name="稿定-9">
            <a:extLst>
              <a:ext uri="{FF2B5EF4-FFF2-40B4-BE49-F238E27FC236}">
                <a16:creationId xmlns:a16="http://schemas.microsoft.com/office/drawing/2014/main" id="{2C755C86-CEB6-CBD9-728E-530F69D93EA1}"/>
              </a:ext>
            </a:extLst>
          </p:cNvPr>
          <p:cNvSpPr/>
          <p:nvPr/>
        </p:nvSpPr>
        <p:spPr>
          <a:xfrm flipH="1">
            <a:off x="4563895" y="183711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6" name="稿定-31">
            <a:extLst>
              <a:ext uri="{FF2B5EF4-FFF2-40B4-BE49-F238E27FC236}">
                <a16:creationId xmlns:a16="http://schemas.microsoft.com/office/drawing/2014/main" id="{5FEFB24A-365A-966E-3567-9CA5DC405C8F}"/>
              </a:ext>
            </a:extLst>
          </p:cNvPr>
          <p:cNvSpPr/>
          <p:nvPr/>
        </p:nvSpPr>
        <p:spPr>
          <a:xfrm flipH="1">
            <a:off x="4640522" y="2068520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7" name="稿定-9">
            <a:extLst>
              <a:ext uri="{FF2B5EF4-FFF2-40B4-BE49-F238E27FC236}">
                <a16:creationId xmlns:a16="http://schemas.microsoft.com/office/drawing/2014/main" id="{B9714B43-4F34-2CF9-E716-F2C236FD9C28}"/>
              </a:ext>
            </a:extLst>
          </p:cNvPr>
          <p:cNvSpPr/>
          <p:nvPr/>
        </p:nvSpPr>
        <p:spPr>
          <a:xfrm flipH="1">
            <a:off x="4563895" y="464187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8" name="稿定-31">
            <a:extLst>
              <a:ext uri="{FF2B5EF4-FFF2-40B4-BE49-F238E27FC236}">
                <a16:creationId xmlns:a16="http://schemas.microsoft.com/office/drawing/2014/main" id="{0BF40FEF-8775-E83F-E69F-3023183EF253}"/>
              </a:ext>
            </a:extLst>
          </p:cNvPr>
          <p:cNvSpPr/>
          <p:nvPr/>
        </p:nvSpPr>
        <p:spPr>
          <a:xfrm flipH="1">
            <a:off x="4640522" y="4873289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9" name="稿定-9">
            <a:extLst>
              <a:ext uri="{FF2B5EF4-FFF2-40B4-BE49-F238E27FC236}">
                <a16:creationId xmlns:a16="http://schemas.microsoft.com/office/drawing/2014/main" id="{43C71474-D918-202B-742D-9CEAD11C309F}"/>
              </a:ext>
            </a:extLst>
          </p:cNvPr>
          <p:cNvSpPr/>
          <p:nvPr/>
        </p:nvSpPr>
        <p:spPr>
          <a:xfrm flipH="1">
            <a:off x="6088942" y="183711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0" name="稿定-31">
            <a:extLst>
              <a:ext uri="{FF2B5EF4-FFF2-40B4-BE49-F238E27FC236}">
                <a16:creationId xmlns:a16="http://schemas.microsoft.com/office/drawing/2014/main" id="{E3330499-DC8C-2E85-C1FB-753B48DCAD8B}"/>
              </a:ext>
            </a:extLst>
          </p:cNvPr>
          <p:cNvSpPr/>
          <p:nvPr/>
        </p:nvSpPr>
        <p:spPr>
          <a:xfrm flipH="1">
            <a:off x="6165569" y="2068520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1" name="稿定-9">
            <a:extLst>
              <a:ext uri="{FF2B5EF4-FFF2-40B4-BE49-F238E27FC236}">
                <a16:creationId xmlns:a16="http://schemas.microsoft.com/office/drawing/2014/main" id="{E0D60449-A487-24B8-F6FD-9001E480BDDE}"/>
              </a:ext>
            </a:extLst>
          </p:cNvPr>
          <p:cNvSpPr/>
          <p:nvPr/>
        </p:nvSpPr>
        <p:spPr>
          <a:xfrm flipH="1">
            <a:off x="6088942" y="464187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2" name="稿定-31">
            <a:extLst>
              <a:ext uri="{FF2B5EF4-FFF2-40B4-BE49-F238E27FC236}">
                <a16:creationId xmlns:a16="http://schemas.microsoft.com/office/drawing/2014/main" id="{7607C5AF-D335-65B6-30EC-3AE396A5D455}"/>
              </a:ext>
            </a:extLst>
          </p:cNvPr>
          <p:cNvSpPr/>
          <p:nvPr/>
        </p:nvSpPr>
        <p:spPr>
          <a:xfrm flipH="1">
            <a:off x="6165569" y="4873289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3" name="稿定-9">
            <a:extLst>
              <a:ext uri="{FF2B5EF4-FFF2-40B4-BE49-F238E27FC236}">
                <a16:creationId xmlns:a16="http://schemas.microsoft.com/office/drawing/2014/main" id="{FCC73DB3-224D-A1B0-F3CF-0A286352EDB6}"/>
              </a:ext>
            </a:extLst>
          </p:cNvPr>
          <p:cNvSpPr/>
          <p:nvPr/>
        </p:nvSpPr>
        <p:spPr>
          <a:xfrm flipH="1">
            <a:off x="7597142" y="183711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4" name="稿定-31">
            <a:extLst>
              <a:ext uri="{FF2B5EF4-FFF2-40B4-BE49-F238E27FC236}">
                <a16:creationId xmlns:a16="http://schemas.microsoft.com/office/drawing/2014/main" id="{A4E6E11E-5FA3-FE4B-ABCA-670D9AEA3B46}"/>
              </a:ext>
            </a:extLst>
          </p:cNvPr>
          <p:cNvSpPr/>
          <p:nvPr/>
        </p:nvSpPr>
        <p:spPr>
          <a:xfrm flipH="1">
            <a:off x="7673769" y="2068520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5" name="稿定-9">
            <a:extLst>
              <a:ext uri="{FF2B5EF4-FFF2-40B4-BE49-F238E27FC236}">
                <a16:creationId xmlns:a16="http://schemas.microsoft.com/office/drawing/2014/main" id="{CCE38C26-AE51-4CDE-F5C4-8B3EFDB6C1B4}"/>
              </a:ext>
            </a:extLst>
          </p:cNvPr>
          <p:cNvSpPr/>
          <p:nvPr/>
        </p:nvSpPr>
        <p:spPr>
          <a:xfrm flipH="1">
            <a:off x="7597142" y="464187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6" name="稿定-31">
            <a:extLst>
              <a:ext uri="{FF2B5EF4-FFF2-40B4-BE49-F238E27FC236}">
                <a16:creationId xmlns:a16="http://schemas.microsoft.com/office/drawing/2014/main" id="{FFA55C5E-3CFE-6053-CF00-4BDDC8742872}"/>
              </a:ext>
            </a:extLst>
          </p:cNvPr>
          <p:cNvSpPr/>
          <p:nvPr/>
        </p:nvSpPr>
        <p:spPr>
          <a:xfrm flipH="1">
            <a:off x="7673769" y="4873289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7" name="稿定-9">
            <a:extLst>
              <a:ext uri="{FF2B5EF4-FFF2-40B4-BE49-F238E27FC236}">
                <a16:creationId xmlns:a16="http://schemas.microsoft.com/office/drawing/2014/main" id="{DB7F40E4-94BD-1AB3-57ED-C31EF3CD4828}"/>
              </a:ext>
            </a:extLst>
          </p:cNvPr>
          <p:cNvSpPr/>
          <p:nvPr/>
        </p:nvSpPr>
        <p:spPr>
          <a:xfrm flipH="1">
            <a:off x="9105342" y="183711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8" name="稿定-31">
            <a:extLst>
              <a:ext uri="{FF2B5EF4-FFF2-40B4-BE49-F238E27FC236}">
                <a16:creationId xmlns:a16="http://schemas.microsoft.com/office/drawing/2014/main" id="{60DB7A70-99F5-C84E-247F-E876F1E028C3}"/>
              </a:ext>
            </a:extLst>
          </p:cNvPr>
          <p:cNvSpPr/>
          <p:nvPr/>
        </p:nvSpPr>
        <p:spPr>
          <a:xfrm flipH="1">
            <a:off x="9181969" y="2068520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9" name="稿定-9">
            <a:extLst>
              <a:ext uri="{FF2B5EF4-FFF2-40B4-BE49-F238E27FC236}">
                <a16:creationId xmlns:a16="http://schemas.microsoft.com/office/drawing/2014/main" id="{90572D0B-BA0B-18A0-D148-794EECC99E80}"/>
              </a:ext>
            </a:extLst>
          </p:cNvPr>
          <p:cNvSpPr/>
          <p:nvPr/>
        </p:nvSpPr>
        <p:spPr>
          <a:xfrm flipH="1">
            <a:off x="9105342" y="464187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0" name="稿定-31">
            <a:extLst>
              <a:ext uri="{FF2B5EF4-FFF2-40B4-BE49-F238E27FC236}">
                <a16:creationId xmlns:a16="http://schemas.microsoft.com/office/drawing/2014/main" id="{E85D2085-D853-A901-10DA-6D7EDA3C801A}"/>
              </a:ext>
            </a:extLst>
          </p:cNvPr>
          <p:cNvSpPr/>
          <p:nvPr/>
        </p:nvSpPr>
        <p:spPr>
          <a:xfrm flipH="1">
            <a:off x="9181969" y="4873289"/>
            <a:ext cx="1301679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A650448D-9993-DD98-991C-12EF3CCC0339}"/>
              </a:ext>
            </a:extLst>
          </p:cNvPr>
          <p:cNvGrpSpPr/>
          <p:nvPr/>
        </p:nvGrpSpPr>
        <p:grpSpPr>
          <a:xfrm>
            <a:off x="6577198" y="3374657"/>
            <a:ext cx="466640" cy="476275"/>
            <a:chOff x="4959329" y="5244522"/>
            <a:chExt cx="466640" cy="476275"/>
          </a:xfrm>
          <a:solidFill>
            <a:schemeClr val="tx1"/>
          </a:solidFill>
        </p:grpSpPr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C51AC444-851B-46DE-A894-71D6F1152C3E}"/>
                </a:ext>
              </a:extLst>
            </p:cNvPr>
            <p:cNvSpPr/>
            <p:nvPr/>
          </p:nvSpPr>
          <p:spPr>
            <a:xfrm>
              <a:off x="5150665" y="5445493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rgbClr val="3361F5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B8AC52BE-F164-84A9-F170-F8BCCC0512A4}"/>
                </a:ext>
              </a:extLst>
            </p:cNvPr>
            <p:cNvSpPr/>
            <p:nvPr/>
          </p:nvSpPr>
          <p:spPr>
            <a:xfrm>
              <a:off x="4959329" y="5280999"/>
              <a:ext cx="440486" cy="421215"/>
            </a:xfrm>
            <a:custGeom>
              <a:avLst/>
              <a:gdLst>
                <a:gd name="connsiteX0" fmla="*/ 310405 w 440486"/>
                <a:gd name="connsiteY0" fmla="*/ 421215 h 421215"/>
                <a:gd name="connsiteX1" fmla="*/ 130081 w 440486"/>
                <a:gd name="connsiteY1" fmla="*/ 421215 h 421215"/>
                <a:gd name="connsiteX2" fmla="*/ 0 w 440486"/>
                <a:gd name="connsiteY2" fmla="*/ 291134 h 421215"/>
                <a:gd name="connsiteX3" fmla="*/ 0 w 440486"/>
                <a:gd name="connsiteY3" fmla="*/ 130081 h 421215"/>
                <a:gd name="connsiteX4" fmla="*/ 130081 w 440486"/>
                <a:gd name="connsiteY4" fmla="*/ 0 h 421215"/>
                <a:gd name="connsiteX5" fmla="*/ 311782 w 440486"/>
                <a:gd name="connsiteY5" fmla="*/ 0 h 421215"/>
                <a:gd name="connsiteX6" fmla="*/ 440486 w 440486"/>
                <a:gd name="connsiteY6" fmla="*/ 130081 h 421215"/>
                <a:gd name="connsiteX7" fmla="*/ 440486 w 440486"/>
                <a:gd name="connsiteY7" fmla="*/ 292511 h 421215"/>
                <a:gd name="connsiteX8" fmla="*/ 310405 w 440486"/>
                <a:gd name="connsiteY8" fmla="*/ 421215 h 421215"/>
                <a:gd name="connsiteX9" fmla="*/ 130081 w 440486"/>
                <a:gd name="connsiteY9" fmla="*/ 27530 h 421215"/>
                <a:gd name="connsiteX10" fmla="*/ 27530 w 440486"/>
                <a:gd name="connsiteY10" fmla="*/ 130081 h 421215"/>
                <a:gd name="connsiteX11" fmla="*/ 27530 w 440486"/>
                <a:gd name="connsiteY11" fmla="*/ 291134 h 421215"/>
                <a:gd name="connsiteX12" fmla="*/ 130081 w 440486"/>
                <a:gd name="connsiteY12" fmla="*/ 393685 h 421215"/>
                <a:gd name="connsiteX13" fmla="*/ 310405 w 440486"/>
                <a:gd name="connsiteY13" fmla="*/ 393685 h 421215"/>
                <a:gd name="connsiteX14" fmla="*/ 412956 w 440486"/>
                <a:gd name="connsiteY14" fmla="*/ 292511 h 421215"/>
                <a:gd name="connsiteX15" fmla="*/ 412956 w 440486"/>
                <a:gd name="connsiteY15" fmla="*/ 130081 h 421215"/>
                <a:gd name="connsiteX16" fmla="*/ 311782 w 440486"/>
                <a:gd name="connsiteY16" fmla="*/ 27530 h 421215"/>
                <a:gd name="connsiteX17" fmla="*/ 130081 w 440486"/>
                <a:gd name="connsiteY17" fmla="*/ 27530 h 42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0486" h="421215">
                  <a:moveTo>
                    <a:pt x="310405" y="421215"/>
                  </a:moveTo>
                  <a:lnTo>
                    <a:pt x="130081" y="421215"/>
                  </a:lnTo>
                  <a:cubicBezTo>
                    <a:pt x="58502" y="421215"/>
                    <a:pt x="0" y="362713"/>
                    <a:pt x="0" y="291134"/>
                  </a:cubicBezTo>
                  <a:lnTo>
                    <a:pt x="0" y="130081"/>
                  </a:lnTo>
                  <a:cubicBezTo>
                    <a:pt x="0" y="58502"/>
                    <a:pt x="58502" y="0"/>
                    <a:pt x="130081" y="0"/>
                  </a:cubicBezTo>
                  <a:lnTo>
                    <a:pt x="311782" y="0"/>
                  </a:lnTo>
                  <a:cubicBezTo>
                    <a:pt x="382673" y="0"/>
                    <a:pt x="440486" y="58502"/>
                    <a:pt x="440486" y="130081"/>
                  </a:cubicBezTo>
                  <a:lnTo>
                    <a:pt x="440486" y="292511"/>
                  </a:lnTo>
                  <a:cubicBezTo>
                    <a:pt x="440486" y="363401"/>
                    <a:pt x="381984" y="421215"/>
                    <a:pt x="310405" y="421215"/>
                  </a:cubicBezTo>
                  <a:close/>
                  <a:moveTo>
                    <a:pt x="130081" y="27530"/>
                  </a:moveTo>
                  <a:cubicBezTo>
                    <a:pt x="73644" y="27530"/>
                    <a:pt x="27530" y="73644"/>
                    <a:pt x="27530" y="130081"/>
                  </a:cubicBezTo>
                  <a:lnTo>
                    <a:pt x="27530" y="291134"/>
                  </a:lnTo>
                  <a:cubicBezTo>
                    <a:pt x="27530" y="347571"/>
                    <a:pt x="73644" y="393685"/>
                    <a:pt x="130081" y="393685"/>
                  </a:cubicBezTo>
                  <a:lnTo>
                    <a:pt x="310405" y="393685"/>
                  </a:lnTo>
                  <a:cubicBezTo>
                    <a:pt x="366843" y="393685"/>
                    <a:pt x="412956" y="348260"/>
                    <a:pt x="412956" y="292511"/>
                  </a:cubicBezTo>
                  <a:lnTo>
                    <a:pt x="412956" y="130081"/>
                  </a:lnTo>
                  <a:cubicBezTo>
                    <a:pt x="412956" y="73644"/>
                    <a:pt x="367531" y="27530"/>
                    <a:pt x="311782" y="27530"/>
                  </a:cubicBezTo>
                  <a:lnTo>
                    <a:pt x="130081" y="27530"/>
                  </a:ln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4A587AEB-859D-6A74-CEDA-032A3315BB3F}"/>
                </a:ext>
              </a:extLst>
            </p:cNvPr>
            <p:cNvSpPr/>
            <p:nvPr/>
          </p:nvSpPr>
          <p:spPr>
            <a:xfrm>
              <a:off x="5088033" y="5244522"/>
              <a:ext cx="183077" cy="285627"/>
            </a:xfrm>
            <a:custGeom>
              <a:avLst/>
              <a:gdLst>
                <a:gd name="connsiteX0" fmla="*/ 90850 w 183077"/>
                <a:gd name="connsiteY0" fmla="*/ 285628 h 285627"/>
                <a:gd name="connsiteX1" fmla="*/ 30972 w 183077"/>
                <a:gd name="connsiteY1" fmla="*/ 249150 h 285627"/>
                <a:gd name="connsiteX2" fmla="*/ 35101 w 183077"/>
                <a:gd name="connsiteY2" fmla="*/ 232632 h 285627"/>
                <a:gd name="connsiteX3" fmla="*/ 51620 w 183077"/>
                <a:gd name="connsiteY3" fmla="*/ 236761 h 285627"/>
                <a:gd name="connsiteX4" fmla="*/ 91539 w 183077"/>
                <a:gd name="connsiteY4" fmla="*/ 261539 h 285627"/>
                <a:gd name="connsiteX5" fmla="*/ 130769 w 183077"/>
                <a:gd name="connsiteY5" fmla="*/ 236073 h 285627"/>
                <a:gd name="connsiteX6" fmla="*/ 147288 w 183077"/>
                <a:gd name="connsiteY6" fmla="*/ 231255 h 285627"/>
                <a:gd name="connsiteX7" fmla="*/ 152105 w 183077"/>
                <a:gd name="connsiteY7" fmla="*/ 247774 h 285627"/>
                <a:gd name="connsiteX8" fmla="*/ 92915 w 183077"/>
                <a:gd name="connsiteY8" fmla="*/ 285628 h 285627"/>
                <a:gd name="connsiteX9" fmla="*/ 90850 w 183077"/>
                <a:gd name="connsiteY9" fmla="*/ 285628 h 285627"/>
                <a:gd name="connsiteX10" fmla="*/ 13765 w 183077"/>
                <a:gd name="connsiteY10" fmla="*/ 89474 h 285627"/>
                <a:gd name="connsiteX11" fmla="*/ 0 w 183077"/>
                <a:gd name="connsiteY11" fmla="*/ 71579 h 285627"/>
                <a:gd name="connsiteX12" fmla="*/ 0 w 183077"/>
                <a:gd name="connsiteY12" fmla="*/ 17895 h 285627"/>
                <a:gd name="connsiteX13" fmla="*/ 13765 w 183077"/>
                <a:gd name="connsiteY13" fmla="*/ 0 h 285627"/>
                <a:gd name="connsiteX14" fmla="*/ 27530 w 183077"/>
                <a:gd name="connsiteY14" fmla="*/ 17895 h 285627"/>
                <a:gd name="connsiteX15" fmla="*/ 27530 w 183077"/>
                <a:gd name="connsiteY15" fmla="*/ 72267 h 285627"/>
                <a:gd name="connsiteX16" fmla="*/ 13765 w 183077"/>
                <a:gd name="connsiteY16" fmla="*/ 89474 h 285627"/>
                <a:gd name="connsiteX17" fmla="*/ 169312 w 183077"/>
                <a:gd name="connsiteY17" fmla="*/ 89474 h 285627"/>
                <a:gd name="connsiteX18" fmla="*/ 155547 w 183077"/>
                <a:gd name="connsiteY18" fmla="*/ 71579 h 285627"/>
                <a:gd name="connsiteX19" fmla="*/ 155547 w 183077"/>
                <a:gd name="connsiteY19" fmla="*/ 17895 h 285627"/>
                <a:gd name="connsiteX20" fmla="*/ 169312 w 183077"/>
                <a:gd name="connsiteY20" fmla="*/ 0 h 285627"/>
                <a:gd name="connsiteX21" fmla="*/ 183077 w 183077"/>
                <a:gd name="connsiteY21" fmla="*/ 17895 h 285627"/>
                <a:gd name="connsiteX22" fmla="*/ 183077 w 183077"/>
                <a:gd name="connsiteY22" fmla="*/ 72267 h 285627"/>
                <a:gd name="connsiteX23" fmla="*/ 169312 w 183077"/>
                <a:gd name="connsiteY23" fmla="*/ 89474 h 28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83077" h="285627">
                  <a:moveTo>
                    <a:pt x="90850" y="285628"/>
                  </a:moveTo>
                  <a:cubicBezTo>
                    <a:pt x="66761" y="285628"/>
                    <a:pt x="44049" y="271863"/>
                    <a:pt x="30972" y="249150"/>
                  </a:cubicBezTo>
                  <a:cubicBezTo>
                    <a:pt x="27530" y="243644"/>
                    <a:pt x="29595" y="236073"/>
                    <a:pt x="35101" y="232632"/>
                  </a:cubicBezTo>
                  <a:cubicBezTo>
                    <a:pt x="40607" y="229191"/>
                    <a:pt x="48178" y="231255"/>
                    <a:pt x="51620" y="236761"/>
                  </a:cubicBezTo>
                  <a:cubicBezTo>
                    <a:pt x="60567" y="252591"/>
                    <a:pt x="75709" y="261539"/>
                    <a:pt x="91539" y="261539"/>
                  </a:cubicBezTo>
                  <a:cubicBezTo>
                    <a:pt x="108057" y="261539"/>
                    <a:pt x="121822" y="251215"/>
                    <a:pt x="130769" y="236073"/>
                  </a:cubicBezTo>
                  <a:cubicBezTo>
                    <a:pt x="134211" y="230567"/>
                    <a:pt x="141093" y="227814"/>
                    <a:pt x="147288" y="231255"/>
                  </a:cubicBezTo>
                  <a:cubicBezTo>
                    <a:pt x="152794" y="234697"/>
                    <a:pt x="155547" y="241579"/>
                    <a:pt x="152105" y="247774"/>
                  </a:cubicBezTo>
                  <a:cubicBezTo>
                    <a:pt x="139717" y="271174"/>
                    <a:pt x="117004" y="284940"/>
                    <a:pt x="92915" y="285628"/>
                  </a:cubicBezTo>
                  <a:lnTo>
                    <a:pt x="90850" y="285628"/>
                  </a:lnTo>
                  <a:close/>
                  <a:moveTo>
                    <a:pt x="13765" y="89474"/>
                  </a:moveTo>
                  <a:cubicBezTo>
                    <a:pt x="6194" y="89474"/>
                    <a:pt x="0" y="81903"/>
                    <a:pt x="0" y="71579"/>
                  </a:cubicBezTo>
                  <a:lnTo>
                    <a:pt x="0" y="17895"/>
                  </a:lnTo>
                  <a:cubicBezTo>
                    <a:pt x="0" y="8259"/>
                    <a:pt x="6194" y="0"/>
                    <a:pt x="13765" y="0"/>
                  </a:cubicBezTo>
                  <a:cubicBezTo>
                    <a:pt x="21336" y="0"/>
                    <a:pt x="27530" y="7571"/>
                    <a:pt x="27530" y="17895"/>
                  </a:cubicBezTo>
                  <a:lnTo>
                    <a:pt x="27530" y="72267"/>
                  </a:lnTo>
                  <a:cubicBezTo>
                    <a:pt x="27530" y="81903"/>
                    <a:pt x="21336" y="89474"/>
                    <a:pt x="13765" y="89474"/>
                  </a:cubicBezTo>
                  <a:close/>
                  <a:moveTo>
                    <a:pt x="169312" y="89474"/>
                  </a:moveTo>
                  <a:cubicBezTo>
                    <a:pt x="161741" y="89474"/>
                    <a:pt x="155547" y="81903"/>
                    <a:pt x="155547" y="71579"/>
                  </a:cubicBezTo>
                  <a:lnTo>
                    <a:pt x="155547" y="17895"/>
                  </a:lnTo>
                  <a:cubicBezTo>
                    <a:pt x="155547" y="8259"/>
                    <a:pt x="161741" y="0"/>
                    <a:pt x="169312" y="0"/>
                  </a:cubicBezTo>
                  <a:cubicBezTo>
                    <a:pt x="176883" y="0"/>
                    <a:pt x="183077" y="7571"/>
                    <a:pt x="183077" y="17895"/>
                  </a:cubicBezTo>
                  <a:lnTo>
                    <a:pt x="183077" y="72267"/>
                  </a:lnTo>
                  <a:cubicBezTo>
                    <a:pt x="181701" y="81903"/>
                    <a:pt x="176195" y="89474"/>
                    <a:pt x="169312" y="89474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5661192B-5CCB-CBD4-3333-FC8F3B688025}"/>
              </a:ext>
            </a:extLst>
          </p:cNvPr>
          <p:cNvGrpSpPr/>
          <p:nvPr/>
        </p:nvGrpSpPr>
        <p:grpSpPr>
          <a:xfrm>
            <a:off x="5079305" y="3352264"/>
            <a:ext cx="424112" cy="443754"/>
            <a:chOff x="3193522" y="5222129"/>
            <a:chExt cx="424112" cy="443754"/>
          </a:xfrm>
          <a:solidFill>
            <a:schemeClr val="tx1"/>
          </a:solidFill>
        </p:grpSpPr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CF7328C-C472-4077-04B0-58F82B400E28}"/>
                </a:ext>
              </a:extLst>
            </p:cNvPr>
            <p:cNvSpPr/>
            <p:nvPr/>
          </p:nvSpPr>
          <p:spPr>
            <a:xfrm>
              <a:off x="3342330" y="5358232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rgbClr val="3361F5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DB126E2-0030-D1C4-F460-D930D37F5F3D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3956B92-6FAD-05EF-0B33-C1C9025835E1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47FDFFEE-7704-4711-0B49-98D764DCB604}"/>
              </a:ext>
            </a:extLst>
          </p:cNvPr>
          <p:cNvGrpSpPr/>
          <p:nvPr/>
        </p:nvGrpSpPr>
        <p:grpSpPr>
          <a:xfrm>
            <a:off x="3563873" y="3405776"/>
            <a:ext cx="442449" cy="443928"/>
            <a:chOff x="1406740" y="5275641"/>
            <a:chExt cx="442449" cy="443928"/>
          </a:xfrm>
          <a:solidFill>
            <a:schemeClr val="tx1"/>
          </a:solidFill>
        </p:grpSpPr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9ED4B04C-FF9F-60AF-9467-1813E3CADE2D}"/>
                </a:ext>
              </a:extLst>
            </p:cNvPr>
            <p:cNvSpPr/>
            <p:nvPr/>
          </p:nvSpPr>
          <p:spPr>
            <a:xfrm>
              <a:off x="1573885" y="5444265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rgbClr val="3361F5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A1B4257-CD23-788E-DCD4-DBD9BD43C0C3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700C523A-FBB5-31DE-4F1E-6B8ED0E28AA1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931B8F73-9F60-2993-A872-5B3AE5B2D21A}"/>
              </a:ext>
            </a:extLst>
          </p:cNvPr>
          <p:cNvGrpSpPr/>
          <p:nvPr/>
        </p:nvGrpSpPr>
        <p:grpSpPr>
          <a:xfrm>
            <a:off x="8094217" y="3383326"/>
            <a:ext cx="442820" cy="452298"/>
            <a:chOff x="10357510" y="5253191"/>
            <a:chExt cx="362769" cy="370534"/>
          </a:xfrm>
          <a:solidFill>
            <a:schemeClr val="tx1"/>
          </a:solidFill>
        </p:grpSpPr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02DAE515-05F9-BDC2-5344-76D00F01EFFE}"/>
                </a:ext>
              </a:extLst>
            </p:cNvPr>
            <p:cNvSpPr/>
            <p:nvPr/>
          </p:nvSpPr>
          <p:spPr>
            <a:xfrm>
              <a:off x="10498402" y="5401849"/>
              <a:ext cx="221877" cy="221876"/>
            </a:xfrm>
            <a:custGeom>
              <a:avLst/>
              <a:gdLst>
                <a:gd name="connsiteX0" fmla="*/ 0 w 221877"/>
                <a:gd name="connsiteY0" fmla="*/ 110938 h 221876"/>
                <a:gd name="connsiteX1" fmla="*/ 110939 w 221877"/>
                <a:gd name="connsiteY1" fmla="*/ 221877 h 221876"/>
                <a:gd name="connsiteX2" fmla="*/ 221877 w 221877"/>
                <a:gd name="connsiteY2" fmla="*/ 110938 h 221876"/>
                <a:gd name="connsiteX3" fmla="*/ 110939 w 221877"/>
                <a:gd name="connsiteY3" fmla="*/ 0 h 221876"/>
                <a:gd name="connsiteX4" fmla="*/ 0 w 221877"/>
                <a:gd name="connsiteY4" fmla="*/ 110938 h 22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77" h="221876">
                  <a:moveTo>
                    <a:pt x="0" y="110938"/>
                  </a:moveTo>
                  <a:cubicBezTo>
                    <a:pt x="0" y="172208"/>
                    <a:pt x="49669" y="221877"/>
                    <a:pt x="110939" y="221877"/>
                  </a:cubicBezTo>
                  <a:cubicBezTo>
                    <a:pt x="172208" y="221877"/>
                    <a:pt x="221877" y="172208"/>
                    <a:pt x="221877" y="110938"/>
                  </a:cubicBezTo>
                  <a:cubicBezTo>
                    <a:pt x="221877" y="49669"/>
                    <a:pt x="172208" y="0"/>
                    <a:pt x="110939" y="0"/>
                  </a:cubicBezTo>
                  <a:cubicBezTo>
                    <a:pt x="49669" y="0"/>
                    <a:pt x="0" y="49669"/>
                    <a:pt x="0" y="110938"/>
                  </a:cubicBezTo>
                  <a:close/>
                </a:path>
              </a:pathLst>
            </a:custGeom>
            <a:solidFill>
              <a:srgbClr val="3361F5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CAC36599-377A-C18D-835B-DC5B91225254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943213B5-E9D6-410E-6C7F-10A481C712C6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AFCBEB4A-174D-20D7-6EB0-0683F5707083}"/>
              </a:ext>
            </a:extLst>
          </p:cNvPr>
          <p:cNvGrpSpPr/>
          <p:nvPr/>
        </p:nvGrpSpPr>
        <p:grpSpPr>
          <a:xfrm>
            <a:off x="9589754" y="3367619"/>
            <a:ext cx="409440" cy="401531"/>
            <a:chOff x="6770455" y="5253911"/>
            <a:chExt cx="409440" cy="401531"/>
          </a:xfrm>
          <a:solidFill>
            <a:schemeClr val="tx1"/>
          </a:solidFill>
        </p:grpSpPr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F62F5F1A-5372-1BEC-77C9-21CBA3B7B81B}"/>
                </a:ext>
              </a:extLst>
            </p:cNvPr>
            <p:cNvSpPr/>
            <p:nvPr/>
          </p:nvSpPr>
          <p:spPr>
            <a:xfrm>
              <a:off x="6941155" y="5416702"/>
              <a:ext cx="238740" cy="238740"/>
            </a:xfrm>
            <a:custGeom>
              <a:avLst/>
              <a:gdLst>
                <a:gd name="connsiteX0" fmla="*/ 0 w 238740"/>
                <a:gd name="connsiteY0" fmla="*/ 119370 h 238740"/>
                <a:gd name="connsiteX1" fmla="*/ 119370 w 238740"/>
                <a:gd name="connsiteY1" fmla="*/ 238740 h 238740"/>
                <a:gd name="connsiteX2" fmla="*/ 238740 w 238740"/>
                <a:gd name="connsiteY2" fmla="*/ 119370 h 238740"/>
                <a:gd name="connsiteX3" fmla="*/ 119370 w 238740"/>
                <a:gd name="connsiteY3" fmla="*/ 0 h 238740"/>
                <a:gd name="connsiteX4" fmla="*/ 0 w 238740"/>
                <a:gd name="connsiteY4" fmla="*/ 119370 h 23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40" h="238740">
                  <a:moveTo>
                    <a:pt x="0" y="119370"/>
                  </a:moveTo>
                  <a:cubicBezTo>
                    <a:pt x="0" y="185296"/>
                    <a:pt x="53444" y="238740"/>
                    <a:pt x="119370" y="238740"/>
                  </a:cubicBezTo>
                  <a:cubicBezTo>
                    <a:pt x="185296" y="238740"/>
                    <a:pt x="238740" y="185296"/>
                    <a:pt x="238740" y="119370"/>
                  </a:cubicBezTo>
                  <a:cubicBezTo>
                    <a:pt x="238740" y="53444"/>
                    <a:pt x="185296" y="0"/>
                    <a:pt x="119370" y="0"/>
                  </a:cubicBezTo>
                  <a:cubicBezTo>
                    <a:pt x="53444" y="0"/>
                    <a:pt x="0" y="53444"/>
                    <a:pt x="0" y="119370"/>
                  </a:cubicBezTo>
                  <a:close/>
                </a:path>
              </a:pathLst>
            </a:custGeom>
            <a:solidFill>
              <a:srgbClr val="3361F5"/>
            </a:solidFill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52" name="组合 51">
              <a:extLst>
                <a:ext uri="{FF2B5EF4-FFF2-40B4-BE49-F238E27FC236}">
                  <a16:creationId xmlns:a16="http://schemas.microsoft.com/office/drawing/2014/main" id="{A5F90078-5B6F-62AC-117A-1C2AC94513D5}"/>
                </a:ext>
              </a:extLst>
            </p:cNvPr>
            <p:cNvGrpSpPr/>
            <p:nvPr/>
          </p:nvGrpSpPr>
          <p:grpSpPr>
            <a:xfrm>
              <a:off x="6770455" y="5253911"/>
              <a:ext cx="387355" cy="378253"/>
              <a:chOff x="6770455" y="5253911"/>
              <a:chExt cx="387355" cy="378253"/>
            </a:xfrm>
            <a:grpFill/>
          </p:grpSpPr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377E79CF-DB06-C9EA-1AE7-9352D0CA85E5}"/>
                  </a:ext>
                </a:extLst>
              </p:cNvPr>
              <p:cNvSpPr/>
              <p:nvPr/>
            </p:nvSpPr>
            <p:spPr>
              <a:xfrm>
                <a:off x="6770455" y="5253911"/>
                <a:ext cx="387355" cy="378253"/>
              </a:xfrm>
              <a:custGeom>
                <a:avLst/>
                <a:gdLst>
                  <a:gd name="connsiteX0" fmla="*/ 291860 w 387355"/>
                  <a:gd name="connsiteY0" fmla="*/ 378254 h 378253"/>
                  <a:gd name="connsiteX1" fmla="*/ 95496 w 387355"/>
                  <a:gd name="connsiteY1" fmla="*/ 378254 h 378253"/>
                  <a:gd name="connsiteX2" fmla="*/ 0 w 387355"/>
                  <a:gd name="connsiteY2" fmla="*/ 282758 h 378253"/>
                  <a:gd name="connsiteX3" fmla="*/ 0 w 387355"/>
                  <a:gd name="connsiteY3" fmla="*/ 168162 h 378253"/>
                  <a:gd name="connsiteX4" fmla="*/ 38198 w 387355"/>
                  <a:gd name="connsiteY4" fmla="*/ 91169 h 378253"/>
                  <a:gd name="connsiteX5" fmla="*/ 133098 w 387355"/>
                  <a:gd name="connsiteY5" fmla="*/ 20144 h 378253"/>
                  <a:gd name="connsiteX6" fmla="*/ 254855 w 387355"/>
                  <a:gd name="connsiteY6" fmla="*/ 20144 h 378253"/>
                  <a:gd name="connsiteX7" fmla="*/ 349157 w 387355"/>
                  <a:gd name="connsiteY7" fmla="*/ 91169 h 378253"/>
                  <a:gd name="connsiteX8" fmla="*/ 387356 w 387355"/>
                  <a:gd name="connsiteY8" fmla="*/ 168162 h 378253"/>
                  <a:gd name="connsiteX9" fmla="*/ 387356 w 387355"/>
                  <a:gd name="connsiteY9" fmla="*/ 282161 h 378253"/>
                  <a:gd name="connsiteX10" fmla="*/ 291860 w 387355"/>
                  <a:gd name="connsiteY10" fmla="*/ 378254 h 378253"/>
                  <a:gd name="connsiteX11" fmla="*/ 147422 w 387355"/>
                  <a:gd name="connsiteY11" fmla="*/ 39840 h 378253"/>
                  <a:gd name="connsiteX12" fmla="*/ 52523 w 387355"/>
                  <a:gd name="connsiteY12" fmla="*/ 110865 h 378253"/>
                  <a:gd name="connsiteX13" fmla="*/ 23874 w 387355"/>
                  <a:gd name="connsiteY13" fmla="*/ 168759 h 378253"/>
                  <a:gd name="connsiteX14" fmla="*/ 23874 w 387355"/>
                  <a:gd name="connsiteY14" fmla="*/ 282758 h 378253"/>
                  <a:gd name="connsiteX15" fmla="*/ 95496 w 387355"/>
                  <a:gd name="connsiteY15" fmla="*/ 354380 h 378253"/>
                  <a:gd name="connsiteX16" fmla="*/ 291860 w 387355"/>
                  <a:gd name="connsiteY16" fmla="*/ 354380 h 378253"/>
                  <a:gd name="connsiteX17" fmla="*/ 363482 w 387355"/>
                  <a:gd name="connsiteY17" fmla="*/ 282758 h 378253"/>
                  <a:gd name="connsiteX18" fmla="*/ 363482 w 387355"/>
                  <a:gd name="connsiteY18" fmla="*/ 168162 h 378253"/>
                  <a:gd name="connsiteX19" fmla="*/ 334833 w 387355"/>
                  <a:gd name="connsiteY19" fmla="*/ 110268 h 378253"/>
                  <a:gd name="connsiteX20" fmla="*/ 240531 w 387355"/>
                  <a:gd name="connsiteY20" fmla="*/ 39243 h 378253"/>
                  <a:gd name="connsiteX21" fmla="*/ 147422 w 387355"/>
                  <a:gd name="connsiteY21" fmla="*/ 39840 h 37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7355" h="378253">
                    <a:moveTo>
                      <a:pt x="291860" y="378254"/>
                    </a:moveTo>
                    <a:lnTo>
                      <a:pt x="95496" y="378254"/>
                    </a:lnTo>
                    <a:cubicBezTo>
                      <a:pt x="42973" y="378254"/>
                      <a:pt x="0" y="335281"/>
                      <a:pt x="0" y="282758"/>
                    </a:cubicBezTo>
                    <a:lnTo>
                      <a:pt x="0" y="168162"/>
                    </a:lnTo>
                    <a:cubicBezTo>
                      <a:pt x="0" y="137723"/>
                      <a:pt x="14324" y="109074"/>
                      <a:pt x="38198" y="91169"/>
                    </a:cubicBezTo>
                    <a:lnTo>
                      <a:pt x="133098" y="20144"/>
                    </a:lnTo>
                    <a:cubicBezTo>
                      <a:pt x="169505" y="-6715"/>
                      <a:pt x="218447" y="-6715"/>
                      <a:pt x="254855" y="20144"/>
                    </a:cubicBezTo>
                    <a:lnTo>
                      <a:pt x="349157" y="91169"/>
                    </a:lnTo>
                    <a:cubicBezTo>
                      <a:pt x="373628" y="109671"/>
                      <a:pt x="387356" y="137723"/>
                      <a:pt x="387356" y="168162"/>
                    </a:cubicBezTo>
                    <a:lnTo>
                      <a:pt x="387356" y="282161"/>
                    </a:lnTo>
                    <a:cubicBezTo>
                      <a:pt x="387356" y="335281"/>
                      <a:pt x="344382" y="378254"/>
                      <a:pt x="291860" y="378254"/>
                    </a:cubicBezTo>
                    <a:close/>
                    <a:moveTo>
                      <a:pt x="147422" y="39840"/>
                    </a:moveTo>
                    <a:lnTo>
                      <a:pt x="52523" y="110865"/>
                    </a:lnTo>
                    <a:cubicBezTo>
                      <a:pt x="34617" y="123996"/>
                      <a:pt x="23874" y="145482"/>
                      <a:pt x="23874" y="168759"/>
                    </a:cubicBezTo>
                    <a:lnTo>
                      <a:pt x="23874" y="282758"/>
                    </a:lnTo>
                    <a:cubicBezTo>
                      <a:pt x="23874" y="322150"/>
                      <a:pt x="56104" y="354380"/>
                      <a:pt x="95496" y="354380"/>
                    </a:cubicBezTo>
                    <a:lnTo>
                      <a:pt x="291860" y="354380"/>
                    </a:lnTo>
                    <a:cubicBezTo>
                      <a:pt x="331252" y="354380"/>
                      <a:pt x="363482" y="322150"/>
                      <a:pt x="363482" y="282758"/>
                    </a:cubicBezTo>
                    <a:lnTo>
                      <a:pt x="363482" y="168162"/>
                    </a:lnTo>
                    <a:cubicBezTo>
                      <a:pt x="363482" y="145482"/>
                      <a:pt x="352738" y="124592"/>
                      <a:pt x="334833" y="110268"/>
                    </a:cubicBezTo>
                    <a:lnTo>
                      <a:pt x="240531" y="39243"/>
                    </a:lnTo>
                    <a:cubicBezTo>
                      <a:pt x="212479" y="18950"/>
                      <a:pt x="174877" y="18950"/>
                      <a:pt x="147422" y="39840"/>
                    </a:cubicBez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9A22DCD6-09C7-CE48-E137-5CEE8EA92827}"/>
                  </a:ext>
                </a:extLst>
              </p:cNvPr>
              <p:cNvSpPr/>
              <p:nvPr/>
            </p:nvSpPr>
            <p:spPr>
              <a:xfrm>
                <a:off x="6905100" y="5482249"/>
                <a:ext cx="118526" cy="53225"/>
              </a:xfrm>
              <a:custGeom>
                <a:avLst/>
                <a:gdLst>
                  <a:gd name="connsiteX0" fmla="*/ 58735 w 118526"/>
                  <a:gd name="connsiteY0" fmla="*/ 53226 h 53225"/>
                  <a:gd name="connsiteX1" fmla="*/ 1438 w 118526"/>
                  <a:gd name="connsiteY1" fmla="*/ 18012 h 53225"/>
                  <a:gd name="connsiteX2" fmla="*/ 5616 w 118526"/>
                  <a:gd name="connsiteY2" fmla="*/ 2494 h 53225"/>
                  <a:gd name="connsiteX3" fmla="*/ 21134 w 118526"/>
                  <a:gd name="connsiteY3" fmla="*/ 6672 h 53225"/>
                  <a:gd name="connsiteX4" fmla="*/ 59332 w 118526"/>
                  <a:gd name="connsiteY4" fmla="*/ 30546 h 53225"/>
                  <a:gd name="connsiteX5" fmla="*/ 96934 w 118526"/>
                  <a:gd name="connsiteY5" fmla="*/ 6075 h 53225"/>
                  <a:gd name="connsiteX6" fmla="*/ 112452 w 118526"/>
                  <a:gd name="connsiteY6" fmla="*/ 1300 h 53225"/>
                  <a:gd name="connsiteX7" fmla="*/ 117227 w 118526"/>
                  <a:gd name="connsiteY7" fmla="*/ 16818 h 53225"/>
                  <a:gd name="connsiteX8" fmla="*/ 60526 w 118526"/>
                  <a:gd name="connsiteY8" fmla="*/ 53226 h 53225"/>
                  <a:gd name="connsiteX9" fmla="*/ 58735 w 118526"/>
                  <a:gd name="connsiteY9" fmla="*/ 53226 h 5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526" h="53225">
                    <a:moveTo>
                      <a:pt x="58735" y="53226"/>
                    </a:moveTo>
                    <a:cubicBezTo>
                      <a:pt x="35458" y="53226"/>
                      <a:pt x="13971" y="40095"/>
                      <a:pt x="1438" y="18012"/>
                    </a:cubicBezTo>
                    <a:cubicBezTo>
                      <a:pt x="-1547" y="12640"/>
                      <a:pt x="244" y="5478"/>
                      <a:pt x="5616" y="2494"/>
                    </a:cubicBezTo>
                    <a:cubicBezTo>
                      <a:pt x="10987" y="-491"/>
                      <a:pt x="18149" y="1300"/>
                      <a:pt x="21134" y="6672"/>
                    </a:cubicBezTo>
                    <a:cubicBezTo>
                      <a:pt x="29490" y="21593"/>
                      <a:pt x="44411" y="30546"/>
                      <a:pt x="59332" y="30546"/>
                    </a:cubicBezTo>
                    <a:cubicBezTo>
                      <a:pt x="74850" y="30546"/>
                      <a:pt x="88578" y="20996"/>
                      <a:pt x="96934" y="6075"/>
                    </a:cubicBezTo>
                    <a:cubicBezTo>
                      <a:pt x="99918" y="703"/>
                      <a:pt x="107080" y="-1684"/>
                      <a:pt x="112452" y="1300"/>
                    </a:cubicBezTo>
                    <a:cubicBezTo>
                      <a:pt x="117823" y="4284"/>
                      <a:pt x="120211" y="11446"/>
                      <a:pt x="117227" y="16818"/>
                    </a:cubicBezTo>
                    <a:cubicBezTo>
                      <a:pt x="105290" y="38902"/>
                      <a:pt x="83803" y="52629"/>
                      <a:pt x="60526" y="53226"/>
                    </a:cubicBezTo>
                    <a:lnTo>
                      <a:pt x="58735" y="53226"/>
                    </a:ln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28426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F41496B-356D-9886-7A5B-CB000DC64080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27C9FE8-177B-7369-BBC1-2C66B2E6B6F0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072C026-A317-7BED-F239-5F6185D3A4CB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F66844BF-B356-60DC-2A52-4A6F89DDB421}"/>
              </a:ext>
            </a:extLst>
          </p:cNvPr>
          <p:cNvGrpSpPr>
            <a:grpSpLocks/>
          </p:cNvGrpSpPr>
          <p:nvPr/>
        </p:nvGrpSpPr>
        <p:grpSpPr>
          <a:xfrm>
            <a:off x="1221740" y="2004682"/>
            <a:ext cx="9888220" cy="3971706"/>
            <a:chOff x="2376487" y="1947862"/>
            <a:chExt cx="7438644" cy="2961513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A045408F-0CA2-8E84-3144-59573CEEA627}"/>
                </a:ext>
              </a:extLst>
            </p:cNvPr>
            <p:cNvSpPr/>
            <p:nvPr/>
          </p:nvSpPr>
          <p:spPr>
            <a:xfrm>
              <a:off x="2376487" y="1947862"/>
              <a:ext cx="7438644" cy="2961513"/>
            </a:xfrm>
            <a:custGeom>
              <a:avLst/>
              <a:gdLst>
                <a:gd name="connsiteX0" fmla="*/ 0 w 7438644"/>
                <a:gd name="connsiteY0" fmla="*/ 526352 h 2961513"/>
                <a:gd name="connsiteX1" fmla="*/ 0 w 7438644"/>
                <a:gd name="connsiteY1" fmla="*/ 0 h 2961513"/>
                <a:gd name="connsiteX2" fmla="*/ 1170623 w 7438644"/>
                <a:gd name="connsiteY2" fmla="*/ 0 h 2961513"/>
                <a:gd name="connsiteX3" fmla="*/ 1170623 w 7438644"/>
                <a:gd name="connsiteY3" fmla="*/ 1421702 h 2961513"/>
                <a:gd name="connsiteX4" fmla="*/ 6212491 w 7438644"/>
                <a:gd name="connsiteY4" fmla="*/ 1421702 h 2961513"/>
                <a:gd name="connsiteX5" fmla="*/ 6212491 w 7438644"/>
                <a:gd name="connsiteY5" fmla="*/ 2961513 h 2961513"/>
                <a:gd name="connsiteX6" fmla="*/ 7438644 w 7438644"/>
                <a:gd name="connsiteY6" fmla="*/ 2961513 h 2961513"/>
                <a:gd name="connsiteX7" fmla="*/ 7438644 w 7438644"/>
                <a:gd name="connsiteY7" fmla="*/ 2082070 h 2961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38644" h="2961513">
                  <a:moveTo>
                    <a:pt x="0" y="526352"/>
                  </a:moveTo>
                  <a:lnTo>
                    <a:pt x="0" y="0"/>
                  </a:lnTo>
                  <a:lnTo>
                    <a:pt x="1170623" y="0"/>
                  </a:lnTo>
                  <a:lnTo>
                    <a:pt x="1170623" y="1421702"/>
                  </a:lnTo>
                  <a:lnTo>
                    <a:pt x="6212491" y="1421702"/>
                  </a:lnTo>
                  <a:lnTo>
                    <a:pt x="6212491" y="2961513"/>
                  </a:lnTo>
                  <a:lnTo>
                    <a:pt x="7438644" y="2961513"/>
                  </a:lnTo>
                  <a:lnTo>
                    <a:pt x="7438644" y="2082070"/>
                  </a:lnTo>
                </a:path>
              </a:pathLst>
            </a:custGeom>
            <a:noFill/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OPPOSans R" panose="00020600040101010101" pitchFamily="18" charset="-122"/>
                <a:ea typeface="微软雅黑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AAB3873-7DC7-F607-3F73-0D3A13941A55}"/>
                </a:ext>
              </a:extLst>
            </p:cNvPr>
            <p:cNvSpPr/>
            <p:nvPr/>
          </p:nvSpPr>
          <p:spPr>
            <a:xfrm>
              <a:off x="2376487" y="1947862"/>
              <a:ext cx="7438644" cy="2961513"/>
            </a:xfrm>
            <a:custGeom>
              <a:avLst/>
              <a:gdLst>
                <a:gd name="connsiteX0" fmla="*/ 7438644 w 7438644"/>
                <a:gd name="connsiteY0" fmla="*/ 526352 h 2961513"/>
                <a:gd name="connsiteX1" fmla="*/ 7438644 w 7438644"/>
                <a:gd name="connsiteY1" fmla="*/ 0 h 2961513"/>
                <a:gd name="connsiteX2" fmla="*/ 3672554 w 7438644"/>
                <a:gd name="connsiteY2" fmla="*/ 0 h 2961513"/>
                <a:gd name="connsiteX3" fmla="*/ 3672554 w 7438644"/>
                <a:gd name="connsiteY3" fmla="*/ 2961513 h 2961513"/>
                <a:gd name="connsiteX4" fmla="*/ 0 w 7438644"/>
                <a:gd name="connsiteY4" fmla="*/ 2961513 h 2961513"/>
                <a:gd name="connsiteX5" fmla="*/ 0 w 7438644"/>
                <a:gd name="connsiteY5" fmla="*/ 2082070 h 2961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38644" h="2961513">
                  <a:moveTo>
                    <a:pt x="7438644" y="526352"/>
                  </a:moveTo>
                  <a:lnTo>
                    <a:pt x="7438644" y="0"/>
                  </a:lnTo>
                  <a:lnTo>
                    <a:pt x="3672554" y="0"/>
                  </a:lnTo>
                  <a:lnTo>
                    <a:pt x="3672554" y="2961513"/>
                  </a:lnTo>
                  <a:lnTo>
                    <a:pt x="0" y="2961513"/>
                  </a:lnTo>
                  <a:lnTo>
                    <a:pt x="0" y="2082070"/>
                  </a:lnTo>
                </a:path>
              </a:pathLst>
            </a:custGeom>
            <a:noFill/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OPPOSans R" panose="00020600040101010101" pitchFamily="18" charset="-122"/>
                <a:ea typeface="微软雅黑"/>
              </a:endParaRPr>
            </a:p>
          </p:txBody>
        </p:sp>
      </p:grp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CDBB0F2C-5AA7-5AC9-E866-FA7746B03D20}"/>
              </a:ext>
            </a:extLst>
          </p:cNvPr>
          <p:cNvSpPr>
            <a:spLocks/>
          </p:cNvSpPr>
          <p:nvPr/>
        </p:nvSpPr>
        <p:spPr>
          <a:xfrm>
            <a:off x="8952894" y="4552680"/>
            <a:ext cx="1021961" cy="33678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1C69765C-8B21-111F-E530-17F7CEB476AD}"/>
              </a:ext>
            </a:extLst>
          </p:cNvPr>
          <p:cNvSpPr>
            <a:spLocks/>
          </p:cNvSpPr>
          <p:nvPr/>
        </p:nvSpPr>
        <p:spPr>
          <a:xfrm>
            <a:off x="5372546" y="4760874"/>
            <a:ext cx="1387829" cy="479438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751950BB-AB68-5E8B-6853-BF4D06A26BD5}"/>
              </a:ext>
            </a:extLst>
          </p:cNvPr>
          <p:cNvSpPr>
            <a:spLocks/>
          </p:cNvSpPr>
          <p:nvPr/>
        </p:nvSpPr>
        <p:spPr>
          <a:xfrm>
            <a:off x="11068050" y="2666560"/>
            <a:ext cx="88900" cy="889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352E966B-E6D8-3547-B8A2-F34007E8245D}"/>
              </a:ext>
            </a:extLst>
          </p:cNvPr>
          <p:cNvSpPr>
            <a:spLocks/>
          </p:cNvSpPr>
          <p:nvPr/>
        </p:nvSpPr>
        <p:spPr>
          <a:xfrm>
            <a:off x="1181100" y="2666560"/>
            <a:ext cx="88900" cy="889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BBC3B397-4C62-ED76-360C-0CA522F0CB02}"/>
              </a:ext>
            </a:extLst>
          </p:cNvPr>
          <p:cNvSpPr>
            <a:spLocks/>
          </p:cNvSpPr>
          <p:nvPr/>
        </p:nvSpPr>
        <p:spPr>
          <a:xfrm>
            <a:off x="1174750" y="4762060"/>
            <a:ext cx="88900" cy="889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914ABEBA-D0FC-216E-732C-31B4A14D253F}"/>
              </a:ext>
            </a:extLst>
          </p:cNvPr>
          <p:cNvSpPr>
            <a:spLocks/>
          </p:cNvSpPr>
          <p:nvPr/>
        </p:nvSpPr>
        <p:spPr>
          <a:xfrm>
            <a:off x="11068050" y="4733441"/>
            <a:ext cx="88900" cy="889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4" name="Object 1010">
            <a:extLst>
              <a:ext uri="{FF2B5EF4-FFF2-40B4-BE49-F238E27FC236}">
                <a16:creationId xmlns:a16="http://schemas.microsoft.com/office/drawing/2014/main" id="{5B3B0831-B0C7-393D-696C-91F5F691CEAE}"/>
              </a:ext>
            </a:extLst>
          </p:cNvPr>
          <p:cNvSpPr txBox="1"/>
          <p:nvPr/>
        </p:nvSpPr>
        <p:spPr>
          <a:xfrm>
            <a:off x="10701503" y="2769664"/>
            <a:ext cx="847992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r>
              <a:rPr lang="en-US" altLang="zh-CN" dirty="0"/>
              <a:t>-</a:t>
            </a:r>
            <a:r>
              <a:rPr lang="zh-CN" altLang="en-US" dirty="0"/>
              <a:t>多表关联</a:t>
            </a:r>
          </a:p>
          <a:p>
            <a:r>
              <a:rPr lang="en-US" altLang="zh-CN" dirty="0"/>
              <a:t>-</a:t>
            </a:r>
            <a:r>
              <a:rPr lang="zh-CN" altLang="en-US" dirty="0"/>
              <a:t>数据聚合</a:t>
            </a:r>
          </a:p>
        </p:txBody>
      </p:sp>
      <p:sp>
        <p:nvSpPr>
          <p:cNvPr id="15" name="Object 1011">
            <a:extLst>
              <a:ext uri="{FF2B5EF4-FFF2-40B4-BE49-F238E27FC236}">
                <a16:creationId xmlns:a16="http://schemas.microsoft.com/office/drawing/2014/main" id="{0796FDA9-C52F-48E8-FE35-F0A8357EB8D6}"/>
              </a:ext>
            </a:extLst>
          </p:cNvPr>
          <p:cNvSpPr txBox="1"/>
          <p:nvPr/>
        </p:nvSpPr>
        <p:spPr>
          <a:xfrm>
            <a:off x="10705513" y="4134602"/>
            <a:ext cx="847992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r>
              <a:rPr lang="en-US" altLang="zh-CN" dirty="0"/>
              <a:t>-</a:t>
            </a:r>
            <a:r>
              <a:rPr lang="zh-CN" altLang="en-US" dirty="0"/>
              <a:t>筛选分析</a:t>
            </a:r>
          </a:p>
          <a:p>
            <a:r>
              <a:rPr lang="en-US" altLang="zh-CN" dirty="0"/>
              <a:t>-</a:t>
            </a:r>
            <a:r>
              <a:rPr lang="zh-CN" altLang="en-US" dirty="0"/>
              <a:t>公式函数</a:t>
            </a:r>
          </a:p>
          <a:p>
            <a:r>
              <a:rPr lang="en-US" altLang="zh-CN" dirty="0"/>
              <a:t>-</a:t>
            </a:r>
            <a:r>
              <a:rPr lang="zh-CN" altLang="en-US" dirty="0"/>
              <a:t>对比拆分</a:t>
            </a:r>
          </a:p>
        </p:txBody>
      </p:sp>
      <p:sp>
        <p:nvSpPr>
          <p:cNvPr id="16" name="Object 1012">
            <a:extLst>
              <a:ext uri="{FF2B5EF4-FFF2-40B4-BE49-F238E27FC236}">
                <a16:creationId xmlns:a16="http://schemas.microsoft.com/office/drawing/2014/main" id="{EBBEA844-17F1-B1C8-2C4B-ADEC8A09DC0A}"/>
              </a:ext>
            </a:extLst>
          </p:cNvPr>
          <p:cNvSpPr txBox="1"/>
          <p:nvPr/>
        </p:nvSpPr>
        <p:spPr>
          <a:xfrm>
            <a:off x="1199122" y="2801362"/>
            <a:ext cx="847991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r>
              <a:rPr lang="en-US" altLang="zh-CN" dirty="0"/>
              <a:t>-</a:t>
            </a:r>
            <a:r>
              <a:rPr lang="zh-CN" altLang="en-US" dirty="0"/>
              <a:t>本地数据</a:t>
            </a:r>
          </a:p>
          <a:p>
            <a:r>
              <a:rPr lang="en-US" altLang="zh-CN" dirty="0"/>
              <a:t>-</a:t>
            </a:r>
            <a:r>
              <a:rPr lang="zh-CN" altLang="en-US" dirty="0"/>
              <a:t>第三方数据</a:t>
            </a:r>
          </a:p>
          <a:p>
            <a:r>
              <a:rPr lang="en-US" altLang="zh-CN" dirty="0"/>
              <a:t>-</a:t>
            </a:r>
            <a:r>
              <a:rPr lang="zh-CN" altLang="en-US" dirty="0"/>
              <a:t>公共数据</a:t>
            </a:r>
          </a:p>
        </p:txBody>
      </p:sp>
      <p:sp>
        <p:nvSpPr>
          <p:cNvPr id="17" name="Object 1013">
            <a:extLst>
              <a:ext uri="{FF2B5EF4-FFF2-40B4-BE49-F238E27FC236}">
                <a16:creationId xmlns:a16="http://schemas.microsoft.com/office/drawing/2014/main" id="{FB96B6BC-F31A-EC3B-837F-C8BBABC5E798}"/>
              </a:ext>
            </a:extLst>
          </p:cNvPr>
          <p:cNvSpPr txBox="1"/>
          <p:nvPr/>
        </p:nvSpPr>
        <p:spPr>
          <a:xfrm>
            <a:off x="1179070" y="4122078"/>
            <a:ext cx="847991" cy="537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r>
              <a:rPr lang="en-US" altLang="zh-CN" dirty="0"/>
              <a:t>-</a:t>
            </a:r>
            <a:r>
              <a:rPr lang="zh-CN" altLang="en-US" dirty="0"/>
              <a:t>用户分组</a:t>
            </a:r>
          </a:p>
          <a:p>
            <a:r>
              <a:rPr lang="en-US" altLang="zh-CN" dirty="0"/>
              <a:t>-</a:t>
            </a:r>
            <a:r>
              <a:rPr lang="zh-CN" altLang="en-US" dirty="0"/>
              <a:t>团队协作</a:t>
            </a:r>
          </a:p>
          <a:p>
            <a:r>
              <a:rPr lang="en-US" altLang="zh-CN" dirty="0"/>
              <a:t>-</a:t>
            </a:r>
            <a:r>
              <a:rPr lang="zh-CN" altLang="en-US" dirty="0"/>
              <a:t>内容分发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722FD758-7C57-8685-C505-61A46E3572E3}"/>
              </a:ext>
            </a:extLst>
          </p:cNvPr>
          <p:cNvSpPr>
            <a:spLocks/>
          </p:cNvSpPr>
          <p:nvPr/>
        </p:nvSpPr>
        <p:spPr>
          <a:xfrm>
            <a:off x="1778000" y="1701360"/>
            <a:ext cx="1930400" cy="64135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9" name="Object 1017">
            <a:extLst>
              <a:ext uri="{FF2B5EF4-FFF2-40B4-BE49-F238E27FC236}">
                <a16:creationId xmlns:a16="http://schemas.microsoft.com/office/drawing/2014/main" id="{889DCE11-C089-968E-2B52-4C2071697487}"/>
              </a:ext>
            </a:extLst>
          </p:cNvPr>
          <p:cNvSpPr txBox="1"/>
          <p:nvPr/>
        </p:nvSpPr>
        <p:spPr>
          <a:xfrm>
            <a:off x="1863033" y="1820365"/>
            <a:ext cx="1760335" cy="403340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38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prstClr val="black">
                      <a:alpha val="15000"/>
                    </a:prstClr>
                  </a:outerShdw>
                </a:effectLst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数据整合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152400" dist="38100" dir="5400000" algn="t" rotWithShape="0">
                  <a:prstClr val="black">
                    <a:alpha val="15000"/>
                  </a:prstClr>
                </a:outerShdw>
              </a:effectLst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8C1846C4-F493-49F2-EAE2-9E64384AC904}"/>
              </a:ext>
            </a:extLst>
          </p:cNvPr>
          <p:cNvSpPr>
            <a:spLocks/>
          </p:cNvSpPr>
          <p:nvPr/>
        </p:nvSpPr>
        <p:spPr>
          <a:xfrm>
            <a:off x="1778000" y="5651060"/>
            <a:ext cx="1930400" cy="64135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1" name="Object 1025">
            <a:extLst>
              <a:ext uri="{FF2B5EF4-FFF2-40B4-BE49-F238E27FC236}">
                <a16:creationId xmlns:a16="http://schemas.microsoft.com/office/drawing/2014/main" id="{35767E9A-7DD6-0E8B-229F-AFB296B769FD}"/>
              </a:ext>
            </a:extLst>
          </p:cNvPr>
          <p:cNvSpPr txBox="1"/>
          <p:nvPr/>
        </p:nvSpPr>
        <p:spPr>
          <a:xfrm>
            <a:off x="1863033" y="5793758"/>
            <a:ext cx="1760335" cy="35595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38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prstClr val="black">
                      <a:alpha val="15000"/>
                    </a:prstClr>
                  </a:outerShdw>
                </a:effectLst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权限信息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152400" dist="38100" dir="5400000" algn="t" rotWithShape="0">
                  <a:prstClr val="black">
                    <a:alpha val="15000"/>
                  </a:prstClr>
                </a:outerShdw>
              </a:effectLst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A9DAD0DF-A62F-FED4-31C5-539E9C8A9ED0}"/>
              </a:ext>
            </a:extLst>
          </p:cNvPr>
          <p:cNvSpPr>
            <a:spLocks/>
          </p:cNvSpPr>
          <p:nvPr/>
        </p:nvSpPr>
        <p:spPr>
          <a:xfrm>
            <a:off x="4660413" y="3426973"/>
            <a:ext cx="2871174" cy="860911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3" name="Object 1033">
            <a:extLst>
              <a:ext uri="{FF2B5EF4-FFF2-40B4-BE49-F238E27FC236}">
                <a16:creationId xmlns:a16="http://schemas.microsoft.com/office/drawing/2014/main" id="{D61664F3-0B30-2955-71C4-AD0A56EF9D34}"/>
              </a:ext>
            </a:extLst>
          </p:cNvPr>
          <p:cNvSpPr txBox="1"/>
          <p:nvPr/>
        </p:nvSpPr>
        <p:spPr>
          <a:xfrm>
            <a:off x="4938868" y="3585965"/>
            <a:ext cx="2402190" cy="523876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52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prstClr val="black">
                      <a:alpha val="15000"/>
                    </a:prstClr>
                  </a:outerShdw>
                </a:effectLst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数据服务介绍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152400" dist="38100" dir="5400000" algn="t" rotWithShape="0">
                  <a:prstClr val="black">
                    <a:alpha val="15000"/>
                  </a:prstClr>
                </a:outerShdw>
              </a:effectLst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24" name="Object 1037">
            <a:extLst>
              <a:ext uri="{FF2B5EF4-FFF2-40B4-BE49-F238E27FC236}">
                <a16:creationId xmlns:a16="http://schemas.microsoft.com/office/drawing/2014/main" id="{364020FA-498C-350D-ECBF-0372AD85BB99}"/>
              </a:ext>
            </a:extLst>
          </p:cNvPr>
          <p:cNvSpPr txBox="1"/>
          <p:nvPr/>
        </p:nvSpPr>
        <p:spPr>
          <a:xfrm>
            <a:off x="5354562" y="4819210"/>
            <a:ext cx="1436230" cy="292330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38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srgbClr val="000000">
                      <a:lumMod val="95000"/>
                      <a:lumOff val="5000"/>
                      <a:alpha val="1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权限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152400" dist="38100" dir="5400000" algn="t" rotWithShape="0">
                  <a:srgbClr val="000000">
                    <a:lumMod val="95000"/>
                    <a:lumOff val="5000"/>
                    <a:alpha val="15000"/>
                  </a:srgbClr>
                </a:outerShdw>
              </a:effectLst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655BB260-AD9C-0C7B-16F9-CED033E55102}"/>
              </a:ext>
            </a:extLst>
          </p:cNvPr>
          <p:cNvSpPr>
            <a:spLocks/>
          </p:cNvSpPr>
          <p:nvPr/>
        </p:nvSpPr>
        <p:spPr>
          <a:xfrm>
            <a:off x="8509000" y="1701360"/>
            <a:ext cx="1930400" cy="64135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6" name="Object 1041">
            <a:extLst>
              <a:ext uri="{FF2B5EF4-FFF2-40B4-BE49-F238E27FC236}">
                <a16:creationId xmlns:a16="http://schemas.microsoft.com/office/drawing/2014/main" id="{FE0718AA-F81A-5515-5965-F53C9B820781}"/>
              </a:ext>
            </a:extLst>
          </p:cNvPr>
          <p:cNvSpPr txBox="1"/>
          <p:nvPr/>
        </p:nvSpPr>
        <p:spPr>
          <a:xfrm>
            <a:off x="8594033" y="1824196"/>
            <a:ext cx="1760335" cy="395678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38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prstClr val="black">
                      <a:alpha val="15000"/>
                    </a:prstClr>
                  </a:outerShdw>
                </a:effectLst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数据处理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152400" dist="38100" dir="5400000" algn="t" rotWithShape="0">
                  <a:prstClr val="black">
                    <a:alpha val="15000"/>
                  </a:prstClr>
                </a:outerShdw>
              </a:effectLst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27" name="Object 1045">
            <a:extLst>
              <a:ext uri="{FF2B5EF4-FFF2-40B4-BE49-F238E27FC236}">
                <a16:creationId xmlns:a16="http://schemas.microsoft.com/office/drawing/2014/main" id="{E2287EF3-04D5-0A2F-F5EC-93251374B3C1}"/>
              </a:ext>
            </a:extLst>
          </p:cNvPr>
          <p:cNvSpPr txBox="1"/>
          <p:nvPr/>
        </p:nvSpPr>
        <p:spPr>
          <a:xfrm>
            <a:off x="9110980" y="4577911"/>
            <a:ext cx="726440" cy="266121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defPPr>
              <a:defRPr lang="zh-CN"/>
            </a:defPPr>
            <a:lvl1pPr algn="ctr">
              <a:lnSpc>
                <a:spcPct val="100000"/>
              </a:lnSpc>
              <a:defRPr sz="1400" b="0" i="0" spc="38">
                <a:solidFill>
                  <a:srgbClr val="FFFFFF"/>
                </a:solidFill>
                <a:effectLst>
                  <a:outerShdw blurRad="152400" dist="38100" dir="5400000" algn="t" rotWithShape="0">
                    <a:schemeClr val="tx1">
                      <a:lumMod val="95000"/>
                      <a:lumOff val="5000"/>
                      <a:alpha val="15000"/>
                    </a:schemeClr>
                  </a:outerShdw>
                </a:effectLst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38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srgbClr val="000000">
                      <a:lumMod val="95000"/>
                      <a:lumOff val="5000"/>
                      <a:alpha val="1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分析</a:t>
            </a: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06A7EF1D-5859-CDD3-E27E-9D197260AB7A}"/>
              </a:ext>
            </a:extLst>
          </p:cNvPr>
          <p:cNvSpPr>
            <a:spLocks/>
          </p:cNvSpPr>
          <p:nvPr/>
        </p:nvSpPr>
        <p:spPr>
          <a:xfrm>
            <a:off x="8509000" y="5651060"/>
            <a:ext cx="1930400" cy="641350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9" name="Object 1049">
            <a:extLst>
              <a:ext uri="{FF2B5EF4-FFF2-40B4-BE49-F238E27FC236}">
                <a16:creationId xmlns:a16="http://schemas.microsoft.com/office/drawing/2014/main" id="{AF0AA322-D406-1D15-FFB1-789A19FD816E}"/>
              </a:ext>
            </a:extLst>
          </p:cNvPr>
          <p:cNvSpPr txBox="1"/>
          <p:nvPr/>
        </p:nvSpPr>
        <p:spPr>
          <a:xfrm>
            <a:off x="8594033" y="5793758"/>
            <a:ext cx="1760335" cy="35595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38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prstClr val="black">
                      <a:alpha val="15000"/>
                    </a:prstClr>
                  </a:outerShdw>
                </a:effectLst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数据分析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152400" dist="38100" dir="5400000" algn="t" rotWithShape="0">
                  <a:prstClr val="black">
                    <a:alpha val="15000"/>
                  </a:prstClr>
                </a:outerShdw>
              </a:effectLst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5EE0EB41-AF10-6B7C-3C8F-C86874ECF0F7}"/>
              </a:ext>
            </a:extLst>
          </p:cNvPr>
          <p:cNvSpPr>
            <a:spLocks/>
          </p:cNvSpPr>
          <p:nvPr/>
        </p:nvSpPr>
        <p:spPr>
          <a:xfrm>
            <a:off x="2236090" y="2837093"/>
            <a:ext cx="1021961" cy="33678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31" name="Object 1021">
            <a:extLst>
              <a:ext uri="{FF2B5EF4-FFF2-40B4-BE49-F238E27FC236}">
                <a16:creationId xmlns:a16="http://schemas.microsoft.com/office/drawing/2014/main" id="{495001FC-76B3-A5D9-E4C9-AD7334DAA887}"/>
              </a:ext>
            </a:extLst>
          </p:cNvPr>
          <p:cNvSpPr txBox="1"/>
          <p:nvPr/>
        </p:nvSpPr>
        <p:spPr>
          <a:xfrm>
            <a:off x="2291900" y="2863283"/>
            <a:ext cx="888962" cy="292330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38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srgbClr val="000000">
                      <a:lumMod val="95000"/>
                      <a:lumOff val="5000"/>
                      <a:alpha val="1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整合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152400" dist="38100" dir="5400000" algn="t" rotWithShape="0">
                  <a:srgbClr val="000000">
                    <a:lumMod val="95000"/>
                    <a:lumOff val="5000"/>
                    <a:alpha val="15000"/>
                  </a:srgbClr>
                </a:outerShdw>
              </a:effectLst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7544E1EF-525B-5E80-2FE5-6F7C295C5E11}"/>
              </a:ext>
            </a:extLst>
          </p:cNvPr>
          <p:cNvSpPr>
            <a:spLocks/>
          </p:cNvSpPr>
          <p:nvPr/>
        </p:nvSpPr>
        <p:spPr>
          <a:xfrm>
            <a:off x="5372546" y="2488764"/>
            <a:ext cx="1387829" cy="479438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33" name="Object 1029">
            <a:extLst>
              <a:ext uri="{FF2B5EF4-FFF2-40B4-BE49-F238E27FC236}">
                <a16:creationId xmlns:a16="http://schemas.microsoft.com/office/drawing/2014/main" id="{212B73F2-007C-B458-DB49-02B36A09AECE}"/>
              </a:ext>
            </a:extLst>
          </p:cNvPr>
          <p:cNvSpPr txBox="1"/>
          <p:nvPr/>
        </p:nvSpPr>
        <p:spPr>
          <a:xfrm>
            <a:off x="5354562" y="2548605"/>
            <a:ext cx="1436230" cy="369266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38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52400" dist="38100" dir="5400000" algn="t" rotWithShape="0">
                    <a:srgbClr val="000000">
                      <a:lumMod val="95000"/>
                      <a:lumOff val="5000"/>
                      <a:alpha val="1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处理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152400" dist="38100" dir="5400000" algn="t" rotWithShape="0">
                  <a:srgbClr val="000000">
                    <a:lumMod val="95000"/>
                    <a:lumOff val="5000"/>
                    <a:alpha val="15000"/>
                  </a:srgbClr>
                </a:outerShdw>
              </a:effectLst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055926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aoding-1">
            <a:extLst>
              <a:ext uri="{FF2B5EF4-FFF2-40B4-BE49-F238E27FC236}">
                <a16:creationId xmlns:a16="http://schemas.microsoft.com/office/drawing/2014/main" id="{486633E9-A7C3-28A0-7154-632E77BCF473}"/>
              </a:ext>
            </a:extLst>
          </p:cNvPr>
          <p:cNvSpPr/>
          <p:nvPr/>
        </p:nvSpPr>
        <p:spPr>
          <a:xfrm>
            <a:off x="8497450" y="2404233"/>
            <a:ext cx="2381635" cy="3472180"/>
          </a:xfrm>
          <a:prstGeom prst="roundRect">
            <a:avLst>
              <a:gd name="adj" fmla="val 0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33" name="gaoding-1">
            <a:extLst>
              <a:ext uri="{FF2B5EF4-FFF2-40B4-BE49-F238E27FC236}">
                <a16:creationId xmlns:a16="http://schemas.microsoft.com/office/drawing/2014/main" id="{884ACFD1-3D7B-23E3-9C59-BF439653A556}"/>
              </a:ext>
            </a:extLst>
          </p:cNvPr>
          <p:cNvSpPr/>
          <p:nvPr/>
        </p:nvSpPr>
        <p:spPr>
          <a:xfrm>
            <a:off x="3422886" y="2404233"/>
            <a:ext cx="2403318" cy="3472180"/>
          </a:xfrm>
          <a:prstGeom prst="roundRect">
            <a:avLst>
              <a:gd name="adj" fmla="val 0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34" name="gaoding-1">
            <a:extLst>
              <a:ext uri="{FF2B5EF4-FFF2-40B4-BE49-F238E27FC236}">
                <a16:creationId xmlns:a16="http://schemas.microsoft.com/office/drawing/2014/main" id="{E74E6F4A-C675-7861-84E9-549DBCC27FCB}"/>
              </a:ext>
            </a:extLst>
          </p:cNvPr>
          <p:cNvSpPr/>
          <p:nvPr/>
        </p:nvSpPr>
        <p:spPr>
          <a:xfrm>
            <a:off x="5933029" y="2404233"/>
            <a:ext cx="2476912" cy="3472180"/>
          </a:xfrm>
          <a:prstGeom prst="roundRect">
            <a:avLst>
              <a:gd name="adj" fmla="val 0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32" name="gaoding-1">
            <a:extLst>
              <a:ext uri="{FF2B5EF4-FFF2-40B4-BE49-F238E27FC236}">
                <a16:creationId xmlns:a16="http://schemas.microsoft.com/office/drawing/2014/main" id="{EC8413C5-C5B0-9AF3-4063-12D7D06DDA7A}"/>
              </a:ext>
            </a:extLst>
          </p:cNvPr>
          <p:cNvSpPr/>
          <p:nvPr/>
        </p:nvSpPr>
        <p:spPr>
          <a:xfrm>
            <a:off x="660400" y="2404233"/>
            <a:ext cx="2641601" cy="3472180"/>
          </a:xfrm>
          <a:prstGeom prst="roundRect">
            <a:avLst>
              <a:gd name="adj" fmla="val 0"/>
            </a:avLst>
          </a:prstGeom>
          <a:solidFill>
            <a:srgbClr val="3361F5">
              <a:alpha val="1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微软雅黑"/>
              <a:cs typeface="+mn-cs"/>
              <a:sym typeface="Helvetica Neue Medium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B9BC574-1066-5FB6-B97F-B820079F1EA6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B64B32C4-15B7-DB20-1433-60ADF04D9748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680785A-6BA9-43F9-A02B-09B2E59CAF90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4">
            <a:extLst>
              <a:ext uri="{FF2B5EF4-FFF2-40B4-BE49-F238E27FC236}">
                <a16:creationId xmlns:a16="http://schemas.microsoft.com/office/drawing/2014/main" id="{4E51CF05-F4DB-F911-BB98-3C21C0363ECF}"/>
              </a:ext>
            </a:extLst>
          </p:cNvPr>
          <p:cNvSpPr/>
          <p:nvPr/>
        </p:nvSpPr>
        <p:spPr>
          <a:xfrm>
            <a:off x="660400" y="1485112"/>
            <a:ext cx="10858500" cy="1181100"/>
          </a:xfrm>
          <a:prstGeom prst="rightArrow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6" name="gaoding-5">
            <a:extLst>
              <a:ext uri="{FF2B5EF4-FFF2-40B4-BE49-F238E27FC236}">
                <a16:creationId xmlns:a16="http://schemas.microsoft.com/office/drawing/2014/main" id="{790A3015-44F7-F84B-DE76-E29645B0EE38}"/>
              </a:ext>
            </a:extLst>
          </p:cNvPr>
          <p:cNvSpPr txBox="1"/>
          <p:nvPr/>
        </p:nvSpPr>
        <p:spPr>
          <a:xfrm>
            <a:off x="1345737" y="1906385"/>
            <a:ext cx="15077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产品</a:t>
            </a:r>
          </a:p>
        </p:txBody>
      </p:sp>
      <p:sp>
        <p:nvSpPr>
          <p:cNvPr id="7" name="gaoding-6">
            <a:extLst>
              <a:ext uri="{FF2B5EF4-FFF2-40B4-BE49-F238E27FC236}">
                <a16:creationId xmlns:a16="http://schemas.microsoft.com/office/drawing/2014/main" id="{4DB94FC2-E19B-8717-158C-3698F684883E}"/>
              </a:ext>
            </a:extLst>
          </p:cNvPr>
          <p:cNvSpPr txBox="1"/>
          <p:nvPr/>
        </p:nvSpPr>
        <p:spPr>
          <a:xfrm>
            <a:off x="3849687" y="1906385"/>
            <a:ext cx="15077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设计</a:t>
            </a:r>
          </a:p>
        </p:txBody>
      </p:sp>
      <p:sp>
        <p:nvSpPr>
          <p:cNvPr id="8" name="gaoding-7">
            <a:extLst>
              <a:ext uri="{FF2B5EF4-FFF2-40B4-BE49-F238E27FC236}">
                <a16:creationId xmlns:a16="http://schemas.microsoft.com/office/drawing/2014/main" id="{5275703C-9242-D2F5-CDC9-2C1CE364CFB6}"/>
              </a:ext>
            </a:extLst>
          </p:cNvPr>
          <p:cNvSpPr txBox="1"/>
          <p:nvPr/>
        </p:nvSpPr>
        <p:spPr>
          <a:xfrm>
            <a:off x="6353637" y="1906385"/>
            <a:ext cx="15077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购买</a:t>
            </a:r>
          </a:p>
        </p:txBody>
      </p:sp>
      <p:sp>
        <p:nvSpPr>
          <p:cNvPr id="9" name="gaoding-8">
            <a:extLst>
              <a:ext uri="{FF2B5EF4-FFF2-40B4-BE49-F238E27FC236}">
                <a16:creationId xmlns:a16="http://schemas.microsoft.com/office/drawing/2014/main" id="{559B19A1-3027-BA04-49E4-B091F3CEE413}"/>
              </a:ext>
            </a:extLst>
          </p:cNvPr>
          <p:cNvSpPr txBox="1"/>
          <p:nvPr/>
        </p:nvSpPr>
        <p:spPr>
          <a:xfrm>
            <a:off x="8857588" y="1906385"/>
            <a:ext cx="15077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推广</a:t>
            </a:r>
          </a:p>
        </p:txBody>
      </p:sp>
      <p:cxnSp>
        <p:nvCxnSpPr>
          <p:cNvPr id="10" name="gaoding-9">
            <a:extLst>
              <a:ext uri="{FF2B5EF4-FFF2-40B4-BE49-F238E27FC236}">
                <a16:creationId xmlns:a16="http://schemas.microsoft.com/office/drawing/2014/main" id="{2A4CFB31-7D07-3490-2EC1-B70DD9059C9F}"/>
              </a:ext>
            </a:extLst>
          </p:cNvPr>
          <p:cNvCxnSpPr/>
          <p:nvPr/>
        </p:nvCxnSpPr>
        <p:spPr>
          <a:xfrm>
            <a:off x="3352800" y="2511272"/>
            <a:ext cx="0" cy="3472180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aoding-10">
            <a:extLst>
              <a:ext uri="{FF2B5EF4-FFF2-40B4-BE49-F238E27FC236}">
                <a16:creationId xmlns:a16="http://schemas.microsoft.com/office/drawing/2014/main" id="{211E7AB4-2749-ECE2-BD92-4C7AC285310F}"/>
              </a:ext>
            </a:extLst>
          </p:cNvPr>
          <p:cNvCxnSpPr/>
          <p:nvPr/>
        </p:nvCxnSpPr>
        <p:spPr>
          <a:xfrm>
            <a:off x="5872480" y="2511272"/>
            <a:ext cx="0" cy="3472180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aoding-11">
            <a:extLst>
              <a:ext uri="{FF2B5EF4-FFF2-40B4-BE49-F238E27FC236}">
                <a16:creationId xmlns:a16="http://schemas.microsoft.com/office/drawing/2014/main" id="{E70574BE-A880-6D2F-36BB-748081B38579}"/>
              </a:ext>
            </a:extLst>
          </p:cNvPr>
          <p:cNvCxnSpPr/>
          <p:nvPr/>
        </p:nvCxnSpPr>
        <p:spPr>
          <a:xfrm>
            <a:off x="8442960" y="2511272"/>
            <a:ext cx="0" cy="3472180"/>
          </a:xfrm>
          <a:prstGeom prst="straightConnector1">
            <a:avLst/>
          </a:prstGeom>
          <a:ln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aoding-12">
            <a:extLst>
              <a:ext uri="{FF2B5EF4-FFF2-40B4-BE49-F238E27FC236}">
                <a16:creationId xmlns:a16="http://schemas.microsoft.com/office/drawing/2014/main" id="{A5B3DB21-A6E5-A81A-3209-E05032A428DE}"/>
              </a:ext>
            </a:extLst>
          </p:cNvPr>
          <p:cNvSpPr txBox="1"/>
          <p:nvPr/>
        </p:nvSpPr>
        <p:spPr>
          <a:xfrm>
            <a:off x="1005055" y="2909516"/>
            <a:ext cx="2293135" cy="1555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明确产品定位，挖掘产品卖点，利于后续宣传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-R-subset126"/>
                <a:ea typeface="微软雅黑"/>
                <a:cs typeface="+mn-cs"/>
              </a:rPr>
            </a:b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-R-subset126"/>
                <a:ea typeface="微软雅黑"/>
                <a:cs typeface="+mn-cs"/>
              </a:rPr>
              <a:t>根据用户反馈，持续研发爆款产品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14" name="gaoding-13">
            <a:extLst>
              <a:ext uri="{FF2B5EF4-FFF2-40B4-BE49-F238E27FC236}">
                <a16:creationId xmlns:a16="http://schemas.microsoft.com/office/drawing/2014/main" id="{C40DE892-902B-A463-E93D-8C93AA2BD2FA}"/>
              </a:ext>
            </a:extLst>
          </p:cNvPr>
          <p:cNvSpPr txBox="1"/>
          <p:nvPr/>
        </p:nvSpPr>
        <p:spPr>
          <a:xfrm>
            <a:off x="3429251" y="2930110"/>
            <a:ext cx="2318533" cy="1515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结合市场调研，设计符合用户审美的店铺首页，突出品牌印象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</a:b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结合产品卖点，设计优化产品详情，促进转化</a:t>
            </a:r>
          </a:p>
        </p:txBody>
      </p:sp>
      <p:sp>
        <p:nvSpPr>
          <p:cNvPr id="15" name="gaoding-14">
            <a:extLst>
              <a:ext uri="{FF2B5EF4-FFF2-40B4-BE49-F238E27FC236}">
                <a16:creationId xmlns:a16="http://schemas.microsoft.com/office/drawing/2014/main" id="{01C8E7F3-16E8-5864-4CBC-8A3958A2B2DD}"/>
              </a:ext>
            </a:extLst>
          </p:cNvPr>
          <p:cNvSpPr txBox="1"/>
          <p:nvPr/>
        </p:nvSpPr>
        <p:spPr>
          <a:xfrm>
            <a:off x="5990073" y="2938808"/>
            <a:ext cx="2318533" cy="1512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确定大促选品，拉动活动促销购买力</a:t>
            </a:r>
            <a:b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</a:b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结合产品市场表现，确定促销价格，拉动销售增长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16" name="gaoding-15">
            <a:extLst>
              <a:ext uri="{FF2B5EF4-FFF2-40B4-BE49-F238E27FC236}">
                <a16:creationId xmlns:a16="http://schemas.microsoft.com/office/drawing/2014/main" id="{4901A4C9-EC3E-AC55-9425-E2A528C12495}"/>
              </a:ext>
            </a:extLst>
          </p:cNvPr>
          <p:cNvSpPr txBox="1"/>
          <p:nvPr/>
        </p:nvSpPr>
        <p:spPr>
          <a:xfrm>
            <a:off x="8560552" y="2958613"/>
            <a:ext cx="2318533" cy="1512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钻展、直通车投放，进行相关数据统计和复盘</a:t>
            </a:r>
            <a:b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</a:b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优化标题，提高宝贝的曝光和点击率，拉动销售增长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cxnSp>
        <p:nvCxnSpPr>
          <p:cNvPr id="21" name="gaoding-20">
            <a:extLst>
              <a:ext uri="{FF2B5EF4-FFF2-40B4-BE49-F238E27FC236}">
                <a16:creationId xmlns:a16="http://schemas.microsoft.com/office/drawing/2014/main" id="{7CAD3775-9764-1A6D-8CB8-06A21BD50469}"/>
              </a:ext>
            </a:extLst>
          </p:cNvPr>
          <p:cNvCxnSpPr>
            <a:cxnSpLocks/>
          </p:cNvCxnSpPr>
          <p:nvPr/>
        </p:nvCxnSpPr>
        <p:spPr>
          <a:xfrm>
            <a:off x="3352800" y="1916729"/>
            <a:ext cx="0" cy="31786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aoding-21">
            <a:extLst>
              <a:ext uri="{FF2B5EF4-FFF2-40B4-BE49-F238E27FC236}">
                <a16:creationId xmlns:a16="http://schemas.microsoft.com/office/drawing/2014/main" id="{86DA727F-73D0-D993-0C0F-D97F90C31166}"/>
              </a:ext>
            </a:extLst>
          </p:cNvPr>
          <p:cNvCxnSpPr>
            <a:cxnSpLocks/>
          </p:cNvCxnSpPr>
          <p:nvPr/>
        </p:nvCxnSpPr>
        <p:spPr>
          <a:xfrm>
            <a:off x="5867400" y="1916729"/>
            <a:ext cx="0" cy="31786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aoding-22">
            <a:extLst>
              <a:ext uri="{FF2B5EF4-FFF2-40B4-BE49-F238E27FC236}">
                <a16:creationId xmlns:a16="http://schemas.microsoft.com/office/drawing/2014/main" id="{18EA3222-0995-CB51-1296-FEDEE15B3988}"/>
              </a:ext>
            </a:extLst>
          </p:cNvPr>
          <p:cNvCxnSpPr>
            <a:cxnSpLocks/>
          </p:cNvCxnSpPr>
          <p:nvPr/>
        </p:nvCxnSpPr>
        <p:spPr>
          <a:xfrm>
            <a:off x="8435340" y="1916729"/>
            <a:ext cx="0" cy="31786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>
            <a:extLst>
              <a:ext uri="{FF2B5EF4-FFF2-40B4-BE49-F238E27FC236}">
                <a16:creationId xmlns:a16="http://schemas.microsoft.com/office/drawing/2014/main" id="{0AF9E43D-3218-4066-D23B-7BF0DDA0AFBB}"/>
              </a:ext>
            </a:extLst>
          </p:cNvPr>
          <p:cNvSpPr/>
          <p:nvPr/>
        </p:nvSpPr>
        <p:spPr>
          <a:xfrm>
            <a:off x="1005055" y="2645153"/>
            <a:ext cx="902811" cy="3544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产品定位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B857E92-56BC-E5E5-9C29-1D637C641B67}"/>
              </a:ext>
            </a:extLst>
          </p:cNvPr>
          <p:cNvSpPr/>
          <p:nvPr/>
        </p:nvSpPr>
        <p:spPr>
          <a:xfrm>
            <a:off x="1025675" y="3599197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产品研发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9EDA407-8015-3E65-DD4C-F5310224EF70}"/>
              </a:ext>
            </a:extLst>
          </p:cNvPr>
          <p:cNvSpPr/>
          <p:nvPr/>
        </p:nvSpPr>
        <p:spPr>
          <a:xfrm>
            <a:off x="3441695" y="3575857"/>
            <a:ext cx="1082348" cy="3544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详情页设计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AA47E883-8676-3F3E-65B2-5C0106C34854}"/>
              </a:ext>
            </a:extLst>
          </p:cNvPr>
          <p:cNvSpPr/>
          <p:nvPr/>
        </p:nvSpPr>
        <p:spPr>
          <a:xfrm>
            <a:off x="3429251" y="2645153"/>
            <a:ext cx="902811" cy="3544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首页设计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EB15C226-7F42-D158-3FB2-329ED5806E8C}"/>
              </a:ext>
            </a:extLst>
          </p:cNvPr>
          <p:cNvSpPr/>
          <p:nvPr/>
        </p:nvSpPr>
        <p:spPr>
          <a:xfrm>
            <a:off x="5990007" y="3575857"/>
            <a:ext cx="902811" cy="3544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价格确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2B34418E-B74D-5CA8-D0A9-D3D6248DBA4C}"/>
              </a:ext>
            </a:extLst>
          </p:cNvPr>
          <p:cNvSpPr/>
          <p:nvPr/>
        </p:nvSpPr>
        <p:spPr>
          <a:xfrm>
            <a:off x="6007349" y="2645153"/>
            <a:ext cx="902811" cy="3544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促销选品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5DE0CCC0-E2D9-680C-7544-BBC14EC29A3C}"/>
              </a:ext>
            </a:extLst>
          </p:cNvPr>
          <p:cNvSpPr/>
          <p:nvPr/>
        </p:nvSpPr>
        <p:spPr>
          <a:xfrm>
            <a:off x="8577315" y="3599197"/>
            <a:ext cx="941283" cy="3544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SEO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优化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4CBC8F27-0B03-4D8D-EDB0-2A27F1F9690F}"/>
              </a:ext>
            </a:extLst>
          </p:cNvPr>
          <p:cNvSpPr/>
          <p:nvPr/>
        </p:nvSpPr>
        <p:spPr>
          <a:xfrm>
            <a:off x="8577315" y="2666212"/>
            <a:ext cx="902811" cy="3544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广告投放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477141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椭圆 22">
            <a:extLst>
              <a:ext uri="{FF2B5EF4-FFF2-40B4-BE49-F238E27FC236}">
                <a16:creationId xmlns:a16="http://schemas.microsoft.com/office/drawing/2014/main" id="{D741F8C6-15F4-13F4-2A4E-2FCECB9FBE8A}"/>
              </a:ext>
            </a:extLst>
          </p:cNvPr>
          <p:cNvSpPr/>
          <p:nvPr/>
        </p:nvSpPr>
        <p:spPr>
          <a:xfrm>
            <a:off x="3340625" y="2315637"/>
            <a:ext cx="2963182" cy="2963182"/>
          </a:xfrm>
          <a:prstGeom prst="ellipse">
            <a:avLst/>
          </a:prstGeom>
          <a:noFill/>
          <a:ln>
            <a:gradFill flip="none" rotWithShape="1">
              <a:gsLst>
                <a:gs pos="0">
                  <a:srgbClr val="3361F5"/>
                </a:gs>
                <a:gs pos="50000">
                  <a:srgbClr val="3361F5">
                    <a:alpha val="0"/>
                  </a:srgbClr>
                </a:gs>
              </a:gsLst>
              <a:lin ang="0" scaled="1"/>
              <a:tileRect/>
            </a:gra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F030F1E6-2F66-097F-264F-0E3BFCE6E899}"/>
              </a:ext>
            </a:extLst>
          </p:cNvPr>
          <p:cNvSpPr/>
          <p:nvPr/>
        </p:nvSpPr>
        <p:spPr>
          <a:xfrm>
            <a:off x="3683327" y="2508838"/>
            <a:ext cx="322216" cy="32221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9" name="椭圆 38">
            <a:extLst>
              <a:ext uri="{FF2B5EF4-FFF2-40B4-BE49-F238E27FC236}">
                <a16:creationId xmlns:a16="http://schemas.microsoft.com/office/drawing/2014/main" id="{A32C7EC4-64AB-062B-3205-982D7D0299A9}"/>
              </a:ext>
            </a:extLst>
          </p:cNvPr>
          <p:cNvSpPr/>
          <p:nvPr/>
        </p:nvSpPr>
        <p:spPr>
          <a:xfrm>
            <a:off x="3176697" y="3636120"/>
            <a:ext cx="322216" cy="32221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9810F990-9DB0-503D-C861-BDEBC3E13AB1}"/>
              </a:ext>
            </a:extLst>
          </p:cNvPr>
          <p:cNvSpPr/>
          <p:nvPr/>
        </p:nvSpPr>
        <p:spPr>
          <a:xfrm>
            <a:off x="3683327" y="4750630"/>
            <a:ext cx="322216" cy="32221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41" name="@稿定PPT实验室 出品-13-1">
            <a:extLst>
              <a:ext uri="{FF2B5EF4-FFF2-40B4-BE49-F238E27FC236}">
                <a16:creationId xmlns:a16="http://schemas.microsoft.com/office/drawing/2014/main" id="{7356DD92-947F-A649-0F26-F3B5E1DFAEE6}"/>
              </a:ext>
            </a:extLst>
          </p:cNvPr>
          <p:cNvSpPr txBox="1">
            <a:spLocks/>
          </p:cNvSpPr>
          <p:nvPr/>
        </p:nvSpPr>
        <p:spPr>
          <a:xfrm>
            <a:off x="3683327" y="2525340"/>
            <a:ext cx="322216" cy="28921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rPr>
              <a:t>01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42" name="@稿定PPT实验室 出品-13-1">
            <a:extLst>
              <a:ext uri="{FF2B5EF4-FFF2-40B4-BE49-F238E27FC236}">
                <a16:creationId xmlns:a16="http://schemas.microsoft.com/office/drawing/2014/main" id="{21079356-9B5D-D48A-D868-D99404B40A58}"/>
              </a:ext>
            </a:extLst>
          </p:cNvPr>
          <p:cNvSpPr txBox="1">
            <a:spLocks/>
          </p:cNvSpPr>
          <p:nvPr/>
        </p:nvSpPr>
        <p:spPr>
          <a:xfrm>
            <a:off x="3176697" y="3657332"/>
            <a:ext cx="322216" cy="28921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rPr>
              <a:t>03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43" name="@稿定PPT实验室 出品-13-1">
            <a:extLst>
              <a:ext uri="{FF2B5EF4-FFF2-40B4-BE49-F238E27FC236}">
                <a16:creationId xmlns:a16="http://schemas.microsoft.com/office/drawing/2014/main" id="{6DA2AC1C-1256-FADF-C610-42E16CFB6BE4}"/>
              </a:ext>
            </a:extLst>
          </p:cNvPr>
          <p:cNvSpPr txBox="1">
            <a:spLocks/>
          </p:cNvSpPr>
          <p:nvPr/>
        </p:nvSpPr>
        <p:spPr>
          <a:xfrm>
            <a:off x="3683327" y="4767132"/>
            <a:ext cx="322216" cy="28921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rPr>
              <a:t>05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1A62A381-D747-F7D8-26CD-FE304C164991}"/>
              </a:ext>
            </a:extLst>
          </p:cNvPr>
          <p:cNvSpPr/>
          <p:nvPr/>
        </p:nvSpPr>
        <p:spPr>
          <a:xfrm>
            <a:off x="5888193" y="2315637"/>
            <a:ext cx="2963182" cy="2963182"/>
          </a:xfrm>
          <a:prstGeom prst="ellipse">
            <a:avLst/>
          </a:prstGeom>
          <a:noFill/>
          <a:ln>
            <a:gradFill flip="none" rotWithShape="1">
              <a:gsLst>
                <a:gs pos="0">
                  <a:srgbClr val="3361F5"/>
                </a:gs>
                <a:gs pos="50000">
                  <a:srgbClr val="3361F5">
                    <a:alpha val="0"/>
                  </a:srgbClr>
                </a:gs>
              </a:gsLst>
              <a:lin ang="10800000" scaled="1"/>
              <a:tileRect/>
            </a:gra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50D06905-B3FD-95D2-1937-B2D00FCB1F18}"/>
              </a:ext>
            </a:extLst>
          </p:cNvPr>
          <p:cNvSpPr/>
          <p:nvPr/>
        </p:nvSpPr>
        <p:spPr>
          <a:xfrm flipH="1">
            <a:off x="8186457" y="2508838"/>
            <a:ext cx="322216" cy="322216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34A5D7D4-F506-E075-D160-0D3F1A168D25}"/>
              </a:ext>
            </a:extLst>
          </p:cNvPr>
          <p:cNvSpPr/>
          <p:nvPr/>
        </p:nvSpPr>
        <p:spPr>
          <a:xfrm flipH="1">
            <a:off x="8690267" y="3636120"/>
            <a:ext cx="322216" cy="322216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A0EBB0BB-54EA-61CD-54D1-C8C2F3B1655D}"/>
              </a:ext>
            </a:extLst>
          </p:cNvPr>
          <p:cNvSpPr/>
          <p:nvPr/>
        </p:nvSpPr>
        <p:spPr>
          <a:xfrm flipH="1">
            <a:off x="8186457" y="4750630"/>
            <a:ext cx="322216" cy="322216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9" name="@稿定PPT实验室 出品-13-1">
            <a:extLst>
              <a:ext uri="{FF2B5EF4-FFF2-40B4-BE49-F238E27FC236}">
                <a16:creationId xmlns:a16="http://schemas.microsoft.com/office/drawing/2014/main" id="{2C40BA48-AA34-1BAC-6E01-2A7AA61878F5}"/>
              </a:ext>
            </a:extLst>
          </p:cNvPr>
          <p:cNvSpPr txBox="1">
            <a:spLocks/>
          </p:cNvSpPr>
          <p:nvPr/>
        </p:nvSpPr>
        <p:spPr>
          <a:xfrm>
            <a:off x="8186457" y="2525340"/>
            <a:ext cx="322216" cy="28921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rPr>
              <a:t>02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0" name="@稿定PPT实验室 出品-13-1">
            <a:extLst>
              <a:ext uri="{FF2B5EF4-FFF2-40B4-BE49-F238E27FC236}">
                <a16:creationId xmlns:a16="http://schemas.microsoft.com/office/drawing/2014/main" id="{DFEEA35C-DE0B-A672-7D01-C50FB4651B5C}"/>
              </a:ext>
            </a:extLst>
          </p:cNvPr>
          <p:cNvSpPr txBox="1">
            <a:spLocks/>
          </p:cNvSpPr>
          <p:nvPr/>
        </p:nvSpPr>
        <p:spPr>
          <a:xfrm>
            <a:off x="8690267" y="3657332"/>
            <a:ext cx="322216" cy="28921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rPr>
              <a:t>04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1" name="@稿定PPT实验室 出品-13-1">
            <a:extLst>
              <a:ext uri="{FF2B5EF4-FFF2-40B4-BE49-F238E27FC236}">
                <a16:creationId xmlns:a16="http://schemas.microsoft.com/office/drawing/2014/main" id="{077E64CA-6596-0FCD-C460-5E844D135FBB}"/>
              </a:ext>
            </a:extLst>
          </p:cNvPr>
          <p:cNvSpPr txBox="1">
            <a:spLocks/>
          </p:cNvSpPr>
          <p:nvPr/>
        </p:nvSpPr>
        <p:spPr>
          <a:xfrm>
            <a:off x="8186457" y="4767132"/>
            <a:ext cx="322216" cy="28921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rPr>
              <a:t>06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7E08B79-8F01-9D5E-E9F0-7B91704C2064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727F783C-3BB0-FD9C-2B9B-F3F2C1D0BB5E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B96A5686-041F-801A-2891-C23789940539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455AF450-B46C-23F6-BFF1-192D7DD09563}"/>
              </a:ext>
            </a:extLst>
          </p:cNvPr>
          <p:cNvGrpSpPr/>
          <p:nvPr/>
        </p:nvGrpSpPr>
        <p:grpSpPr>
          <a:xfrm>
            <a:off x="4067175" y="3042187"/>
            <a:ext cx="4057650" cy="1510082"/>
            <a:chOff x="4067175" y="3042187"/>
            <a:chExt cx="4057650" cy="1510082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E3432AA6-6ABD-B129-4BD6-3F1A824D3398}"/>
                </a:ext>
              </a:extLst>
            </p:cNvPr>
            <p:cNvSpPr>
              <a:spLocks/>
            </p:cNvSpPr>
            <p:nvPr/>
          </p:nvSpPr>
          <p:spPr>
            <a:xfrm>
              <a:off x="4822486" y="3042187"/>
              <a:ext cx="2552245" cy="1510082"/>
            </a:xfrm>
            <a:prstGeom prst="rect">
              <a:avLst/>
            </a:prstGeom>
            <a:solidFill>
              <a:srgbClr val="7A98F8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980343BC-FA5F-9299-2179-82594FF1561E}"/>
                </a:ext>
              </a:extLst>
            </p:cNvPr>
            <p:cNvSpPr>
              <a:spLocks/>
            </p:cNvSpPr>
            <p:nvPr/>
          </p:nvSpPr>
          <p:spPr>
            <a:xfrm>
              <a:off x="4067175" y="3042187"/>
              <a:ext cx="1510082" cy="1510082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EAC2C0A5-7ED2-849F-0220-9AA725E681C7}"/>
                </a:ext>
              </a:extLst>
            </p:cNvPr>
            <p:cNvSpPr/>
            <p:nvPr/>
          </p:nvSpPr>
          <p:spPr>
            <a:xfrm>
              <a:off x="6614743" y="3042187"/>
              <a:ext cx="1510082" cy="1510082"/>
            </a:xfrm>
            <a:prstGeom prst="ellipse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2" name="椭圆 21">
            <a:extLst>
              <a:ext uri="{FF2B5EF4-FFF2-40B4-BE49-F238E27FC236}">
                <a16:creationId xmlns:a16="http://schemas.microsoft.com/office/drawing/2014/main" id="{F5FCF4D7-EAA7-84D8-4399-24CFCFB5C1C4}"/>
              </a:ext>
            </a:extLst>
          </p:cNvPr>
          <p:cNvSpPr/>
          <p:nvPr/>
        </p:nvSpPr>
        <p:spPr>
          <a:xfrm>
            <a:off x="6518812" y="2946256"/>
            <a:ext cx="1701944" cy="1701944"/>
          </a:xfrm>
          <a:prstGeom prst="ellipse">
            <a:avLst/>
          </a:prstGeom>
          <a:noFill/>
          <a:ln w="6350">
            <a:gradFill flip="none" rotWithShape="1">
              <a:gsLst>
                <a:gs pos="0">
                  <a:srgbClr val="3361F5"/>
                </a:gs>
                <a:gs pos="50000">
                  <a:srgbClr val="3361F5">
                    <a:alpha val="0"/>
                  </a:srgbClr>
                </a:gs>
              </a:gsLst>
              <a:lin ang="10800000" scaled="1"/>
              <a:tileRect/>
            </a:gra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9740FC25-7F04-BF1F-91C2-45C2B3D7665A}"/>
              </a:ext>
            </a:extLst>
          </p:cNvPr>
          <p:cNvSpPr/>
          <p:nvPr/>
        </p:nvSpPr>
        <p:spPr>
          <a:xfrm>
            <a:off x="3971244" y="2946256"/>
            <a:ext cx="1701944" cy="1701944"/>
          </a:xfrm>
          <a:prstGeom prst="ellipse">
            <a:avLst/>
          </a:prstGeom>
          <a:noFill/>
          <a:ln w="6350">
            <a:gradFill flip="none" rotWithShape="1">
              <a:gsLst>
                <a:gs pos="0">
                  <a:srgbClr val="3361F5"/>
                </a:gs>
                <a:gs pos="50000">
                  <a:srgbClr val="3361F5">
                    <a:alpha val="0"/>
                  </a:srgbClr>
                </a:gs>
              </a:gsLst>
              <a:lin ang="0" scaled="1"/>
              <a:tileRect/>
            </a:gra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A452C2EF-0A7F-627F-CFAB-2DD16C68C90A}"/>
              </a:ext>
            </a:extLst>
          </p:cNvPr>
          <p:cNvGrpSpPr/>
          <p:nvPr/>
        </p:nvGrpSpPr>
        <p:grpSpPr>
          <a:xfrm>
            <a:off x="4282578" y="3268639"/>
            <a:ext cx="1079815" cy="1037871"/>
            <a:chOff x="1406740" y="5275641"/>
            <a:chExt cx="441102" cy="423968"/>
          </a:xfrm>
        </p:grpSpPr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ADAF8B42-B230-1450-D190-02724FB1216F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52FD3155-F4E4-0AD3-6E8B-1950EF17B7D2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9EE3AE07-B3FE-1DE3-6027-FC7107D8DC07}"/>
              </a:ext>
            </a:extLst>
          </p:cNvPr>
          <p:cNvGrpSpPr/>
          <p:nvPr/>
        </p:nvGrpSpPr>
        <p:grpSpPr>
          <a:xfrm>
            <a:off x="6914830" y="3278293"/>
            <a:ext cx="924320" cy="1037869"/>
            <a:chOff x="3193522" y="5222129"/>
            <a:chExt cx="395205" cy="443754"/>
          </a:xfrm>
        </p:grpSpPr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352E8E42-DE1C-DB3E-28FE-E79795D5A1B7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9C3CDBC1-A54B-1F6F-CF84-1ABAF034EFF3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50" name="稿定-9">
            <a:extLst>
              <a:ext uri="{FF2B5EF4-FFF2-40B4-BE49-F238E27FC236}">
                <a16:creationId xmlns:a16="http://schemas.microsoft.com/office/drawing/2014/main" id="{A31E652D-2F84-97BC-DF26-757485A5FA49}"/>
              </a:ext>
            </a:extLst>
          </p:cNvPr>
          <p:cNvSpPr/>
          <p:nvPr/>
        </p:nvSpPr>
        <p:spPr>
          <a:xfrm flipH="1">
            <a:off x="8508673" y="24313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1" name="稿定-31">
            <a:extLst>
              <a:ext uri="{FF2B5EF4-FFF2-40B4-BE49-F238E27FC236}">
                <a16:creationId xmlns:a16="http://schemas.microsoft.com/office/drawing/2014/main" id="{0D4F4969-3845-C4A1-DD9F-1754C5F3E5E1}"/>
              </a:ext>
            </a:extLst>
          </p:cNvPr>
          <p:cNvSpPr/>
          <p:nvPr/>
        </p:nvSpPr>
        <p:spPr>
          <a:xfrm flipH="1">
            <a:off x="8585297" y="2662803"/>
            <a:ext cx="2002941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2" name="稿定-9">
            <a:extLst>
              <a:ext uri="{FF2B5EF4-FFF2-40B4-BE49-F238E27FC236}">
                <a16:creationId xmlns:a16="http://schemas.microsoft.com/office/drawing/2014/main" id="{84CFB888-23E0-5D43-331B-4CAF69743159}"/>
              </a:ext>
            </a:extLst>
          </p:cNvPr>
          <p:cNvSpPr/>
          <p:nvPr/>
        </p:nvSpPr>
        <p:spPr>
          <a:xfrm flipH="1">
            <a:off x="8994601" y="357115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3" name="稿定-31">
            <a:extLst>
              <a:ext uri="{FF2B5EF4-FFF2-40B4-BE49-F238E27FC236}">
                <a16:creationId xmlns:a16="http://schemas.microsoft.com/office/drawing/2014/main" id="{F392A54B-336C-8CC6-5F47-3DE209039533}"/>
              </a:ext>
            </a:extLst>
          </p:cNvPr>
          <p:cNvSpPr/>
          <p:nvPr/>
        </p:nvSpPr>
        <p:spPr>
          <a:xfrm flipH="1">
            <a:off x="9071225" y="3802560"/>
            <a:ext cx="2002941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4" name="稿定-9">
            <a:extLst>
              <a:ext uri="{FF2B5EF4-FFF2-40B4-BE49-F238E27FC236}">
                <a16:creationId xmlns:a16="http://schemas.microsoft.com/office/drawing/2014/main" id="{0E601FAB-480A-354F-36CE-147EF8CD5F48}"/>
              </a:ext>
            </a:extLst>
          </p:cNvPr>
          <p:cNvSpPr/>
          <p:nvPr/>
        </p:nvSpPr>
        <p:spPr>
          <a:xfrm flipH="1">
            <a:off x="8508673" y="471090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5" name="稿定-31">
            <a:extLst>
              <a:ext uri="{FF2B5EF4-FFF2-40B4-BE49-F238E27FC236}">
                <a16:creationId xmlns:a16="http://schemas.microsoft.com/office/drawing/2014/main" id="{ABD51CCD-EDDF-B70C-1101-2D42B680F316}"/>
              </a:ext>
            </a:extLst>
          </p:cNvPr>
          <p:cNvSpPr/>
          <p:nvPr/>
        </p:nvSpPr>
        <p:spPr>
          <a:xfrm flipH="1">
            <a:off x="8585297" y="4942317"/>
            <a:ext cx="2002941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6" name="稿定-9">
            <a:extLst>
              <a:ext uri="{FF2B5EF4-FFF2-40B4-BE49-F238E27FC236}">
                <a16:creationId xmlns:a16="http://schemas.microsoft.com/office/drawing/2014/main" id="{D41E045A-F297-7C14-5C41-0A1565BEF805}"/>
              </a:ext>
            </a:extLst>
          </p:cNvPr>
          <p:cNvSpPr/>
          <p:nvPr/>
        </p:nvSpPr>
        <p:spPr>
          <a:xfrm flipH="1">
            <a:off x="2586070" y="24313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7" name="稿定-31">
            <a:extLst>
              <a:ext uri="{FF2B5EF4-FFF2-40B4-BE49-F238E27FC236}">
                <a16:creationId xmlns:a16="http://schemas.microsoft.com/office/drawing/2014/main" id="{5675DB34-9BC0-E502-8C61-A3D88B27B7A4}"/>
              </a:ext>
            </a:extLst>
          </p:cNvPr>
          <p:cNvSpPr/>
          <p:nvPr/>
        </p:nvSpPr>
        <p:spPr>
          <a:xfrm flipH="1">
            <a:off x="1554986" y="2662803"/>
            <a:ext cx="2002941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8" name="稿定-9">
            <a:extLst>
              <a:ext uri="{FF2B5EF4-FFF2-40B4-BE49-F238E27FC236}">
                <a16:creationId xmlns:a16="http://schemas.microsoft.com/office/drawing/2014/main" id="{4CE85D14-04BC-0EDE-12C5-89C36EB7A701}"/>
              </a:ext>
            </a:extLst>
          </p:cNvPr>
          <p:cNvSpPr/>
          <p:nvPr/>
        </p:nvSpPr>
        <p:spPr>
          <a:xfrm flipH="1">
            <a:off x="2586070" y="464769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9" name="稿定-31">
            <a:extLst>
              <a:ext uri="{FF2B5EF4-FFF2-40B4-BE49-F238E27FC236}">
                <a16:creationId xmlns:a16="http://schemas.microsoft.com/office/drawing/2014/main" id="{D96CCEAB-01DB-FA48-7446-F4E7754B8AB4}"/>
              </a:ext>
            </a:extLst>
          </p:cNvPr>
          <p:cNvSpPr/>
          <p:nvPr/>
        </p:nvSpPr>
        <p:spPr>
          <a:xfrm flipH="1">
            <a:off x="1554986" y="4879107"/>
            <a:ext cx="2002941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0" name="稿定-9">
            <a:extLst>
              <a:ext uri="{FF2B5EF4-FFF2-40B4-BE49-F238E27FC236}">
                <a16:creationId xmlns:a16="http://schemas.microsoft.com/office/drawing/2014/main" id="{B2633F19-F945-0F81-FD0C-CFC2F6951758}"/>
              </a:ext>
            </a:extLst>
          </p:cNvPr>
          <p:cNvSpPr/>
          <p:nvPr/>
        </p:nvSpPr>
        <p:spPr>
          <a:xfrm flipH="1">
            <a:off x="2142020" y="355959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1" name="稿定-31">
            <a:extLst>
              <a:ext uri="{FF2B5EF4-FFF2-40B4-BE49-F238E27FC236}">
                <a16:creationId xmlns:a16="http://schemas.microsoft.com/office/drawing/2014/main" id="{F6948BB8-7329-324B-1B5A-E1D41D031A6E}"/>
              </a:ext>
            </a:extLst>
          </p:cNvPr>
          <p:cNvSpPr/>
          <p:nvPr/>
        </p:nvSpPr>
        <p:spPr>
          <a:xfrm flipH="1">
            <a:off x="1110936" y="3791002"/>
            <a:ext cx="2002941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6705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Line">
            <a:extLst>
              <a:ext uri="{FF2B5EF4-FFF2-40B4-BE49-F238E27FC236}">
                <a16:creationId xmlns:a16="http://schemas.microsoft.com/office/drawing/2014/main" id="{99EEC764-728C-9190-9A58-435CE15D8CAA}"/>
              </a:ext>
            </a:extLst>
          </p:cNvPr>
          <p:cNvSpPr/>
          <p:nvPr/>
        </p:nvSpPr>
        <p:spPr>
          <a:xfrm>
            <a:off x="2168058" y="2462335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81" name="Line">
            <a:extLst>
              <a:ext uri="{FF2B5EF4-FFF2-40B4-BE49-F238E27FC236}">
                <a16:creationId xmlns:a16="http://schemas.microsoft.com/office/drawing/2014/main" id="{BB3C034E-3F89-9249-4B24-282438261550}"/>
              </a:ext>
            </a:extLst>
          </p:cNvPr>
          <p:cNvSpPr/>
          <p:nvPr/>
        </p:nvSpPr>
        <p:spPr>
          <a:xfrm>
            <a:off x="3682623" y="2462335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87" name="Line">
            <a:extLst>
              <a:ext uri="{FF2B5EF4-FFF2-40B4-BE49-F238E27FC236}">
                <a16:creationId xmlns:a16="http://schemas.microsoft.com/office/drawing/2014/main" id="{2D78E251-15EE-42BA-B653-E02C98EB3B31}"/>
              </a:ext>
            </a:extLst>
          </p:cNvPr>
          <p:cNvSpPr/>
          <p:nvPr/>
        </p:nvSpPr>
        <p:spPr>
          <a:xfrm>
            <a:off x="5155761" y="2462335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93" name="Line">
            <a:extLst>
              <a:ext uri="{FF2B5EF4-FFF2-40B4-BE49-F238E27FC236}">
                <a16:creationId xmlns:a16="http://schemas.microsoft.com/office/drawing/2014/main" id="{E94E7873-4376-7B3B-A30B-2B3DB9707B7E}"/>
              </a:ext>
            </a:extLst>
          </p:cNvPr>
          <p:cNvSpPr/>
          <p:nvPr/>
        </p:nvSpPr>
        <p:spPr>
          <a:xfrm>
            <a:off x="6632960" y="2462335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99" name="Line">
            <a:extLst>
              <a:ext uri="{FF2B5EF4-FFF2-40B4-BE49-F238E27FC236}">
                <a16:creationId xmlns:a16="http://schemas.microsoft.com/office/drawing/2014/main" id="{4F60E8B6-E793-1EA3-5653-CE5C7E1C59BD}"/>
              </a:ext>
            </a:extLst>
          </p:cNvPr>
          <p:cNvSpPr/>
          <p:nvPr/>
        </p:nvSpPr>
        <p:spPr>
          <a:xfrm>
            <a:off x="8129126" y="2462335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105" name="Line">
            <a:extLst>
              <a:ext uri="{FF2B5EF4-FFF2-40B4-BE49-F238E27FC236}">
                <a16:creationId xmlns:a16="http://schemas.microsoft.com/office/drawing/2014/main" id="{071825BC-E859-4285-449D-CD6327B1CADF}"/>
              </a:ext>
            </a:extLst>
          </p:cNvPr>
          <p:cNvSpPr/>
          <p:nvPr/>
        </p:nvSpPr>
        <p:spPr>
          <a:xfrm>
            <a:off x="9588760" y="2462335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99BFDA0-3FC2-C669-EB3E-8DBFD78563D5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5907300-B379-19CD-7D23-42E1C8B661F2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69EB254-A6FF-1072-84E9-73716ADC6844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2">
            <a:extLst>
              <a:ext uri="{FF2B5EF4-FFF2-40B4-BE49-F238E27FC236}">
                <a16:creationId xmlns:a16="http://schemas.microsoft.com/office/drawing/2014/main" id="{178D4583-3B47-73A5-C748-69297FFA6354}"/>
              </a:ext>
            </a:extLst>
          </p:cNvPr>
          <p:cNvSpPr/>
          <p:nvPr/>
        </p:nvSpPr>
        <p:spPr>
          <a:xfrm>
            <a:off x="3589632" y="3298773"/>
            <a:ext cx="957674" cy="957674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6" name="gaoding-3">
            <a:extLst>
              <a:ext uri="{FF2B5EF4-FFF2-40B4-BE49-F238E27FC236}">
                <a16:creationId xmlns:a16="http://schemas.microsoft.com/office/drawing/2014/main" id="{F7FFB08F-5DBB-1BD1-17C1-B5498051D3FA}"/>
              </a:ext>
            </a:extLst>
          </p:cNvPr>
          <p:cNvSpPr/>
          <p:nvPr/>
        </p:nvSpPr>
        <p:spPr>
          <a:xfrm>
            <a:off x="5067199" y="3298773"/>
            <a:ext cx="957674" cy="957674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" name="gaoding-4">
            <a:extLst>
              <a:ext uri="{FF2B5EF4-FFF2-40B4-BE49-F238E27FC236}">
                <a16:creationId xmlns:a16="http://schemas.microsoft.com/office/drawing/2014/main" id="{770F1B63-E391-5616-375A-6EDDB5CB9C18}"/>
              </a:ext>
            </a:extLst>
          </p:cNvPr>
          <p:cNvSpPr/>
          <p:nvPr/>
        </p:nvSpPr>
        <p:spPr>
          <a:xfrm>
            <a:off x="6535035" y="3298773"/>
            <a:ext cx="957674" cy="957674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8" name="gaoding-5">
            <a:extLst>
              <a:ext uri="{FF2B5EF4-FFF2-40B4-BE49-F238E27FC236}">
                <a16:creationId xmlns:a16="http://schemas.microsoft.com/office/drawing/2014/main" id="{F2C09203-3F7C-DF9E-88C6-BFBFF4FD2962}"/>
              </a:ext>
            </a:extLst>
          </p:cNvPr>
          <p:cNvSpPr/>
          <p:nvPr/>
        </p:nvSpPr>
        <p:spPr>
          <a:xfrm>
            <a:off x="8043726" y="3298773"/>
            <a:ext cx="957674" cy="957674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9" name="gaoding-6">
            <a:extLst>
              <a:ext uri="{FF2B5EF4-FFF2-40B4-BE49-F238E27FC236}">
                <a16:creationId xmlns:a16="http://schemas.microsoft.com/office/drawing/2014/main" id="{58CA8DC6-A1CA-BF36-F467-B2FCEF0D1E11}"/>
              </a:ext>
            </a:extLst>
          </p:cNvPr>
          <p:cNvSpPr/>
          <p:nvPr/>
        </p:nvSpPr>
        <p:spPr>
          <a:xfrm>
            <a:off x="9493111" y="3298773"/>
            <a:ext cx="957674" cy="957674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0" name="gaoding-7">
            <a:extLst>
              <a:ext uri="{FF2B5EF4-FFF2-40B4-BE49-F238E27FC236}">
                <a16:creationId xmlns:a16="http://schemas.microsoft.com/office/drawing/2014/main" id="{A497E467-932E-7C31-FEAD-C84C63837B95}"/>
              </a:ext>
            </a:extLst>
          </p:cNvPr>
          <p:cNvSpPr/>
          <p:nvPr/>
        </p:nvSpPr>
        <p:spPr>
          <a:xfrm>
            <a:off x="2097004" y="3298773"/>
            <a:ext cx="957674" cy="957674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gaoding-8">
            <a:extLst>
              <a:ext uri="{FF2B5EF4-FFF2-40B4-BE49-F238E27FC236}">
                <a16:creationId xmlns:a16="http://schemas.microsoft.com/office/drawing/2014/main" id="{A3B34C05-6B2C-A214-16B3-6E58559C143B}"/>
              </a:ext>
            </a:extLst>
          </p:cNvPr>
          <p:cNvSpPr/>
          <p:nvPr/>
        </p:nvSpPr>
        <p:spPr>
          <a:xfrm>
            <a:off x="900497" y="3467524"/>
            <a:ext cx="10110403" cy="59985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grpSp>
        <p:nvGrpSpPr>
          <p:cNvPr id="12" name="gaoding-10">
            <a:extLst>
              <a:ext uri="{FF2B5EF4-FFF2-40B4-BE49-F238E27FC236}">
                <a16:creationId xmlns:a16="http://schemas.microsoft.com/office/drawing/2014/main" id="{F1DA4CAB-6450-6E51-A3DC-8AB9073ED46E}"/>
              </a:ext>
            </a:extLst>
          </p:cNvPr>
          <p:cNvGrpSpPr/>
          <p:nvPr/>
        </p:nvGrpSpPr>
        <p:grpSpPr>
          <a:xfrm>
            <a:off x="996286" y="3467523"/>
            <a:ext cx="11195713" cy="599854"/>
            <a:chOff x="940203" y="3307173"/>
            <a:chExt cx="11251797" cy="599854"/>
          </a:xfrm>
        </p:grpSpPr>
        <p:cxnSp>
          <p:nvCxnSpPr>
            <p:cNvPr id="13" name="gaoding-10-1">
              <a:extLst>
                <a:ext uri="{FF2B5EF4-FFF2-40B4-BE49-F238E27FC236}">
                  <a16:creationId xmlns:a16="http://schemas.microsoft.com/office/drawing/2014/main" id="{15A9080A-0CA3-5CBA-B9F7-25B3995F64B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40203" y="3307173"/>
              <a:ext cx="11251797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</p:spPr>
        </p:cxnSp>
        <p:cxnSp>
          <p:nvCxnSpPr>
            <p:cNvPr id="14" name="gaoding-10-2">
              <a:extLst>
                <a:ext uri="{FF2B5EF4-FFF2-40B4-BE49-F238E27FC236}">
                  <a16:creationId xmlns:a16="http://schemas.microsoft.com/office/drawing/2014/main" id="{3F686E3C-DE9B-4BC8-B31A-A421F86AF89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40203" y="3907027"/>
              <a:ext cx="11251797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</p:spPr>
        </p:cxnSp>
      </p:grpSp>
      <p:sp>
        <p:nvSpPr>
          <p:cNvPr id="63" name="gaoding-35">
            <a:extLst>
              <a:ext uri="{FF2B5EF4-FFF2-40B4-BE49-F238E27FC236}">
                <a16:creationId xmlns:a16="http://schemas.microsoft.com/office/drawing/2014/main" id="{795E24CF-6247-ABA5-0E6A-2E68BD03155B}"/>
              </a:ext>
            </a:extLst>
          </p:cNvPr>
          <p:cNvSpPr/>
          <p:nvPr/>
        </p:nvSpPr>
        <p:spPr>
          <a:xfrm>
            <a:off x="760985" y="3437697"/>
            <a:ext cx="659510" cy="65951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5" name="稿定-9">
            <a:extLst>
              <a:ext uri="{FF2B5EF4-FFF2-40B4-BE49-F238E27FC236}">
                <a16:creationId xmlns:a16="http://schemas.microsoft.com/office/drawing/2014/main" id="{0054FE72-B4DC-CC83-48A0-51590E36B904}"/>
              </a:ext>
            </a:extLst>
          </p:cNvPr>
          <p:cNvSpPr/>
          <p:nvPr/>
        </p:nvSpPr>
        <p:spPr>
          <a:xfrm flipH="1">
            <a:off x="2168057" y="239459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6" name="稿定-31">
            <a:extLst>
              <a:ext uri="{FF2B5EF4-FFF2-40B4-BE49-F238E27FC236}">
                <a16:creationId xmlns:a16="http://schemas.microsoft.com/office/drawing/2014/main" id="{3BA99949-CCF9-0DA5-A713-B99267482B51}"/>
              </a:ext>
            </a:extLst>
          </p:cNvPr>
          <p:cNvSpPr/>
          <p:nvPr/>
        </p:nvSpPr>
        <p:spPr>
          <a:xfrm flipH="1">
            <a:off x="2244683" y="266033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7" name="稿定-9">
            <a:extLst>
              <a:ext uri="{FF2B5EF4-FFF2-40B4-BE49-F238E27FC236}">
                <a16:creationId xmlns:a16="http://schemas.microsoft.com/office/drawing/2014/main" id="{C71B6202-85D3-66E2-8918-1D179AAB826E}"/>
              </a:ext>
            </a:extLst>
          </p:cNvPr>
          <p:cNvSpPr/>
          <p:nvPr/>
        </p:nvSpPr>
        <p:spPr>
          <a:xfrm flipH="1">
            <a:off x="2129117" y="3539384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19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8" name="稿定-9">
            <a:extLst>
              <a:ext uri="{FF2B5EF4-FFF2-40B4-BE49-F238E27FC236}">
                <a16:creationId xmlns:a16="http://schemas.microsoft.com/office/drawing/2014/main" id="{F32B0799-8716-5011-E671-462EEB94BC32}"/>
              </a:ext>
            </a:extLst>
          </p:cNvPr>
          <p:cNvSpPr/>
          <p:nvPr/>
        </p:nvSpPr>
        <p:spPr>
          <a:xfrm flipH="1">
            <a:off x="2168057" y="467236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9" name="稿定-31">
            <a:extLst>
              <a:ext uri="{FF2B5EF4-FFF2-40B4-BE49-F238E27FC236}">
                <a16:creationId xmlns:a16="http://schemas.microsoft.com/office/drawing/2014/main" id="{B5AB5816-70FB-A35A-0068-2ACBD0EDCA82}"/>
              </a:ext>
            </a:extLst>
          </p:cNvPr>
          <p:cNvSpPr/>
          <p:nvPr/>
        </p:nvSpPr>
        <p:spPr>
          <a:xfrm flipH="1">
            <a:off x="2244683" y="493809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2" name="稿定-9">
            <a:extLst>
              <a:ext uri="{FF2B5EF4-FFF2-40B4-BE49-F238E27FC236}">
                <a16:creationId xmlns:a16="http://schemas.microsoft.com/office/drawing/2014/main" id="{44E81C87-D878-49B4-2084-96B609064E69}"/>
              </a:ext>
            </a:extLst>
          </p:cNvPr>
          <p:cNvSpPr/>
          <p:nvPr/>
        </p:nvSpPr>
        <p:spPr>
          <a:xfrm flipH="1">
            <a:off x="3682622" y="239459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3" name="稿定-31">
            <a:extLst>
              <a:ext uri="{FF2B5EF4-FFF2-40B4-BE49-F238E27FC236}">
                <a16:creationId xmlns:a16="http://schemas.microsoft.com/office/drawing/2014/main" id="{D0FB795D-7AC5-F6EB-6467-3BD110E6E92C}"/>
              </a:ext>
            </a:extLst>
          </p:cNvPr>
          <p:cNvSpPr/>
          <p:nvPr/>
        </p:nvSpPr>
        <p:spPr>
          <a:xfrm flipH="1">
            <a:off x="3759248" y="266033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4" name="稿定-9">
            <a:extLst>
              <a:ext uri="{FF2B5EF4-FFF2-40B4-BE49-F238E27FC236}">
                <a16:creationId xmlns:a16="http://schemas.microsoft.com/office/drawing/2014/main" id="{350EDB9B-92DD-B3DD-A79B-B58E9F117245}"/>
              </a:ext>
            </a:extLst>
          </p:cNvPr>
          <p:cNvSpPr/>
          <p:nvPr/>
        </p:nvSpPr>
        <p:spPr>
          <a:xfrm flipH="1">
            <a:off x="3643682" y="3539384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0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5" name="稿定-9">
            <a:extLst>
              <a:ext uri="{FF2B5EF4-FFF2-40B4-BE49-F238E27FC236}">
                <a16:creationId xmlns:a16="http://schemas.microsoft.com/office/drawing/2014/main" id="{992B0741-0D6C-4CF8-DA7B-D22B206D7076}"/>
              </a:ext>
            </a:extLst>
          </p:cNvPr>
          <p:cNvSpPr/>
          <p:nvPr/>
        </p:nvSpPr>
        <p:spPr>
          <a:xfrm flipH="1">
            <a:off x="3682622" y="467236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6" name="稿定-31">
            <a:extLst>
              <a:ext uri="{FF2B5EF4-FFF2-40B4-BE49-F238E27FC236}">
                <a16:creationId xmlns:a16="http://schemas.microsoft.com/office/drawing/2014/main" id="{7EDDBD55-4570-796A-36C1-48B56D8370DF}"/>
              </a:ext>
            </a:extLst>
          </p:cNvPr>
          <p:cNvSpPr/>
          <p:nvPr/>
        </p:nvSpPr>
        <p:spPr>
          <a:xfrm flipH="1">
            <a:off x="3759248" y="493809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8" name="稿定-9">
            <a:extLst>
              <a:ext uri="{FF2B5EF4-FFF2-40B4-BE49-F238E27FC236}">
                <a16:creationId xmlns:a16="http://schemas.microsoft.com/office/drawing/2014/main" id="{5CD4F498-5978-E636-81D5-39C561994314}"/>
              </a:ext>
            </a:extLst>
          </p:cNvPr>
          <p:cNvSpPr/>
          <p:nvPr/>
        </p:nvSpPr>
        <p:spPr>
          <a:xfrm flipH="1">
            <a:off x="5155760" y="239459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9" name="稿定-31">
            <a:extLst>
              <a:ext uri="{FF2B5EF4-FFF2-40B4-BE49-F238E27FC236}">
                <a16:creationId xmlns:a16="http://schemas.microsoft.com/office/drawing/2014/main" id="{D4FC8485-C1AA-AD57-BE2F-CA6CEE8AC633}"/>
              </a:ext>
            </a:extLst>
          </p:cNvPr>
          <p:cNvSpPr/>
          <p:nvPr/>
        </p:nvSpPr>
        <p:spPr>
          <a:xfrm flipH="1">
            <a:off x="5232386" y="266033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0" name="稿定-9">
            <a:extLst>
              <a:ext uri="{FF2B5EF4-FFF2-40B4-BE49-F238E27FC236}">
                <a16:creationId xmlns:a16="http://schemas.microsoft.com/office/drawing/2014/main" id="{B5726BBF-C06B-295F-57A2-736FE8E35257}"/>
              </a:ext>
            </a:extLst>
          </p:cNvPr>
          <p:cNvSpPr/>
          <p:nvPr/>
        </p:nvSpPr>
        <p:spPr>
          <a:xfrm flipH="1">
            <a:off x="5116820" y="3539384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1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1" name="稿定-9">
            <a:extLst>
              <a:ext uri="{FF2B5EF4-FFF2-40B4-BE49-F238E27FC236}">
                <a16:creationId xmlns:a16="http://schemas.microsoft.com/office/drawing/2014/main" id="{4791BCF2-95AF-668B-1E72-5A5800A84786}"/>
              </a:ext>
            </a:extLst>
          </p:cNvPr>
          <p:cNvSpPr/>
          <p:nvPr/>
        </p:nvSpPr>
        <p:spPr>
          <a:xfrm flipH="1">
            <a:off x="5155760" y="467236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2" name="稿定-31">
            <a:extLst>
              <a:ext uri="{FF2B5EF4-FFF2-40B4-BE49-F238E27FC236}">
                <a16:creationId xmlns:a16="http://schemas.microsoft.com/office/drawing/2014/main" id="{A84D46B7-E033-CA26-6FBD-4FF735822E6C}"/>
              </a:ext>
            </a:extLst>
          </p:cNvPr>
          <p:cNvSpPr/>
          <p:nvPr/>
        </p:nvSpPr>
        <p:spPr>
          <a:xfrm flipH="1">
            <a:off x="5232386" y="493809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4" name="稿定-9">
            <a:extLst>
              <a:ext uri="{FF2B5EF4-FFF2-40B4-BE49-F238E27FC236}">
                <a16:creationId xmlns:a16="http://schemas.microsoft.com/office/drawing/2014/main" id="{F36D4F06-5CF2-B4CF-4F3A-C20CCC6FF995}"/>
              </a:ext>
            </a:extLst>
          </p:cNvPr>
          <p:cNvSpPr/>
          <p:nvPr/>
        </p:nvSpPr>
        <p:spPr>
          <a:xfrm flipH="1">
            <a:off x="6632959" y="239459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5" name="稿定-31">
            <a:extLst>
              <a:ext uri="{FF2B5EF4-FFF2-40B4-BE49-F238E27FC236}">
                <a16:creationId xmlns:a16="http://schemas.microsoft.com/office/drawing/2014/main" id="{F012D965-0F9F-567B-D70A-DC2C01D7FAB9}"/>
              </a:ext>
            </a:extLst>
          </p:cNvPr>
          <p:cNvSpPr/>
          <p:nvPr/>
        </p:nvSpPr>
        <p:spPr>
          <a:xfrm flipH="1">
            <a:off x="6709585" y="266033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6" name="稿定-9">
            <a:extLst>
              <a:ext uri="{FF2B5EF4-FFF2-40B4-BE49-F238E27FC236}">
                <a16:creationId xmlns:a16="http://schemas.microsoft.com/office/drawing/2014/main" id="{0A7CCB3B-02D7-0187-4C39-DD982130DBE6}"/>
              </a:ext>
            </a:extLst>
          </p:cNvPr>
          <p:cNvSpPr/>
          <p:nvPr/>
        </p:nvSpPr>
        <p:spPr>
          <a:xfrm flipH="1">
            <a:off x="6594019" y="3539384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2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7" name="稿定-9">
            <a:extLst>
              <a:ext uri="{FF2B5EF4-FFF2-40B4-BE49-F238E27FC236}">
                <a16:creationId xmlns:a16="http://schemas.microsoft.com/office/drawing/2014/main" id="{3B08DE7E-CA82-0AFB-882A-2077D3BF872F}"/>
              </a:ext>
            </a:extLst>
          </p:cNvPr>
          <p:cNvSpPr/>
          <p:nvPr/>
        </p:nvSpPr>
        <p:spPr>
          <a:xfrm flipH="1">
            <a:off x="6632959" y="467236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8" name="稿定-31">
            <a:extLst>
              <a:ext uri="{FF2B5EF4-FFF2-40B4-BE49-F238E27FC236}">
                <a16:creationId xmlns:a16="http://schemas.microsoft.com/office/drawing/2014/main" id="{73187076-E515-4DB8-6D58-57665DC128FB}"/>
              </a:ext>
            </a:extLst>
          </p:cNvPr>
          <p:cNvSpPr/>
          <p:nvPr/>
        </p:nvSpPr>
        <p:spPr>
          <a:xfrm flipH="1">
            <a:off x="6709585" y="493809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0" name="稿定-9">
            <a:extLst>
              <a:ext uri="{FF2B5EF4-FFF2-40B4-BE49-F238E27FC236}">
                <a16:creationId xmlns:a16="http://schemas.microsoft.com/office/drawing/2014/main" id="{09F51F5F-2660-9027-F1D7-15D6D40122DB}"/>
              </a:ext>
            </a:extLst>
          </p:cNvPr>
          <p:cNvSpPr/>
          <p:nvPr/>
        </p:nvSpPr>
        <p:spPr>
          <a:xfrm flipH="1">
            <a:off x="8129125" y="239459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1" name="稿定-31">
            <a:extLst>
              <a:ext uri="{FF2B5EF4-FFF2-40B4-BE49-F238E27FC236}">
                <a16:creationId xmlns:a16="http://schemas.microsoft.com/office/drawing/2014/main" id="{5643E763-612E-D083-8C10-E0334C9E5B84}"/>
              </a:ext>
            </a:extLst>
          </p:cNvPr>
          <p:cNvSpPr/>
          <p:nvPr/>
        </p:nvSpPr>
        <p:spPr>
          <a:xfrm flipH="1">
            <a:off x="8205751" y="266033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2" name="稿定-9">
            <a:extLst>
              <a:ext uri="{FF2B5EF4-FFF2-40B4-BE49-F238E27FC236}">
                <a16:creationId xmlns:a16="http://schemas.microsoft.com/office/drawing/2014/main" id="{3E0ACFCB-13BE-2841-548B-705170763E88}"/>
              </a:ext>
            </a:extLst>
          </p:cNvPr>
          <p:cNvSpPr/>
          <p:nvPr/>
        </p:nvSpPr>
        <p:spPr>
          <a:xfrm flipH="1">
            <a:off x="8090185" y="3539384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3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3" name="稿定-9">
            <a:extLst>
              <a:ext uri="{FF2B5EF4-FFF2-40B4-BE49-F238E27FC236}">
                <a16:creationId xmlns:a16="http://schemas.microsoft.com/office/drawing/2014/main" id="{482531D0-DE8D-9510-FE25-E0FD0824B8AD}"/>
              </a:ext>
            </a:extLst>
          </p:cNvPr>
          <p:cNvSpPr/>
          <p:nvPr/>
        </p:nvSpPr>
        <p:spPr>
          <a:xfrm flipH="1">
            <a:off x="8129125" y="467236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4" name="稿定-31">
            <a:extLst>
              <a:ext uri="{FF2B5EF4-FFF2-40B4-BE49-F238E27FC236}">
                <a16:creationId xmlns:a16="http://schemas.microsoft.com/office/drawing/2014/main" id="{C7ABFCB2-D1DB-6844-DC28-17F0322A3DBE}"/>
              </a:ext>
            </a:extLst>
          </p:cNvPr>
          <p:cNvSpPr/>
          <p:nvPr/>
        </p:nvSpPr>
        <p:spPr>
          <a:xfrm flipH="1">
            <a:off x="8205751" y="493809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6" name="稿定-9">
            <a:extLst>
              <a:ext uri="{FF2B5EF4-FFF2-40B4-BE49-F238E27FC236}">
                <a16:creationId xmlns:a16="http://schemas.microsoft.com/office/drawing/2014/main" id="{8CD1C4F4-B859-3CB4-BDD8-5AC03DA3D5D5}"/>
              </a:ext>
            </a:extLst>
          </p:cNvPr>
          <p:cNvSpPr/>
          <p:nvPr/>
        </p:nvSpPr>
        <p:spPr>
          <a:xfrm flipH="1">
            <a:off x="9588759" y="239459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7" name="稿定-31">
            <a:extLst>
              <a:ext uri="{FF2B5EF4-FFF2-40B4-BE49-F238E27FC236}">
                <a16:creationId xmlns:a16="http://schemas.microsoft.com/office/drawing/2014/main" id="{6E6E6518-1926-0037-3683-AE958DC7CB4E}"/>
              </a:ext>
            </a:extLst>
          </p:cNvPr>
          <p:cNvSpPr/>
          <p:nvPr/>
        </p:nvSpPr>
        <p:spPr>
          <a:xfrm flipH="1">
            <a:off x="9665385" y="2660330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8" name="稿定-9">
            <a:extLst>
              <a:ext uri="{FF2B5EF4-FFF2-40B4-BE49-F238E27FC236}">
                <a16:creationId xmlns:a16="http://schemas.microsoft.com/office/drawing/2014/main" id="{DDF77640-DE86-7EFE-AB00-5A5C352B3E00}"/>
              </a:ext>
            </a:extLst>
          </p:cNvPr>
          <p:cNvSpPr/>
          <p:nvPr/>
        </p:nvSpPr>
        <p:spPr>
          <a:xfrm flipH="1">
            <a:off x="9549819" y="3539384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4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9" name="稿定-9">
            <a:extLst>
              <a:ext uri="{FF2B5EF4-FFF2-40B4-BE49-F238E27FC236}">
                <a16:creationId xmlns:a16="http://schemas.microsoft.com/office/drawing/2014/main" id="{553D2B05-8A37-ED3B-A502-FFD03571CC4A}"/>
              </a:ext>
            </a:extLst>
          </p:cNvPr>
          <p:cNvSpPr/>
          <p:nvPr/>
        </p:nvSpPr>
        <p:spPr>
          <a:xfrm flipH="1">
            <a:off x="9588759" y="467236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10" name="稿定-31">
            <a:extLst>
              <a:ext uri="{FF2B5EF4-FFF2-40B4-BE49-F238E27FC236}">
                <a16:creationId xmlns:a16="http://schemas.microsoft.com/office/drawing/2014/main" id="{1CC42C5D-8D4C-00B5-076D-EF2EFB32FCF1}"/>
              </a:ext>
            </a:extLst>
          </p:cNvPr>
          <p:cNvSpPr/>
          <p:nvPr/>
        </p:nvSpPr>
        <p:spPr>
          <a:xfrm flipH="1">
            <a:off x="9665385" y="493809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11F8DD92-907E-87B2-96D4-001C2D75685C}"/>
              </a:ext>
            </a:extLst>
          </p:cNvPr>
          <p:cNvGrpSpPr/>
          <p:nvPr/>
        </p:nvGrpSpPr>
        <p:grpSpPr>
          <a:xfrm>
            <a:off x="859263" y="3539384"/>
            <a:ext cx="465230" cy="447159"/>
            <a:chOff x="1406740" y="5275641"/>
            <a:chExt cx="441102" cy="423968"/>
          </a:xfrm>
        </p:grpSpPr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1F900C37-B672-6676-B5FF-1ACD38D03767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50CFA4F2-E1FE-CDE9-A3DC-23B7268F1775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14" name="任意多边形: 形状 113">
            <a:extLst>
              <a:ext uri="{FF2B5EF4-FFF2-40B4-BE49-F238E27FC236}">
                <a16:creationId xmlns:a16="http://schemas.microsoft.com/office/drawing/2014/main" id="{CBAD2BB4-5FE4-7D61-3902-8E7DF92AC9AC}"/>
              </a:ext>
            </a:extLst>
          </p:cNvPr>
          <p:cNvSpPr/>
          <p:nvPr/>
        </p:nvSpPr>
        <p:spPr bwMode="auto">
          <a:xfrm flipV="1">
            <a:off x="10843374" y="3493364"/>
            <a:ext cx="786153" cy="588094"/>
          </a:xfrm>
          <a:custGeom>
            <a:avLst/>
            <a:gdLst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51658 w 2385058"/>
              <a:gd name="connsiteY2" fmla="*/ 2560320 h 3779520"/>
              <a:gd name="connsiteX3" fmla="*/ 2385058 w 2385058"/>
              <a:gd name="connsiteY3" fmla="*/ 1889760 h 3779520"/>
              <a:gd name="connsiteX4" fmla="*/ 1851658 w 2385058"/>
              <a:gd name="connsiteY4" fmla="*/ 1219200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51658 w 2385058"/>
              <a:gd name="connsiteY4" fmla="*/ 1219200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61219 w 2385058"/>
              <a:gd name="connsiteY4" fmla="*/ 435559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38327 w 2385058"/>
              <a:gd name="connsiteY4" fmla="*/ 373002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38327 w 2385058"/>
              <a:gd name="connsiteY4" fmla="*/ 373002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45958 w 2385058"/>
              <a:gd name="connsiteY4" fmla="*/ 414709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45958 w 2385058"/>
              <a:gd name="connsiteY4" fmla="*/ 414709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45958 w 2385058"/>
              <a:gd name="connsiteY4" fmla="*/ 414709 h 3779520"/>
              <a:gd name="connsiteX5" fmla="*/ 1851657 w 2385058"/>
              <a:gd name="connsiteY5" fmla="*/ 1402484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85058" h="3779520">
                <a:moveTo>
                  <a:pt x="0" y="3779520"/>
                </a:moveTo>
                <a:cubicBezTo>
                  <a:pt x="495300" y="2994660"/>
                  <a:pt x="929640" y="2369820"/>
                  <a:pt x="1851658" y="2293620"/>
                </a:cubicBezTo>
                <a:lnTo>
                  <a:pt x="1837315" y="3264269"/>
                </a:lnTo>
                <a:lnTo>
                  <a:pt x="2385058" y="1889760"/>
                </a:lnTo>
                <a:lnTo>
                  <a:pt x="1845958" y="414709"/>
                </a:lnTo>
                <a:cubicBezTo>
                  <a:pt x="1854217" y="785675"/>
                  <a:pt x="1854844" y="1052370"/>
                  <a:pt x="1851657" y="1402484"/>
                </a:cubicBezTo>
                <a:cubicBezTo>
                  <a:pt x="929639" y="1326284"/>
                  <a:pt x="495300" y="784860"/>
                  <a:pt x="0" y="0"/>
                </a:cubicBezTo>
                <a:lnTo>
                  <a:pt x="0" y="1889760"/>
                </a:lnTo>
                <a:lnTo>
                  <a:pt x="0" y="377952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20000"/>
                  <a:lumOff val="80000"/>
                  <a:alpha val="0"/>
                </a:schemeClr>
              </a:gs>
              <a:gs pos="0">
                <a:srgbClr val="3361F5"/>
              </a:gs>
            </a:gsLst>
            <a:lin ang="10800000" scaled="0"/>
          </a:gra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484082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aoding-10">
            <a:extLst>
              <a:ext uri="{FF2B5EF4-FFF2-40B4-BE49-F238E27FC236}">
                <a16:creationId xmlns:a16="http://schemas.microsoft.com/office/drawing/2014/main" id="{1CCE6FC4-D83F-D7F3-D9E1-2ED73EA779A2}"/>
              </a:ext>
            </a:extLst>
          </p:cNvPr>
          <p:cNvSpPr/>
          <p:nvPr/>
        </p:nvSpPr>
        <p:spPr>
          <a:xfrm>
            <a:off x="6759387" y="2654585"/>
            <a:ext cx="1980627" cy="1980627"/>
          </a:xfrm>
          <a:prstGeom prst="ellipse">
            <a:avLst/>
          </a:prstGeom>
          <a:noFill/>
          <a:ln w="6350">
            <a:solidFill>
              <a:srgbClr val="3361F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1" name="gaoding-10">
            <a:extLst>
              <a:ext uri="{FF2B5EF4-FFF2-40B4-BE49-F238E27FC236}">
                <a16:creationId xmlns:a16="http://schemas.microsoft.com/office/drawing/2014/main" id="{C7556030-685C-BB2D-9A48-3BAA492AAF3B}"/>
              </a:ext>
            </a:extLst>
          </p:cNvPr>
          <p:cNvSpPr/>
          <p:nvPr/>
        </p:nvSpPr>
        <p:spPr>
          <a:xfrm>
            <a:off x="3451985" y="2654585"/>
            <a:ext cx="1980627" cy="1980627"/>
          </a:xfrm>
          <a:prstGeom prst="ellipse">
            <a:avLst/>
          </a:prstGeom>
          <a:noFill/>
          <a:ln w="6350">
            <a:solidFill>
              <a:srgbClr val="3361F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0" name="gaoding-10">
            <a:extLst>
              <a:ext uri="{FF2B5EF4-FFF2-40B4-BE49-F238E27FC236}">
                <a16:creationId xmlns:a16="http://schemas.microsoft.com/office/drawing/2014/main" id="{68A28BC5-0FC6-E772-2108-9F30ABEE2F58}"/>
              </a:ext>
            </a:extLst>
          </p:cNvPr>
          <p:cNvSpPr/>
          <p:nvPr/>
        </p:nvSpPr>
        <p:spPr>
          <a:xfrm>
            <a:off x="4669336" y="2218236"/>
            <a:ext cx="2853327" cy="2853327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7C63D1E-11B8-93CF-D8A7-72DF4FBE8BB4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FE0F1547-B41D-F350-EC25-E274E77308DF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BBCC2B4-770B-3BB4-D698-2BF1BF8B3434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80AD0D99-307A-CB05-0B9B-02A120742CD9}"/>
              </a:ext>
            </a:extLst>
          </p:cNvPr>
          <p:cNvSpPr/>
          <p:nvPr/>
        </p:nvSpPr>
        <p:spPr>
          <a:xfrm>
            <a:off x="4907280" y="2456180"/>
            <a:ext cx="2377440" cy="237744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008B25F5-D242-732E-772A-98285AE12323}"/>
              </a:ext>
            </a:extLst>
          </p:cNvPr>
          <p:cNvSpPr/>
          <p:nvPr/>
        </p:nvSpPr>
        <p:spPr>
          <a:xfrm>
            <a:off x="676767" y="2425950"/>
            <a:ext cx="1044457" cy="400110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23C13F2-C715-3897-A64B-416674A8FAC9}"/>
              </a:ext>
            </a:extLst>
          </p:cNvPr>
          <p:cNvSpPr/>
          <p:nvPr/>
        </p:nvSpPr>
        <p:spPr>
          <a:xfrm>
            <a:off x="1739152" y="2425950"/>
            <a:ext cx="1368144" cy="40011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16" name="稿定-9">
            <a:extLst>
              <a:ext uri="{FF2B5EF4-FFF2-40B4-BE49-F238E27FC236}">
                <a16:creationId xmlns:a16="http://schemas.microsoft.com/office/drawing/2014/main" id="{439534AD-1C68-B995-E617-689EED24614F}"/>
              </a:ext>
            </a:extLst>
          </p:cNvPr>
          <p:cNvSpPr/>
          <p:nvPr/>
        </p:nvSpPr>
        <p:spPr>
          <a:xfrm flipH="1">
            <a:off x="656827" y="2487832"/>
            <a:ext cx="1044456" cy="2524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7" name="稿定-31">
            <a:extLst>
              <a:ext uri="{FF2B5EF4-FFF2-40B4-BE49-F238E27FC236}">
                <a16:creationId xmlns:a16="http://schemas.microsoft.com/office/drawing/2014/main" id="{E0FDCCBE-FF75-25EA-5DD1-3F6A09F40089}"/>
              </a:ext>
            </a:extLst>
          </p:cNvPr>
          <p:cNvSpPr/>
          <p:nvPr/>
        </p:nvSpPr>
        <p:spPr>
          <a:xfrm flipH="1">
            <a:off x="1780984" y="2497264"/>
            <a:ext cx="1326776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8" name="稿定-31">
            <a:extLst>
              <a:ext uri="{FF2B5EF4-FFF2-40B4-BE49-F238E27FC236}">
                <a16:creationId xmlns:a16="http://schemas.microsoft.com/office/drawing/2014/main" id="{F744984B-D4E3-333C-ACE2-58E3C553FF76}"/>
              </a:ext>
            </a:extLst>
          </p:cNvPr>
          <p:cNvSpPr/>
          <p:nvPr/>
        </p:nvSpPr>
        <p:spPr>
          <a:xfrm flipH="1">
            <a:off x="658285" y="2897374"/>
            <a:ext cx="2503267" cy="4116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03FB2DA1-6A0D-C1B1-40B1-033B681BB23A}"/>
              </a:ext>
            </a:extLst>
          </p:cNvPr>
          <p:cNvSpPr/>
          <p:nvPr/>
        </p:nvSpPr>
        <p:spPr>
          <a:xfrm>
            <a:off x="676767" y="4002566"/>
            <a:ext cx="1044457" cy="400110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B3CC8DE3-73DF-7BA0-8A39-3E9A69251753}"/>
              </a:ext>
            </a:extLst>
          </p:cNvPr>
          <p:cNvSpPr/>
          <p:nvPr/>
        </p:nvSpPr>
        <p:spPr>
          <a:xfrm>
            <a:off x="1739152" y="4002566"/>
            <a:ext cx="1368144" cy="40011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1" name="稿定-9">
            <a:extLst>
              <a:ext uri="{FF2B5EF4-FFF2-40B4-BE49-F238E27FC236}">
                <a16:creationId xmlns:a16="http://schemas.microsoft.com/office/drawing/2014/main" id="{04DD04D5-2F5A-2010-5F7C-E557DE10F6A0}"/>
              </a:ext>
            </a:extLst>
          </p:cNvPr>
          <p:cNvSpPr/>
          <p:nvPr/>
        </p:nvSpPr>
        <p:spPr>
          <a:xfrm flipH="1">
            <a:off x="656827" y="4064448"/>
            <a:ext cx="1044456" cy="2524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2" name="稿定-31">
            <a:extLst>
              <a:ext uri="{FF2B5EF4-FFF2-40B4-BE49-F238E27FC236}">
                <a16:creationId xmlns:a16="http://schemas.microsoft.com/office/drawing/2014/main" id="{D8A64F15-4CDF-55BE-342C-BA2E05FA5C17}"/>
              </a:ext>
            </a:extLst>
          </p:cNvPr>
          <p:cNvSpPr/>
          <p:nvPr/>
        </p:nvSpPr>
        <p:spPr>
          <a:xfrm flipH="1">
            <a:off x="1780984" y="4073880"/>
            <a:ext cx="1326776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3" name="稿定-31">
            <a:extLst>
              <a:ext uri="{FF2B5EF4-FFF2-40B4-BE49-F238E27FC236}">
                <a16:creationId xmlns:a16="http://schemas.microsoft.com/office/drawing/2014/main" id="{944A4CA6-12AE-2FEE-3148-B217D6C72122}"/>
              </a:ext>
            </a:extLst>
          </p:cNvPr>
          <p:cNvSpPr/>
          <p:nvPr/>
        </p:nvSpPr>
        <p:spPr>
          <a:xfrm flipH="1">
            <a:off x="658285" y="4473990"/>
            <a:ext cx="2503267" cy="4116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63EB131-BA3C-D58F-1768-86233500B704}"/>
              </a:ext>
            </a:extLst>
          </p:cNvPr>
          <p:cNvSpPr/>
          <p:nvPr/>
        </p:nvSpPr>
        <p:spPr>
          <a:xfrm>
            <a:off x="9017879" y="2425950"/>
            <a:ext cx="1044457" cy="400110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93F5DD03-44CB-2745-A016-D74BEBFD5CF8}"/>
              </a:ext>
            </a:extLst>
          </p:cNvPr>
          <p:cNvSpPr/>
          <p:nvPr/>
        </p:nvSpPr>
        <p:spPr>
          <a:xfrm>
            <a:off x="10080264" y="2425950"/>
            <a:ext cx="1368144" cy="40011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8" name="稿定-9">
            <a:extLst>
              <a:ext uri="{FF2B5EF4-FFF2-40B4-BE49-F238E27FC236}">
                <a16:creationId xmlns:a16="http://schemas.microsoft.com/office/drawing/2014/main" id="{F0F3D48F-734F-9695-6507-055A6C009238}"/>
              </a:ext>
            </a:extLst>
          </p:cNvPr>
          <p:cNvSpPr/>
          <p:nvPr/>
        </p:nvSpPr>
        <p:spPr>
          <a:xfrm flipH="1">
            <a:off x="8997939" y="2487832"/>
            <a:ext cx="1044456" cy="2524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9" name="稿定-31">
            <a:extLst>
              <a:ext uri="{FF2B5EF4-FFF2-40B4-BE49-F238E27FC236}">
                <a16:creationId xmlns:a16="http://schemas.microsoft.com/office/drawing/2014/main" id="{757E4E46-A952-928B-A668-20DEE785598A}"/>
              </a:ext>
            </a:extLst>
          </p:cNvPr>
          <p:cNvSpPr/>
          <p:nvPr/>
        </p:nvSpPr>
        <p:spPr>
          <a:xfrm flipH="1">
            <a:off x="10122096" y="2497264"/>
            <a:ext cx="1326776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0" name="稿定-31">
            <a:extLst>
              <a:ext uri="{FF2B5EF4-FFF2-40B4-BE49-F238E27FC236}">
                <a16:creationId xmlns:a16="http://schemas.microsoft.com/office/drawing/2014/main" id="{574F34DA-6A6E-A892-F489-8547A7DB280F}"/>
              </a:ext>
            </a:extLst>
          </p:cNvPr>
          <p:cNvSpPr/>
          <p:nvPr/>
        </p:nvSpPr>
        <p:spPr>
          <a:xfrm flipH="1">
            <a:off x="8999397" y="2897374"/>
            <a:ext cx="2503267" cy="4116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9F5AB959-1034-4326-A408-9BCD003D104F}"/>
              </a:ext>
            </a:extLst>
          </p:cNvPr>
          <p:cNvSpPr/>
          <p:nvPr/>
        </p:nvSpPr>
        <p:spPr>
          <a:xfrm>
            <a:off x="9017879" y="4002566"/>
            <a:ext cx="1044457" cy="400110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F4C44319-5792-2728-955C-FB415593A07E}"/>
              </a:ext>
            </a:extLst>
          </p:cNvPr>
          <p:cNvSpPr/>
          <p:nvPr/>
        </p:nvSpPr>
        <p:spPr>
          <a:xfrm>
            <a:off x="10080264" y="4002566"/>
            <a:ext cx="1368144" cy="40011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33" name="稿定-9">
            <a:extLst>
              <a:ext uri="{FF2B5EF4-FFF2-40B4-BE49-F238E27FC236}">
                <a16:creationId xmlns:a16="http://schemas.microsoft.com/office/drawing/2014/main" id="{8EAF04BA-4D77-C6EB-CFA9-C8D07A60756E}"/>
              </a:ext>
            </a:extLst>
          </p:cNvPr>
          <p:cNvSpPr/>
          <p:nvPr/>
        </p:nvSpPr>
        <p:spPr>
          <a:xfrm flipH="1">
            <a:off x="8997939" y="4064448"/>
            <a:ext cx="1044456" cy="2524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4" name="稿定-31">
            <a:extLst>
              <a:ext uri="{FF2B5EF4-FFF2-40B4-BE49-F238E27FC236}">
                <a16:creationId xmlns:a16="http://schemas.microsoft.com/office/drawing/2014/main" id="{1DBAEA9D-CB50-493F-754C-0D38CCE3FB10}"/>
              </a:ext>
            </a:extLst>
          </p:cNvPr>
          <p:cNvSpPr/>
          <p:nvPr/>
        </p:nvSpPr>
        <p:spPr>
          <a:xfrm flipH="1">
            <a:off x="10122096" y="4073880"/>
            <a:ext cx="1326776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5" name="稿定-31">
            <a:extLst>
              <a:ext uri="{FF2B5EF4-FFF2-40B4-BE49-F238E27FC236}">
                <a16:creationId xmlns:a16="http://schemas.microsoft.com/office/drawing/2014/main" id="{43A7B8AB-40BD-BDA4-A7B0-C47F321C48F5}"/>
              </a:ext>
            </a:extLst>
          </p:cNvPr>
          <p:cNvSpPr/>
          <p:nvPr/>
        </p:nvSpPr>
        <p:spPr>
          <a:xfrm flipH="1">
            <a:off x="8999397" y="4473990"/>
            <a:ext cx="2503267" cy="4116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6" name="稿定-9">
            <a:extLst>
              <a:ext uri="{FF2B5EF4-FFF2-40B4-BE49-F238E27FC236}">
                <a16:creationId xmlns:a16="http://schemas.microsoft.com/office/drawing/2014/main" id="{6E11CE35-6773-2D0F-BD12-876BD6C66A39}"/>
              </a:ext>
            </a:extLst>
          </p:cNvPr>
          <p:cNvSpPr/>
          <p:nvPr/>
        </p:nvSpPr>
        <p:spPr>
          <a:xfrm flipH="1">
            <a:off x="5285080" y="3165960"/>
            <a:ext cx="1649168" cy="105881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现状及解决方案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7" name="稿定-9">
            <a:extLst>
              <a:ext uri="{FF2B5EF4-FFF2-40B4-BE49-F238E27FC236}">
                <a16:creationId xmlns:a16="http://schemas.microsoft.com/office/drawing/2014/main" id="{ED45957D-3070-9667-B66E-9CC90564366D}"/>
              </a:ext>
            </a:extLst>
          </p:cNvPr>
          <p:cNvSpPr/>
          <p:nvPr/>
        </p:nvSpPr>
        <p:spPr>
          <a:xfrm flipH="1">
            <a:off x="3286168" y="3103199"/>
            <a:ext cx="1649168" cy="105881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资源</a:t>
            </a:r>
            <a:endParaRPr kumimoji="0" lang="en-US" altLang="zh-CN" sz="24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投入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8" name="稿定-9">
            <a:extLst>
              <a:ext uri="{FF2B5EF4-FFF2-40B4-BE49-F238E27FC236}">
                <a16:creationId xmlns:a16="http://schemas.microsoft.com/office/drawing/2014/main" id="{0AE422B4-357C-450E-E833-AC748B67C04E}"/>
              </a:ext>
            </a:extLst>
          </p:cNvPr>
          <p:cNvSpPr/>
          <p:nvPr/>
        </p:nvSpPr>
        <p:spPr>
          <a:xfrm flipH="1">
            <a:off x="7212113" y="3103199"/>
            <a:ext cx="1649168" cy="105881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阶段</a:t>
            </a:r>
            <a:endParaRPr kumimoji="0" lang="en-US" altLang="zh-CN" sz="24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目标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973659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F93245D-F277-E4D4-FA88-05E475E7AA1E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8115CBC-8987-D17D-BB4D-AA724469F3D3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F22E80F-907A-F041-12B6-8121CE3F0C39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6">
            <a:extLst>
              <a:ext uri="{FF2B5EF4-FFF2-40B4-BE49-F238E27FC236}">
                <a16:creationId xmlns:a16="http://schemas.microsoft.com/office/drawing/2014/main" id="{BA79C4D7-9E98-A7CB-4CB1-53749D2DB193}"/>
              </a:ext>
            </a:extLst>
          </p:cNvPr>
          <p:cNvSpPr/>
          <p:nvPr/>
        </p:nvSpPr>
        <p:spPr>
          <a:xfrm>
            <a:off x="1540289" y="1699105"/>
            <a:ext cx="8845370" cy="4216060"/>
          </a:xfrm>
          <a:custGeom>
            <a:avLst/>
            <a:gdLst>
              <a:gd name="connsiteX0" fmla="*/ 0 w 7128366"/>
              <a:gd name="connsiteY0" fmla="*/ 0 h 4125249"/>
              <a:gd name="connsiteX1" fmla="*/ 7128366 w 7128366"/>
              <a:gd name="connsiteY1" fmla="*/ 0 h 4125249"/>
              <a:gd name="connsiteX2" fmla="*/ 7128366 w 7128366"/>
              <a:gd name="connsiteY2" fmla="*/ 4125249 h 4125249"/>
              <a:gd name="connsiteX3" fmla="*/ 0 w 7128366"/>
              <a:gd name="connsiteY3" fmla="*/ 4125249 h 4125249"/>
              <a:gd name="connsiteX4" fmla="*/ 0 w 7128366"/>
              <a:gd name="connsiteY4" fmla="*/ 0 h 412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8366" h="4125249">
                <a:moveTo>
                  <a:pt x="0" y="0"/>
                </a:moveTo>
                <a:cubicBezTo>
                  <a:pt x="2830074" y="1564963"/>
                  <a:pt x="4389677" y="1545895"/>
                  <a:pt x="7128366" y="0"/>
                </a:cubicBezTo>
                <a:lnTo>
                  <a:pt x="7128366" y="4125249"/>
                </a:lnTo>
                <a:cubicBezTo>
                  <a:pt x="4421492" y="2456332"/>
                  <a:pt x="2859242" y="2485071"/>
                  <a:pt x="0" y="4125249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5000">
                <a:srgbClr val="7A98F8">
                  <a:alpha val="0"/>
                </a:srgbClr>
              </a:gs>
              <a:gs pos="100000">
                <a:srgbClr val="7A98F8">
                  <a:alpha val="0"/>
                </a:srgbClr>
              </a:gs>
              <a:gs pos="50000">
                <a:srgbClr val="7A98F8"/>
              </a:gs>
            </a:gsLst>
            <a:lin ang="10800000" scaled="0"/>
          </a:gradFill>
          <a:ln w="8071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6" name="gaoding-7">
            <a:extLst>
              <a:ext uri="{FF2B5EF4-FFF2-40B4-BE49-F238E27FC236}">
                <a16:creationId xmlns:a16="http://schemas.microsoft.com/office/drawing/2014/main" id="{596E13CC-AE39-7812-843B-885CF6B385EA}"/>
              </a:ext>
            </a:extLst>
          </p:cNvPr>
          <p:cNvSpPr/>
          <p:nvPr/>
        </p:nvSpPr>
        <p:spPr>
          <a:xfrm>
            <a:off x="3569369" y="2921612"/>
            <a:ext cx="1694046" cy="1694046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7" name="gaoding-8">
            <a:extLst>
              <a:ext uri="{FF2B5EF4-FFF2-40B4-BE49-F238E27FC236}">
                <a16:creationId xmlns:a16="http://schemas.microsoft.com/office/drawing/2014/main" id="{61A46E4D-392A-1592-BFCC-F5A4F3F510A7}"/>
              </a:ext>
            </a:extLst>
          </p:cNvPr>
          <p:cNvSpPr/>
          <p:nvPr/>
        </p:nvSpPr>
        <p:spPr>
          <a:xfrm>
            <a:off x="6928585" y="2921612"/>
            <a:ext cx="1694046" cy="1694046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14" name="gaoding-15">
            <a:extLst>
              <a:ext uri="{FF2B5EF4-FFF2-40B4-BE49-F238E27FC236}">
                <a16:creationId xmlns:a16="http://schemas.microsoft.com/office/drawing/2014/main" id="{7CC44DE5-FC83-E7FF-E20B-5FD5D2339FF4}"/>
              </a:ext>
            </a:extLst>
          </p:cNvPr>
          <p:cNvSpPr/>
          <p:nvPr/>
        </p:nvSpPr>
        <p:spPr>
          <a:xfrm>
            <a:off x="2856745" y="3196066"/>
            <a:ext cx="550334" cy="0"/>
          </a:xfrm>
          <a:custGeom>
            <a:avLst/>
            <a:gdLst>
              <a:gd name="connsiteX0" fmla="*/ 550334 w 550334"/>
              <a:gd name="connsiteY0" fmla="*/ 0 h 0"/>
              <a:gd name="connsiteX1" fmla="*/ 0 w 5503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334">
                <a:moveTo>
                  <a:pt x="550334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5" name="gaoding-16">
            <a:extLst>
              <a:ext uri="{FF2B5EF4-FFF2-40B4-BE49-F238E27FC236}">
                <a16:creationId xmlns:a16="http://schemas.microsoft.com/office/drawing/2014/main" id="{BBCB272B-234F-309A-AF29-8E59490F1CF5}"/>
              </a:ext>
            </a:extLst>
          </p:cNvPr>
          <p:cNvSpPr/>
          <p:nvPr/>
        </p:nvSpPr>
        <p:spPr>
          <a:xfrm>
            <a:off x="2735142" y="3577779"/>
            <a:ext cx="550334" cy="0"/>
          </a:xfrm>
          <a:custGeom>
            <a:avLst/>
            <a:gdLst>
              <a:gd name="connsiteX0" fmla="*/ 550334 w 550334"/>
              <a:gd name="connsiteY0" fmla="*/ 0 h 0"/>
              <a:gd name="connsiteX1" fmla="*/ 0 w 5503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334">
                <a:moveTo>
                  <a:pt x="550334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6" name="gaoding-17">
            <a:extLst>
              <a:ext uri="{FF2B5EF4-FFF2-40B4-BE49-F238E27FC236}">
                <a16:creationId xmlns:a16="http://schemas.microsoft.com/office/drawing/2014/main" id="{28D2BC62-D591-9B7F-59BF-C893F77E1BFD}"/>
              </a:ext>
            </a:extLst>
          </p:cNvPr>
          <p:cNvSpPr/>
          <p:nvPr/>
        </p:nvSpPr>
        <p:spPr>
          <a:xfrm>
            <a:off x="2735142" y="3959492"/>
            <a:ext cx="550334" cy="0"/>
          </a:xfrm>
          <a:custGeom>
            <a:avLst/>
            <a:gdLst>
              <a:gd name="connsiteX0" fmla="*/ 550334 w 550334"/>
              <a:gd name="connsiteY0" fmla="*/ 0 h 0"/>
              <a:gd name="connsiteX1" fmla="*/ 0 w 5503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334">
                <a:moveTo>
                  <a:pt x="550334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7" name="gaoding-18">
            <a:extLst>
              <a:ext uri="{FF2B5EF4-FFF2-40B4-BE49-F238E27FC236}">
                <a16:creationId xmlns:a16="http://schemas.microsoft.com/office/drawing/2014/main" id="{C936BF65-A346-F09A-63C9-11F7D1D15191}"/>
              </a:ext>
            </a:extLst>
          </p:cNvPr>
          <p:cNvSpPr/>
          <p:nvPr/>
        </p:nvSpPr>
        <p:spPr>
          <a:xfrm>
            <a:off x="2856745" y="4341205"/>
            <a:ext cx="550334" cy="0"/>
          </a:xfrm>
          <a:custGeom>
            <a:avLst/>
            <a:gdLst>
              <a:gd name="connsiteX0" fmla="*/ 550334 w 550334"/>
              <a:gd name="connsiteY0" fmla="*/ 0 h 0"/>
              <a:gd name="connsiteX1" fmla="*/ 0 w 5503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334">
                <a:moveTo>
                  <a:pt x="550334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22" name="gaoding-23">
            <a:extLst>
              <a:ext uri="{FF2B5EF4-FFF2-40B4-BE49-F238E27FC236}">
                <a16:creationId xmlns:a16="http://schemas.microsoft.com/office/drawing/2014/main" id="{5491B181-D20A-B43E-949F-B3A61C986956}"/>
              </a:ext>
            </a:extLst>
          </p:cNvPr>
          <p:cNvSpPr/>
          <p:nvPr/>
        </p:nvSpPr>
        <p:spPr>
          <a:xfrm flipH="1">
            <a:off x="8784922" y="3196066"/>
            <a:ext cx="550334" cy="0"/>
          </a:xfrm>
          <a:custGeom>
            <a:avLst/>
            <a:gdLst>
              <a:gd name="connsiteX0" fmla="*/ 550334 w 550334"/>
              <a:gd name="connsiteY0" fmla="*/ 0 h 0"/>
              <a:gd name="connsiteX1" fmla="*/ 0 w 5503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334">
                <a:moveTo>
                  <a:pt x="550334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23" name="gaoding-24">
            <a:extLst>
              <a:ext uri="{FF2B5EF4-FFF2-40B4-BE49-F238E27FC236}">
                <a16:creationId xmlns:a16="http://schemas.microsoft.com/office/drawing/2014/main" id="{325F8D9C-05D1-FB43-81D9-9B2508863686}"/>
              </a:ext>
            </a:extLst>
          </p:cNvPr>
          <p:cNvSpPr/>
          <p:nvPr/>
        </p:nvSpPr>
        <p:spPr>
          <a:xfrm flipH="1">
            <a:off x="8906525" y="3577779"/>
            <a:ext cx="550334" cy="0"/>
          </a:xfrm>
          <a:custGeom>
            <a:avLst/>
            <a:gdLst>
              <a:gd name="connsiteX0" fmla="*/ 550334 w 550334"/>
              <a:gd name="connsiteY0" fmla="*/ 0 h 0"/>
              <a:gd name="connsiteX1" fmla="*/ 0 w 5503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334">
                <a:moveTo>
                  <a:pt x="550334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24" name="gaoding-25">
            <a:extLst>
              <a:ext uri="{FF2B5EF4-FFF2-40B4-BE49-F238E27FC236}">
                <a16:creationId xmlns:a16="http://schemas.microsoft.com/office/drawing/2014/main" id="{AA45C76C-703C-E7B9-7BBF-A7259311BB5F}"/>
              </a:ext>
            </a:extLst>
          </p:cNvPr>
          <p:cNvSpPr/>
          <p:nvPr/>
        </p:nvSpPr>
        <p:spPr>
          <a:xfrm flipH="1">
            <a:off x="8906525" y="3959492"/>
            <a:ext cx="550334" cy="0"/>
          </a:xfrm>
          <a:custGeom>
            <a:avLst/>
            <a:gdLst>
              <a:gd name="connsiteX0" fmla="*/ 550334 w 550334"/>
              <a:gd name="connsiteY0" fmla="*/ 0 h 0"/>
              <a:gd name="connsiteX1" fmla="*/ 0 w 5503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334">
                <a:moveTo>
                  <a:pt x="550334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25" name="gaoding-26">
            <a:extLst>
              <a:ext uri="{FF2B5EF4-FFF2-40B4-BE49-F238E27FC236}">
                <a16:creationId xmlns:a16="http://schemas.microsoft.com/office/drawing/2014/main" id="{204A3794-96E0-C03F-8BD2-CC2FBC9CD4A5}"/>
              </a:ext>
            </a:extLst>
          </p:cNvPr>
          <p:cNvSpPr/>
          <p:nvPr/>
        </p:nvSpPr>
        <p:spPr>
          <a:xfrm flipH="1">
            <a:off x="8784922" y="4341205"/>
            <a:ext cx="550334" cy="0"/>
          </a:xfrm>
          <a:custGeom>
            <a:avLst/>
            <a:gdLst>
              <a:gd name="connsiteX0" fmla="*/ 550334 w 550334"/>
              <a:gd name="connsiteY0" fmla="*/ 0 h 0"/>
              <a:gd name="connsiteX1" fmla="*/ 0 w 5503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0334">
                <a:moveTo>
                  <a:pt x="550334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31" name="gaoding-32">
            <a:extLst>
              <a:ext uri="{FF2B5EF4-FFF2-40B4-BE49-F238E27FC236}">
                <a16:creationId xmlns:a16="http://schemas.microsoft.com/office/drawing/2014/main" id="{679E878A-A3F9-CE35-52E5-08D730D84CA6}"/>
              </a:ext>
            </a:extLst>
          </p:cNvPr>
          <p:cNvSpPr/>
          <p:nvPr/>
        </p:nvSpPr>
        <p:spPr>
          <a:xfrm>
            <a:off x="5569562" y="4845453"/>
            <a:ext cx="431764" cy="43176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33" name="gaoding-34">
            <a:extLst>
              <a:ext uri="{FF2B5EF4-FFF2-40B4-BE49-F238E27FC236}">
                <a16:creationId xmlns:a16="http://schemas.microsoft.com/office/drawing/2014/main" id="{296B8FAD-6EB2-E155-5A32-971D53430579}"/>
              </a:ext>
            </a:extLst>
          </p:cNvPr>
          <p:cNvSpPr/>
          <p:nvPr/>
        </p:nvSpPr>
        <p:spPr>
          <a:xfrm>
            <a:off x="6190674" y="4845453"/>
            <a:ext cx="431764" cy="43176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35" name="gaoding-36">
            <a:extLst>
              <a:ext uri="{FF2B5EF4-FFF2-40B4-BE49-F238E27FC236}">
                <a16:creationId xmlns:a16="http://schemas.microsoft.com/office/drawing/2014/main" id="{D0310E1B-DC3E-EDCF-9202-470A23720A29}"/>
              </a:ext>
            </a:extLst>
          </p:cNvPr>
          <p:cNvSpPr/>
          <p:nvPr/>
        </p:nvSpPr>
        <p:spPr>
          <a:xfrm>
            <a:off x="4948450" y="4956604"/>
            <a:ext cx="431764" cy="43176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37" name="gaoding-38">
            <a:extLst>
              <a:ext uri="{FF2B5EF4-FFF2-40B4-BE49-F238E27FC236}">
                <a16:creationId xmlns:a16="http://schemas.microsoft.com/office/drawing/2014/main" id="{5C100654-5FF0-4EF8-AF15-2B9D818385CC}"/>
              </a:ext>
            </a:extLst>
          </p:cNvPr>
          <p:cNvSpPr/>
          <p:nvPr/>
        </p:nvSpPr>
        <p:spPr>
          <a:xfrm>
            <a:off x="6811787" y="4956604"/>
            <a:ext cx="431764" cy="43176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7195A8F2-0092-18C5-855C-0E8A259D4FF9}"/>
              </a:ext>
            </a:extLst>
          </p:cNvPr>
          <p:cNvGrpSpPr/>
          <p:nvPr/>
        </p:nvGrpSpPr>
        <p:grpSpPr>
          <a:xfrm>
            <a:off x="3796485" y="3160503"/>
            <a:ext cx="1203804" cy="1157044"/>
            <a:chOff x="1406740" y="5275641"/>
            <a:chExt cx="441102" cy="423968"/>
          </a:xfrm>
        </p:grpSpPr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9CF20F64-7B2F-9CBF-5FFF-25C4EF9D79A6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346B0D7D-7BA1-DACD-01A3-AFC1518EC3D0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1C883940-C19D-B954-97C5-45D3E65D50D5}"/>
              </a:ext>
            </a:extLst>
          </p:cNvPr>
          <p:cNvGrpSpPr/>
          <p:nvPr/>
        </p:nvGrpSpPr>
        <p:grpSpPr>
          <a:xfrm>
            <a:off x="7260381" y="3223342"/>
            <a:ext cx="1030454" cy="1157041"/>
            <a:chOff x="3193522" y="5222129"/>
            <a:chExt cx="395205" cy="443754"/>
          </a:xfrm>
        </p:grpSpPr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1C6194C9-C6FD-5624-88C2-25518C7EA92A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21CEFC47-C9B7-A1CD-D1BB-92DDF60D01B8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47" name="稿定-9">
            <a:extLst>
              <a:ext uri="{FF2B5EF4-FFF2-40B4-BE49-F238E27FC236}">
                <a16:creationId xmlns:a16="http://schemas.microsoft.com/office/drawing/2014/main" id="{85DAFDF7-9BEC-AF55-7D0D-DC39B28E0488}"/>
              </a:ext>
            </a:extLst>
          </p:cNvPr>
          <p:cNvSpPr/>
          <p:nvPr/>
        </p:nvSpPr>
        <p:spPr>
          <a:xfrm flipH="1">
            <a:off x="1771330" y="304479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8" name="稿定-9">
            <a:extLst>
              <a:ext uri="{FF2B5EF4-FFF2-40B4-BE49-F238E27FC236}">
                <a16:creationId xmlns:a16="http://schemas.microsoft.com/office/drawing/2014/main" id="{771DA1E6-FC54-2B92-0664-3188BFCC28DE}"/>
              </a:ext>
            </a:extLst>
          </p:cNvPr>
          <p:cNvSpPr/>
          <p:nvPr/>
        </p:nvSpPr>
        <p:spPr>
          <a:xfrm flipH="1">
            <a:off x="1651787" y="343796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9" name="稿定-9">
            <a:extLst>
              <a:ext uri="{FF2B5EF4-FFF2-40B4-BE49-F238E27FC236}">
                <a16:creationId xmlns:a16="http://schemas.microsoft.com/office/drawing/2014/main" id="{B1BDD3E7-2E47-0E18-E56E-D50D81BB39F4}"/>
              </a:ext>
            </a:extLst>
          </p:cNvPr>
          <p:cNvSpPr/>
          <p:nvPr/>
        </p:nvSpPr>
        <p:spPr>
          <a:xfrm flipH="1">
            <a:off x="1651787" y="380457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0" name="稿定-9">
            <a:extLst>
              <a:ext uri="{FF2B5EF4-FFF2-40B4-BE49-F238E27FC236}">
                <a16:creationId xmlns:a16="http://schemas.microsoft.com/office/drawing/2014/main" id="{9FB48A6B-D493-93F9-79E2-6BFBFD39DA5D}"/>
              </a:ext>
            </a:extLst>
          </p:cNvPr>
          <p:cNvSpPr/>
          <p:nvPr/>
        </p:nvSpPr>
        <p:spPr>
          <a:xfrm flipH="1">
            <a:off x="1771330" y="420184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1" name="稿定-9">
            <a:extLst>
              <a:ext uri="{FF2B5EF4-FFF2-40B4-BE49-F238E27FC236}">
                <a16:creationId xmlns:a16="http://schemas.microsoft.com/office/drawing/2014/main" id="{D27D891C-4B79-BCDF-E15F-4E3482E27411}"/>
              </a:ext>
            </a:extLst>
          </p:cNvPr>
          <p:cNvSpPr/>
          <p:nvPr/>
        </p:nvSpPr>
        <p:spPr>
          <a:xfrm flipH="1">
            <a:off x="9451108" y="304479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2" name="稿定-9">
            <a:extLst>
              <a:ext uri="{FF2B5EF4-FFF2-40B4-BE49-F238E27FC236}">
                <a16:creationId xmlns:a16="http://schemas.microsoft.com/office/drawing/2014/main" id="{6AD5AD16-83C4-9422-8B42-5CDBD9B4EDA7}"/>
              </a:ext>
            </a:extLst>
          </p:cNvPr>
          <p:cNvSpPr/>
          <p:nvPr/>
        </p:nvSpPr>
        <p:spPr>
          <a:xfrm flipH="1">
            <a:off x="9599127" y="343796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3" name="稿定-9">
            <a:extLst>
              <a:ext uri="{FF2B5EF4-FFF2-40B4-BE49-F238E27FC236}">
                <a16:creationId xmlns:a16="http://schemas.microsoft.com/office/drawing/2014/main" id="{61ACEC07-00CB-CEDC-1D7A-F40D95E8890C}"/>
              </a:ext>
            </a:extLst>
          </p:cNvPr>
          <p:cNvSpPr/>
          <p:nvPr/>
        </p:nvSpPr>
        <p:spPr>
          <a:xfrm flipH="1">
            <a:off x="9599127" y="381009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4" name="稿定-9">
            <a:extLst>
              <a:ext uri="{FF2B5EF4-FFF2-40B4-BE49-F238E27FC236}">
                <a16:creationId xmlns:a16="http://schemas.microsoft.com/office/drawing/2014/main" id="{ED3B8064-9C39-8655-EC17-54DFFDC30DF0}"/>
              </a:ext>
            </a:extLst>
          </p:cNvPr>
          <p:cNvSpPr/>
          <p:nvPr/>
        </p:nvSpPr>
        <p:spPr>
          <a:xfrm flipH="1">
            <a:off x="9451108" y="419685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3F5FA0FA-35E1-7FAB-DC15-434A03798052}"/>
              </a:ext>
            </a:extLst>
          </p:cNvPr>
          <p:cNvGrpSpPr/>
          <p:nvPr/>
        </p:nvGrpSpPr>
        <p:grpSpPr>
          <a:xfrm flipH="1">
            <a:off x="5058422" y="5064213"/>
            <a:ext cx="204993" cy="213000"/>
            <a:chOff x="4959329" y="5244522"/>
            <a:chExt cx="440486" cy="457692"/>
          </a:xfrm>
          <a:solidFill>
            <a:schemeClr val="tx1"/>
          </a:solidFill>
        </p:grpSpPr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8B04DE90-9576-33DB-CCBF-4D6AD104FA35}"/>
                </a:ext>
              </a:extLst>
            </p:cNvPr>
            <p:cNvSpPr/>
            <p:nvPr/>
          </p:nvSpPr>
          <p:spPr>
            <a:xfrm>
              <a:off x="4959329" y="5280999"/>
              <a:ext cx="440486" cy="421215"/>
            </a:xfrm>
            <a:custGeom>
              <a:avLst/>
              <a:gdLst>
                <a:gd name="connsiteX0" fmla="*/ 310405 w 440486"/>
                <a:gd name="connsiteY0" fmla="*/ 421215 h 421215"/>
                <a:gd name="connsiteX1" fmla="*/ 130081 w 440486"/>
                <a:gd name="connsiteY1" fmla="*/ 421215 h 421215"/>
                <a:gd name="connsiteX2" fmla="*/ 0 w 440486"/>
                <a:gd name="connsiteY2" fmla="*/ 291134 h 421215"/>
                <a:gd name="connsiteX3" fmla="*/ 0 w 440486"/>
                <a:gd name="connsiteY3" fmla="*/ 130081 h 421215"/>
                <a:gd name="connsiteX4" fmla="*/ 130081 w 440486"/>
                <a:gd name="connsiteY4" fmla="*/ 0 h 421215"/>
                <a:gd name="connsiteX5" fmla="*/ 311782 w 440486"/>
                <a:gd name="connsiteY5" fmla="*/ 0 h 421215"/>
                <a:gd name="connsiteX6" fmla="*/ 440486 w 440486"/>
                <a:gd name="connsiteY6" fmla="*/ 130081 h 421215"/>
                <a:gd name="connsiteX7" fmla="*/ 440486 w 440486"/>
                <a:gd name="connsiteY7" fmla="*/ 292511 h 421215"/>
                <a:gd name="connsiteX8" fmla="*/ 310405 w 440486"/>
                <a:gd name="connsiteY8" fmla="*/ 421215 h 421215"/>
                <a:gd name="connsiteX9" fmla="*/ 130081 w 440486"/>
                <a:gd name="connsiteY9" fmla="*/ 27530 h 421215"/>
                <a:gd name="connsiteX10" fmla="*/ 27530 w 440486"/>
                <a:gd name="connsiteY10" fmla="*/ 130081 h 421215"/>
                <a:gd name="connsiteX11" fmla="*/ 27530 w 440486"/>
                <a:gd name="connsiteY11" fmla="*/ 291134 h 421215"/>
                <a:gd name="connsiteX12" fmla="*/ 130081 w 440486"/>
                <a:gd name="connsiteY12" fmla="*/ 393685 h 421215"/>
                <a:gd name="connsiteX13" fmla="*/ 310405 w 440486"/>
                <a:gd name="connsiteY13" fmla="*/ 393685 h 421215"/>
                <a:gd name="connsiteX14" fmla="*/ 412956 w 440486"/>
                <a:gd name="connsiteY14" fmla="*/ 292511 h 421215"/>
                <a:gd name="connsiteX15" fmla="*/ 412956 w 440486"/>
                <a:gd name="connsiteY15" fmla="*/ 130081 h 421215"/>
                <a:gd name="connsiteX16" fmla="*/ 311782 w 440486"/>
                <a:gd name="connsiteY16" fmla="*/ 27530 h 421215"/>
                <a:gd name="connsiteX17" fmla="*/ 130081 w 440486"/>
                <a:gd name="connsiteY17" fmla="*/ 27530 h 42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0486" h="421215">
                  <a:moveTo>
                    <a:pt x="310405" y="421215"/>
                  </a:moveTo>
                  <a:lnTo>
                    <a:pt x="130081" y="421215"/>
                  </a:lnTo>
                  <a:cubicBezTo>
                    <a:pt x="58502" y="421215"/>
                    <a:pt x="0" y="362713"/>
                    <a:pt x="0" y="291134"/>
                  </a:cubicBezTo>
                  <a:lnTo>
                    <a:pt x="0" y="130081"/>
                  </a:lnTo>
                  <a:cubicBezTo>
                    <a:pt x="0" y="58502"/>
                    <a:pt x="58502" y="0"/>
                    <a:pt x="130081" y="0"/>
                  </a:cubicBezTo>
                  <a:lnTo>
                    <a:pt x="311782" y="0"/>
                  </a:lnTo>
                  <a:cubicBezTo>
                    <a:pt x="382673" y="0"/>
                    <a:pt x="440486" y="58502"/>
                    <a:pt x="440486" y="130081"/>
                  </a:cubicBezTo>
                  <a:lnTo>
                    <a:pt x="440486" y="292511"/>
                  </a:lnTo>
                  <a:cubicBezTo>
                    <a:pt x="440486" y="363401"/>
                    <a:pt x="381984" y="421215"/>
                    <a:pt x="310405" y="421215"/>
                  </a:cubicBezTo>
                  <a:close/>
                  <a:moveTo>
                    <a:pt x="130081" y="27530"/>
                  </a:moveTo>
                  <a:cubicBezTo>
                    <a:pt x="73644" y="27530"/>
                    <a:pt x="27530" y="73644"/>
                    <a:pt x="27530" y="130081"/>
                  </a:cubicBezTo>
                  <a:lnTo>
                    <a:pt x="27530" y="291134"/>
                  </a:lnTo>
                  <a:cubicBezTo>
                    <a:pt x="27530" y="347571"/>
                    <a:pt x="73644" y="393685"/>
                    <a:pt x="130081" y="393685"/>
                  </a:cubicBezTo>
                  <a:lnTo>
                    <a:pt x="310405" y="393685"/>
                  </a:lnTo>
                  <a:cubicBezTo>
                    <a:pt x="366843" y="393685"/>
                    <a:pt x="412956" y="348260"/>
                    <a:pt x="412956" y="292511"/>
                  </a:cubicBezTo>
                  <a:lnTo>
                    <a:pt x="412956" y="130081"/>
                  </a:lnTo>
                  <a:cubicBezTo>
                    <a:pt x="412956" y="73644"/>
                    <a:pt x="367531" y="27530"/>
                    <a:pt x="311782" y="27530"/>
                  </a:cubicBezTo>
                  <a:lnTo>
                    <a:pt x="130081" y="27530"/>
                  </a:ln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42FB0891-845F-E6DD-B7AA-85B1D60DBF77}"/>
                </a:ext>
              </a:extLst>
            </p:cNvPr>
            <p:cNvSpPr/>
            <p:nvPr/>
          </p:nvSpPr>
          <p:spPr>
            <a:xfrm>
              <a:off x="5088033" y="5244522"/>
              <a:ext cx="183077" cy="285627"/>
            </a:xfrm>
            <a:custGeom>
              <a:avLst/>
              <a:gdLst>
                <a:gd name="connsiteX0" fmla="*/ 90850 w 183077"/>
                <a:gd name="connsiteY0" fmla="*/ 285628 h 285627"/>
                <a:gd name="connsiteX1" fmla="*/ 30972 w 183077"/>
                <a:gd name="connsiteY1" fmla="*/ 249150 h 285627"/>
                <a:gd name="connsiteX2" fmla="*/ 35101 w 183077"/>
                <a:gd name="connsiteY2" fmla="*/ 232632 h 285627"/>
                <a:gd name="connsiteX3" fmla="*/ 51620 w 183077"/>
                <a:gd name="connsiteY3" fmla="*/ 236761 h 285627"/>
                <a:gd name="connsiteX4" fmla="*/ 91539 w 183077"/>
                <a:gd name="connsiteY4" fmla="*/ 261539 h 285627"/>
                <a:gd name="connsiteX5" fmla="*/ 130769 w 183077"/>
                <a:gd name="connsiteY5" fmla="*/ 236073 h 285627"/>
                <a:gd name="connsiteX6" fmla="*/ 147288 w 183077"/>
                <a:gd name="connsiteY6" fmla="*/ 231255 h 285627"/>
                <a:gd name="connsiteX7" fmla="*/ 152105 w 183077"/>
                <a:gd name="connsiteY7" fmla="*/ 247774 h 285627"/>
                <a:gd name="connsiteX8" fmla="*/ 92915 w 183077"/>
                <a:gd name="connsiteY8" fmla="*/ 285628 h 285627"/>
                <a:gd name="connsiteX9" fmla="*/ 90850 w 183077"/>
                <a:gd name="connsiteY9" fmla="*/ 285628 h 285627"/>
                <a:gd name="connsiteX10" fmla="*/ 13765 w 183077"/>
                <a:gd name="connsiteY10" fmla="*/ 89474 h 285627"/>
                <a:gd name="connsiteX11" fmla="*/ 0 w 183077"/>
                <a:gd name="connsiteY11" fmla="*/ 71579 h 285627"/>
                <a:gd name="connsiteX12" fmla="*/ 0 w 183077"/>
                <a:gd name="connsiteY12" fmla="*/ 17895 h 285627"/>
                <a:gd name="connsiteX13" fmla="*/ 13765 w 183077"/>
                <a:gd name="connsiteY13" fmla="*/ 0 h 285627"/>
                <a:gd name="connsiteX14" fmla="*/ 27530 w 183077"/>
                <a:gd name="connsiteY14" fmla="*/ 17895 h 285627"/>
                <a:gd name="connsiteX15" fmla="*/ 27530 w 183077"/>
                <a:gd name="connsiteY15" fmla="*/ 72267 h 285627"/>
                <a:gd name="connsiteX16" fmla="*/ 13765 w 183077"/>
                <a:gd name="connsiteY16" fmla="*/ 89474 h 285627"/>
                <a:gd name="connsiteX17" fmla="*/ 169312 w 183077"/>
                <a:gd name="connsiteY17" fmla="*/ 89474 h 285627"/>
                <a:gd name="connsiteX18" fmla="*/ 155547 w 183077"/>
                <a:gd name="connsiteY18" fmla="*/ 71579 h 285627"/>
                <a:gd name="connsiteX19" fmla="*/ 155547 w 183077"/>
                <a:gd name="connsiteY19" fmla="*/ 17895 h 285627"/>
                <a:gd name="connsiteX20" fmla="*/ 169312 w 183077"/>
                <a:gd name="connsiteY20" fmla="*/ 0 h 285627"/>
                <a:gd name="connsiteX21" fmla="*/ 183077 w 183077"/>
                <a:gd name="connsiteY21" fmla="*/ 17895 h 285627"/>
                <a:gd name="connsiteX22" fmla="*/ 183077 w 183077"/>
                <a:gd name="connsiteY22" fmla="*/ 72267 h 285627"/>
                <a:gd name="connsiteX23" fmla="*/ 169312 w 183077"/>
                <a:gd name="connsiteY23" fmla="*/ 89474 h 28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83077" h="285627">
                  <a:moveTo>
                    <a:pt x="90850" y="285628"/>
                  </a:moveTo>
                  <a:cubicBezTo>
                    <a:pt x="66761" y="285628"/>
                    <a:pt x="44049" y="271863"/>
                    <a:pt x="30972" y="249150"/>
                  </a:cubicBezTo>
                  <a:cubicBezTo>
                    <a:pt x="27530" y="243644"/>
                    <a:pt x="29595" y="236073"/>
                    <a:pt x="35101" y="232632"/>
                  </a:cubicBezTo>
                  <a:cubicBezTo>
                    <a:pt x="40607" y="229191"/>
                    <a:pt x="48178" y="231255"/>
                    <a:pt x="51620" y="236761"/>
                  </a:cubicBezTo>
                  <a:cubicBezTo>
                    <a:pt x="60567" y="252591"/>
                    <a:pt x="75709" y="261539"/>
                    <a:pt x="91539" y="261539"/>
                  </a:cubicBezTo>
                  <a:cubicBezTo>
                    <a:pt x="108057" y="261539"/>
                    <a:pt x="121822" y="251215"/>
                    <a:pt x="130769" y="236073"/>
                  </a:cubicBezTo>
                  <a:cubicBezTo>
                    <a:pt x="134211" y="230567"/>
                    <a:pt x="141093" y="227814"/>
                    <a:pt x="147288" y="231255"/>
                  </a:cubicBezTo>
                  <a:cubicBezTo>
                    <a:pt x="152794" y="234697"/>
                    <a:pt x="155547" y="241579"/>
                    <a:pt x="152105" y="247774"/>
                  </a:cubicBezTo>
                  <a:cubicBezTo>
                    <a:pt x="139717" y="271174"/>
                    <a:pt x="117004" y="284940"/>
                    <a:pt x="92915" y="285628"/>
                  </a:cubicBezTo>
                  <a:lnTo>
                    <a:pt x="90850" y="285628"/>
                  </a:lnTo>
                  <a:close/>
                  <a:moveTo>
                    <a:pt x="13765" y="89474"/>
                  </a:moveTo>
                  <a:cubicBezTo>
                    <a:pt x="6194" y="89474"/>
                    <a:pt x="0" y="81903"/>
                    <a:pt x="0" y="71579"/>
                  </a:cubicBezTo>
                  <a:lnTo>
                    <a:pt x="0" y="17895"/>
                  </a:lnTo>
                  <a:cubicBezTo>
                    <a:pt x="0" y="8259"/>
                    <a:pt x="6194" y="0"/>
                    <a:pt x="13765" y="0"/>
                  </a:cubicBezTo>
                  <a:cubicBezTo>
                    <a:pt x="21336" y="0"/>
                    <a:pt x="27530" y="7571"/>
                    <a:pt x="27530" y="17895"/>
                  </a:cubicBezTo>
                  <a:lnTo>
                    <a:pt x="27530" y="72267"/>
                  </a:lnTo>
                  <a:cubicBezTo>
                    <a:pt x="27530" y="81903"/>
                    <a:pt x="21336" y="89474"/>
                    <a:pt x="13765" y="89474"/>
                  </a:cubicBezTo>
                  <a:close/>
                  <a:moveTo>
                    <a:pt x="169312" y="89474"/>
                  </a:moveTo>
                  <a:cubicBezTo>
                    <a:pt x="161741" y="89474"/>
                    <a:pt x="155547" y="81903"/>
                    <a:pt x="155547" y="71579"/>
                  </a:cubicBezTo>
                  <a:lnTo>
                    <a:pt x="155547" y="17895"/>
                  </a:lnTo>
                  <a:cubicBezTo>
                    <a:pt x="155547" y="8259"/>
                    <a:pt x="161741" y="0"/>
                    <a:pt x="169312" y="0"/>
                  </a:cubicBezTo>
                  <a:cubicBezTo>
                    <a:pt x="176883" y="0"/>
                    <a:pt x="183077" y="7571"/>
                    <a:pt x="183077" y="17895"/>
                  </a:cubicBezTo>
                  <a:lnTo>
                    <a:pt x="183077" y="72267"/>
                  </a:lnTo>
                  <a:cubicBezTo>
                    <a:pt x="181701" y="81903"/>
                    <a:pt x="176195" y="89474"/>
                    <a:pt x="169312" y="89474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47BC2300-EE42-8381-E738-D440B23366B6}"/>
              </a:ext>
            </a:extLst>
          </p:cNvPr>
          <p:cNvGrpSpPr/>
          <p:nvPr/>
        </p:nvGrpSpPr>
        <p:grpSpPr>
          <a:xfrm flipH="1">
            <a:off x="6933659" y="5085191"/>
            <a:ext cx="188020" cy="188020"/>
            <a:chOff x="10357510" y="5253191"/>
            <a:chExt cx="355003" cy="355003"/>
          </a:xfrm>
          <a:solidFill>
            <a:schemeClr val="tx1"/>
          </a:solidFill>
        </p:grpSpPr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A4A8F0C2-CC23-9FDA-EF2A-CC817BF1FE1D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5AAA1BF9-7C9F-8FB3-5F74-F037051CFBF8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609A601C-7548-F43D-E8FA-BD7D0C380077}"/>
              </a:ext>
            </a:extLst>
          </p:cNvPr>
          <p:cNvGrpSpPr/>
          <p:nvPr/>
        </p:nvGrpSpPr>
        <p:grpSpPr>
          <a:xfrm flipH="1">
            <a:off x="6335980" y="4964203"/>
            <a:ext cx="152028" cy="194259"/>
            <a:chOff x="8607744" y="5255510"/>
            <a:chExt cx="287047" cy="366783"/>
          </a:xfrm>
          <a:solidFill>
            <a:schemeClr val="tx1"/>
          </a:solidFill>
        </p:grpSpPr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BF0E0882-DB2D-6197-1363-21BA056D6C26}"/>
                </a:ext>
              </a:extLst>
            </p:cNvPr>
            <p:cNvSpPr/>
            <p:nvPr/>
          </p:nvSpPr>
          <p:spPr>
            <a:xfrm>
              <a:off x="8607744" y="5255510"/>
              <a:ext cx="287047" cy="366783"/>
            </a:xfrm>
            <a:custGeom>
              <a:avLst/>
              <a:gdLst>
                <a:gd name="connsiteX0" fmla="*/ 196681 w 287047"/>
                <a:gd name="connsiteY0" fmla="*/ 366783 h 366783"/>
                <a:gd name="connsiteX1" fmla="*/ 90367 w 287047"/>
                <a:gd name="connsiteY1" fmla="*/ 366783 h 366783"/>
                <a:gd name="connsiteX2" fmla="*/ 0 w 287047"/>
                <a:gd name="connsiteY2" fmla="*/ 276416 h 366783"/>
                <a:gd name="connsiteX3" fmla="*/ 0 w 287047"/>
                <a:gd name="connsiteY3" fmla="*/ 90367 h 366783"/>
                <a:gd name="connsiteX4" fmla="*/ 90367 w 287047"/>
                <a:gd name="connsiteY4" fmla="*/ 0 h 366783"/>
                <a:gd name="connsiteX5" fmla="*/ 196681 w 287047"/>
                <a:gd name="connsiteY5" fmla="*/ 0 h 366783"/>
                <a:gd name="connsiteX6" fmla="*/ 287048 w 287047"/>
                <a:gd name="connsiteY6" fmla="*/ 90367 h 366783"/>
                <a:gd name="connsiteX7" fmla="*/ 287048 w 287047"/>
                <a:gd name="connsiteY7" fmla="*/ 276416 h 366783"/>
                <a:gd name="connsiteX8" fmla="*/ 196681 w 287047"/>
                <a:gd name="connsiteY8" fmla="*/ 366783 h 366783"/>
                <a:gd name="connsiteX9" fmla="*/ 90367 w 287047"/>
                <a:gd name="connsiteY9" fmla="*/ 21263 h 366783"/>
                <a:gd name="connsiteX10" fmla="*/ 21263 w 287047"/>
                <a:gd name="connsiteY10" fmla="*/ 90367 h 366783"/>
                <a:gd name="connsiteX11" fmla="*/ 21263 w 287047"/>
                <a:gd name="connsiteY11" fmla="*/ 276416 h 366783"/>
                <a:gd name="connsiteX12" fmla="*/ 90367 w 287047"/>
                <a:gd name="connsiteY12" fmla="*/ 345521 h 366783"/>
                <a:gd name="connsiteX13" fmla="*/ 196681 w 287047"/>
                <a:gd name="connsiteY13" fmla="*/ 345521 h 366783"/>
                <a:gd name="connsiteX14" fmla="*/ 265785 w 287047"/>
                <a:gd name="connsiteY14" fmla="*/ 276416 h 366783"/>
                <a:gd name="connsiteX15" fmla="*/ 265785 w 287047"/>
                <a:gd name="connsiteY15" fmla="*/ 90367 h 366783"/>
                <a:gd name="connsiteX16" fmla="*/ 196681 w 287047"/>
                <a:gd name="connsiteY16" fmla="*/ 21263 h 366783"/>
                <a:gd name="connsiteX17" fmla="*/ 90367 w 287047"/>
                <a:gd name="connsiteY17" fmla="*/ 21263 h 36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7047" h="366783">
                  <a:moveTo>
                    <a:pt x="196681" y="366783"/>
                  </a:moveTo>
                  <a:lnTo>
                    <a:pt x="90367" y="366783"/>
                  </a:lnTo>
                  <a:cubicBezTo>
                    <a:pt x="40399" y="366783"/>
                    <a:pt x="0" y="326384"/>
                    <a:pt x="0" y="276416"/>
                  </a:cubicBezTo>
                  <a:lnTo>
                    <a:pt x="0" y="90367"/>
                  </a:lnTo>
                  <a:cubicBezTo>
                    <a:pt x="0" y="40399"/>
                    <a:pt x="40399" y="0"/>
                    <a:pt x="90367" y="0"/>
                  </a:cubicBezTo>
                  <a:lnTo>
                    <a:pt x="196681" y="0"/>
                  </a:lnTo>
                  <a:cubicBezTo>
                    <a:pt x="246648" y="0"/>
                    <a:pt x="287048" y="40399"/>
                    <a:pt x="287048" y="90367"/>
                  </a:cubicBezTo>
                  <a:lnTo>
                    <a:pt x="287048" y="276416"/>
                  </a:lnTo>
                  <a:cubicBezTo>
                    <a:pt x="287048" y="326384"/>
                    <a:pt x="246648" y="366783"/>
                    <a:pt x="196681" y="366783"/>
                  </a:cubicBezTo>
                  <a:close/>
                  <a:moveTo>
                    <a:pt x="90367" y="21263"/>
                  </a:moveTo>
                  <a:cubicBezTo>
                    <a:pt x="52094" y="21263"/>
                    <a:pt x="21263" y="52094"/>
                    <a:pt x="21263" y="90367"/>
                  </a:cubicBezTo>
                  <a:lnTo>
                    <a:pt x="21263" y="276416"/>
                  </a:lnTo>
                  <a:cubicBezTo>
                    <a:pt x="21263" y="314689"/>
                    <a:pt x="52094" y="345521"/>
                    <a:pt x="90367" y="345521"/>
                  </a:cubicBezTo>
                  <a:lnTo>
                    <a:pt x="196681" y="345521"/>
                  </a:lnTo>
                  <a:cubicBezTo>
                    <a:pt x="234954" y="345521"/>
                    <a:pt x="265785" y="314689"/>
                    <a:pt x="265785" y="276416"/>
                  </a:cubicBezTo>
                  <a:lnTo>
                    <a:pt x="265785" y="90367"/>
                  </a:lnTo>
                  <a:cubicBezTo>
                    <a:pt x="265785" y="52094"/>
                    <a:pt x="234954" y="21263"/>
                    <a:pt x="196681" y="21263"/>
                  </a:cubicBezTo>
                  <a:lnTo>
                    <a:pt x="90367" y="21263"/>
                  </a:lnTo>
                  <a:close/>
                </a:path>
              </a:pathLst>
            </a:custGeom>
            <a:grpFill/>
            <a:ln w="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4B8B1A00-61F5-98EC-A6AE-4085C5DEC307}"/>
                </a:ext>
              </a:extLst>
            </p:cNvPr>
            <p:cNvSpPr/>
            <p:nvPr/>
          </p:nvSpPr>
          <p:spPr>
            <a:xfrm>
              <a:off x="8629007" y="5486212"/>
              <a:ext cx="244522" cy="88240"/>
            </a:xfrm>
            <a:custGeom>
              <a:avLst/>
              <a:gdLst>
                <a:gd name="connsiteX0" fmla="*/ 0 w 244522"/>
                <a:gd name="connsiteY0" fmla="*/ 0 h 88240"/>
                <a:gd name="connsiteX1" fmla="*/ 244522 w 244522"/>
                <a:gd name="connsiteY1" fmla="*/ 0 h 88240"/>
                <a:gd name="connsiteX2" fmla="*/ 244522 w 244522"/>
                <a:gd name="connsiteY2" fmla="*/ 21263 h 88240"/>
                <a:gd name="connsiteX3" fmla="*/ 0 w 244522"/>
                <a:gd name="connsiteY3" fmla="*/ 21263 h 88240"/>
                <a:gd name="connsiteX4" fmla="*/ 122261 w 244522"/>
                <a:gd name="connsiteY4" fmla="*/ 88241 h 88240"/>
                <a:gd name="connsiteX5" fmla="*/ 98340 w 244522"/>
                <a:gd name="connsiteY5" fmla="*/ 64320 h 88240"/>
                <a:gd name="connsiteX6" fmla="*/ 122261 w 244522"/>
                <a:gd name="connsiteY6" fmla="*/ 40399 h 88240"/>
                <a:gd name="connsiteX7" fmla="*/ 146182 w 244522"/>
                <a:gd name="connsiteY7" fmla="*/ 64320 h 88240"/>
                <a:gd name="connsiteX8" fmla="*/ 122261 w 244522"/>
                <a:gd name="connsiteY8" fmla="*/ 88241 h 88240"/>
                <a:gd name="connsiteX9" fmla="*/ 122261 w 244522"/>
                <a:gd name="connsiteY9" fmla="*/ 56346 h 88240"/>
                <a:gd name="connsiteX10" fmla="*/ 114288 w 244522"/>
                <a:gd name="connsiteY10" fmla="*/ 64320 h 88240"/>
                <a:gd name="connsiteX11" fmla="*/ 122261 w 244522"/>
                <a:gd name="connsiteY11" fmla="*/ 72294 h 88240"/>
                <a:gd name="connsiteX12" fmla="*/ 130235 w 244522"/>
                <a:gd name="connsiteY12" fmla="*/ 64320 h 88240"/>
                <a:gd name="connsiteX13" fmla="*/ 122261 w 244522"/>
                <a:gd name="connsiteY13" fmla="*/ 56346 h 8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4522" h="88240">
                  <a:moveTo>
                    <a:pt x="0" y="0"/>
                  </a:moveTo>
                  <a:lnTo>
                    <a:pt x="244522" y="0"/>
                  </a:lnTo>
                  <a:lnTo>
                    <a:pt x="244522" y="21263"/>
                  </a:lnTo>
                  <a:lnTo>
                    <a:pt x="0" y="21263"/>
                  </a:lnTo>
                  <a:close/>
                  <a:moveTo>
                    <a:pt x="122261" y="88241"/>
                  </a:moveTo>
                  <a:cubicBezTo>
                    <a:pt x="108972" y="88241"/>
                    <a:pt x="98340" y="77609"/>
                    <a:pt x="98340" y="64320"/>
                  </a:cubicBezTo>
                  <a:cubicBezTo>
                    <a:pt x="98340" y="51031"/>
                    <a:pt x="108972" y="40399"/>
                    <a:pt x="122261" y="40399"/>
                  </a:cubicBezTo>
                  <a:cubicBezTo>
                    <a:pt x="135550" y="40399"/>
                    <a:pt x="146182" y="51031"/>
                    <a:pt x="146182" y="64320"/>
                  </a:cubicBezTo>
                  <a:cubicBezTo>
                    <a:pt x="146182" y="77609"/>
                    <a:pt x="135550" y="88241"/>
                    <a:pt x="122261" y="88241"/>
                  </a:cubicBezTo>
                  <a:close/>
                  <a:moveTo>
                    <a:pt x="122261" y="56346"/>
                  </a:moveTo>
                  <a:cubicBezTo>
                    <a:pt x="118009" y="56346"/>
                    <a:pt x="114288" y="60067"/>
                    <a:pt x="114288" y="64320"/>
                  </a:cubicBezTo>
                  <a:cubicBezTo>
                    <a:pt x="114288" y="68573"/>
                    <a:pt x="118009" y="72294"/>
                    <a:pt x="122261" y="72294"/>
                  </a:cubicBezTo>
                  <a:cubicBezTo>
                    <a:pt x="126514" y="72294"/>
                    <a:pt x="130235" y="68573"/>
                    <a:pt x="130235" y="64320"/>
                  </a:cubicBezTo>
                  <a:cubicBezTo>
                    <a:pt x="130235" y="60067"/>
                    <a:pt x="126514" y="56346"/>
                    <a:pt x="122261" y="56346"/>
                  </a:cubicBezTo>
                  <a:close/>
                </a:path>
              </a:pathLst>
            </a:custGeom>
            <a:grpFill/>
            <a:ln w="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ADBE5365-DC41-C121-99CC-EF3675AF715B}"/>
              </a:ext>
            </a:extLst>
          </p:cNvPr>
          <p:cNvGrpSpPr/>
          <p:nvPr/>
        </p:nvGrpSpPr>
        <p:grpSpPr>
          <a:xfrm flipH="1">
            <a:off x="5684045" y="4962317"/>
            <a:ext cx="202797" cy="198032"/>
            <a:chOff x="6770455" y="5253911"/>
            <a:chExt cx="387355" cy="378253"/>
          </a:xfrm>
          <a:solidFill>
            <a:schemeClr val="tx1"/>
          </a:solidFill>
        </p:grpSpPr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5FB2EE0A-1831-471F-7557-1221A5BD7E32}"/>
                </a:ext>
              </a:extLst>
            </p:cNvPr>
            <p:cNvSpPr/>
            <p:nvPr/>
          </p:nvSpPr>
          <p:spPr>
            <a:xfrm>
              <a:off x="6770455" y="5253911"/>
              <a:ext cx="387355" cy="378253"/>
            </a:xfrm>
            <a:custGeom>
              <a:avLst/>
              <a:gdLst>
                <a:gd name="connsiteX0" fmla="*/ 291860 w 387355"/>
                <a:gd name="connsiteY0" fmla="*/ 378254 h 378253"/>
                <a:gd name="connsiteX1" fmla="*/ 95496 w 387355"/>
                <a:gd name="connsiteY1" fmla="*/ 378254 h 378253"/>
                <a:gd name="connsiteX2" fmla="*/ 0 w 387355"/>
                <a:gd name="connsiteY2" fmla="*/ 282758 h 378253"/>
                <a:gd name="connsiteX3" fmla="*/ 0 w 387355"/>
                <a:gd name="connsiteY3" fmla="*/ 168162 h 378253"/>
                <a:gd name="connsiteX4" fmla="*/ 38198 w 387355"/>
                <a:gd name="connsiteY4" fmla="*/ 91169 h 378253"/>
                <a:gd name="connsiteX5" fmla="*/ 133098 w 387355"/>
                <a:gd name="connsiteY5" fmla="*/ 20144 h 378253"/>
                <a:gd name="connsiteX6" fmla="*/ 254855 w 387355"/>
                <a:gd name="connsiteY6" fmla="*/ 20144 h 378253"/>
                <a:gd name="connsiteX7" fmla="*/ 349157 w 387355"/>
                <a:gd name="connsiteY7" fmla="*/ 91169 h 378253"/>
                <a:gd name="connsiteX8" fmla="*/ 387356 w 387355"/>
                <a:gd name="connsiteY8" fmla="*/ 168162 h 378253"/>
                <a:gd name="connsiteX9" fmla="*/ 387356 w 387355"/>
                <a:gd name="connsiteY9" fmla="*/ 282161 h 378253"/>
                <a:gd name="connsiteX10" fmla="*/ 291860 w 387355"/>
                <a:gd name="connsiteY10" fmla="*/ 378254 h 378253"/>
                <a:gd name="connsiteX11" fmla="*/ 147422 w 387355"/>
                <a:gd name="connsiteY11" fmla="*/ 39840 h 378253"/>
                <a:gd name="connsiteX12" fmla="*/ 52523 w 387355"/>
                <a:gd name="connsiteY12" fmla="*/ 110865 h 378253"/>
                <a:gd name="connsiteX13" fmla="*/ 23874 w 387355"/>
                <a:gd name="connsiteY13" fmla="*/ 168759 h 378253"/>
                <a:gd name="connsiteX14" fmla="*/ 23874 w 387355"/>
                <a:gd name="connsiteY14" fmla="*/ 282758 h 378253"/>
                <a:gd name="connsiteX15" fmla="*/ 95496 w 387355"/>
                <a:gd name="connsiteY15" fmla="*/ 354380 h 378253"/>
                <a:gd name="connsiteX16" fmla="*/ 291860 w 387355"/>
                <a:gd name="connsiteY16" fmla="*/ 354380 h 378253"/>
                <a:gd name="connsiteX17" fmla="*/ 363482 w 387355"/>
                <a:gd name="connsiteY17" fmla="*/ 282758 h 378253"/>
                <a:gd name="connsiteX18" fmla="*/ 363482 w 387355"/>
                <a:gd name="connsiteY18" fmla="*/ 168162 h 378253"/>
                <a:gd name="connsiteX19" fmla="*/ 334833 w 387355"/>
                <a:gd name="connsiteY19" fmla="*/ 110268 h 378253"/>
                <a:gd name="connsiteX20" fmla="*/ 240531 w 387355"/>
                <a:gd name="connsiteY20" fmla="*/ 39243 h 378253"/>
                <a:gd name="connsiteX21" fmla="*/ 147422 w 387355"/>
                <a:gd name="connsiteY21" fmla="*/ 39840 h 37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7355" h="378253">
                  <a:moveTo>
                    <a:pt x="291860" y="378254"/>
                  </a:moveTo>
                  <a:lnTo>
                    <a:pt x="95496" y="378254"/>
                  </a:lnTo>
                  <a:cubicBezTo>
                    <a:pt x="42973" y="378254"/>
                    <a:pt x="0" y="335281"/>
                    <a:pt x="0" y="282758"/>
                  </a:cubicBezTo>
                  <a:lnTo>
                    <a:pt x="0" y="168162"/>
                  </a:lnTo>
                  <a:cubicBezTo>
                    <a:pt x="0" y="137723"/>
                    <a:pt x="14324" y="109074"/>
                    <a:pt x="38198" y="91169"/>
                  </a:cubicBezTo>
                  <a:lnTo>
                    <a:pt x="133098" y="20144"/>
                  </a:lnTo>
                  <a:cubicBezTo>
                    <a:pt x="169505" y="-6715"/>
                    <a:pt x="218447" y="-6715"/>
                    <a:pt x="254855" y="20144"/>
                  </a:cubicBezTo>
                  <a:lnTo>
                    <a:pt x="349157" y="91169"/>
                  </a:lnTo>
                  <a:cubicBezTo>
                    <a:pt x="373628" y="109671"/>
                    <a:pt x="387356" y="137723"/>
                    <a:pt x="387356" y="168162"/>
                  </a:cubicBezTo>
                  <a:lnTo>
                    <a:pt x="387356" y="282161"/>
                  </a:lnTo>
                  <a:cubicBezTo>
                    <a:pt x="387356" y="335281"/>
                    <a:pt x="344382" y="378254"/>
                    <a:pt x="291860" y="378254"/>
                  </a:cubicBezTo>
                  <a:close/>
                  <a:moveTo>
                    <a:pt x="147422" y="39840"/>
                  </a:moveTo>
                  <a:lnTo>
                    <a:pt x="52523" y="110865"/>
                  </a:lnTo>
                  <a:cubicBezTo>
                    <a:pt x="34617" y="123996"/>
                    <a:pt x="23874" y="145482"/>
                    <a:pt x="23874" y="168759"/>
                  </a:cubicBezTo>
                  <a:lnTo>
                    <a:pt x="23874" y="282758"/>
                  </a:lnTo>
                  <a:cubicBezTo>
                    <a:pt x="23874" y="322150"/>
                    <a:pt x="56104" y="354380"/>
                    <a:pt x="95496" y="354380"/>
                  </a:cubicBezTo>
                  <a:lnTo>
                    <a:pt x="291860" y="354380"/>
                  </a:lnTo>
                  <a:cubicBezTo>
                    <a:pt x="331252" y="354380"/>
                    <a:pt x="363482" y="322150"/>
                    <a:pt x="363482" y="282758"/>
                  </a:cubicBezTo>
                  <a:lnTo>
                    <a:pt x="363482" y="168162"/>
                  </a:lnTo>
                  <a:cubicBezTo>
                    <a:pt x="363482" y="145482"/>
                    <a:pt x="352738" y="124592"/>
                    <a:pt x="334833" y="110268"/>
                  </a:cubicBezTo>
                  <a:lnTo>
                    <a:pt x="240531" y="39243"/>
                  </a:lnTo>
                  <a:cubicBezTo>
                    <a:pt x="212479" y="18950"/>
                    <a:pt x="174877" y="18950"/>
                    <a:pt x="147422" y="39840"/>
                  </a:cubicBez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BCD69847-4F03-9C12-ABDD-996D6A9F0A5A}"/>
                </a:ext>
              </a:extLst>
            </p:cNvPr>
            <p:cNvSpPr/>
            <p:nvPr/>
          </p:nvSpPr>
          <p:spPr>
            <a:xfrm>
              <a:off x="6905100" y="5482249"/>
              <a:ext cx="118526" cy="53225"/>
            </a:xfrm>
            <a:custGeom>
              <a:avLst/>
              <a:gdLst>
                <a:gd name="connsiteX0" fmla="*/ 58735 w 118526"/>
                <a:gd name="connsiteY0" fmla="*/ 53226 h 53225"/>
                <a:gd name="connsiteX1" fmla="*/ 1438 w 118526"/>
                <a:gd name="connsiteY1" fmla="*/ 18012 h 53225"/>
                <a:gd name="connsiteX2" fmla="*/ 5616 w 118526"/>
                <a:gd name="connsiteY2" fmla="*/ 2494 h 53225"/>
                <a:gd name="connsiteX3" fmla="*/ 21134 w 118526"/>
                <a:gd name="connsiteY3" fmla="*/ 6672 h 53225"/>
                <a:gd name="connsiteX4" fmla="*/ 59332 w 118526"/>
                <a:gd name="connsiteY4" fmla="*/ 30546 h 53225"/>
                <a:gd name="connsiteX5" fmla="*/ 96934 w 118526"/>
                <a:gd name="connsiteY5" fmla="*/ 6075 h 53225"/>
                <a:gd name="connsiteX6" fmla="*/ 112452 w 118526"/>
                <a:gd name="connsiteY6" fmla="*/ 1300 h 53225"/>
                <a:gd name="connsiteX7" fmla="*/ 117227 w 118526"/>
                <a:gd name="connsiteY7" fmla="*/ 16818 h 53225"/>
                <a:gd name="connsiteX8" fmla="*/ 60526 w 118526"/>
                <a:gd name="connsiteY8" fmla="*/ 53226 h 53225"/>
                <a:gd name="connsiteX9" fmla="*/ 58735 w 118526"/>
                <a:gd name="connsiteY9" fmla="*/ 53226 h 5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526" h="53225">
                  <a:moveTo>
                    <a:pt x="58735" y="53226"/>
                  </a:moveTo>
                  <a:cubicBezTo>
                    <a:pt x="35458" y="53226"/>
                    <a:pt x="13971" y="40095"/>
                    <a:pt x="1438" y="18012"/>
                  </a:cubicBezTo>
                  <a:cubicBezTo>
                    <a:pt x="-1547" y="12640"/>
                    <a:pt x="244" y="5478"/>
                    <a:pt x="5616" y="2494"/>
                  </a:cubicBezTo>
                  <a:cubicBezTo>
                    <a:pt x="10987" y="-491"/>
                    <a:pt x="18149" y="1300"/>
                    <a:pt x="21134" y="6672"/>
                  </a:cubicBezTo>
                  <a:cubicBezTo>
                    <a:pt x="29490" y="21593"/>
                    <a:pt x="44411" y="30546"/>
                    <a:pt x="59332" y="30546"/>
                  </a:cubicBezTo>
                  <a:cubicBezTo>
                    <a:pt x="74850" y="30546"/>
                    <a:pt x="88578" y="20996"/>
                    <a:pt x="96934" y="6075"/>
                  </a:cubicBezTo>
                  <a:cubicBezTo>
                    <a:pt x="99918" y="703"/>
                    <a:pt x="107080" y="-1684"/>
                    <a:pt x="112452" y="1300"/>
                  </a:cubicBezTo>
                  <a:cubicBezTo>
                    <a:pt x="117823" y="4284"/>
                    <a:pt x="120211" y="11446"/>
                    <a:pt x="117227" y="16818"/>
                  </a:cubicBezTo>
                  <a:cubicBezTo>
                    <a:pt x="105290" y="38902"/>
                    <a:pt x="83803" y="52629"/>
                    <a:pt x="60526" y="53226"/>
                  </a:cubicBezTo>
                  <a:lnTo>
                    <a:pt x="58735" y="53226"/>
                  </a:ln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323682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55569C2A-EDC8-141B-7923-882F32311E84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BB113CA-BE86-DBEF-2C9C-A02D8D774E2A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BB900FE2-FA17-3C07-9D88-4D168B297AA0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7" name="gaoding-5-1">
            <a:extLst>
              <a:ext uri="{FF2B5EF4-FFF2-40B4-BE49-F238E27FC236}">
                <a16:creationId xmlns:a16="http://schemas.microsoft.com/office/drawing/2014/main" id="{2F539C75-5D74-7ACA-62D4-BD10072BFC7E}"/>
              </a:ext>
            </a:extLst>
          </p:cNvPr>
          <p:cNvSpPr/>
          <p:nvPr/>
        </p:nvSpPr>
        <p:spPr>
          <a:xfrm>
            <a:off x="1475328" y="2934014"/>
            <a:ext cx="819164" cy="819164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chemeClr val="accent1">
              <a:alpha val="8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" name="gaoding-5-2">
            <a:extLst>
              <a:ext uri="{FF2B5EF4-FFF2-40B4-BE49-F238E27FC236}">
                <a16:creationId xmlns:a16="http://schemas.microsoft.com/office/drawing/2014/main" id="{1C5F54D2-2E71-88B8-943F-6CD20E824268}"/>
              </a:ext>
            </a:extLst>
          </p:cNvPr>
          <p:cNvSpPr/>
          <p:nvPr/>
        </p:nvSpPr>
        <p:spPr>
          <a:xfrm>
            <a:off x="3157801" y="2934014"/>
            <a:ext cx="819164" cy="819164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chemeClr val="accent2">
              <a:alpha val="8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9" name="gaoding-5-3">
            <a:extLst>
              <a:ext uri="{FF2B5EF4-FFF2-40B4-BE49-F238E27FC236}">
                <a16:creationId xmlns:a16="http://schemas.microsoft.com/office/drawing/2014/main" id="{4E672B00-E5CA-29D4-3128-A372DD8DFBD1}"/>
              </a:ext>
            </a:extLst>
          </p:cNvPr>
          <p:cNvSpPr/>
          <p:nvPr/>
        </p:nvSpPr>
        <p:spPr>
          <a:xfrm>
            <a:off x="4834551" y="2934014"/>
            <a:ext cx="819164" cy="819164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chemeClr val="accent1">
              <a:alpha val="8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0" name="gaoding-5-4">
            <a:extLst>
              <a:ext uri="{FF2B5EF4-FFF2-40B4-BE49-F238E27FC236}">
                <a16:creationId xmlns:a16="http://schemas.microsoft.com/office/drawing/2014/main" id="{46358DA6-9CF3-978B-1D65-51DBCC47B67D}"/>
              </a:ext>
            </a:extLst>
          </p:cNvPr>
          <p:cNvSpPr/>
          <p:nvPr/>
        </p:nvSpPr>
        <p:spPr>
          <a:xfrm>
            <a:off x="6487562" y="2934014"/>
            <a:ext cx="819164" cy="819164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chemeClr val="accent2">
              <a:alpha val="8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1" name="gaoding-5-5">
            <a:extLst>
              <a:ext uri="{FF2B5EF4-FFF2-40B4-BE49-F238E27FC236}">
                <a16:creationId xmlns:a16="http://schemas.microsoft.com/office/drawing/2014/main" id="{8B6B3FDA-1BAF-5C21-6D6A-E07B981B3750}"/>
              </a:ext>
            </a:extLst>
          </p:cNvPr>
          <p:cNvSpPr/>
          <p:nvPr/>
        </p:nvSpPr>
        <p:spPr>
          <a:xfrm>
            <a:off x="8199498" y="2934014"/>
            <a:ext cx="819164" cy="819164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chemeClr val="accent1">
              <a:alpha val="8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2" name="gaoding-5-6">
            <a:extLst>
              <a:ext uri="{FF2B5EF4-FFF2-40B4-BE49-F238E27FC236}">
                <a16:creationId xmlns:a16="http://schemas.microsoft.com/office/drawing/2014/main" id="{D72F88F3-6640-70FE-B5A3-02209B957F0E}"/>
              </a:ext>
            </a:extLst>
          </p:cNvPr>
          <p:cNvSpPr/>
          <p:nvPr/>
        </p:nvSpPr>
        <p:spPr>
          <a:xfrm>
            <a:off x="9887693" y="2934014"/>
            <a:ext cx="819164" cy="819164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chemeClr val="accent2">
              <a:alpha val="8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3" name="gaoding-5-7">
            <a:extLst>
              <a:ext uri="{FF2B5EF4-FFF2-40B4-BE49-F238E27FC236}">
                <a16:creationId xmlns:a16="http://schemas.microsoft.com/office/drawing/2014/main" id="{AA99B33B-1873-5143-790A-851878902911}"/>
              </a:ext>
            </a:extLst>
          </p:cNvPr>
          <p:cNvSpPr/>
          <p:nvPr/>
        </p:nvSpPr>
        <p:spPr>
          <a:xfrm>
            <a:off x="1558716" y="3017402"/>
            <a:ext cx="652388" cy="652387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4" name="gaoding-5-8">
            <a:extLst>
              <a:ext uri="{FF2B5EF4-FFF2-40B4-BE49-F238E27FC236}">
                <a16:creationId xmlns:a16="http://schemas.microsoft.com/office/drawing/2014/main" id="{D9A3F926-108F-56C7-891E-69B0BB661347}"/>
              </a:ext>
            </a:extLst>
          </p:cNvPr>
          <p:cNvSpPr/>
          <p:nvPr/>
        </p:nvSpPr>
        <p:spPr>
          <a:xfrm>
            <a:off x="3241189" y="3017402"/>
            <a:ext cx="652388" cy="652387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5" name="gaoding-5-9">
            <a:extLst>
              <a:ext uri="{FF2B5EF4-FFF2-40B4-BE49-F238E27FC236}">
                <a16:creationId xmlns:a16="http://schemas.microsoft.com/office/drawing/2014/main" id="{616D00A0-0844-1D49-B42F-125068CB4215}"/>
              </a:ext>
            </a:extLst>
          </p:cNvPr>
          <p:cNvSpPr/>
          <p:nvPr/>
        </p:nvSpPr>
        <p:spPr>
          <a:xfrm>
            <a:off x="4917940" y="3017402"/>
            <a:ext cx="652388" cy="652387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6" name="gaoding-5-10">
            <a:extLst>
              <a:ext uri="{FF2B5EF4-FFF2-40B4-BE49-F238E27FC236}">
                <a16:creationId xmlns:a16="http://schemas.microsoft.com/office/drawing/2014/main" id="{B21DEF80-9198-B143-0B84-0C98496063F9}"/>
              </a:ext>
            </a:extLst>
          </p:cNvPr>
          <p:cNvSpPr/>
          <p:nvPr/>
        </p:nvSpPr>
        <p:spPr>
          <a:xfrm>
            <a:off x="6570950" y="3017402"/>
            <a:ext cx="652388" cy="652387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7" name="gaoding-5-11">
            <a:extLst>
              <a:ext uri="{FF2B5EF4-FFF2-40B4-BE49-F238E27FC236}">
                <a16:creationId xmlns:a16="http://schemas.microsoft.com/office/drawing/2014/main" id="{B876B29F-0543-3CCD-D51D-73234AF74560}"/>
              </a:ext>
            </a:extLst>
          </p:cNvPr>
          <p:cNvSpPr/>
          <p:nvPr/>
        </p:nvSpPr>
        <p:spPr>
          <a:xfrm>
            <a:off x="8282886" y="3017402"/>
            <a:ext cx="652388" cy="652387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8" name="gaoding-5-12">
            <a:extLst>
              <a:ext uri="{FF2B5EF4-FFF2-40B4-BE49-F238E27FC236}">
                <a16:creationId xmlns:a16="http://schemas.microsoft.com/office/drawing/2014/main" id="{814C27CF-95F4-2E92-A5B9-AAFCB5C51C6C}"/>
              </a:ext>
            </a:extLst>
          </p:cNvPr>
          <p:cNvSpPr/>
          <p:nvPr/>
        </p:nvSpPr>
        <p:spPr>
          <a:xfrm>
            <a:off x="9971082" y="3017402"/>
            <a:ext cx="652388" cy="652387"/>
          </a:xfrm>
          <a:custGeom>
            <a:avLst/>
            <a:gdLst>
              <a:gd name="connsiteX0" fmla="*/ 723900 w 723900"/>
              <a:gd name="connsiteY0" fmla="*/ 361950 h 723900"/>
              <a:gd name="connsiteX1" fmla="*/ 361950 w 723900"/>
              <a:gd name="connsiteY1" fmla="*/ 723900 h 723900"/>
              <a:gd name="connsiteX2" fmla="*/ 0 w 723900"/>
              <a:gd name="connsiteY2" fmla="*/ 361950 h 723900"/>
              <a:gd name="connsiteX3" fmla="*/ 361950 w 723900"/>
              <a:gd name="connsiteY3" fmla="*/ 0 h 723900"/>
              <a:gd name="connsiteX4" fmla="*/ 723900 w 723900"/>
              <a:gd name="connsiteY4" fmla="*/ 3619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900" h="723900">
                <a:moveTo>
                  <a:pt x="723900" y="361950"/>
                </a:moveTo>
                <a:cubicBezTo>
                  <a:pt x="723900" y="561849"/>
                  <a:pt x="561849" y="723900"/>
                  <a:pt x="361950" y="723900"/>
                </a:cubicBezTo>
                <a:cubicBezTo>
                  <a:pt x="162051" y="723900"/>
                  <a:pt x="0" y="561849"/>
                  <a:pt x="0" y="361950"/>
                </a:cubicBezTo>
                <a:cubicBezTo>
                  <a:pt x="0" y="162051"/>
                  <a:pt x="162051" y="0"/>
                  <a:pt x="361950" y="0"/>
                </a:cubicBezTo>
                <a:cubicBezTo>
                  <a:pt x="561849" y="0"/>
                  <a:pt x="723900" y="162051"/>
                  <a:pt x="723900" y="361950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4A82BDB7-C89E-5C76-2D2E-E40F0A0940B3}"/>
              </a:ext>
            </a:extLst>
          </p:cNvPr>
          <p:cNvGrpSpPr/>
          <p:nvPr/>
        </p:nvGrpSpPr>
        <p:grpSpPr>
          <a:xfrm>
            <a:off x="2325558" y="3326428"/>
            <a:ext cx="795455" cy="45782"/>
            <a:chOff x="1911350" y="3302000"/>
            <a:chExt cx="882650" cy="50800"/>
          </a:xfrm>
          <a:solidFill>
            <a:schemeClr val="tx1"/>
          </a:solidFill>
        </p:grpSpPr>
        <p:sp>
          <p:nvSpPr>
            <p:cNvPr id="67" name="gaoding-5-13">
              <a:extLst>
                <a:ext uri="{FF2B5EF4-FFF2-40B4-BE49-F238E27FC236}">
                  <a16:creationId xmlns:a16="http://schemas.microsoft.com/office/drawing/2014/main" id="{4F27FD66-4B72-AA88-810A-00099856AA4B}"/>
                </a:ext>
              </a:extLst>
            </p:cNvPr>
            <p:cNvSpPr/>
            <p:nvPr/>
          </p:nvSpPr>
          <p:spPr>
            <a:xfrm>
              <a:off x="19113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8" name="gaoding-5-14">
              <a:extLst>
                <a:ext uri="{FF2B5EF4-FFF2-40B4-BE49-F238E27FC236}">
                  <a16:creationId xmlns:a16="http://schemas.microsoft.com/office/drawing/2014/main" id="{B3A08F1B-0A7D-891C-AB2D-B6AAB2D95959}"/>
                </a:ext>
              </a:extLst>
            </p:cNvPr>
            <p:cNvSpPr/>
            <p:nvPr/>
          </p:nvSpPr>
          <p:spPr>
            <a:xfrm>
              <a:off x="20510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9" name="gaoding-5-15">
              <a:extLst>
                <a:ext uri="{FF2B5EF4-FFF2-40B4-BE49-F238E27FC236}">
                  <a16:creationId xmlns:a16="http://schemas.microsoft.com/office/drawing/2014/main" id="{D9603161-1E73-E328-3042-40D0B9FCAD47}"/>
                </a:ext>
              </a:extLst>
            </p:cNvPr>
            <p:cNvSpPr/>
            <p:nvPr/>
          </p:nvSpPr>
          <p:spPr>
            <a:xfrm>
              <a:off x="21907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0" name="gaoding-5-16">
              <a:extLst>
                <a:ext uri="{FF2B5EF4-FFF2-40B4-BE49-F238E27FC236}">
                  <a16:creationId xmlns:a16="http://schemas.microsoft.com/office/drawing/2014/main" id="{BD9C934A-E03D-FC8E-066B-452F0A331B4A}"/>
                </a:ext>
              </a:extLst>
            </p:cNvPr>
            <p:cNvSpPr/>
            <p:nvPr/>
          </p:nvSpPr>
          <p:spPr>
            <a:xfrm>
              <a:off x="23304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1" name="gaoding-5-17">
              <a:extLst>
                <a:ext uri="{FF2B5EF4-FFF2-40B4-BE49-F238E27FC236}">
                  <a16:creationId xmlns:a16="http://schemas.microsoft.com/office/drawing/2014/main" id="{9C666478-5092-E356-916A-1814B40E68A3}"/>
                </a:ext>
              </a:extLst>
            </p:cNvPr>
            <p:cNvSpPr/>
            <p:nvPr/>
          </p:nvSpPr>
          <p:spPr>
            <a:xfrm>
              <a:off x="24638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2" name="gaoding-5-18">
              <a:extLst>
                <a:ext uri="{FF2B5EF4-FFF2-40B4-BE49-F238E27FC236}">
                  <a16:creationId xmlns:a16="http://schemas.microsoft.com/office/drawing/2014/main" id="{1D19D2D8-F692-4FDD-25E0-5C167B4B2DB5}"/>
                </a:ext>
              </a:extLst>
            </p:cNvPr>
            <p:cNvSpPr/>
            <p:nvPr/>
          </p:nvSpPr>
          <p:spPr>
            <a:xfrm>
              <a:off x="26035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3" name="gaoding-5-19">
              <a:extLst>
                <a:ext uri="{FF2B5EF4-FFF2-40B4-BE49-F238E27FC236}">
                  <a16:creationId xmlns:a16="http://schemas.microsoft.com/office/drawing/2014/main" id="{375E7604-035E-38E7-8273-A4DB067D7708}"/>
                </a:ext>
              </a:extLst>
            </p:cNvPr>
            <p:cNvSpPr/>
            <p:nvPr/>
          </p:nvSpPr>
          <p:spPr>
            <a:xfrm>
              <a:off x="27432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C9AFF83-2E49-7094-3765-67EDCEB61A17}"/>
              </a:ext>
            </a:extLst>
          </p:cNvPr>
          <p:cNvGrpSpPr/>
          <p:nvPr/>
        </p:nvGrpSpPr>
        <p:grpSpPr>
          <a:xfrm>
            <a:off x="4002308" y="3326428"/>
            <a:ext cx="795455" cy="45782"/>
            <a:chOff x="3771900" y="3302000"/>
            <a:chExt cx="882650" cy="50800"/>
          </a:xfrm>
          <a:solidFill>
            <a:schemeClr val="tx1"/>
          </a:solidFill>
        </p:grpSpPr>
        <p:sp>
          <p:nvSpPr>
            <p:cNvPr id="60" name="gaoding-5-20">
              <a:extLst>
                <a:ext uri="{FF2B5EF4-FFF2-40B4-BE49-F238E27FC236}">
                  <a16:creationId xmlns:a16="http://schemas.microsoft.com/office/drawing/2014/main" id="{99A9086E-9766-8B5D-D4D4-631A9E2C222E}"/>
                </a:ext>
              </a:extLst>
            </p:cNvPr>
            <p:cNvSpPr/>
            <p:nvPr/>
          </p:nvSpPr>
          <p:spPr>
            <a:xfrm>
              <a:off x="46037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1" name="gaoding-5-21">
              <a:extLst>
                <a:ext uri="{FF2B5EF4-FFF2-40B4-BE49-F238E27FC236}">
                  <a16:creationId xmlns:a16="http://schemas.microsoft.com/office/drawing/2014/main" id="{1DFAD7C9-717C-A6D4-B5C6-4E72DA5E008B}"/>
                </a:ext>
              </a:extLst>
            </p:cNvPr>
            <p:cNvSpPr/>
            <p:nvPr/>
          </p:nvSpPr>
          <p:spPr>
            <a:xfrm>
              <a:off x="44640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2" name="gaoding-5-22">
              <a:extLst>
                <a:ext uri="{FF2B5EF4-FFF2-40B4-BE49-F238E27FC236}">
                  <a16:creationId xmlns:a16="http://schemas.microsoft.com/office/drawing/2014/main" id="{472B2CAD-FE9E-EE1E-64D9-4200378AB783}"/>
                </a:ext>
              </a:extLst>
            </p:cNvPr>
            <p:cNvSpPr/>
            <p:nvPr/>
          </p:nvSpPr>
          <p:spPr>
            <a:xfrm>
              <a:off x="43243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3" name="gaoding-5-23">
              <a:extLst>
                <a:ext uri="{FF2B5EF4-FFF2-40B4-BE49-F238E27FC236}">
                  <a16:creationId xmlns:a16="http://schemas.microsoft.com/office/drawing/2014/main" id="{35B9AA56-AE27-4DD7-8C87-BCC62524A6FF}"/>
                </a:ext>
              </a:extLst>
            </p:cNvPr>
            <p:cNvSpPr/>
            <p:nvPr/>
          </p:nvSpPr>
          <p:spPr>
            <a:xfrm>
              <a:off x="41846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4" name="gaoding-5-24">
              <a:extLst>
                <a:ext uri="{FF2B5EF4-FFF2-40B4-BE49-F238E27FC236}">
                  <a16:creationId xmlns:a16="http://schemas.microsoft.com/office/drawing/2014/main" id="{D22070A6-063E-0EE0-55B5-0A1F953662F2}"/>
                </a:ext>
              </a:extLst>
            </p:cNvPr>
            <p:cNvSpPr/>
            <p:nvPr/>
          </p:nvSpPr>
          <p:spPr>
            <a:xfrm>
              <a:off x="40513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5" name="gaoding-5-25">
              <a:extLst>
                <a:ext uri="{FF2B5EF4-FFF2-40B4-BE49-F238E27FC236}">
                  <a16:creationId xmlns:a16="http://schemas.microsoft.com/office/drawing/2014/main" id="{E18FEA2B-4BA9-830E-62E1-04AB6C42F61B}"/>
                </a:ext>
              </a:extLst>
            </p:cNvPr>
            <p:cNvSpPr/>
            <p:nvPr/>
          </p:nvSpPr>
          <p:spPr>
            <a:xfrm>
              <a:off x="39116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6" name="gaoding-5-26">
              <a:extLst>
                <a:ext uri="{FF2B5EF4-FFF2-40B4-BE49-F238E27FC236}">
                  <a16:creationId xmlns:a16="http://schemas.microsoft.com/office/drawing/2014/main" id="{C7BC2929-87B7-E722-7044-E00A62AFE011}"/>
                </a:ext>
              </a:extLst>
            </p:cNvPr>
            <p:cNvSpPr/>
            <p:nvPr/>
          </p:nvSpPr>
          <p:spPr>
            <a:xfrm>
              <a:off x="37719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9B413599-D8D4-1816-AB98-1E1CD8198140}"/>
              </a:ext>
            </a:extLst>
          </p:cNvPr>
          <p:cNvGrpSpPr/>
          <p:nvPr/>
        </p:nvGrpSpPr>
        <p:grpSpPr>
          <a:xfrm>
            <a:off x="5684781" y="3326428"/>
            <a:ext cx="795455" cy="45782"/>
            <a:chOff x="5638800" y="3302000"/>
            <a:chExt cx="882650" cy="50800"/>
          </a:xfrm>
          <a:solidFill>
            <a:schemeClr val="tx1"/>
          </a:solidFill>
        </p:grpSpPr>
        <p:sp>
          <p:nvSpPr>
            <p:cNvPr id="53" name="gaoding-5-27">
              <a:extLst>
                <a:ext uri="{FF2B5EF4-FFF2-40B4-BE49-F238E27FC236}">
                  <a16:creationId xmlns:a16="http://schemas.microsoft.com/office/drawing/2014/main" id="{7F722B0D-1049-74D7-C46C-FCC03EEC6BB4}"/>
                </a:ext>
              </a:extLst>
            </p:cNvPr>
            <p:cNvSpPr/>
            <p:nvPr/>
          </p:nvSpPr>
          <p:spPr>
            <a:xfrm>
              <a:off x="56388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4" name="gaoding-5-28">
              <a:extLst>
                <a:ext uri="{FF2B5EF4-FFF2-40B4-BE49-F238E27FC236}">
                  <a16:creationId xmlns:a16="http://schemas.microsoft.com/office/drawing/2014/main" id="{51CEB3E4-D8C3-F020-B64E-D30492099435}"/>
                </a:ext>
              </a:extLst>
            </p:cNvPr>
            <p:cNvSpPr/>
            <p:nvPr/>
          </p:nvSpPr>
          <p:spPr>
            <a:xfrm>
              <a:off x="57785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5" name="gaoding-5-29">
              <a:extLst>
                <a:ext uri="{FF2B5EF4-FFF2-40B4-BE49-F238E27FC236}">
                  <a16:creationId xmlns:a16="http://schemas.microsoft.com/office/drawing/2014/main" id="{C4D00D3E-5435-1602-BC25-6A382D009D4F}"/>
                </a:ext>
              </a:extLst>
            </p:cNvPr>
            <p:cNvSpPr/>
            <p:nvPr/>
          </p:nvSpPr>
          <p:spPr>
            <a:xfrm>
              <a:off x="59182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6" name="gaoding-5-30">
              <a:extLst>
                <a:ext uri="{FF2B5EF4-FFF2-40B4-BE49-F238E27FC236}">
                  <a16:creationId xmlns:a16="http://schemas.microsoft.com/office/drawing/2014/main" id="{BEA6C5DF-8083-D284-2073-30FACD3AF76C}"/>
                </a:ext>
              </a:extLst>
            </p:cNvPr>
            <p:cNvSpPr/>
            <p:nvPr/>
          </p:nvSpPr>
          <p:spPr>
            <a:xfrm>
              <a:off x="60579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7" name="gaoding-5-31">
              <a:extLst>
                <a:ext uri="{FF2B5EF4-FFF2-40B4-BE49-F238E27FC236}">
                  <a16:creationId xmlns:a16="http://schemas.microsoft.com/office/drawing/2014/main" id="{EF3BC04E-7B3E-E960-1E48-B1643E510AF2}"/>
                </a:ext>
              </a:extLst>
            </p:cNvPr>
            <p:cNvSpPr/>
            <p:nvPr/>
          </p:nvSpPr>
          <p:spPr>
            <a:xfrm>
              <a:off x="61912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8" name="gaoding-5-32">
              <a:extLst>
                <a:ext uri="{FF2B5EF4-FFF2-40B4-BE49-F238E27FC236}">
                  <a16:creationId xmlns:a16="http://schemas.microsoft.com/office/drawing/2014/main" id="{F76C381D-58A3-6F03-39F0-568E3C34DD31}"/>
                </a:ext>
              </a:extLst>
            </p:cNvPr>
            <p:cNvSpPr/>
            <p:nvPr/>
          </p:nvSpPr>
          <p:spPr>
            <a:xfrm>
              <a:off x="63309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9" name="gaoding-5-33">
              <a:extLst>
                <a:ext uri="{FF2B5EF4-FFF2-40B4-BE49-F238E27FC236}">
                  <a16:creationId xmlns:a16="http://schemas.microsoft.com/office/drawing/2014/main" id="{BD26E380-CB9A-68E5-59B1-36351E2FFE34}"/>
                </a:ext>
              </a:extLst>
            </p:cNvPr>
            <p:cNvSpPr/>
            <p:nvPr/>
          </p:nvSpPr>
          <p:spPr>
            <a:xfrm>
              <a:off x="64706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F1726FFB-A6C0-18DC-680B-386BE08BBB68}"/>
              </a:ext>
            </a:extLst>
          </p:cNvPr>
          <p:cNvGrpSpPr/>
          <p:nvPr/>
        </p:nvGrpSpPr>
        <p:grpSpPr>
          <a:xfrm>
            <a:off x="7372977" y="3326428"/>
            <a:ext cx="795455" cy="45782"/>
            <a:chOff x="7512050" y="3302000"/>
            <a:chExt cx="882650" cy="50800"/>
          </a:xfrm>
          <a:solidFill>
            <a:schemeClr val="tx1"/>
          </a:solidFill>
        </p:grpSpPr>
        <p:sp>
          <p:nvSpPr>
            <p:cNvPr id="46" name="gaoding-5-34">
              <a:extLst>
                <a:ext uri="{FF2B5EF4-FFF2-40B4-BE49-F238E27FC236}">
                  <a16:creationId xmlns:a16="http://schemas.microsoft.com/office/drawing/2014/main" id="{CE7D61EB-C993-6B47-4B02-EFB83B407837}"/>
                </a:ext>
              </a:extLst>
            </p:cNvPr>
            <p:cNvSpPr/>
            <p:nvPr/>
          </p:nvSpPr>
          <p:spPr>
            <a:xfrm>
              <a:off x="83439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7" name="gaoding-5-35">
              <a:extLst>
                <a:ext uri="{FF2B5EF4-FFF2-40B4-BE49-F238E27FC236}">
                  <a16:creationId xmlns:a16="http://schemas.microsoft.com/office/drawing/2014/main" id="{797BF3B2-B72C-549F-2B08-47832A5E8DAC}"/>
                </a:ext>
              </a:extLst>
            </p:cNvPr>
            <p:cNvSpPr/>
            <p:nvPr/>
          </p:nvSpPr>
          <p:spPr>
            <a:xfrm>
              <a:off x="82042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8" name="gaoding-5-36">
              <a:extLst>
                <a:ext uri="{FF2B5EF4-FFF2-40B4-BE49-F238E27FC236}">
                  <a16:creationId xmlns:a16="http://schemas.microsoft.com/office/drawing/2014/main" id="{45D1E1DA-19D6-A891-B099-CF387377EC82}"/>
                </a:ext>
              </a:extLst>
            </p:cNvPr>
            <p:cNvSpPr/>
            <p:nvPr/>
          </p:nvSpPr>
          <p:spPr>
            <a:xfrm>
              <a:off x="80645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9" name="gaoding-5-37">
              <a:extLst>
                <a:ext uri="{FF2B5EF4-FFF2-40B4-BE49-F238E27FC236}">
                  <a16:creationId xmlns:a16="http://schemas.microsoft.com/office/drawing/2014/main" id="{8C170975-8BB9-5BEC-073A-195068877D70}"/>
                </a:ext>
              </a:extLst>
            </p:cNvPr>
            <p:cNvSpPr/>
            <p:nvPr/>
          </p:nvSpPr>
          <p:spPr>
            <a:xfrm>
              <a:off x="79248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0" name="gaoding-5-38">
              <a:extLst>
                <a:ext uri="{FF2B5EF4-FFF2-40B4-BE49-F238E27FC236}">
                  <a16:creationId xmlns:a16="http://schemas.microsoft.com/office/drawing/2014/main" id="{C06DFFAA-DD37-9CF0-8E9E-E42F82F92EEA}"/>
                </a:ext>
              </a:extLst>
            </p:cNvPr>
            <p:cNvSpPr/>
            <p:nvPr/>
          </p:nvSpPr>
          <p:spPr>
            <a:xfrm>
              <a:off x="77914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1" name="gaoding-5-39">
              <a:extLst>
                <a:ext uri="{FF2B5EF4-FFF2-40B4-BE49-F238E27FC236}">
                  <a16:creationId xmlns:a16="http://schemas.microsoft.com/office/drawing/2014/main" id="{E2B079AB-296E-D8CE-8566-0EBCB9C313BA}"/>
                </a:ext>
              </a:extLst>
            </p:cNvPr>
            <p:cNvSpPr/>
            <p:nvPr/>
          </p:nvSpPr>
          <p:spPr>
            <a:xfrm>
              <a:off x="76517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2" name="gaoding-5-40">
              <a:extLst>
                <a:ext uri="{FF2B5EF4-FFF2-40B4-BE49-F238E27FC236}">
                  <a16:creationId xmlns:a16="http://schemas.microsoft.com/office/drawing/2014/main" id="{F5F2C601-8AAC-980C-34B1-4C2105B93364}"/>
                </a:ext>
              </a:extLst>
            </p:cNvPr>
            <p:cNvSpPr/>
            <p:nvPr/>
          </p:nvSpPr>
          <p:spPr>
            <a:xfrm>
              <a:off x="75120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7E10B4ED-929E-30B6-6B4E-BCDF0ED6F70E}"/>
              </a:ext>
            </a:extLst>
          </p:cNvPr>
          <p:cNvGrpSpPr/>
          <p:nvPr/>
        </p:nvGrpSpPr>
        <p:grpSpPr>
          <a:xfrm>
            <a:off x="9066895" y="3326428"/>
            <a:ext cx="795455" cy="45782"/>
            <a:chOff x="9391650" y="3302000"/>
            <a:chExt cx="882650" cy="50800"/>
          </a:xfrm>
          <a:solidFill>
            <a:schemeClr val="tx1"/>
          </a:solidFill>
        </p:grpSpPr>
        <p:sp>
          <p:nvSpPr>
            <p:cNvPr id="39" name="gaoding-5-41">
              <a:extLst>
                <a:ext uri="{FF2B5EF4-FFF2-40B4-BE49-F238E27FC236}">
                  <a16:creationId xmlns:a16="http://schemas.microsoft.com/office/drawing/2014/main" id="{366F5902-2C0A-CCD6-DDC5-CB2A6574B768}"/>
                </a:ext>
              </a:extLst>
            </p:cNvPr>
            <p:cNvSpPr/>
            <p:nvPr/>
          </p:nvSpPr>
          <p:spPr>
            <a:xfrm>
              <a:off x="93916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0" name="gaoding-5-42">
              <a:extLst>
                <a:ext uri="{FF2B5EF4-FFF2-40B4-BE49-F238E27FC236}">
                  <a16:creationId xmlns:a16="http://schemas.microsoft.com/office/drawing/2014/main" id="{A2455508-3449-4A6A-DA10-63C91E3DA625}"/>
                </a:ext>
              </a:extLst>
            </p:cNvPr>
            <p:cNvSpPr/>
            <p:nvPr/>
          </p:nvSpPr>
          <p:spPr>
            <a:xfrm>
              <a:off x="95313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1" name="gaoding-5-43">
              <a:extLst>
                <a:ext uri="{FF2B5EF4-FFF2-40B4-BE49-F238E27FC236}">
                  <a16:creationId xmlns:a16="http://schemas.microsoft.com/office/drawing/2014/main" id="{E78D9A9D-663B-0527-52D1-6EF09F087304}"/>
                </a:ext>
              </a:extLst>
            </p:cNvPr>
            <p:cNvSpPr/>
            <p:nvPr/>
          </p:nvSpPr>
          <p:spPr>
            <a:xfrm>
              <a:off x="96710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2" name="gaoding-5-44">
              <a:extLst>
                <a:ext uri="{FF2B5EF4-FFF2-40B4-BE49-F238E27FC236}">
                  <a16:creationId xmlns:a16="http://schemas.microsoft.com/office/drawing/2014/main" id="{24B6D676-AC2C-5244-9A6A-92E0C17008C9}"/>
                </a:ext>
              </a:extLst>
            </p:cNvPr>
            <p:cNvSpPr/>
            <p:nvPr/>
          </p:nvSpPr>
          <p:spPr>
            <a:xfrm>
              <a:off x="981075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3" name="gaoding-5-45">
              <a:extLst>
                <a:ext uri="{FF2B5EF4-FFF2-40B4-BE49-F238E27FC236}">
                  <a16:creationId xmlns:a16="http://schemas.microsoft.com/office/drawing/2014/main" id="{1CE6664F-D7AF-1B9F-A089-91011ADFF403}"/>
                </a:ext>
              </a:extLst>
            </p:cNvPr>
            <p:cNvSpPr/>
            <p:nvPr/>
          </p:nvSpPr>
          <p:spPr>
            <a:xfrm>
              <a:off x="99441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4" name="gaoding-5-46">
              <a:extLst>
                <a:ext uri="{FF2B5EF4-FFF2-40B4-BE49-F238E27FC236}">
                  <a16:creationId xmlns:a16="http://schemas.microsoft.com/office/drawing/2014/main" id="{44CAE795-6206-6BE5-61DA-9064F93B11E4}"/>
                </a:ext>
              </a:extLst>
            </p:cNvPr>
            <p:cNvSpPr/>
            <p:nvPr/>
          </p:nvSpPr>
          <p:spPr>
            <a:xfrm>
              <a:off x="100838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5" name="gaoding-5-47">
              <a:extLst>
                <a:ext uri="{FF2B5EF4-FFF2-40B4-BE49-F238E27FC236}">
                  <a16:creationId xmlns:a16="http://schemas.microsoft.com/office/drawing/2014/main" id="{B494E7E8-9EA3-62AE-AEAB-E58F84817B73}"/>
                </a:ext>
              </a:extLst>
            </p:cNvPr>
            <p:cNvSpPr/>
            <p:nvPr/>
          </p:nvSpPr>
          <p:spPr>
            <a:xfrm>
              <a:off x="10223500" y="3302000"/>
              <a:ext cx="50800" cy="50800"/>
            </a:xfrm>
            <a:custGeom>
              <a:avLst/>
              <a:gdLst>
                <a:gd name="connsiteX0" fmla="*/ 50800 w 50800"/>
                <a:gd name="connsiteY0" fmla="*/ 25400 h 50800"/>
                <a:gd name="connsiteX1" fmla="*/ 25400 w 50800"/>
                <a:gd name="connsiteY1" fmla="*/ 50800 h 50800"/>
                <a:gd name="connsiteX2" fmla="*/ 0 w 50800"/>
                <a:gd name="connsiteY2" fmla="*/ 25400 h 50800"/>
                <a:gd name="connsiteX3" fmla="*/ 25400 w 50800"/>
                <a:gd name="connsiteY3" fmla="*/ 0 h 50800"/>
                <a:gd name="connsiteX4" fmla="*/ 50800 w 50800"/>
                <a:gd name="connsiteY4" fmla="*/ 2540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50800">
                  <a:moveTo>
                    <a:pt x="50800" y="25400"/>
                  </a:moveTo>
                  <a:cubicBezTo>
                    <a:pt x="50800" y="39428"/>
                    <a:pt x="39428" y="50800"/>
                    <a:pt x="25400" y="50800"/>
                  </a:cubicBezTo>
                  <a:cubicBezTo>
                    <a:pt x="11372" y="50800"/>
                    <a:pt x="0" y="39428"/>
                    <a:pt x="0" y="25400"/>
                  </a:cubicBezTo>
                  <a:cubicBezTo>
                    <a:pt x="0" y="11372"/>
                    <a:pt x="11372" y="0"/>
                    <a:pt x="25400" y="0"/>
                  </a:cubicBezTo>
                  <a:cubicBezTo>
                    <a:pt x="39428" y="0"/>
                    <a:pt x="50800" y="11372"/>
                    <a:pt x="50800" y="254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75" name="组合 74">
            <a:extLst>
              <a:ext uri="{FF2B5EF4-FFF2-40B4-BE49-F238E27FC236}">
                <a16:creationId xmlns:a16="http://schemas.microsoft.com/office/drawing/2014/main" id="{AEA7E27E-6578-0306-015C-60A9DB2BCE32}"/>
              </a:ext>
            </a:extLst>
          </p:cNvPr>
          <p:cNvGrpSpPr/>
          <p:nvPr/>
        </p:nvGrpSpPr>
        <p:grpSpPr>
          <a:xfrm>
            <a:off x="5053029" y="3123543"/>
            <a:ext cx="387049" cy="402168"/>
            <a:chOff x="4959329" y="5244522"/>
            <a:chExt cx="440486" cy="457692"/>
          </a:xfrm>
        </p:grpSpPr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EFFAF370-88A1-02FD-BEE6-3508C024CB21}"/>
                </a:ext>
              </a:extLst>
            </p:cNvPr>
            <p:cNvSpPr/>
            <p:nvPr/>
          </p:nvSpPr>
          <p:spPr>
            <a:xfrm>
              <a:off x="4959329" y="5280999"/>
              <a:ext cx="440486" cy="421215"/>
            </a:xfrm>
            <a:custGeom>
              <a:avLst/>
              <a:gdLst>
                <a:gd name="connsiteX0" fmla="*/ 310405 w 440486"/>
                <a:gd name="connsiteY0" fmla="*/ 421215 h 421215"/>
                <a:gd name="connsiteX1" fmla="*/ 130081 w 440486"/>
                <a:gd name="connsiteY1" fmla="*/ 421215 h 421215"/>
                <a:gd name="connsiteX2" fmla="*/ 0 w 440486"/>
                <a:gd name="connsiteY2" fmla="*/ 291134 h 421215"/>
                <a:gd name="connsiteX3" fmla="*/ 0 w 440486"/>
                <a:gd name="connsiteY3" fmla="*/ 130081 h 421215"/>
                <a:gd name="connsiteX4" fmla="*/ 130081 w 440486"/>
                <a:gd name="connsiteY4" fmla="*/ 0 h 421215"/>
                <a:gd name="connsiteX5" fmla="*/ 311782 w 440486"/>
                <a:gd name="connsiteY5" fmla="*/ 0 h 421215"/>
                <a:gd name="connsiteX6" fmla="*/ 440486 w 440486"/>
                <a:gd name="connsiteY6" fmla="*/ 130081 h 421215"/>
                <a:gd name="connsiteX7" fmla="*/ 440486 w 440486"/>
                <a:gd name="connsiteY7" fmla="*/ 292511 h 421215"/>
                <a:gd name="connsiteX8" fmla="*/ 310405 w 440486"/>
                <a:gd name="connsiteY8" fmla="*/ 421215 h 421215"/>
                <a:gd name="connsiteX9" fmla="*/ 130081 w 440486"/>
                <a:gd name="connsiteY9" fmla="*/ 27530 h 421215"/>
                <a:gd name="connsiteX10" fmla="*/ 27530 w 440486"/>
                <a:gd name="connsiteY10" fmla="*/ 130081 h 421215"/>
                <a:gd name="connsiteX11" fmla="*/ 27530 w 440486"/>
                <a:gd name="connsiteY11" fmla="*/ 291134 h 421215"/>
                <a:gd name="connsiteX12" fmla="*/ 130081 w 440486"/>
                <a:gd name="connsiteY12" fmla="*/ 393685 h 421215"/>
                <a:gd name="connsiteX13" fmla="*/ 310405 w 440486"/>
                <a:gd name="connsiteY13" fmla="*/ 393685 h 421215"/>
                <a:gd name="connsiteX14" fmla="*/ 412956 w 440486"/>
                <a:gd name="connsiteY14" fmla="*/ 292511 h 421215"/>
                <a:gd name="connsiteX15" fmla="*/ 412956 w 440486"/>
                <a:gd name="connsiteY15" fmla="*/ 130081 h 421215"/>
                <a:gd name="connsiteX16" fmla="*/ 311782 w 440486"/>
                <a:gd name="connsiteY16" fmla="*/ 27530 h 421215"/>
                <a:gd name="connsiteX17" fmla="*/ 130081 w 440486"/>
                <a:gd name="connsiteY17" fmla="*/ 27530 h 42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0486" h="421215">
                  <a:moveTo>
                    <a:pt x="310405" y="421215"/>
                  </a:moveTo>
                  <a:lnTo>
                    <a:pt x="130081" y="421215"/>
                  </a:lnTo>
                  <a:cubicBezTo>
                    <a:pt x="58502" y="421215"/>
                    <a:pt x="0" y="362713"/>
                    <a:pt x="0" y="291134"/>
                  </a:cubicBezTo>
                  <a:lnTo>
                    <a:pt x="0" y="130081"/>
                  </a:lnTo>
                  <a:cubicBezTo>
                    <a:pt x="0" y="58502"/>
                    <a:pt x="58502" y="0"/>
                    <a:pt x="130081" y="0"/>
                  </a:cubicBezTo>
                  <a:lnTo>
                    <a:pt x="311782" y="0"/>
                  </a:lnTo>
                  <a:cubicBezTo>
                    <a:pt x="382673" y="0"/>
                    <a:pt x="440486" y="58502"/>
                    <a:pt x="440486" y="130081"/>
                  </a:cubicBezTo>
                  <a:lnTo>
                    <a:pt x="440486" y="292511"/>
                  </a:lnTo>
                  <a:cubicBezTo>
                    <a:pt x="440486" y="363401"/>
                    <a:pt x="381984" y="421215"/>
                    <a:pt x="310405" y="421215"/>
                  </a:cubicBezTo>
                  <a:close/>
                  <a:moveTo>
                    <a:pt x="130081" y="27530"/>
                  </a:moveTo>
                  <a:cubicBezTo>
                    <a:pt x="73644" y="27530"/>
                    <a:pt x="27530" y="73644"/>
                    <a:pt x="27530" y="130081"/>
                  </a:cubicBezTo>
                  <a:lnTo>
                    <a:pt x="27530" y="291134"/>
                  </a:lnTo>
                  <a:cubicBezTo>
                    <a:pt x="27530" y="347571"/>
                    <a:pt x="73644" y="393685"/>
                    <a:pt x="130081" y="393685"/>
                  </a:cubicBezTo>
                  <a:lnTo>
                    <a:pt x="310405" y="393685"/>
                  </a:lnTo>
                  <a:cubicBezTo>
                    <a:pt x="366843" y="393685"/>
                    <a:pt x="412956" y="348260"/>
                    <a:pt x="412956" y="292511"/>
                  </a:cubicBezTo>
                  <a:lnTo>
                    <a:pt x="412956" y="130081"/>
                  </a:lnTo>
                  <a:cubicBezTo>
                    <a:pt x="412956" y="73644"/>
                    <a:pt x="367531" y="27530"/>
                    <a:pt x="311782" y="27530"/>
                  </a:cubicBezTo>
                  <a:lnTo>
                    <a:pt x="130081" y="27530"/>
                  </a:ln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608DD496-9B47-B61A-A51C-C94B95AA7EC6}"/>
                </a:ext>
              </a:extLst>
            </p:cNvPr>
            <p:cNvSpPr/>
            <p:nvPr/>
          </p:nvSpPr>
          <p:spPr>
            <a:xfrm>
              <a:off x="5088033" y="5244522"/>
              <a:ext cx="183077" cy="285627"/>
            </a:xfrm>
            <a:custGeom>
              <a:avLst/>
              <a:gdLst>
                <a:gd name="connsiteX0" fmla="*/ 90850 w 183077"/>
                <a:gd name="connsiteY0" fmla="*/ 285628 h 285627"/>
                <a:gd name="connsiteX1" fmla="*/ 30972 w 183077"/>
                <a:gd name="connsiteY1" fmla="*/ 249150 h 285627"/>
                <a:gd name="connsiteX2" fmla="*/ 35101 w 183077"/>
                <a:gd name="connsiteY2" fmla="*/ 232632 h 285627"/>
                <a:gd name="connsiteX3" fmla="*/ 51620 w 183077"/>
                <a:gd name="connsiteY3" fmla="*/ 236761 h 285627"/>
                <a:gd name="connsiteX4" fmla="*/ 91539 w 183077"/>
                <a:gd name="connsiteY4" fmla="*/ 261539 h 285627"/>
                <a:gd name="connsiteX5" fmla="*/ 130769 w 183077"/>
                <a:gd name="connsiteY5" fmla="*/ 236073 h 285627"/>
                <a:gd name="connsiteX6" fmla="*/ 147288 w 183077"/>
                <a:gd name="connsiteY6" fmla="*/ 231255 h 285627"/>
                <a:gd name="connsiteX7" fmla="*/ 152105 w 183077"/>
                <a:gd name="connsiteY7" fmla="*/ 247774 h 285627"/>
                <a:gd name="connsiteX8" fmla="*/ 92915 w 183077"/>
                <a:gd name="connsiteY8" fmla="*/ 285628 h 285627"/>
                <a:gd name="connsiteX9" fmla="*/ 90850 w 183077"/>
                <a:gd name="connsiteY9" fmla="*/ 285628 h 285627"/>
                <a:gd name="connsiteX10" fmla="*/ 13765 w 183077"/>
                <a:gd name="connsiteY10" fmla="*/ 89474 h 285627"/>
                <a:gd name="connsiteX11" fmla="*/ 0 w 183077"/>
                <a:gd name="connsiteY11" fmla="*/ 71579 h 285627"/>
                <a:gd name="connsiteX12" fmla="*/ 0 w 183077"/>
                <a:gd name="connsiteY12" fmla="*/ 17895 h 285627"/>
                <a:gd name="connsiteX13" fmla="*/ 13765 w 183077"/>
                <a:gd name="connsiteY13" fmla="*/ 0 h 285627"/>
                <a:gd name="connsiteX14" fmla="*/ 27530 w 183077"/>
                <a:gd name="connsiteY14" fmla="*/ 17895 h 285627"/>
                <a:gd name="connsiteX15" fmla="*/ 27530 w 183077"/>
                <a:gd name="connsiteY15" fmla="*/ 72267 h 285627"/>
                <a:gd name="connsiteX16" fmla="*/ 13765 w 183077"/>
                <a:gd name="connsiteY16" fmla="*/ 89474 h 285627"/>
                <a:gd name="connsiteX17" fmla="*/ 169312 w 183077"/>
                <a:gd name="connsiteY17" fmla="*/ 89474 h 285627"/>
                <a:gd name="connsiteX18" fmla="*/ 155547 w 183077"/>
                <a:gd name="connsiteY18" fmla="*/ 71579 h 285627"/>
                <a:gd name="connsiteX19" fmla="*/ 155547 w 183077"/>
                <a:gd name="connsiteY19" fmla="*/ 17895 h 285627"/>
                <a:gd name="connsiteX20" fmla="*/ 169312 w 183077"/>
                <a:gd name="connsiteY20" fmla="*/ 0 h 285627"/>
                <a:gd name="connsiteX21" fmla="*/ 183077 w 183077"/>
                <a:gd name="connsiteY21" fmla="*/ 17895 h 285627"/>
                <a:gd name="connsiteX22" fmla="*/ 183077 w 183077"/>
                <a:gd name="connsiteY22" fmla="*/ 72267 h 285627"/>
                <a:gd name="connsiteX23" fmla="*/ 169312 w 183077"/>
                <a:gd name="connsiteY23" fmla="*/ 89474 h 28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83077" h="285627">
                  <a:moveTo>
                    <a:pt x="90850" y="285628"/>
                  </a:moveTo>
                  <a:cubicBezTo>
                    <a:pt x="66761" y="285628"/>
                    <a:pt x="44049" y="271863"/>
                    <a:pt x="30972" y="249150"/>
                  </a:cubicBezTo>
                  <a:cubicBezTo>
                    <a:pt x="27530" y="243644"/>
                    <a:pt x="29595" y="236073"/>
                    <a:pt x="35101" y="232632"/>
                  </a:cubicBezTo>
                  <a:cubicBezTo>
                    <a:pt x="40607" y="229191"/>
                    <a:pt x="48178" y="231255"/>
                    <a:pt x="51620" y="236761"/>
                  </a:cubicBezTo>
                  <a:cubicBezTo>
                    <a:pt x="60567" y="252591"/>
                    <a:pt x="75709" y="261539"/>
                    <a:pt x="91539" y="261539"/>
                  </a:cubicBezTo>
                  <a:cubicBezTo>
                    <a:pt x="108057" y="261539"/>
                    <a:pt x="121822" y="251215"/>
                    <a:pt x="130769" y="236073"/>
                  </a:cubicBezTo>
                  <a:cubicBezTo>
                    <a:pt x="134211" y="230567"/>
                    <a:pt x="141093" y="227814"/>
                    <a:pt x="147288" y="231255"/>
                  </a:cubicBezTo>
                  <a:cubicBezTo>
                    <a:pt x="152794" y="234697"/>
                    <a:pt x="155547" y="241579"/>
                    <a:pt x="152105" y="247774"/>
                  </a:cubicBezTo>
                  <a:cubicBezTo>
                    <a:pt x="139717" y="271174"/>
                    <a:pt x="117004" y="284940"/>
                    <a:pt x="92915" y="285628"/>
                  </a:cubicBezTo>
                  <a:lnTo>
                    <a:pt x="90850" y="285628"/>
                  </a:lnTo>
                  <a:close/>
                  <a:moveTo>
                    <a:pt x="13765" y="89474"/>
                  </a:moveTo>
                  <a:cubicBezTo>
                    <a:pt x="6194" y="89474"/>
                    <a:pt x="0" y="81903"/>
                    <a:pt x="0" y="71579"/>
                  </a:cubicBezTo>
                  <a:lnTo>
                    <a:pt x="0" y="17895"/>
                  </a:lnTo>
                  <a:cubicBezTo>
                    <a:pt x="0" y="8259"/>
                    <a:pt x="6194" y="0"/>
                    <a:pt x="13765" y="0"/>
                  </a:cubicBezTo>
                  <a:cubicBezTo>
                    <a:pt x="21336" y="0"/>
                    <a:pt x="27530" y="7571"/>
                    <a:pt x="27530" y="17895"/>
                  </a:cubicBezTo>
                  <a:lnTo>
                    <a:pt x="27530" y="72267"/>
                  </a:lnTo>
                  <a:cubicBezTo>
                    <a:pt x="27530" y="81903"/>
                    <a:pt x="21336" y="89474"/>
                    <a:pt x="13765" y="89474"/>
                  </a:cubicBezTo>
                  <a:close/>
                  <a:moveTo>
                    <a:pt x="169312" y="89474"/>
                  </a:moveTo>
                  <a:cubicBezTo>
                    <a:pt x="161741" y="89474"/>
                    <a:pt x="155547" y="81903"/>
                    <a:pt x="155547" y="71579"/>
                  </a:cubicBezTo>
                  <a:lnTo>
                    <a:pt x="155547" y="17895"/>
                  </a:lnTo>
                  <a:cubicBezTo>
                    <a:pt x="155547" y="8259"/>
                    <a:pt x="161741" y="0"/>
                    <a:pt x="169312" y="0"/>
                  </a:cubicBezTo>
                  <a:cubicBezTo>
                    <a:pt x="176883" y="0"/>
                    <a:pt x="183077" y="7571"/>
                    <a:pt x="183077" y="17895"/>
                  </a:cubicBezTo>
                  <a:lnTo>
                    <a:pt x="183077" y="72267"/>
                  </a:lnTo>
                  <a:cubicBezTo>
                    <a:pt x="181701" y="81903"/>
                    <a:pt x="176195" y="89474"/>
                    <a:pt x="169312" y="89474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grpSp>
        <p:nvGrpSpPr>
          <p:cNvPr id="78" name="组合 77">
            <a:extLst>
              <a:ext uri="{FF2B5EF4-FFF2-40B4-BE49-F238E27FC236}">
                <a16:creationId xmlns:a16="http://schemas.microsoft.com/office/drawing/2014/main" id="{5515229E-9944-7A4F-39E6-F2F1BE58FE56}"/>
              </a:ext>
            </a:extLst>
          </p:cNvPr>
          <p:cNvGrpSpPr/>
          <p:nvPr/>
        </p:nvGrpSpPr>
        <p:grpSpPr>
          <a:xfrm>
            <a:off x="3392419" y="3140415"/>
            <a:ext cx="361901" cy="406359"/>
            <a:chOff x="3193522" y="5222129"/>
            <a:chExt cx="395205" cy="443754"/>
          </a:xfrm>
        </p:grpSpPr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AFF43685-911C-C753-93D1-9ECF0E341650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4D213C88-6E10-3F46-4267-12FE086FE73C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grpSp>
        <p:nvGrpSpPr>
          <p:cNvPr id="81" name="组合 80">
            <a:extLst>
              <a:ext uri="{FF2B5EF4-FFF2-40B4-BE49-F238E27FC236}">
                <a16:creationId xmlns:a16="http://schemas.microsoft.com/office/drawing/2014/main" id="{E8C9D06D-A23A-53A6-9D1F-971CFEA55325}"/>
              </a:ext>
            </a:extLst>
          </p:cNvPr>
          <p:cNvGrpSpPr/>
          <p:nvPr/>
        </p:nvGrpSpPr>
        <p:grpSpPr>
          <a:xfrm>
            <a:off x="1704289" y="3146928"/>
            <a:ext cx="373508" cy="359000"/>
            <a:chOff x="1406740" y="5275641"/>
            <a:chExt cx="441102" cy="423968"/>
          </a:xfrm>
        </p:grpSpPr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7A2BEB3A-7494-8EC8-AA7D-DFB47EB74215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09CFADCF-E4B7-3898-EA24-BDE2D46B0049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FF6CAEF8-4B51-F579-83AE-B6681F587E23}"/>
              </a:ext>
            </a:extLst>
          </p:cNvPr>
          <p:cNvGrpSpPr/>
          <p:nvPr/>
        </p:nvGrpSpPr>
        <p:grpSpPr>
          <a:xfrm>
            <a:off x="10119773" y="3155595"/>
            <a:ext cx="355003" cy="355003"/>
            <a:chOff x="10357510" y="5253191"/>
            <a:chExt cx="355003" cy="355003"/>
          </a:xfrm>
        </p:grpSpPr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AF7C0589-8B57-C07B-1756-0546A121C54A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solidFill>
              <a:srgbClr val="FFFFFF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5D03EF27-BFED-4659-68AC-74EB5D51F97E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solidFill>
              <a:srgbClr val="FFFFFF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E3C50B00-FC64-5A6D-E3F3-6B380F96D11E}"/>
              </a:ext>
            </a:extLst>
          </p:cNvPr>
          <p:cNvGrpSpPr/>
          <p:nvPr/>
        </p:nvGrpSpPr>
        <p:grpSpPr>
          <a:xfrm>
            <a:off x="8465556" y="3125144"/>
            <a:ext cx="287047" cy="366783"/>
            <a:chOff x="8607744" y="5255510"/>
            <a:chExt cx="287047" cy="366783"/>
          </a:xfrm>
        </p:grpSpPr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EDA2C17D-949F-A2F8-9721-143AE516AA14}"/>
                </a:ext>
              </a:extLst>
            </p:cNvPr>
            <p:cNvSpPr/>
            <p:nvPr/>
          </p:nvSpPr>
          <p:spPr>
            <a:xfrm>
              <a:off x="8607744" y="5255510"/>
              <a:ext cx="287047" cy="366783"/>
            </a:xfrm>
            <a:custGeom>
              <a:avLst/>
              <a:gdLst>
                <a:gd name="connsiteX0" fmla="*/ 196681 w 287047"/>
                <a:gd name="connsiteY0" fmla="*/ 366783 h 366783"/>
                <a:gd name="connsiteX1" fmla="*/ 90367 w 287047"/>
                <a:gd name="connsiteY1" fmla="*/ 366783 h 366783"/>
                <a:gd name="connsiteX2" fmla="*/ 0 w 287047"/>
                <a:gd name="connsiteY2" fmla="*/ 276416 h 366783"/>
                <a:gd name="connsiteX3" fmla="*/ 0 w 287047"/>
                <a:gd name="connsiteY3" fmla="*/ 90367 h 366783"/>
                <a:gd name="connsiteX4" fmla="*/ 90367 w 287047"/>
                <a:gd name="connsiteY4" fmla="*/ 0 h 366783"/>
                <a:gd name="connsiteX5" fmla="*/ 196681 w 287047"/>
                <a:gd name="connsiteY5" fmla="*/ 0 h 366783"/>
                <a:gd name="connsiteX6" fmla="*/ 287048 w 287047"/>
                <a:gd name="connsiteY6" fmla="*/ 90367 h 366783"/>
                <a:gd name="connsiteX7" fmla="*/ 287048 w 287047"/>
                <a:gd name="connsiteY7" fmla="*/ 276416 h 366783"/>
                <a:gd name="connsiteX8" fmla="*/ 196681 w 287047"/>
                <a:gd name="connsiteY8" fmla="*/ 366783 h 366783"/>
                <a:gd name="connsiteX9" fmla="*/ 90367 w 287047"/>
                <a:gd name="connsiteY9" fmla="*/ 21263 h 366783"/>
                <a:gd name="connsiteX10" fmla="*/ 21263 w 287047"/>
                <a:gd name="connsiteY10" fmla="*/ 90367 h 366783"/>
                <a:gd name="connsiteX11" fmla="*/ 21263 w 287047"/>
                <a:gd name="connsiteY11" fmla="*/ 276416 h 366783"/>
                <a:gd name="connsiteX12" fmla="*/ 90367 w 287047"/>
                <a:gd name="connsiteY12" fmla="*/ 345521 h 366783"/>
                <a:gd name="connsiteX13" fmla="*/ 196681 w 287047"/>
                <a:gd name="connsiteY13" fmla="*/ 345521 h 366783"/>
                <a:gd name="connsiteX14" fmla="*/ 265785 w 287047"/>
                <a:gd name="connsiteY14" fmla="*/ 276416 h 366783"/>
                <a:gd name="connsiteX15" fmla="*/ 265785 w 287047"/>
                <a:gd name="connsiteY15" fmla="*/ 90367 h 366783"/>
                <a:gd name="connsiteX16" fmla="*/ 196681 w 287047"/>
                <a:gd name="connsiteY16" fmla="*/ 21263 h 366783"/>
                <a:gd name="connsiteX17" fmla="*/ 90367 w 287047"/>
                <a:gd name="connsiteY17" fmla="*/ 21263 h 36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7047" h="366783">
                  <a:moveTo>
                    <a:pt x="196681" y="366783"/>
                  </a:moveTo>
                  <a:lnTo>
                    <a:pt x="90367" y="366783"/>
                  </a:lnTo>
                  <a:cubicBezTo>
                    <a:pt x="40399" y="366783"/>
                    <a:pt x="0" y="326384"/>
                    <a:pt x="0" y="276416"/>
                  </a:cubicBezTo>
                  <a:lnTo>
                    <a:pt x="0" y="90367"/>
                  </a:lnTo>
                  <a:cubicBezTo>
                    <a:pt x="0" y="40399"/>
                    <a:pt x="40399" y="0"/>
                    <a:pt x="90367" y="0"/>
                  </a:cubicBezTo>
                  <a:lnTo>
                    <a:pt x="196681" y="0"/>
                  </a:lnTo>
                  <a:cubicBezTo>
                    <a:pt x="246648" y="0"/>
                    <a:pt x="287048" y="40399"/>
                    <a:pt x="287048" y="90367"/>
                  </a:cubicBezTo>
                  <a:lnTo>
                    <a:pt x="287048" y="276416"/>
                  </a:lnTo>
                  <a:cubicBezTo>
                    <a:pt x="287048" y="326384"/>
                    <a:pt x="246648" y="366783"/>
                    <a:pt x="196681" y="366783"/>
                  </a:cubicBezTo>
                  <a:close/>
                  <a:moveTo>
                    <a:pt x="90367" y="21263"/>
                  </a:moveTo>
                  <a:cubicBezTo>
                    <a:pt x="52094" y="21263"/>
                    <a:pt x="21263" y="52094"/>
                    <a:pt x="21263" y="90367"/>
                  </a:cubicBezTo>
                  <a:lnTo>
                    <a:pt x="21263" y="276416"/>
                  </a:lnTo>
                  <a:cubicBezTo>
                    <a:pt x="21263" y="314689"/>
                    <a:pt x="52094" y="345521"/>
                    <a:pt x="90367" y="345521"/>
                  </a:cubicBezTo>
                  <a:lnTo>
                    <a:pt x="196681" y="345521"/>
                  </a:lnTo>
                  <a:cubicBezTo>
                    <a:pt x="234954" y="345521"/>
                    <a:pt x="265785" y="314689"/>
                    <a:pt x="265785" y="276416"/>
                  </a:cubicBezTo>
                  <a:lnTo>
                    <a:pt x="265785" y="90367"/>
                  </a:lnTo>
                  <a:cubicBezTo>
                    <a:pt x="265785" y="52094"/>
                    <a:pt x="234954" y="21263"/>
                    <a:pt x="196681" y="21263"/>
                  </a:cubicBezTo>
                  <a:lnTo>
                    <a:pt x="90367" y="21263"/>
                  </a:lnTo>
                  <a:close/>
                </a:path>
              </a:pathLst>
            </a:custGeom>
            <a:solidFill>
              <a:srgbClr val="FFFFFF"/>
            </a:solidFill>
            <a:ln w="40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10A843E1-F737-475D-B80A-2435DB24FEED}"/>
                </a:ext>
              </a:extLst>
            </p:cNvPr>
            <p:cNvSpPr/>
            <p:nvPr/>
          </p:nvSpPr>
          <p:spPr>
            <a:xfrm>
              <a:off x="8629007" y="5486212"/>
              <a:ext cx="244522" cy="88240"/>
            </a:xfrm>
            <a:custGeom>
              <a:avLst/>
              <a:gdLst>
                <a:gd name="connsiteX0" fmla="*/ 0 w 244522"/>
                <a:gd name="connsiteY0" fmla="*/ 0 h 88240"/>
                <a:gd name="connsiteX1" fmla="*/ 244522 w 244522"/>
                <a:gd name="connsiteY1" fmla="*/ 0 h 88240"/>
                <a:gd name="connsiteX2" fmla="*/ 244522 w 244522"/>
                <a:gd name="connsiteY2" fmla="*/ 21263 h 88240"/>
                <a:gd name="connsiteX3" fmla="*/ 0 w 244522"/>
                <a:gd name="connsiteY3" fmla="*/ 21263 h 88240"/>
                <a:gd name="connsiteX4" fmla="*/ 122261 w 244522"/>
                <a:gd name="connsiteY4" fmla="*/ 88241 h 88240"/>
                <a:gd name="connsiteX5" fmla="*/ 98340 w 244522"/>
                <a:gd name="connsiteY5" fmla="*/ 64320 h 88240"/>
                <a:gd name="connsiteX6" fmla="*/ 122261 w 244522"/>
                <a:gd name="connsiteY6" fmla="*/ 40399 h 88240"/>
                <a:gd name="connsiteX7" fmla="*/ 146182 w 244522"/>
                <a:gd name="connsiteY7" fmla="*/ 64320 h 88240"/>
                <a:gd name="connsiteX8" fmla="*/ 122261 w 244522"/>
                <a:gd name="connsiteY8" fmla="*/ 88241 h 88240"/>
                <a:gd name="connsiteX9" fmla="*/ 122261 w 244522"/>
                <a:gd name="connsiteY9" fmla="*/ 56346 h 88240"/>
                <a:gd name="connsiteX10" fmla="*/ 114288 w 244522"/>
                <a:gd name="connsiteY10" fmla="*/ 64320 h 88240"/>
                <a:gd name="connsiteX11" fmla="*/ 122261 w 244522"/>
                <a:gd name="connsiteY11" fmla="*/ 72294 h 88240"/>
                <a:gd name="connsiteX12" fmla="*/ 130235 w 244522"/>
                <a:gd name="connsiteY12" fmla="*/ 64320 h 88240"/>
                <a:gd name="connsiteX13" fmla="*/ 122261 w 244522"/>
                <a:gd name="connsiteY13" fmla="*/ 56346 h 8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4522" h="88240">
                  <a:moveTo>
                    <a:pt x="0" y="0"/>
                  </a:moveTo>
                  <a:lnTo>
                    <a:pt x="244522" y="0"/>
                  </a:lnTo>
                  <a:lnTo>
                    <a:pt x="244522" y="21263"/>
                  </a:lnTo>
                  <a:lnTo>
                    <a:pt x="0" y="21263"/>
                  </a:lnTo>
                  <a:close/>
                  <a:moveTo>
                    <a:pt x="122261" y="88241"/>
                  </a:moveTo>
                  <a:cubicBezTo>
                    <a:pt x="108972" y="88241"/>
                    <a:pt x="98340" y="77609"/>
                    <a:pt x="98340" y="64320"/>
                  </a:cubicBezTo>
                  <a:cubicBezTo>
                    <a:pt x="98340" y="51031"/>
                    <a:pt x="108972" y="40399"/>
                    <a:pt x="122261" y="40399"/>
                  </a:cubicBezTo>
                  <a:cubicBezTo>
                    <a:pt x="135550" y="40399"/>
                    <a:pt x="146182" y="51031"/>
                    <a:pt x="146182" y="64320"/>
                  </a:cubicBezTo>
                  <a:cubicBezTo>
                    <a:pt x="146182" y="77609"/>
                    <a:pt x="135550" y="88241"/>
                    <a:pt x="122261" y="88241"/>
                  </a:cubicBezTo>
                  <a:close/>
                  <a:moveTo>
                    <a:pt x="122261" y="56346"/>
                  </a:moveTo>
                  <a:cubicBezTo>
                    <a:pt x="118009" y="56346"/>
                    <a:pt x="114288" y="60067"/>
                    <a:pt x="114288" y="64320"/>
                  </a:cubicBezTo>
                  <a:cubicBezTo>
                    <a:pt x="114288" y="68573"/>
                    <a:pt x="118009" y="72294"/>
                    <a:pt x="122261" y="72294"/>
                  </a:cubicBezTo>
                  <a:cubicBezTo>
                    <a:pt x="126514" y="72294"/>
                    <a:pt x="130235" y="68573"/>
                    <a:pt x="130235" y="64320"/>
                  </a:cubicBezTo>
                  <a:cubicBezTo>
                    <a:pt x="130235" y="60067"/>
                    <a:pt x="126514" y="56346"/>
                    <a:pt x="122261" y="56346"/>
                  </a:cubicBezTo>
                  <a:close/>
                </a:path>
              </a:pathLst>
            </a:custGeom>
            <a:solidFill>
              <a:srgbClr val="FFFFFF"/>
            </a:solidFill>
            <a:ln w="40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grpSp>
        <p:nvGrpSpPr>
          <p:cNvPr id="90" name="组合 89">
            <a:extLst>
              <a:ext uri="{FF2B5EF4-FFF2-40B4-BE49-F238E27FC236}">
                <a16:creationId xmlns:a16="http://schemas.microsoft.com/office/drawing/2014/main" id="{BC0FB603-83D7-DC3C-C40F-E8C324B6E12A}"/>
              </a:ext>
            </a:extLst>
          </p:cNvPr>
          <p:cNvGrpSpPr/>
          <p:nvPr/>
        </p:nvGrpSpPr>
        <p:grpSpPr>
          <a:xfrm>
            <a:off x="6704219" y="3155595"/>
            <a:ext cx="382904" cy="373907"/>
            <a:chOff x="6770455" y="5253911"/>
            <a:chExt cx="387355" cy="378253"/>
          </a:xfrm>
          <a:solidFill>
            <a:srgbClr val="FFFFFF"/>
          </a:solidFill>
        </p:grpSpPr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A4ABC256-85B1-77F5-99E6-E5D6D3077A62}"/>
                </a:ext>
              </a:extLst>
            </p:cNvPr>
            <p:cNvSpPr/>
            <p:nvPr/>
          </p:nvSpPr>
          <p:spPr>
            <a:xfrm>
              <a:off x="6770455" y="5253911"/>
              <a:ext cx="387355" cy="378253"/>
            </a:xfrm>
            <a:custGeom>
              <a:avLst/>
              <a:gdLst>
                <a:gd name="connsiteX0" fmla="*/ 291860 w 387355"/>
                <a:gd name="connsiteY0" fmla="*/ 378254 h 378253"/>
                <a:gd name="connsiteX1" fmla="*/ 95496 w 387355"/>
                <a:gd name="connsiteY1" fmla="*/ 378254 h 378253"/>
                <a:gd name="connsiteX2" fmla="*/ 0 w 387355"/>
                <a:gd name="connsiteY2" fmla="*/ 282758 h 378253"/>
                <a:gd name="connsiteX3" fmla="*/ 0 w 387355"/>
                <a:gd name="connsiteY3" fmla="*/ 168162 h 378253"/>
                <a:gd name="connsiteX4" fmla="*/ 38198 w 387355"/>
                <a:gd name="connsiteY4" fmla="*/ 91169 h 378253"/>
                <a:gd name="connsiteX5" fmla="*/ 133098 w 387355"/>
                <a:gd name="connsiteY5" fmla="*/ 20144 h 378253"/>
                <a:gd name="connsiteX6" fmla="*/ 254855 w 387355"/>
                <a:gd name="connsiteY6" fmla="*/ 20144 h 378253"/>
                <a:gd name="connsiteX7" fmla="*/ 349157 w 387355"/>
                <a:gd name="connsiteY7" fmla="*/ 91169 h 378253"/>
                <a:gd name="connsiteX8" fmla="*/ 387356 w 387355"/>
                <a:gd name="connsiteY8" fmla="*/ 168162 h 378253"/>
                <a:gd name="connsiteX9" fmla="*/ 387356 w 387355"/>
                <a:gd name="connsiteY9" fmla="*/ 282161 h 378253"/>
                <a:gd name="connsiteX10" fmla="*/ 291860 w 387355"/>
                <a:gd name="connsiteY10" fmla="*/ 378254 h 378253"/>
                <a:gd name="connsiteX11" fmla="*/ 147422 w 387355"/>
                <a:gd name="connsiteY11" fmla="*/ 39840 h 378253"/>
                <a:gd name="connsiteX12" fmla="*/ 52523 w 387355"/>
                <a:gd name="connsiteY12" fmla="*/ 110865 h 378253"/>
                <a:gd name="connsiteX13" fmla="*/ 23874 w 387355"/>
                <a:gd name="connsiteY13" fmla="*/ 168759 h 378253"/>
                <a:gd name="connsiteX14" fmla="*/ 23874 w 387355"/>
                <a:gd name="connsiteY14" fmla="*/ 282758 h 378253"/>
                <a:gd name="connsiteX15" fmla="*/ 95496 w 387355"/>
                <a:gd name="connsiteY15" fmla="*/ 354380 h 378253"/>
                <a:gd name="connsiteX16" fmla="*/ 291860 w 387355"/>
                <a:gd name="connsiteY16" fmla="*/ 354380 h 378253"/>
                <a:gd name="connsiteX17" fmla="*/ 363482 w 387355"/>
                <a:gd name="connsiteY17" fmla="*/ 282758 h 378253"/>
                <a:gd name="connsiteX18" fmla="*/ 363482 w 387355"/>
                <a:gd name="connsiteY18" fmla="*/ 168162 h 378253"/>
                <a:gd name="connsiteX19" fmla="*/ 334833 w 387355"/>
                <a:gd name="connsiteY19" fmla="*/ 110268 h 378253"/>
                <a:gd name="connsiteX20" fmla="*/ 240531 w 387355"/>
                <a:gd name="connsiteY20" fmla="*/ 39243 h 378253"/>
                <a:gd name="connsiteX21" fmla="*/ 147422 w 387355"/>
                <a:gd name="connsiteY21" fmla="*/ 39840 h 37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7355" h="378253">
                  <a:moveTo>
                    <a:pt x="291860" y="378254"/>
                  </a:moveTo>
                  <a:lnTo>
                    <a:pt x="95496" y="378254"/>
                  </a:lnTo>
                  <a:cubicBezTo>
                    <a:pt x="42973" y="378254"/>
                    <a:pt x="0" y="335281"/>
                    <a:pt x="0" y="282758"/>
                  </a:cubicBezTo>
                  <a:lnTo>
                    <a:pt x="0" y="168162"/>
                  </a:lnTo>
                  <a:cubicBezTo>
                    <a:pt x="0" y="137723"/>
                    <a:pt x="14324" y="109074"/>
                    <a:pt x="38198" y="91169"/>
                  </a:cubicBezTo>
                  <a:lnTo>
                    <a:pt x="133098" y="20144"/>
                  </a:lnTo>
                  <a:cubicBezTo>
                    <a:pt x="169505" y="-6715"/>
                    <a:pt x="218447" y="-6715"/>
                    <a:pt x="254855" y="20144"/>
                  </a:cubicBezTo>
                  <a:lnTo>
                    <a:pt x="349157" y="91169"/>
                  </a:lnTo>
                  <a:cubicBezTo>
                    <a:pt x="373628" y="109671"/>
                    <a:pt x="387356" y="137723"/>
                    <a:pt x="387356" y="168162"/>
                  </a:cubicBezTo>
                  <a:lnTo>
                    <a:pt x="387356" y="282161"/>
                  </a:lnTo>
                  <a:cubicBezTo>
                    <a:pt x="387356" y="335281"/>
                    <a:pt x="344382" y="378254"/>
                    <a:pt x="291860" y="378254"/>
                  </a:cubicBezTo>
                  <a:close/>
                  <a:moveTo>
                    <a:pt x="147422" y="39840"/>
                  </a:moveTo>
                  <a:lnTo>
                    <a:pt x="52523" y="110865"/>
                  </a:lnTo>
                  <a:cubicBezTo>
                    <a:pt x="34617" y="123996"/>
                    <a:pt x="23874" y="145482"/>
                    <a:pt x="23874" y="168759"/>
                  </a:cubicBezTo>
                  <a:lnTo>
                    <a:pt x="23874" y="282758"/>
                  </a:lnTo>
                  <a:cubicBezTo>
                    <a:pt x="23874" y="322150"/>
                    <a:pt x="56104" y="354380"/>
                    <a:pt x="95496" y="354380"/>
                  </a:cubicBezTo>
                  <a:lnTo>
                    <a:pt x="291860" y="354380"/>
                  </a:lnTo>
                  <a:cubicBezTo>
                    <a:pt x="331252" y="354380"/>
                    <a:pt x="363482" y="322150"/>
                    <a:pt x="363482" y="282758"/>
                  </a:cubicBezTo>
                  <a:lnTo>
                    <a:pt x="363482" y="168162"/>
                  </a:lnTo>
                  <a:cubicBezTo>
                    <a:pt x="363482" y="145482"/>
                    <a:pt x="352738" y="124592"/>
                    <a:pt x="334833" y="110268"/>
                  </a:cubicBezTo>
                  <a:lnTo>
                    <a:pt x="240531" y="39243"/>
                  </a:lnTo>
                  <a:cubicBezTo>
                    <a:pt x="212479" y="18950"/>
                    <a:pt x="174877" y="18950"/>
                    <a:pt x="147422" y="39840"/>
                  </a:cubicBez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0CE2A34D-6F6E-BC6F-32A6-45572A9C5207}"/>
                </a:ext>
              </a:extLst>
            </p:cNvPr>
            <p:cNvSpPr/>
            <p:nvPr/>
          </p:nvSpPr>
          <p:spPr>
            <a:xfrm>
              <a:off x="6905100" y="5482249"/>
              <a:ext cx="118526" cy="53225"/>
            </a:xfrm>
            <a:custGeom>
              <a:avLst/>
              <a:gdLst>
                <a:gd name="connsiteX0" fmla="*/ 58735 w 118526"/>
                <a:gd name="connsiteY0" fmla="*/ 53226 h 53225"/>
                <a:gd name="connsiteX1" fmla="*/ 1438 w 118526"/>
                <a:gd name="connsiteY1" fmla="*/ 18012 h 53225"/>
                <a:gd name="connsiteX2" fmla="*/ 5616 w 118526"/>
                <a:gd name="connsiteY2" fmla="*/ 2494 h 53225"/>
                <a:gd name="connsiteX3" fmla="*/ 21134 w 118526"/>
                <a:gd name="connsiteY3" fmla="*/ 6672 h 53225"/>
                <a:gd name="connsiteX4" fmla="*/ 59332 w 118526"/>
                <a:gd name="connsiteY4" fmla="*/ 30546 h 53225"/>
                <a:gd name="connsiteX5" fmla="*/ 96934 w 118526"/>
                <a:gd name="connsiteY5" fmla="*/ 6075 h 53225"/>
                <a:gd name="connsiteX6" fmla="*/ 112452 w 118526"/>
                <a:gd name="connsiteY6" fmla="*/ 1300 h 53225"/>
                <a:gd name="connsiteX7" fmla="*/ 117227 w 118526"/>
                <a:gd name="connsiteY7" fmla="*/ 16818 h 53225"/>
                <a:gd name="connsiteX8" fmla="*/ 60526 w 118526"/>
                <a:gd name="connsiteY8" fmla="*/ 53226 h 53225"/>
                <a:gd name="connsiteX9" fmla="*/ 58735 w 118526"/>
                <a:gd name="connsiteY9" fmla="*/ 53226 h 5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526" h="53225">
                  <a:moveTo>
                    <a:pt x="58735" y="53226"/>
                  </a:moveTo>
                  <a:cubicBezTo>
                    <a:pt x="35458" y="53226"/>
                    <a:pt x="13971" y="40095"/>
                    <a:pt x="1438" y="18012"/>
                  </a:cubicBezTo>
                  <a:cubicBezTo>
                    <a:pt x="-1547" y="12640"/>
                    <a:pt x="244" y="5478"/>
                    <a:pt x="5616" y="2494"/>
                  </a:cubicBezTo>
                  <a:cubicBezTo>
                    <a:pt x="10987" y="-491"/>
                    <a:pt x="18149" y="1300"/>
                    <a:pt x="21134" y="6672"/>
                  </a:cubicBezTo>
                  <a:cubicBezTo>
                    <a:pt x="29490" y="21593"/>
                    <a:pt x="44411" y="30546"/>
                    <a:pt x="59332" y="30546"/>
                  </a:cubicBezTo>
                  <a:cubicBezTo>
                    <a:pt x="74850" y="30546"/>
                    <a:pt x="88578" y="20996"/>
                    <a:pt x="96934" y="6075"/>
                  </a:cubicBezTo>
                  <a:cubicBezTo>
                    <a:pt x="99918" y="703"/>
                    <a:pt x="107080" y="-1684"/>
                    <a:pt x="112452" y="1300"/>
                  </a:cubicBezTo>
                  <a:cubicBezTo>
                    <a:pt x="117823" y="4284"/>
                    <a:pt x="120211" y="11446"/>
                    <a:pt x="117227" y="16818"/>
                  </a:cubicBezTo>
                  <a:cubicBezTo>
                    <a:pt x="105290" y="38902"/>
                    <a:pt x="83803" y="52629"/>
                    <a:pt x="60526" y="53226"/>
                  </a:cubicBezTo>
                  <a:lnTo>
                    <a:pt x="58735" y="53226"/>
                  </a:ln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sp>
        <p:nvSpPr>
          <p:cNvPr id="93" name="稿定-9">
            <a:extLst>
              <a:ext uri="{FF2B5EF4-FFF2-40B4-BE49-F238E27FC236}">
                <a16:creationId xmlns:a16="http://schemas.microsoft.com/office/drawing/2014/main" id="{153347B4-D14F-5ECA-F800-1888864D86E0}"/>
              </a:ext>
            </a:extLst>
          </p:cNvPr>
          <p:cNvSpPr/>
          <p:nvPr/>
        </p:nvSpPr>
        <p:spPr>
          <a:xfrm flipH="1">
            <a:off x="1408086" y="394723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4" name="稿定-31">
            <a:extLst>
              <a:ext uri="{FF2B5EF4-FFF2-40B4-BE49-F238E27FC236}">
                <a16:creationId xmlns:a16="http://schemas.microsoft.com/office/drawing/2014/main" id="{A45CCC55-5EFB-7C17-FFB6-ACD849D7114D}"/>
              </a:ext>
            </a:extLst>
          </p:cNvPr>
          <p:cNvSpPr/>
          <p:nvPr/>
        </p:nvSpPr>
        <p:spPr>
          <a:xfrm flipH="1">
            <a:off x="1210672" y="421297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5" name="稿定-9">
            <a:extLst>
              <a:ext uri="{FF2B5EF4-FFF2-40B4-BE49-F238E27FC236}">
                <a16:creationId xmlns:a16="http://schemas.microsoft.com/office/drawing/2014/main" id="{4304A89C-AFEF-A7A8-B443-B8B0D153D64F}"/>
              </a:ext>
            </a:extLst>
          </p:cNvPr>
          <p:cNvSpPr/>
          <p:nvPr/>
        </p:nvSpPr>
        <p:spPr>
          <a:xfrm flipH="1">
            <a:off x="3066629" y="394723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6" name="稿定-31">
            <a:extLst>
              <a:ext uri="{FF2B5EF4-FFF2-40B4-BE49-F238E27FC236}">
                <a16:creationId xmlns:a16="http://schemas.microsoft.com/office/drawing/2014/main" id="{879E1E73-BC55-3E42-3A43-92C1161EA52C}"/>
              </a:ext>
            </a:extLst>
          </p:cNvPr>
          <p:cNvSpPr/>
          <p:nvPr/>
        </p:nvSpPr>
        <p:spPr>
          <a:xfrm flipH="1">
            <a:off x="2869215" y="421297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7" name="稿定-9">
            <a:extLst>
              <a:ext uri="{FF2B5EF4-FFF2-40B4-BE49-F238E27FC236}">
                <a16:creationId xmlns:a16="http://schemas.microsoft.com/office/drawing/2014/main" id="{2F3B7750-4037-358C-F83F-1B90C859D136}"/>
              </a:ext>
            </a:extLst>
          </p:cNvPr>
          <p:cNvSpPr/>
          <p:nvPr/>
        </p:nvSpPr>
        <p:spPr>
          <a:xfrm flipH="1">
            <a:off x="4767309" y="394723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8" name="稿定-31">
            <a:extLst>
              <a:ext uri="{FF2B5EF4-FFF2-40B4-BE49-F238E27FC236}">
                <a16:creationId xmlns:a16="http://schemas.microsoft.com/office/drawing/2014/main" id="{4B244B97-5750-5780-1F8A-1728A750F3B0}"/>
              </a:ext>
            </a:extLst>
          </p:cNvPr>
          <p:cNvSpPr/>
          <p:nvPr/>
        </p:nvSpPr>
        <p:spPr>
          <a:xfrm flipH="1">
            <a:off x="4569895" y="421297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99" name="稿定-9">
            <a:extLst>
              <a:ext uri="{FF2B5EF4-FFF2-40B4-BE49-F238E27FC236}">
                <a16:creationId xmlns:a16="http://schemas.microsoft.com/office/drawing/2014/main" id="{F6201F22-85CF-816C-A55C-83D9B590D664}"/>
              </a:ext>
            </a:extLst>
          </p:cNvPr>
          <p:cNvSpPr/>
          <p:nvPr/>
        </p:nvSpPr>
        <p:spPr>
          <a:xfrm flipH="1">
            <a:off x="6375387" y="394723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0" name="稿定-31">
            <a:extLst>
              <a:ext uri="{FF2B5EF4-FFF2-40B4-BE49-F238E27FC236}">
                <a16:creationId xmlns:a16="http://schemas.microsoft.com/office/drawing/2014/main" id="{5A305003-4A2C-5710-E98A-5B49274A87C0}"/>
              </a:ext>
            </a:extLst>
          </p:cNvPr>
          <p:cNvSpPr/>
          <p:nvPr/>
        </p:nvSpPr>
        <p:spPr>
          <a:xfrm flipH="1">
            <a:off x="6177973" y="421297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1" name="稿定-9">
            <a:extLst>
              <a:ext uri="{FF2B5EF4-FFF2-40B4-BE49-F238E27FC236}">
                <a16:creationId xmlns:a16="http://schemas.microsoft.com/office/drawing/2014/main" id="{A52E2578-8CAF-B445-2480-A67455076739}"/>
              </a:ext>
            </a:extLst>
          </p:cNvPr>
          <p:cNvSpPr/>
          <p:nvPr/>
        </p:nvSpPr>
        <p:spPr>
          <a:xfrm flipH="1">
            <a:off x="8153516" y="394723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2" name="稿定-31">
            <a:extLst>
              <a:ext uri="{FF2B5EF4-FFF2-40B4-BE49-F238E27FC236}">
                <a16:creationId xmlns:a16="http://schemas.microsoft.com/office/drawing/2014/main" id="{318CFC93-3C4E-AC1B-AC45-6EA676CB15B3}"/>
              </a:ext>
            </a:extLst>
          </p:cNvPr>
          <p:cNvSpPr/>
          <p:nvPr/>
        </p:nvSpPr>
        <p:spPr>
          <a:xfrm flipH="1">
            <a:off x="7956102" y="421297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03" name="稿定-9">
            <a:extLst>
              <a:ext uri="{FF2B5EF4-FFF2-40B4-BE49-F238E27FC236}">
                <a16:creationId xmlns:a16="http://schemas.microsoft.com/office/drawing/2014/main" id="{FAEEFD03-09FC-A0FD-338A-A447D0C0E689}"/>
              </a:ext>
            </a:extLst>
          </p:cNvPr>
          <p:cNvSpPr/>
          <p:nvPr/>
        </p:nvSpPr>
        <p:spPr>
          <a:xfrm flipH="1">
            <a:off x="9807966" y="394723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4" name="稿定-31">
            <a:extLst>
              <a:ext uri="{FF2B5EF4-FFF2-40B4-BE49-F238E27FC236}">
                <a16:creationId xmlns:a16="http://schemas.microsoft.com/office/drawing/2014/main" id="{CC01C5CB-B849-34C5-FA0D-3F8E24F832CA}"/>
              </a:ext>
            </a:extLst>
          </p:cNvPr>
          <p:cNvSpPr/>
          <p:nvPr/>
        </p:nvSpPr>
        <p:spPr>
          <a:xfrm flipH="1">
            <a:off x="9610552" y="421297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563158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E08F4CF-8534-34F0-D3EC-F64F59D7C022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8EEFC38-D349-828A-AC21-33FE105039BC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C04608F-B32C-BB2E-2913-AB0F8D3D6E4C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8E7B79B9-5568-C7FB-41D8-AF74A72CC864}"/>
              </a:ext>
            </a:extLst>
          </p:cNvPr>
          <p:cNvSpPr>
            <a:spLocks/>
          </p:cNvSpPr>
          <p:nvPr/>
        </p:nvSpPr>
        <p:spPr bwMode="auto">
          <a:xfrm>
            <a:off x="1152287" y="3401752"/>
            <a:ext cx="1066799" cy="121929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78B1C58-95A0-C456-C73F-9285D84BF636}"/>
              </a:ext>
            </a:extLst>
          </p:cNvPr>
          <p:cNvSpPr>
            <a:spLocks/>
          </p:cNvSpPr>
          <p:nvPr/>
        </p:nvSpPr>
        <p:spPr bwMode="auto">
          <a:xfrm>
            <a:off x="1045606" y="3279822"/>
            <a:ext cx="1280160" cy="1463159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noFill/>
          <a:ln>
            <a:solidFill>
              <a:srgbClr val="3361F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" name="弧形 7">
            <a:extLst>
              <a:ext uri="{FF2B5EF4-FFF2-40B4-BE49-F238E27FC236}">
                <a16:creationId xmlns:a16="http://schemas.microsoft.com/office/drawing/2014/main" id="{3DF02D25-087E-7C23-F033-225F0AC791AA}"/>
              </a:ext>
            </a:extLst>
          </p:cNvPr>
          <p:cNvSpPr/>
          <p:nvPr/>
        </p:nvSpPr>
        <p:spPr>
          <a:xfrm>
            <a:off x="605551" y="2931267"/>
            <a:ext cx="2160271" cy="2160270"/>
          </a:xfrm>
          <a:prstGeom prst="arc">
            <a:avLst>
              <a:gd name="adj1" fmla="val 10800000"/>
              <a:gd name="adj2" fmla="val 214920"/>
            </a:avLst>
          </a:prstGeom>
          <a:noFill/>
          <a:ln w="25400" cap="rnd">
            <a:gradFill flip="none" rotWithShape="1">
              <a:gsLst>
                <a:gs pos="0">
                  <a:srgbClr val="7A98F8"/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  <a:tileRect/>
            </a:gradFill>
            <a:round/>
          </a:ln>
          <a:effectLst>
            <a:outerShdw blurRad="101600" dist="152400" dir="5400000" algn="t" rotWithShape="0">
              <a:schemeClr val="accent1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9" name="弧形 8">
            <a:extLst>
              <a:ext uri="{FF2B5EF4-FFF2-40B4-BE49-F238E27FC236}">
                <a16:creationId xmlns:a16="http://schemas.microsoft.com/office/drawing/2014/main" id="{C829281D-E780-227A-6B0F-79ECC6DC7D72}"/>
              </a:ext>
            </a:extLst>
          </p:cNvPr>
          <p:cNvSpPr/>
          <p:nvPr/>
        </p:nvSpPr>
        <p:spPr>
          <a:xfrm flipV="1">
            <a:off x="2765822" y="2931267"/>
            <a:ext cx="2160271" cy="2160270"/>
          </a:xfrm>
          <a:prstGeom prst="arc">
            <a:avLst>
              <a:gd name="adj1" fmla="val 10800000"/>
              <a:gd name="adj2" fmla="val 214920"/>
            </a:avLst>
          </a:prstGeom>
          <a:noFill/>
          <a:ln w="25400" cap="rnd">
            <a:gradFill flip="none" rotWithShape="1">
              <a:gsLst>
                <a:gs pos="0">
                  <a:srgbClr val="7A98F8"/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  <a:tileRect/>
            </a:gradFill>
            <a:round/>
          </a:ln>
          <a:effectLst>
            <a:outerShdw blurRad="101600" dist="152400" dir="5400000" algn="t" rotWithShape="0">
              <a:schemeClr val="accent1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0" name="弧形 9">
            <a:extLst>
              <a:ext uri="{FF2B5EF4-FFF2-40B4-BE49-F238E27FC236}">
                <a16:creationId xmlns:a16="http://schemas.microsoft.com/office/drawing/2014/main" id="{824C853F-8DB2-8A69-CFDF-6FC924F3DA35}"/>
              </a:ext>
            </a:extLst>
          </p:cNvPr>
          <p:cNvSpPr/>
          <p:nvPr/>
        </p:nvSpPr>
        <p:spPr>
          <a:xfrm>
            <a:off x="4926091" y="2931267"/>
            <a:ext cx="2160271" cy="2160270"/>
          </a:xfrm>
          <a:prstGeom prst="arc">
            <a:avLst>
              <a:gd name="adj1" fmla="val 10800000"/>
              <a:gd name="adj2" fmla="val 214920"/>
            </a:avLst>
          </a:prstGeom>
          <a:noFill/>
          <a:ln w="25400" cap="rnd">
            <a:gradFill flip="none" rotWithShape="1">
              <a:gsLst>
                <a:gs pos="0">
                  <a:srgbClr val="7A98F8"/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  <a:tileRect/>
            </a:gradFill>
            <a:round/>
          </a:ln>
          <a:effectLst>
            <a:outerShdw blurRad="101600" dist="152400" dir="5400000" algn="t" rotWithShape="0">
              <a:schemeClr val="accent1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99A9968E-C5A6-E66D-8846-D44152FA7C40}"/>
              </a:ext>
            </a:extLst>
          </p:cNvPr>
          <p:cNvSpPr>
            <a:spLocks/>
          </p:cNvSpPr>
          <p:nvPr/>
        </p:nvSpPr>
        <p:spPr bwMode="auto">
          <a:xfrm>
            <a:off x="3312556" y="3401752"/>
            <a:ext cx="1066799" cy="121929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3EB759CE-8009-8738-ED96-60C6C78EC097}"/>
              </a:ext>
            </a:extLst>
          </p:cNvPr>
          <p:cNvSpPr>
            <a:spLocks/>
          </p:cNvSpPr>
          <p:nvPr/>
        </p:nvSpPr>
        <p:spPr bwMode="auto">
          <a:xfrm>
            <a:off x="3205876" y="3279822"/>
            <a:ext cx="1280160" cy="1463159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noFill/>
          <a:ln>
            <a:solidFill>
              <a:srgbClr val="3361F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EC8B553F-20B8-29FD-D146-F1227BA4F4FA}"/>
              </a:ext>
            </a:extLst>
          </p:cNvPr>
          <p:cNvSpPr>
            <a:spLocks/>
          </p:cNvSpPr>
          <p:nvPr/>
        </p:nvSpPr>
        <p:spPr bwMode="auto">
          <a:xfrm>
            <a:off x="5472827" y="3401752"/>
            <a:ext cx="1066799" cy="121929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EF96C0E9-5584-D179-730A-E629C335B34F}"/>
              </a:ext>
            </a:extLst>
          </p:cNvPr>
          <p:cNvSpPr>
            <a:spLocks/>
          </p:cNvSpPr>
          <p:nvPr/>
        </p:nvSpPr>
        <p:spPr bwMode="auto">
          <a:xfrm>
            <a:off x="5366146" y="3279822"/>
            <a:ext cx="1280160" cy="1463159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noFill/>
          <a:ln>
            <a:solidFill>
              <a:srgbClr val="3361F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9" name="弧形 18">
            <a:extLst>
              <a:ext uri="{FF2B5EF4-FFF2-40B4-BE49-F238E27FC236}">
                <a16:creationId xmlns:a16="http://schemas.microsoft.com/office/drawing/2014/main" id="{9862E4CA-74BE-4450-991E-B50E2F94CE1D}"/>
              </a:ext>
            </a:extLst>
          </p:cNvPr>
          <p:cNvSpPr/>
          <p:nvPr/>
        </p:nvSpPr>
        <p:spPr>
          <a:xfrm flipV="1">
            <a:off x="7086362" y="2931267"/>
            <a:ext cx="2160271" cy="2160270"/>
          </a:xfrm>
          <a:prstGeom prst="arc">
            <a:avLst>
              <a:gd name="adj1" fmla="val 10800000"/>
              <a:gd name="adj2" fmla="val 214920"/>
            </a:avLst>
          </a:prstGeom>
          <a:noFill/>
          <a:ln w="25400" cap="rnd">
            <a:gradFill flip="none" rotWithShape="1">
              <a:gsLst>
                <a:gs pos="0">
                  <a:srgbClr val="7A98F8"/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  <a:tileRect/>
            </a:gradFill>
            <a:round/>
          </a:ln>
          <a:effectLst>
            <a:outerShdw blurRad="101600" dist="152400" dir="5400000" algn="t" rotWithShape="0">
              <a:schemeClr val="accent1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77BED8B1-0229-2F39-2E9E-E0B55D83582E}"/>
              </a:ext>
            </a:extLst>
          </p:cNvPr>
          <p:cNvSpPr>
            <a:spLocks/>
          </p:cNvSpPr>
          <p:nvPr/>
        </p:nvSpPr>
        <p:spPr bwMode="auto">
          <a:xfrm>
            <a:off x="7633096" y="3401752"/>
            <a:ext cx="1066799" cy="121929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11CB42B3-26CA-5453-A580-821429B8F799}"/>
              </a:ext>
            </a:extLst>
          </p:cNvPr>
          <p:cNvSpPr>
            <a:spLocks/>
          </p:cNvSpPr>
          <p:nvPr/>
        </p:nvSpPr>
        <p:spPr bwMode="auto">
          <a:xfrm>
            <a:off x="7526417" y="3279822"/>
            <a:ext cx="1280160" cy="1463159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noFill/>
          <a:ln>
            <a:solidFill>
              <a:srgbClr val="3361F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7" name="弧形 26">
            <a:extLst>
              <a:ext uri="{FF2B5EF4-FFF2-40B4-BE49-F238E27FC236}">
                <a16:creationId xmlns:a16="http://schemas.microsoft.com/office/drawing/2014/main" id="{C6F41416-F4F2-A235-3D3E-15B24F63F417}"/>
              </a:ext>
            </a:extLst>
          </p:cNvPr>
          <p:cNvSpPr/>
          <p:nvPr/>
        </p:nvSpPr>
        <p:spPr>
          <a:xfrm>
            <a:off x="9246630" y="2931267"/>
            <a:ext cx="2160271" cy="2160270"/>
          </a:xfrm>
          <a:prstGeom prst="arc">
            <a:avLst>
              <a:gd name="adj1" fmla="val 10800000"/>
              <a:gd name="adj2" fmla="val 214920"/>
            </a:avLst>
          </a:prstGeom>
          <a:noFill/>
          <a:ln w="25400" cap="rnd">
            <a:gradFill flip="none" rotWithShape="1">
              <a:gsLst>
                <a:gs pos="0">
                  <a:srgbClr val="7A98F8"/>
                </a:gs>
                <a:gs pos="100000">
                  <a:srgbClr val="3361F5">
                    <a:alpha val="0"/>
                  </a:srgbClr>
                </a:gs>
              </a:gsLst>
              <a:lin ang="5400000" scaled="1"/>
              <a:tileRect/>
            </a:gradFill>
            <a:round/>
          </a:ln>
          <a:effectLst>
            <a:outerShdw blurRad="101600" dist="152400" dir="5400000" algn="t" rotWithShape="0">
              <a:schemeClr val="accent1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17C02C1-2DC3-2BD8-2A90-92E126455EAA}"/>
              </a:ext>
            </a:extLst>
          </p:cNvPr>
          <p:cNvSpPr>
            <a:spLocks/>
          </p:cNvSpPr>
          <p:nvPr/>
        </p:nvSpPr>
        <p:spPr bwMode="auto">
          <a:xfrm>
            <a:off x="9793366" y="3401752"/>
            <a:ext cx="1066799" cy="1219298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BDB34C14-A7E9-AC4D-AA0C-96DF219A77EF}"/>
              </a:ext>
            </a:extLst>
          </p:cNvPr>
          <p:cNvSpPr>
            <a:spLocks/>
          </p:cNvSpPr>
          <p:nvPr/>
        </p:nvSpPr>
        <p:spPr bwMode="auto">
          <a:xfrm>
            <a:off x="9686685" y="3279822"/>
            <a:ext cx="1280160" cy="1463159"/>
          </a:xfrm>
          <a:custGeom>
            <a:avLst/>
            <a:gdLst>
              <a:gd name="T0" fmla="*/ 626 w 644"/>
              <a:gd name="T1" fmla="*/ 172 h 736"/>
              <a:gd name="T2" fmla="*/ 340 w 644"/>
              <a:gd name="T3" fmla="*/ 6 h 736"/>
              <a:gd name="T4" fmla="*/ 304 w 644"/>
              <a:gd name="T5" fmla="*/ 6 h 736"/>
              <a:gd name="T6" fmla="*/ 18 w 644"/>
              <a:gd name="T7" fmla="*/ 172 h 736"/>
              <a:gd name="T8" fmla="*/ 0 w 644"/>
              <a:gd name="T9" fmla="*/ 203 h 736"/>
              <a:gd name="T10" fmla="*/ 0 w 644"/>
              <a:gd name="T11" fmla="*/ 533 h 736"/>
              <a:gd name="T12" fmla="*/ 18 w 644"/>
              <a:gd name="T13" fmla="*/ 564 h 736"/>
              <a:gd name="T14" fmla="*/ 304 w 644"/>
              <a:gd name="T15" fmla="*/ 730 h 736"/>
              <a:gd name="T16" fmla="*/ 340 w 644"/>
              <a:gd name="T17" fmla="*/ 730 h 736"/>
              <a:gd name="T18" fmla="*/ 626 w 644"/>
              <a:gd name="T19" fmla="*/ 564 h 736"/>
              <a:gd name="T20" fmla="*/ 644 w 644"/>
              <a:gd name="T21" fmla="*/ 533 h 736"/>
              <a:gd name="T22" fmla="*/ 644 w 644"/>
              <a:gd name="T23" fmla="*/ 203 h 736"/>
              <a:gd name="T24" fmla="*/ 626 w 644"/>
              <a:gd name="T25" fmla="*/ 172 h 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736">
                <a:moveTo>
                  <a:pt x="626" y="172"/>
                </a:moveTo>
                <a:cubicBezTo>
                  <a:pt x="340" y="6"/>
                  <a:pt x="340" y="6"/>
                  <a:pt x="340" y="6"/>
                </a:cubicBezTo>
                <a:cubicBezTo>
                  <a:pt x="329" y="0"/>
                  <a:pt x="315" y="0"/>
                  <a:pt x="304" y="6"/>
                </a:cubicBezTo>
                <a:cubicBezTo>
                  <a:pt x="18" y="172"/>
                  <a:pt x="18" y="172"/>
                  <a:pt x="18" y="172"/>
                </a:cubicBezTo>
                <a:cubicBezTo>
                  <a:pt x="7" y="178"/>
                  <a:pt x="0" y="190"/>
                  <a:pt x="0" y="203"/>
                </a:cubicBezTo>
                <a:cubicBezTo>
                  <a:pt x="0" y="533"/>
                  <a:pt x="0" y="533"/>
                  <a:pt x="0" y="533"/>
                </a:cubicBezTo>
                <a:cubicBezTo>
                  <a:pt x="0" y="546"/>
                  <a:pt x="7" y="558"/>
                  <a:pt x="18" y="564"/>
                </a:cubicBezTo>
                <a:cubicBezTo>
                  <a:pt x="304" y="730"/>
                  <a:pt x="304" y="730"/>
                  <a:pt x="304" y="730"/>
                </a:cubicBezTo>
                <a:cubicBezTo>
                  <a:pt x="315" y="736"/>
                  <a:pt x="329" y="736"/>
                  <a:pt x="340" y="730"/>
                </a:cubicBezTo>
                <a:cubicBezTo>
                  <a:pt x="626" y="564"/>
                  <a:pt x="626" y="564"/>
                  <a:pt x="626" y="564"/>
                </a:cubicBezTo>
                <a:cubicBezTo>
                  <a:pt x="637" y="558"/>
                  <a:pt x="644" y="546"/>
                  <a:pt x="644" y="533"/>
                </a:cubicBezTo>
                <a:cubicBezTo>
                  <a:pt x="644" y="203"/>
                  <a:pt x="644" y="203"/>
                  <a:pt x="644" y="203"/>
                </a:cubicBezTo>
                <a:cubicBezTo>
                  <a:pt x="644" y="190"/>
                  <a:pt x="637" y="178"/>
                  <a:pt x="626" y="172"/>
                </a:cubicBezTo>
                <a:close/>
              </a:path>
            </a:pathLst>
          </a:custGeom>
          <a:noFill/>
          <a:ln>
            <a:solidFill>
              <a:srgbClr val="3361F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3" name="稿定-9">
            <a:extLst>
              <a:ext uri="{FF2B5EF4-FFF2-40B4-BE49-F238E27FC236}">
                <a16:creationId xmlns:a16="http://schemas.microsoft.com/office/drawing/2014/main" id="{2846CF99-8B40-5E2F-9271-94E12D17013D}"/>
              </a:ext>
            </a:extLst>
          </p:cNvPr>
          <p:cNvSpPr/>
          <p:nvPr/>
        </p:nvSpPr>
        <p:spPr>
          <a:xfrm flipH="1">
            <a:off x="1199758" y="482580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4" name="稿定-31">
            <a:extLst>
              <a:ext uri="{FF2B5EF4-FFF2-40B4-BE49-F238E27FC236}">
                <a16:creationId xmlns:a16="http://schemas.microsoft.com/office/drawing/2014/main" id="{648C2C7F-2914-9980-9952-86AFDC8450F0}"/>
              </a:ext>
            </a:extLst>
          </p:cNvPr>
          <p:cNvSpPr/>
          <p:nvPr/>
        </p:nvSpPr>
        <p:spPr>
          <a:xfrm flipH="1">
            <a:off x="1002344" y="509153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5" name="稿定-9">
            <a:extLst>
              <a:ext uri="{FF2B5EF4-FFF2-40B4-BE49-F238E27FC236}">
                <a16:creationId xmlns:a16="http://schemas.microsoft.com/office/drawing/2014/main" id="{491D8271-E629-2D74-4151-458464BC5FEC}"/>
              </a:ext>
            </a:extLst>
          </p:cNvPr>
          <p:cNvSpPr/>
          <p:nvPr/>
        </p:nvSpPr>
        <p:spPr>
          <a:xfrm flipH="1">
            <a:off x="3316765" y="253923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6" name="稿定-31">
            <a:extLst>
              <a:ext uri="{FF2B5EF4-FFF2-40B4-BE49-F238E27FC236}">
                <a16:creationId xmlns:a16="http://schemas.microsoft.com/office/drawing/2014/main" id="{431FBD60-A91B-601C-5A5D-FC70D427081A}"/>
              </a:ext>
            </a:extLst>
          </p:cNvPr>
          <p:cNvSpPr/>
          <p:nvPr/>
        </p:nvSpPr>
        <p:spPr>
          <a:xfrm flipH="1">
            <a:off x="3119351" y="280497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7" name="稿定-9">
            <a:extLst>
              <a:ext uri="{FF2B5EF4-FFF2-40B4-BE49-F238E27FC236}">
                <a16:creationId xmlns:a16="http://schemas.microsoft.com/office/drawing/2014/main" id="{3AFBA567-D915-B9F3-CCA9-C8CB1997B7C9}"/>
              </a:ext>
            </a:extLst>
          </p:cNvPr>
          <p:cNvSpPr/>
          <p:nvPr/>
        </p:nvSpPr>
        <p:spPr>
          <a:xfrm flipH="1">
            <a:off x="7637306" y="253923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8" name="稿定-31">
            <a:extLst>
              <a:ext uri="{FF2B5EF4-FFF2-40B4-BE49-F238E27FC236}">
                <a16:creationId xmlns:a16="http://schemas.microsoft.com/office/drawing/2014/main" id="{B5CCED45-64C0-4814-CCC2-E30BBBED2E4B}"/>
              </a:ext>
            </a:extLst>
          </p:cNvPr>
          <p:cNvSpPr/>
          <p:nvPr/>
        </p:nvSpPr>
        <p:spPr>
          <a:xfrm flipH="1">
            <a:off x="7439892" y="280497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9" name="稿定-9">
            <a:extLst>
              <a:ext uri="{FF2B5EF4-FFF2-40B4-BE49-F238E27FC236}">
                <a16:creationId xmlns:a16="http://schemas.microsoft.com/office/drawing/2014/main" id="{6F5FD711-471D-5D65-0619-D53193AF4BDE}"/>
              </a:ext>
            </a:extLst>
          </p:cNvPr>
          <p:cNvSpPr/>
          <p:nvPr/>
        </p:nvSpPr>
        <p:spPr>
          <a:xfrm flipH="1">
            <a:off x="5563560" y="482580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0" name="稿定-31">
            <a:extLst>
              <a:ext uri="{FF2B5EF4-FFF2-40B4-BE49-F238E27FC236}">
                <a16:creationId xmlns:a16="http://schemas.microsoft.com/office/drawing/2014/main" id="{D4F6CA98-8AC7-64FB-EA91-7BA1C5A7C780}"/>
              </a:ext>
            </a:extLst>
          </p:cNvPr>
          <p:cNvSpPr/>
          <p:nvPr/>
        </p:nvSpPr>
        <p:spPr>
          <a:xfrm flipH="1">
            <a:off x="5366146" y="509153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1" name="稿定-9">
            <a:extLst>
              <a:ext uri="{FF2B5EF4-FFF2-40B4-BE49-F238E27FC236}">
                <a16:creationId xmlns:a16="http://schemas.microsoft.com/office/drawing/2014/main" id="{41DDEF31-D326-3CAC-C3F3-086621E54266}"/>
              </a:ext>
            </a:extLst>
          </p:cNvPr>
          <p:cNvSpPr/>
          <p:nvPr/>
        </p:nvSpPr>
        <p:spPr>
          <a:xfrm flipH="1">
            <a:off x="9840838" y="482580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2" name="稿定-31">
            <a:extLst>
              <a:ext uri="{FF2B5EF4-FFF2-40B4-BE49-F238E27FC236}">
                <a16:creationId xmlns:a16="http://schemas.microsoft.com/office/drawing/2014/main" id="{A6D9BC07-CD6A-54BD-70C8-97F7A7A79D32}"/>
              </a:ext>
            </a:extLst>
          </p:cNvPr>
          <p:cNvSpPr/>
          <p:nvPr/>
        </p:nvSpPr>
        <p:spPr>
          <a:xfrm flipH="1">
            <a:off x="9643424" y="509153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AF1E130F-358B-0D4B-3140-E82D7B4876B7}"/>
              </a:ext>
            </a:extLst>
          </p:cNvPr>
          <p:cNvGrpSpPr/>
          <p:nvPr/>
        </p:nvGrpSpPr>
        <p:grpSpPr>
          <a:xfrm>
            <a:off x="3627095" y="3764317"/>
            <a:ext cx="424112" cy="443754"/>
            <a:chOff x="3193522" y="5222129"/>
            <a:chExt cx="424112" cy="443754"/>
          </a:xfrm>
          <a:solidFill>
            <a:schemeClr val="tx1"/>
          </a:solidFill>
        </p:grpSpPr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2C4A3B08-A663-5D18-2760-72396CB4814E}"/>
                </a:ext>
              </a:extLst>
            </p:cNvPr>
            <p:cNvSpPr/>
            <p:nvPr/>
          </p:nvSpPr>
          <p:spPr>
            <a:xfrm>
              <a:off x="3342330" y="5358232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A5A35C3-845A-7FF4-B274-694BB3C6CFED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EBD4D8CB-119D-3CA7-A6ED-3144D7387D1D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4AC1562-E32A-74B1-80C5-114311EAB936}"/>
              </a:ext>
            </a:extLst>
          </p:cNvPr>
          <p:cNvGrpSpPr/>
          <p:nvPr/>
        </p:nvGrpSpPr>
        <p:grpSpPr>
          <a:xfrm>
            <a:off x="1464462" y="3764143"/>
            <a:ext cx="442449" cy="443928"/>
            <a:chOff x="1406740" y="5275641"/>
            <a:chExt cx="442449" cy="443928"/>
          </a:xfrm>
          <a:solidFill>
            <a:schemeClr val="tx1"/>
          </a:solidFill>
        </p:grpSpPr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3A1D29CA-E0B2-1367-BC2A-968E3DFE81F1}"/>
                </a:ext>
              </a:extLst>
            </p:cNvPr>
            <p:cNvSpPr/>
            <p:nvPr/>
          </p:nvSpPr>
          <p:spPr>
            <a:xfrm>
              <a:off x="1573885" y="5444265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F1FC194-C428-B844-535D-A9DF1D3AB82B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B70E471F-FFA1-5BF8-EE2B-47814B028E82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6432CB57-D37E-3940-C547-F47553343AA9}"/>
              </a:ext>
            </a:extLst>
          </p:cNvPr>
          <p:cNvGrpSpPr/>
          <p:nvPr/>
        </p:nvGrpSpPr>
        <p:grpSpPr>
          <a:xfrm>
            <a:off x="5784816" y="3770879"/>
            <a:ext cx="442820" cy="452298"/>
            <a:chOff x="10357510" y="5253191"/>
            <a:chExt cx="362769" cy="370534"/>
          </a:xfrm>
          <a:solidFill>
            <a:schemeClr val="tx1"/>
          </a:solidFill>
        </p:grpSpPr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93FD387C-5F5D-B8C8-97B7-29F71293BA23}"/>
                </a:ext>
              </a:extLst>
            </p:cNvPr>
            <p:cNvSpPr/>
            <p:nvPr/>
          </p:nvSpPr>
          <p:spPr>
            <a:xfrm>
              <a:off x="10498402" y="5401849"/>
              <a:ext cx="221877" cy="221876"/>
            </a:xfrm>
            <a:custGeom>
              <a:avLst/>
              <a:gdLst>
                <a:gd name="connsiteX0" fmla="*/ 0 w 221877"/>
                <a:gd name="connsiteY0" fmla="*/ 110938 h 221876"/>
                <a:gd name="connsiteX1" fmla="*/ 110939 w 221877"/>
                <a:gd name="connsiteY1" fmla="*/ 221877 h 221876"/>
                <a:gd name="connsiteX2" fmla="*/ 221877 w 221877"/>
                <a:gd name="connsiteY2" fmla="*/ 110938 h 221876"/>
                <a:gd name="connsiteX3" fmla="*/ 110939 w 221877"/>
                <a:gd name="connsiteY3" fmla="*/ 0 h 221876"/>
                <a:gd name="connsiteX4" fmla="*/ 0 w 221877"/>
                <a:gd name="connsiteY4" fmla="*/ 110938 h 22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77" h="221876">
                  <a:moveTo>
                    <a:pt x="0" y="110938"/>
                  </a:moveTo>
                  <a:cubicBezTo>
                    <a:pt x="0" y="172208"/>
                    <a:pt x="49669" y="221877"/>
                    <a:pt x="110939" y="221877"/>
                  </a:cubicBezTo>
                  <a:cubicBezTo>
                    <a:pt x="172208" y="221877"/>
                    <a:pt x="221877" y="172208"/>
                    <a:pt x="221877" y="110938"/>
                  </a:cubicBezTo>
                  <a:cubicBezTo>
                    <a:pt x="221877" y="49669"/>
                    <a:pt x="172208" y="0"/>
                    <a:pt x="110939" y="0"/>
                  </a:cubicBezTo>
                  <a:cubicBezTo>
                    <a:pt x="49669" y="0"/>
                    <a:pt x="0" y="49669"/>
                    <a:pt x="0" y="11093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87AB88B-BFB9-129D-F6BC-F7EC3CD156A1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06F6836E-1001-F2AA-0260-D50EB21F1176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9EAA0411-FC05-20B6-4FF3-BA0F2D89E7A2}"/>
              </a:ext>
            </a:extLst>
          </p:cNvPr>
          <p:cNvGrpSpPr/>
          <p:nvPr/>
        </p:nvGrpSpPr>
        <p:grpSpPr>
          <a:xfrm>
            <a:off x="7967605" y="3774193"/>
            <a:ext cx="409440" cy="401531"/>
            <a:chOff x="6770455" y="5253911"/>
            <a:chExt cx="409440" cy="401531"/>
          </a:xfrm>
          <a:solidFill>
            <a:schemeClr val="tx1"/>
          </a:solidFill>
        </p:grpSpPr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D5EA5734-4963-5856-7748-CB80AB0FC837}"/>
                </a:ext>
              </a:extLst>
            </p:cNvPr>
            <p:cNvSpPr/>
            <p:nvPr/>
          </p:nvSpPr>
          <p:spPr>
            <a:xfrm>
              <a:off x="6941155" y="5416702"/>
              <a:ext cx="238740" cy="238740"/>
            </a:xfrm>
            <a:custGeom>
              <a:avLst/>
              <a:gdLst>
                <a:gd name="connsiteX0" fmla="*/ 0 w 238740"/>
                <a:gd name="connsiteY0" fmla="*/ 119370 h 238740"/>
                <a:gd name="connsiteX1" fmla="*/ 119370 w 238740"/>
                <a:gd name="connsiteY1" fmla="*/ 238740 h 238740"/>
                <a:gd name="connsiteX2" fmla="*/ 238740 w 238740"/>
                <a:gd name="connsiteY2" fmla="*/ 119370 h 238740"/>
                <a:gd name="connsiteX3" fmla="*/ 119370 w 238740"/>
                <a:gd name="connsiteY3" fmla="*/ 0 h 238740"/>
                <a:gd name="connsiteX4" fmla="*/ 0 w 238740"/>
                <a:gd name="connsiteY4" fmla="*/ 119370 h 23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40" h="238740">
                  <a:moveTo>
                    <a:pt x="0" y="119370"/>
                  </a:moveTo>
                  <a:cubicBezTo>
                    <a:pt x="0" y="185296"/>
                    <a:pt x="53444" y="238740"/>
                    <a:pt x="119370" y="238740"/>
                  </a:cubicBezTo>
                  <a:cubicBezTo>
                    <a:pt x="185296" y="238740"/>
                    <a:pt x="238740" y="185296"/>
                    <a:pt x="238740" y="119370"/>
                  </a:cubicBezTo>
                  <a:cubicBezTo>
                    <a:pt x="238740" y="53444"/>
                    <a:pt x="185296" y="0"/>
                    <a:pt x="119370" y="0"/>
                  </a:cubicBezTo>
                  <a:cubicBezTo>
                    <a:pt x="53444" y="0"/>
                    <a:pt x="0" y="53444"/>
                    <a:pt x="0" y="119370"/>
                  </a:cubicBezTo>
                  <a:close/>
                </a:path>
              </a:pathLst>
            </a:custGeom>
            <a:solidFill>
              <a:schemeClr val="bg1"/>
            </a:solidFill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grpSp>
          <p:nvGrpSpPr>
            <p:cNvPr id="74" name="组合 73">
              <a:extLst>
                <a:ext uri="{FF2B5EF4-FFF2-40B4-BE49-F238E27FC236}">
                  <a16:creationId xmlns:a16="http://schemas.microsoft.com/office/drawing/2014/main" id="{360496DA-9B48-704E-6B1C-CC1EB1DAB742}"/>
                </a:ext>
              </a:extLst>
            </p:cNvPr>
            <p:cNvGrpSpPr/>
            <p:nvPr/>
          </p:nvGrpSpPr>
          <p:grpSpPr>
            <a:xfrm>
              <a:off x="6770455" y="5253911"/>
              <a:ext cx="387355" cy="378253"/>
              <a:chOff x="6770455" y="5253911"/>
              <a:chExt cx="387355" cy="378253"/>
            </a:xfrm>
            <a:grpFill/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3AA20E09-CFE4-982F-8549-8283455F01A8}"/>
                  </a:ext>
                </a:extLst>
              </p:cNvPr>
              <p:cNvSpPr/>
              <p:nvPr/>
            </p:nvSpPr>
            <p:spPr>
              <a:xfrm>
                <a:off x="6770455" y="5253911"/>
                <a:ext cx="387355" cy="378253"/>
              </a:xfrm>
              <a:custGeom>
                <a:avLst/>
                <a:gdLst>
                  <a:gd name="connsiteX0" fmla="*/ 291860 w 387355"/>
                  <a:gd name="connsiteY0" fmla="*/ 378254 h 378253"/>
                  <a:gd name="connsiteX1" fmla="*/ 95496 w 387355"/>
                  <a:gd name="connsiteY1" fmla="*/ 378254 h 378253"/>
                  <a:gd name="connsiteX2" fmla="*/ 0 w 387355"/>
                  <a:gd name="connsiteY2" fmla="*/ 282758 h 378253"/>
                  <a:gd name="connsiteX3" fmla="*/ 0 w 387355"/>
                  <a:gd name="connsiteY3" fmla="*/ 168162 h 378253"/>
                  <a:gd name="connsiteX4" fmla="*/ 38198 w 387355"/>
                  <a:gd name="connsiteY4" fmla="*/ 91169 h 378253"/>
                  <a:gd name="connsiteX5" fmla="*/ 133098 w 387355"/>
                  <a:gd name="connsiteY5" fmla="*/ 20144 h 378253"/>
                  <a:gd name="connsiteX6" fmla="*/ 254855 w 387355"/>
                  <a:gd name="connsiteY6" fmla="*/ 20144 h 378253"/>
                  <a:gd name="connsiteX7" fmla="*/ 349157 w 387355"/>
                  <a:gd name="connsiteY7" fmla="*/ 91169 h 378253"/>
                  <a:gd name="connsiteX8" fmla="*/ 387356 w 387355"/>
                  <a:gd name="connsiteY8" fmla="*/ 168162 h 378253"/>
                  <a:gd name="connsiteX9" fmla="*/ 387356 w 387355"/>
                  <a:gd name="connsiteY9" fmla="*/ 282161 h 378253"/>
                  <a:gd name="connsiteX10" fmla="*/ 291860 w 387355"/>
                  <a:gd name="connsiteY10" fmla="*/ 378254 h 378253"/>
                  <a:gd name="connsiteX11" fmla="*/ 147422 w 387355"/>
                  <a:gd name="connsiteY11" fmla="*/ 39840 h 378253"/>
                  <a:gd name="connsiteX12" fmla="*/ 52523 w 387355"/>
                  <a:gd name="connsiteY12" fmla="*/ 110865 h 378253"/>
                  <a:gd name="connsiteX13" fmla="*/ 23874 w 387355"/>
                  <a:gd name="connsiteY13" fmla="*/ 168759 h 378253"/>
                  <a:gd name="connsiteX14" fmla="*/ 23874 w 387355"/>
                  <a:gd name="connsiteY14" fmla="*/ 282758 h 378253"/>
                  <a:gd name="connsiteX15" fmla="*/ 95496 w 387355"/>
                  <a:gd name="connsiteY15" fmla="*/ 354380 h 378253"/>
                  <a:gd name="connsiteX16" fmla="*/ 291860 w 387355"/>
                  <a:gd name="connsiteY16" fmla="*/ 354380 h 378253"/>
                  <a:gd name="connsiteX17" fmla="*/ 363482 w 387355"/>
                  <a:gd name="connsiteY17" fmla="*/ 282758 h 378253"/>
                  <a:gd name="connsiteX18" fmla="*/ 363482 w 387355"/>
                  <a:gd name="connsiteY18" fmla="*/ 168162 h 378253"/>
                  <a:gd name="connsiteX19" fmla="*/ 334833 w 387355"/>
                  <a:gd name="connsiteY19" fmla="*/ 110268 h 378253"/>
                  <a:gd name="connsiteX20" fmla="*/ 240531 w 387355"/>
                  <a:gd name="connsiteY20" fmla="*/ 39243 h 378253"/>
                  <a:gd name="connsiteX21" fmla="*/ 147422 w 387355"/>
                  <a:gd name="connsiteY21" fmla="*/ 39840 h 37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7355" h="378253">
                    <a:moveTo>
                      <a:pt x="291860" y="378254"/>
                    </a:moveTo>
                    <a:lnTo>
                      <a:pt x="95496" y="378254"/>
                    </a:lnTo>
                    <a:cubicBezTo>
                      <a:pt x="42973" y="378254"/>
                      <a:pt x="0" y="335281"/>
                      <a:pt x="0" y="282758"/>
                    </a:cubicBezTo>
                    <a:lnTo>
                      <a:pt x="0" y="168162"/>
                    </a:lnTo>
                    <a:cubicBezTo>
                      <a:pt x="0" y="137723"/>
                      <a:pt x="14324" y="109074"/>
                      <a:pt x="38198" y="91169"/>
                    </a:cubicBezTo>
                    <a:lnTo>
                      <a:pt x="133098" y="20144"/>
                    </a:lnTo>
                    <a:cubicBezTo>
                      <a:pt x="169505" y="-6715"/>
                      <a:pt x="218447" y="-6715"/>
                      <a:pt x="254855" y="20144"/>
                    </a:cubicBezTo>
                    <a:lnTo>
                      <a:pt x="349157" y="91169"/>
                    </a:lnTo>
                    <a:cubicBezTo>
                      <a:pt x="373628" y="109671"/>
                      <a:pt x="387356" y="137723"/>
                      <a:pt x="387356" y="168162"/>
                    </a:cubicBezTo>
                    <a:lnTo>
                      <a:pt x="387356" y="282161"/>
                    </a:lnTo>
                    <a:cubicBezTo>
                      <a:pt x="387356" y="335281"/>
                      <a:pt x="344382" y="378254"/>
                      <a:pt x="291860" y="378254"/>
                    </a:cubicBezTo>
                    <a:close/>
                    <a:moveTo>
                      <a:pt x="147422" y="39840"/>
                    </a:moveTo>
                    <a:lnTo>
                      <a:pt x="52523" y="110865"/>
                    </a:lnTo>
                    <a:cubicBezTo>
                      <a:pt x="34617" y="123996"/>
                      <a:pt x="23874" y="145482"/>
                      <a:pt x="23874" y="168759"/>
                    </a:cubicBezTo>
                    <a:lnTo>
                      <a:pt x="23874" y="282758"/>
                    </a:lnTo>
                    <a:cubicBezTo>
                      <a:pt x="23874" y="322150"/>
                      <a:pt x="56104" y="354380"/>
                      <a:pt x="95496" y="354380"/>
                    </a:cubicBezTo>
                    <a:lnTo>
                      <a:pt x="291860" y="354380"/>
                    </a:lnTo>
                    <a:cubicBezTo>
                      <a:pt x="331252" y="354380"/>
                      <a:pt x="363482" y="322150"/>
                      <a:pt x="363482" y="282758"/>
                    </a:cubicBezTo>
                    <a:lnTo>
                      <a:pt x="363482" y="168162"/>
                    </a:lnTo>
                    <a:cubicBezTo>
                      <a:pt x="363482" y="145482"/>
                      <a:pt x="352738" y="124592"/>
                      <a:pt x="334833" y="110268"/>
                    </a:cubicBezTo>
                    <a:lnTo>
                      <a:pt x="240531" y="39243"/>
                    </a:lnTo>
                    <a:cubicBezTo>
                      <a:pt x="212479" y="18950"/>
                      <a:pt x="174877" y="18950"/>
                      <a:pt x="147422" y="39840"/>
                    </a:cubicBez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5F15DC78-00F9-9429-DDA0-442BDFA8C627}"/>
                  </a:ext>
                </a:extLst>
              </p:cNvPr>
              <p:cNvSpPr/>
              <p:nvPr/>
            </p:nvSpPr>
            <p:spPr>
              <a:xfrm>
                <a:off x="6905100" y="5482249"/>
                <a:ext cx="118526" cy="53225"/>
              </a:xfrm>
              <a:custGeom>
                <a:avLst/>
                <a:gdLst>
                  <a:gd name="connsiteX0" fmla="*/ 58735 w 118526"/>
                  <a:gd name="connsiteY0" fmla="*/ 53226 h 53225"/>
                  <a:gd name="connsiteX1" fmla="*/ 1438 w 118526"/>
                  <a:gd name="connsiteY1" fmla="*/ 18012 h 53225"/>
                  <a:gd name="connsiteX2" fmla="*/ 5616 w 118526"/>
                  <a:gd name="connsiteY2" fmla="*/ 2494 h 53225"/>
                  <a:gd name="connsiteX3" fmla="*/ 21134 w 118526"/>
                  <a:gd name="connsiteY3" fmla="*/ 6672 h 53225"/>
                  <a:gd name="connsiteX4" fmla="*/ 59332 w 118526"/>
                  <a:gd name="connsiteY4" fmla="*/ 30546 h 53225"/>
                  <a:gd name="connsiteX5" fmla="*/ 96934 w 118526"/>
                  <a:gd name="connsiteY5" fmla="*/ 6075 h 53225"/>
                  <a:gd name="connsiteX6" fmla="*/ 112452 w 118526"/>
                  <a:gd name="connsiteY6" fmla="*/ 1300 h 53225"/>
                  <a:gd name="connsiteX7" fmla="*/ 117227 w 118526"/>
                  <a:gd name="connsiteY7" fmla="*/ 16818 h 53225"/>
                  <a:gd name="connsiteX8" fmla="*/ 60526 w 118526"/>
                  <a:gd name="connsiteY8" fmla="*/ 53226 h 53225"/>
                  <a:gd name="connsiteX9" fmla="*/ 58735 w 118526"/>
                  <a:gd name="connsiteY9" fmla="*/ 53226 h 5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526" h="53225">
                    <a:moveTo>
                      <a:pt x="58735" y="53226"/>
                    </a:moveTo>
                    <a:cubicBezTo>
                      <a:pt x="35458" y="53226"/>
                      <a:pt x="13971" y="40095"/>
                      <a:pt x="1438" y="18012"/>
                    </a:cubicBezTo>
                    <a:cubicBezTo>
                      <a:pt x="-1547" y="12640"/>
                      <a:pt x="244" y="5478"/>
                      <a:pt x="5616" y="2494"/>
                    </a:cubicBezTo>
                    <a:cubicBezTo>
                      <a:pt x="10987" y="-491"/>
                      <a:pt x="18149" y="1300"/>
                      <a:pt x="21134" y="6672"/>
                    </a:cubicBezTo>
                    <a:cubicBezTo>
                      <a:pt x="29490" y="21593"/>
                      <a:pt x="44411" y="30546"/>
                      <a:pt x="59332" y="30546"/>
                    </a:cubicBezTo>
                    <a:cubicBezTo>
                      <a:pt x="74850" y="30546"/>
                      <a:pt x="88578" y="20996"/>
                      <a:pt x="96934" y="6075"/>
                    </a:cubicBezTo>
                    <a:cubicBezTo>
                      <a:pt x="99918" y="703"/>
                      <a:pt x="107080" y="-1684"/>
                      <a:pt x="112452" y="1300"/>
                    </a:cubicBezTo>
                    <a:cubicBezTo>
                      <a:pt x="117823" y="4284"/>
                      <a:pt x="120211" y="11446"/>
                      <a:pt x="117227" y="16818"/>
                    </a:cubicBezTo>
                    <a:cubicBezTo>
                      <a:pt x="105290" y="38902"/>
                      <a:pt x="83803" y="52629"/>
                      <a:pt x="60526" y="53226"/>
                    </a:cubicBezTo>
                    <a:lnTo>
                      <a:pt x="58735" y="53226"/>
                    </a:ln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ABCCD7FE-A244-A935-BA7D-CB0AAF1EC76E}"/>
              </a:ext>
            </a:extLst>
          </p:cNvPr>
          <p:cNvGrpSpPr/>
          <p:nvPr/>
        </p:nvGrpSpPr>
        <p:grpSpPr>
          <a:xfrm>
            <a:off x="10105542" y="3764143"/>
            <a:ext cx="442449" cy="443928"/>
            <a:chOff x="1406740" y="5275641"/>
            <a:chExt cx="442449" cy="443928"/>
          </a:xfrm>
          <a:solidFill>
            <a:schemeClr val="tx1"/>
          </a:solidFill>
        </p:grpSpPr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F8186FD9-8E88-D8DC-C793-9A3AE50B8EA7}"/>
                </a:ext>
              </a:extLst>
            </p:cNvPr>
            <p:cNvSpPr/>
            <p:nvPr/>
          </p:nvSpPr>
          <p:spPr>
            <a:xfrm>
              <a:off x="1573885" y="5444265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787F0E1A-F32F-2CC3-B9E6-4549C2A194F5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ED04A0A6-32B3-50F8-5D45-767E96EC5FA2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60055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21440700-AEF8-F3D0-C86A-F7143E5EA45B}"/>
              </a:ext>
            </a:extLst>
          </p:cNvPr>
          <p:cNvSpPr/>
          <p:nvPr/>
        </p:nvSpPr>
        <p:spPr bwMode="auto">
          <a:xfrm rot="5400000" flipV="1">
            <a:off x="4970958" y="2728992"/>
            <a:ext cx="2250083" cy="1683209"/>
          </a:xfrm>
          <a:custGeom>
            <a:avLst/>
            <a:gdLst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51658 w 2385058"/>
              <a:gd name="connsiteY2" fmla="*/ 2560320 h 3779520"/>
              <a:gd name="connsiteX3" fmla="*/ 2385058 w 2385058"/>
              <a:gd name="connsiteY3" fmla="*/ 1889760 h 3779520"/>
              <a:gd name="connsiteX4" fmla="*/ 1851658 w 2385058"/>
              <a:gd name="connsiteY4" fmla="*/ 1219200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51658 w 2385058"/>
              <a:gd name="connsiteY4" fmla="*/ 1219200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61219 w 2385058"/>
              <a:gd name="connsiteY4" fmla="*/ 435559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38327 w 2385058"/>
              <a:gd name="connsiteY4" fmla="*/ 373002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38327 w 2385058"/>
              <a:gd name="connsiteY4" fmla="*/ 373002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45958 w 2385058"/>
              <a:gd name="connsiteY4" fmla="*/ 414709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45958 w 2385058"/>
              <a:gd name="connsiteY4" fmla="*/ 414709 h 3779520"/>
              <a:gd name="connsiteX5" fmla="*/ 1851658 w 2385058"/>
              <a:gd name="connsiteY5" fmla="*/ 1485900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  <a:gd name="connsiteX0" fmla="*/ 0 w 2385058"/>
              <a:gd name="connsiteY0" fmla="*/ 3779520 h 3779520"/>
              <a:gd name="connsiteX1" fmla="*/ 1851658 w 2385058"/>
              <a:gd name="connsiteY1" fmla="*/ 2293620 h 3779520"/>
              <a:gd name="connsiteX2" fmla="*/ 1837315 w 2385058"/>
              <a:gd name="connsiteY2" fmla="*/ 3264269 h 3779520"/>
              <a:gd name="connsiteX3" fmla="*/ 2385058 w 2385058"/>
              <a:gd name="connsiteY3" fmla="*/ 1889760 h 3779520"/>
              <a:gd name="connsiteX4" fmla="*/ 1845958 w 2385058"/>
              <a:gd name="connsiteY4" fmla="*/ 414709 h 3779520"/>
              <a:gd name="connsiteX5" fmla="*/ 1851657 w 2385058"/>
              <a:gd name="connsiteY5" fmla="*/ 1402484 h 3779520"/>
              <a:gd name="connsiteX6" fmla="*/ 0 w 2385058"/>
              <a:gd name="connsiteY6" fmla="*/ 0 h 3779520"/>
              <a:gd name="connsiteX7" fmla="*/ 0 w 2385058"/>
              <a:gd name="connsiteY7" fmla="*/ 1889760 h 3779520"/>
              <a:gd name="connsiteX8" fmla="*/ 0 w 2385058"/>
              <a:gd name="connsiteY8" fmla="*/ 3779520 h 3779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85058" h="3779520">
                <a:moveTo>
                  <a:pt x="0" y="3779520"/>
                </a:moveTo>
                <a:cubicBezTo>
                  <a:pt x="495300" y="2994660"/>
                  <a:pt x="929640" y="2369820"/>
                  <a:pt x="1851658" y="2293620"/>
                </a:cubicBezTo>
                <a:lnTo>
                  <a:pt x="1837315" y="3264269"/>
                </a:lnTo>
                <a:lnTo>
                  <a:pt x="2385058" y="1889760"/>
                </a:lnTo>
                <a:lnTo>
                  <a:pt x="1845958" y="414709"/>
                </a:lnTo>
                <a:cubicBezTo>
                  <a:pt x="1854217" y="785675"/>
                  <a:pt x="1854844" y="1052370"/>
                  <a:pt x="1851657" y="1402484"/>
                </a:cubicBezTo>
                <a:cubicBezTo>
                  <a:pt x="929639" y="1326284"/>
                  <a:pt x="495300" y="784860"/>
                  <a:pt x="0" y="0"/>
                </a:cubicBezTo>
                <a:lnTo>
                  <a:pt x="0" y="1889760"/>
                </a:lnTo>
                <a:lnTo>
                  <a:pt x="0" y="377952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20000"/>
                  <a:lumOff val="80000"/>
                  <a:alpha val="0"/>
                </a:schemeClr>
              </a:gs>
              <a:gs pos="0">
                <a:srgbClr val="3361F5"/>
              </a:gs>
            </a:gsLst>
            <a:lin ang="10800000" scaled="0"/>
          </a:gra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63B5E89-59ED-0CBF-E8F1-60713347F777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257CC1F-30E9-04FB-32E5-5FE382F677BE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F5C454F-C13D-B5C3-32DA-0960A2BF3AA2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2">
            <a:extLst>
              <a:ext uri="{FF2B5EF4-FFF2-40B4-BE49-F238E27FC236}">
                <a16:creationId xmlns:a16="http://schemas.microsoft.com/office/drawing/2014/main" id="{4824FFFD-11F5-F7CA-EDAE-B597EB0CF9A5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56469" y="4116438"/>
            <a:ext cx="10279062" cy="1427285"/>
          </a:xfrm>
          <a:prstGeom prst="rect">
            <a:avLst/>
          </a:prstGeom>
          <a:noFill/>
          <a:ln w="6350">
            <a:solidFill>
              <a:srgbClr val="3361F5"/>
            </a:solidFill>
            <a:prstDash val="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6" name="gaoding-3">
            <a:extLst>
              <a:ext uri="{FF2B5EF4-FFF2-40B4-BE49-F238E27FC236}">
                <a16:creationId xmlns:a16="http://schemas.microsoft.com/office/drawing/2014/main" id="{CD47412E-E31A-2ED3-2089-C4230A92A9A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985774" y="4718765"/>
            <a:ext cx="10206894" cy="787623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7" name="gaoding-4">
            <a:extLst>
              <a:ext uri="{FF2B5EF4-FFF2-40B4-BE49-F238E27FC236}">
                <a16:creationId xmlns:a16="http://schemas.microsoft.com/office/drawing/2014/main" id="{3CFE3875-F54B-29BD-5D4C-A90FD373A7A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56469" y="1984148"/>
            <a:ext cx="10279062" cy="810748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  <a:round/>
            <a:headEnd/>
            <a:tailEnd type="stealth" w="lg" len="lg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grpSp>
        <p:nvGrpSpPr>
          <p:cNvPr id="8" name="gaoding-5">
            <a:extLst>
              <a:ext uri="{FF2B5EF4-FFF2-40B4-BE49-F238E27FC236}">
                <a16:creationId xmlns:a16="http://schemas.microsoft.com/office/drawing/2014/main" id="{3C20AB08-9280-C24C-E2BA-479EA97A04D6}"/>
              </a:ext>
            </a:extLst>
          </p:cNvPr>
          <p:cNvGrpSpPr/>
          <p:nvPr/>
        </p:nvGrpSpPr>
        <p:grpSpPr>
          <a:xfrm>
            <a:off x="1047688" y="2241249"/>
            <a:ext cx="10083068" cy="313624"/>
            <a:chOff x="1289050" y="1429909"/>
            <a:chExt cx="10265509" cy="313624"/>
          </a:xfrm>
          <a:noFill/>
        </p:grpSpPr>
        <p:sp>
          <p:nvSpPr>
            <p:cNvPr id="9" name="gaoding-5-1">
              <a:extLst>
                <a:ext uri="{FF2B5EF4-FFF2-40B4-BE49-F238E27FC236}">
                  <a16:creationId xmlns:a16="http://schemas.microsoft.com/office/drawing/2014/main" id="{B131EF59-B166-1567-119B-F24A2FB47D5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1289050" y="1429909"/>
              <a:ext cx="1819796" cy="313624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prstDash val="dash"/>
              <a:round/>
              <a:headEnd/>
              <a:tailEnd type="stealth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10" name="gaoding-5-2">
              <a:extLst>
                <a:ext uri="{FF2B5EF4-FFF2-40B4-BE49-F238E27FC236}">
                  <a16:creationId xmlns:a16="http://schemas.microsoft.com/office/drawing/2014/main" id="{3E831D54-D3EF-1F1D-7244-21BF6A199692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5511906" y="1429909"/>
              <a:ext cx="1819796" cy="313624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prstDash val="dash"/>
              <a:round/>
              <a:headEnd/>
              <a:tailEnd type="stealth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11" name="gaoding-5-3">
              <a:extLst>
                <a:ext uri="{FF2B5EF4-FFF2-40B4-BE49-F238E27FC236}">
                  <a16:creationId xmlns:a16="http://schemas.microsoft.com/office/drawing/2014/main" id="{FB46039D-4091-CF6D-90B3-6B294A3520A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>
              <a:off x="7623334" y="1429909"/>
              <a:ext cx="1819796" cy="313624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prstDash val="dash"/>
              <a:round/>
              <a:headEnd/>
              <a:tailEnd type="stealth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12" name="gaoding-5-4">
              <a:extLst>
                <a:ext uri="{FF2B5EF4-FFF2-40B4-BE49-F238E27FC236}">
                  <a16:creationId xmlns:a16="http://schemas.microsoft.com/office/drawing/2014/main" id="{A7890AA6-0DA8-08BE-4C5C-BE3C776B6042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auto">
            <a:xfrm>
              <a:off x="9734763" y="1429909"/>
              <a:ext cx="1819796" cy="313624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prstDash val="dash"/>
              <a:round/>
              <a:headEnd/>
              <a:tailEnd type="stealth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13" name="gaoding-5-5">
              <a:extLst>
                <a:ext uri="{FF2B5EF4-FFF2-40B4-BE49-F238E27FC236}">
                  <a16:creationId xmlns:a16="http://schemas.microsoft.com/office/drawing/2014/main" id="{DCB275C4-A434-68CD-67FE-1256B1011A91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auto">
            <a:xfrm>
              <a:off x="3400478" y="1429909"/>
              <a:ext cx="1819796" cy="313624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prstDash val="dash"/>
              <a:round/>
              <a:headEnd/>
              <a:tailEnd type="stealth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gaoding-8">
            <a:extLst>
              <a:ext uri="{FF2B5EF4-FFF2-40B4-BE49-F238E27FC236}">
                <a16:creationId xmlns:a16="http://schemas.microsoft.com/office/drawing/2014/main" id="{D197C307-281F-AC9D-8FBC-65DA8EAB6F4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56469" y="3012848"/>
            <a:ext cx="10279062" cy="810748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  <a:round/>
            <a:headEnd/>
            <a:tailEnd type="stealth" w="lg" len="lg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grpSp>
        <p:nvGrpSpPr>
          <p:cNvPr id="31" name="gaoding-10">
            <a:extLst>
              <a:ext uri="{FF2B5EF4-FFF2-40B4-BE49-F238E27FC236}">
                <a16:creationId xmlns:a16="http://schemas.microsoft.com/office/drawing/2014/main" id="{0AF31413-1B09-AE46-08DB-C0B1E97FA51B}"/>
              </a:ext>
            </a:extLst>
          </p:cNvPr>
          <p:cNvGrpSpPr/>
          <p:nvPr/>
        </p:nvGrpSpPr>
        <p:grpSpPr>
          <a:xfrm>
            <a:off x="1047686" y="3272188"/>
            <a:ext cx="10083070" cy="313624"/>
            <a:chOff x="1525476" y="2365958"/>
            <a:chExt cx="8980598" cy="313624"/>
          </a:xfrm>
          <a:noFill/>
        </p:grpSpPr>
        <p:sp>
          <p:nvSpPr>
            <p:cNvPr id="32" name="gaoding-10-1">
              <a:extLst>
                <a:ext uri="{FF2B5EF4-FFF2-40B4-BE49-F238E27FC236}">
                  <a16:creationId xmlns:a16="http://schemas.microsoft.com/office/drawing/2014/main" id="{6E79F1AF-5782-7A05-6105-45DE04D6B38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1525476" y="2365958"/>
              <a:ext cx="2913173" cy="313624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prstDash val="dash"/>
              <a:round/>
              <a:headEnd/>
              <a:tailEnd type="stealth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33" name="gaoding-10-2">
              <a:extLst>
                <a:ext uri="{FF2B5EF4-FFF2-40B4-BE49-F238E27FC236}">
                  <a16:creationId xmlns:a16="http://schemas.microsoft.com/office/drawing/2014/main" id="{EDDD181C-8345-F008-24F6-11D80003C40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4559188" y="2365958"/>
              <a:ext cx="2913173" cy="313624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prstDash val="dash"/>
              <a:round/>
              <a:headEnd/>
              <a:tailEnd type="stealth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34" name="gaoding-10-3">
              <a:extLst>
                <a:ext uri="{FF2B5EF4-FFF2-40B4-BE49-F238E27FC236}">
                  <a16:creationId xmlns:a16="http://schemas.microsoft.com/office/drawing/2014/main" id="{5FF6AFFD-28B1-25D5-98E2-BAB0ED09ED2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7592901" y="2365958"/>
              <a:ext cx="2913173" cy="313624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prstDash val="dash"/>
              <a:round/>
              <a:headEnd/>
              <a:tailEnd type="stealth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1" name="稿定-9">
            <a:extLst>
              <a:ext uri="{FF2B5EF4-FFF2-40B4-BE49-F238E27FC236}">
                <a16:creationId xmlns:a16="http://schemas.microsoft.com/office/drawing/2014/main" id="{383231F2-F91F-114C-9E67-C2582982F30C}"/>
              </a:ext>
            </a:extLst>
          </p:cNvPr>
          <p:cNvSpPr/>
          <p:nvPr/>
        </p:nvSpPr>
        <p:spPr>
          <a:xfrm flipH="1">
            <a:off x="1455486" y="226290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2" name="稿定-9">
            <a:extLst>
              <a:ext uri="{FF2B5EF4-FFF2-40B4-BE49-F238E27FC236}">
                <a16:creationId xmlns:a16="http://schemas.microsoft.com/office/drawing/2014/main" id="{AE779776-6D58-E968-A4BA-50873BEAD8E4}"/>
              </a:ext>
            </a:extLst>
          </p:cNvPr>
          <p:cNvSpPr/>
          <p:nvPr/>
        </p:nvSpPr>
        <p:spPr>
          <a:xfrm flipH="1">
            <a:off x="3624823" y="226290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3" name="稿定-9">
            <a:extLst>
              <a:ext uri="{FF2B5EF4-FFF2-40B4-BE49-F238E27FC236}">
                <a16:creationId xmlns:a16="http://schemas.microsoft.com/office/drawing/2014/main" id="{FE055498-354F-A7AA-893A-9C1980746E7F}"/>
              </a:ext>
            </a:extLst>
          </p:cNvPr>
          <p:cNvSpPr/>
          <p:nvPr/>
        </p:nvSpPr>
        <p:spPr>
          <a:xfrm flipH="1">
            <a:off x="5610071" y="226290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4" name="稿定-9">
            <a:extLst>
              <a:ext uri="{FF2B5EF4-FFF2-40B4-BE49-F238E27FC236}">
                <a16:creationId xmlns:a16="http://schemas.microsoft.com/office/drawing/2014/main" id="{9ACFDD63-37D2-9260-DDCF-A7E491CF0ADE}"/>
              </a:ext>
            </a:extLst>
          </p:cNvPr>
          <p:cNvSpPr/>
          <p:nvPr/>
        </p:nvSpPr>
        <p:spPr>
          <a:xfrm flipH="1">
            <a:off x="7668968" y="226290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5" name="稿定-9">
            <a:extLst>
              <a:ext uri="{FF2B5EF4-FFF2-40B4-BE49-F238E27FC236}">
                <a16:creationId xmlns:a16="http://schemas.microsoft.com/office/drawing/2014/main" id="{E178FC18-616E-5148-0208-B8A299A65AF3}"/>
              </a:ext>
            </a:extLst>
          </p:cNvPr>
          <p:cNvSpPr/>
          <p:nvPr/>
        </p:nvSpPr>
        <p:spPr>
          <a:xfrm flipH="1">
            <a:off x="9788345" y="226290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6" name="稿定-31">
            <a:extLst>
              <a:ext uri="{FF2B5EF4-FFF2-40B4-BE49-F238E27FC236}">
                <a16:creationId xmlns:a16="http://schemas.microsoft.com/office/drawing/2014/main" id="{44F962DD-2613-2F13-436A-E982AC25374D}"/>
              </a:ext>
            </a:extLst>
          </p:cNvPr>
          <p:cNvSpPr/>
          <p:nvPr/>
        </p:nvSpPr>
        <p:spPr>
          <a:xfrm flipH="1">
            <a:off x="1174159" y="3342481"/>
            <a:ext cx="2936592" cy="17008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7" name="稿定-31">
            <a:extLst>
              <a:ext uri="{FF2B5EF4-FFF2-40B4-BE49-F238E27FC236}">
                <a16:creationId xmlns:a16="http://schemas.microsoft.com/office/drawing/2014/main" id="{4D3BFF45-BD60-0D00-C464-083080B8A48F}"/>
              </a:ext>
            </a:extLst>
          </p:cNvPr>
          <p:cNvSpPr/>
          <p:nvPr/>
        </p:nvSpPr>
        <p:spPr>
          <a:xfrm flipH="1">
            <a:off x="4627703" y="3342481"/>
            <a:ext cx="2936592" cy="17008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8" name="稿定-31">
            <a:extLst>
              <a:ext uri="{FF2B5EF4-FFF2-40B4-BE49-F238E27FC236}">
                <a16:creationId xmlns:a16="http://schemas.microsoft.com/office/drawing/2014/main" id="{679DE370-E0AD-BC51-98B7-E720A3339677}"/>
              </a:ext>
            </a:extLst>
          </p:cNvPr>
          <p:cNvSpPr/>
          <p:nvPr/>
        </p:nvSpPr>
        <p:spPr>
          <a:xfrm flipH="1">
            <a:off x="8027060" y="3342481"/>
            <a:ext cx="2936592" cy="17008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0" name="稿定-31">
            <a:extLst>
              <a:ext uri="{FF2B5EF4-FFF2-40B4-BE49-F238E27FC236}">
                <a16:creationId xmlns:a16="http://schemas.microsoft.com/office/drawing/2014/main" id="{5115C8DD-8BE8-AD0F-A930-503AC7482E04}"/>
              </a:ext>
            </a:extLst>
          </p:cNvPr>
          <p:cNvSpPr/>
          <p:nvPr/>
        </p:nvSpPr>
        <p:spPr>
          <a:xfrm flipH="1">
            <a:off x="1602884" y="4886314"/>
            <a:ext cx="8972672" cy="4116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owerPoint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、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Word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、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Excel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、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MP4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、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NG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等众多素材，分类规范查找方便，满足您工作中的任何需求。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39640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D9EA8B30-806A-2CFB-814B-B4FBB42AD7D2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D3CB381-EC38-CDBF-0076-40335A0863AA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152D271-0DF5-6998-D6DC-F9B6A7C13018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矩形 1">
            <a:extLst>
              <a:ext uri="{FF2B5EF4-FFF2-40B4-BE49-F238E27FC236}">
                <a16:creationId xmlns:a16="http://schemas.microsoft.com/office/drawing/2014/main" id="{B4CED916-2E9D-0146-801D-636EC6E0AE2F}"/>
              </a:ext>
            </a:extLst>
          </p:cNvPr>
          <p:cNvSpPr/>
          <p:nvPr/>
        </p:nvSpPr>
        <p:spPr>
          <a:xfrm>
            <a:off x="-133350" y="1489220"/>
            <a:ext cx="11277600" cy="1400400"/>
          </a:xfrm>
          <a:prstGeom prst="rect">
            <a:avLst/>
          </a:prstGeom>
          <a:solidFill>
            <a:schemeClr val="bg1"/>
          </a:solidFill>
          <a:ln>
            <a:solidFill>
              <a:srgbClr val="336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" name="矩形 2">
            <a:extLst>
              <a:ext uri="{FF2B5EF4-FFF2-40B4-BE49-F238E27FC236}">
                <a16:creationId xmlns:a16="http://schemas.microsoft.com/office/drawing/2014/main" id="{26D15CD2-CED6-0A68-B693-515F586460E2}"/>
              </a:ext>
            </a:extLst>
          </p:cNvPr>
          <p:cNvSpPr/>
          <p:nvPr/>
        </p:nvSpPr>
        <p:spPr>
          <a:xfrm>
            <a:off x="1047750" y="3198773"/>
            <a:ext cx="11144250" cy="1400400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" name="矩形 3">
            <a:extLst>
              <a:ext uri="{FF2B5EF4-FFF2-40B4-BE49-F238E27FC236}">
                <a16:creationId xmlns:a16="http://schemas.microsoft.com/office/drawing/2014/main" id="{4DDA58E4-6BDD-D30C-2B35-8A9A42A58B19}"/>
              </a:ext>
            </a:extLst>
          </p:cNvPr>
          <p:cNvSpPr/>
          <p:nvPr/>
        </p:nvSpPr>
        <p:spPr>
          <a:xfrm>
            <a:off x="-133350" y="4903899"/>
            <a:ext cx="11277600" cy="1400400"/>
          </a:xfrm>
          <a:prstGeom prst="rect">
            <a:avLst/>
          </a:prstGeom>
          <a:solidFill>
            <a:schemeClr val="bg1"/>
          </a:solidFill>
          <a:ln>
            <a:solidFill>
              <a:srgbClr val="336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7FA46B9-8C6D-4FBB-A53A-AED4CFB40EAE}"/>
              </a:ext>
            </a:extLst>
          </p:cNvPr>
          <p:cNvSpPr txBox="1"/>
          <p:nvPr/>
        </p:nvSpPr>
        <p:spPr>
          <a:xfrm>
            <a:off x="2220684" y="2202880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/>
              <a:t>所有模板素材均可任意编辑支持一键替换图片更改文字内容</a:t>
            </a: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C337983E-09F4-0A0B-069B-9B06DA2E6EDA}"/>
              </a:ext>
            </a:extLst>
          </p:cNvPr>
          <p:cNvCxnSpPr>
            <a:cxnSpLocks/>
          </p:cNvCxnSpPr>
          <p:nvPr/>
        </p:nvCxnSpPr>
        <p:spPr>
          <a:xfrm>
            <a:off x="4242198" y="1794211"/>
            <a:ext cx="0" cy="790419"/>
          </a:xfrm>
          <a:prstGeom prst="line">
            <a:avLst/>
          </a:prstGeom>
          <a:ln>
            <a:solidFill>
              <a:srgbClr val="336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71039F91-10B9-4D09-06FC-7B70BE2453F0}"/>
              </a:ext>
            </a:extLst>
          </p:cNvPr>
          <p:cNvCxnSpPr>
            <a:cxnSpLocks/>
          </p:cNvCxnSpPr>
          <p:nvPr/>
        </p:nvCxnSpPr>
        <p:spPr>
          <a:xfrm>
            <a:off x="6464182" y="1794211"/>
            <a:ext cx="0" cy="790419"/>
          </a:xfrm>
          <a:prstGeom prst="line">
            <a:avLst/>
          </a:prstGeom>
          <a:ln>
            <a:solidFill>
              <a:srgbClr val="336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17F74F93-3CD8-8FB3-6F6A-1D611B06A981}"/>
              </a:ext>
            </a:extLst>
          </p:cNvPr>
          <p:cNvCxnSpPr>
            <a:cxnSpLocks/>
          </p:cNvCxnSpPr>
          <p:nvPr/>
        </p:nvCxnSpPr>
        <p:spPr>
          <a:xfrm>
            <a:off x="8686166" y="1794211"/>
            <a:ext cx="0" cy="790419"/>
          </a:xfrm>
          <a:prstGeom prst="line">
            <a:avLst/>
          </a:prstGeom>
          <a:ln>
            <a:solidFill>
              <a:srgbClr val="336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832950B3-2C8B-4604-BBAA-9FD7933DFF0D}"/>
              </a:ext>
            </a:extLst>
          </p:cNvPr>
          <p:cNvCxnSpPr>
            <a:cxnSpLocks/>
          </p:cNvCxnSpPr>
          <p:nvPr/>
        </p:nvCxnSpPr>
        <p:spPr>
          <a:xfrm>
            <a:off x="5336317" y="3501307"/>
            <a:ext cx="0" cy="79041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1E0BF80B-5FAE-8867-BC29-73D50EA79B41}"/>
              </a:ext>
            </a:extLst>
          </p:cNvPr>
          <p:cNvCxnSpPr>
            <a:cxnSpLocks/>
          </p:cNvCxnSpPr>
          <p:nvPr/>
        </p:nvCxnSpPr>
        <p:spPr>
          <a:xfrm>
            <a:off x="7558301" y="3501307"/>
            <a:ext cx="0" cy="79041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39FCE59E-1164-46BF-3F9E-F569CFAD2570}"/>
              </a:ext>
            </a:extLst>
          </p:cNvPr>
          <p:cNvCxnSpPr>
            <a:cxnSpLocks/>
          </p:cNvCxnSpPr>
          <p:nvPr/>
        </p:nvCxnSpPr>
        <p:spPr>
          <a:xfrm>
            <a:off x="9780285" y="3501307"/>
            <a:ext cx="0" cy="79041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443A79B7-4394-2E82-2D94-2EEBC12932E2}"/>
              </a:ext>
            </a:extLst>
          </p:cNvPr>
          <p:cNvCxnSpPr>
            <a:cxnSpLocks/>
          </p:cNvCxnSpPr>
          <p:nvPr/>
        </p:nvCxnSpPr>
        <p:spPr>
          <a:xfrm>
            <a:off x="4242198" y="5208890"/>
            <a:ext cx="0" cy="790419"/>
          </a:xfrm>
          <a:prstGeom prst="line">
            <a:avLst/>
          </a:prstGeom>
          <a:ln>
            <a:solidFill>
              <a:srgbClr val="336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D0AAEFF1-21AB-A9A5-3691-599826344FA2}"/>
              </a:ext>
            </a:extLst>
          </p:cNvPr>
          <p:cNvCxnSpPr>
            <a:cxnSpLocks/>
          </p:cNvCxnSpPr>
          <p:nvPr/>
        </p:nvCxnSpPr>
        <p:spPr>
          <a:xfrm>
            <a:off x="6464182" y="5208890"/>
            <a:ext cx="0" cy="790419"/>
          </a:xfrm>
          <a:prstGeom prst="line">
            <a:avLst/>
          </a:prstGeom>
          <a:ln>
            <a:solidFill>
              <a:srgbClr val="336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89700B90-D3A1-6201-C025-EE2B0C2DC400}"/>
              </a:ext>
            </a:extLst>
          </p:cNvPr>
          <p:cNvCxnSpPr>
            <a:cxnSpLocks/>
          </p:cNvCxnSpPr>
          <p:nvPr/>
        </p:nvCxnSpPr>
        <p:spPr>
          <a:xfrm>
            <a:off x="8686166" y="5208890"/>
            <a:ext cx="0" cy="790419"/>
          </a:xfrm>
          <a:prstGeom prst="line">
            <a:avLst/>
          </a:prstGeom>
          <a:ln>
            <a:solidFill>
              <a:srgbClr val="336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稿定-9">
            <a:extLst>
              <a:ext uri="{FF2B5EF4-FFF2-40B4-BE49-F238E27FC236}">
                <a16:creationId xmlns:a16="http://schemas.microsoft.com/office/drawing/2014/main" id="{955EC5A3-1D6A-65A0-E789-E9044CF5DD04}"/>
              </a:ext>
            </a:extLst>
          </p:cNvPr>
          <p:cNvSpPr/>
          <p:nvPr/>
        </p:nvSpPr>
        <p:spPr>
          <a:xfrm flipH="1">
            <a:off x="21930" y="1956890"/>
            <a:ext cx="14879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8" name="稿定-9">
            <a:extLst>
              <a:ext uri="{FF2B5EF4-FFF2-40B4-BE49-F238E27FC236}">
                <a16:creationId xmlns:a16="http://schemas.microsoft.com/office/drawing/2014/main" id="{BD865512-F4E9-B4FB-AD3D-30FB2612D75E}"/>
              </a:ext>
            </a:extLst>
          </p:cNvPr>
          <p:cNvSpPr/>
          <p:nvPr/>
        </p:nvSpPr>
        <p:spPr>
          <a:xfrm flipH="1">
            <a:off x="1225451" y="3725379"/>
            <a:ext cx="14879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9" name="稿定-9">
            <a:extLst>
              <a:ext uri="{FF2B5EF4-FFF2-40B4-BE49-F238E27FC236}">
                <a16:creationId xmlns:a16="http://schemas.microsoft.com/office/drawing/2014/main" id="{34C3BF84-27A2-937F-3CFE-FBF9B5DBDDC9}"/>
              </a:ext>
            </a:extLst>
          </p:cNvPr>
          <p:cNvSpPr/>
          <p:nvPr/>
        </p:nvSpPr>
        <p:spPr>
          <a:xfrm flipH="1">
            <a:off x="21930" y="5495861"/>
            <a:ext cx="14879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03E6AD5B-CA4E-DFC3-B757-412AFA7ED01A}"/>
              </a:ext>
            </a:extLst>
          </p:cNvPr>
          <p:cNvGrpSpPr/>
          <p:nvPr/>
        </p:nvGrpSpPr>
        <p:grpSpPr>
          <a:xfrm>
            <a:off x="5183929" y="1653607"/>
            <a:ext cx="424112" cy="443754"/>
            <a:chOff x="3193522" y="5222129"/>
            <a:chExt cx="424112" cy="443754"/>
          </a:xfrm>
          <a:solidFill>
            <a:schemeClr val="tx1"/>
          </a:solidFill>
        </p:grpSpPr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86A026B9-43F1-1AFE-0962-476107065D64}"/>
                </a:ext>
              </a:extLst>
            </p:cNvPr>
            <p:cNvSpPr/>
            <p:nvPr/>
          </p:nvSpPr>
          <p:spPr>
            <a:xfrm>
              <a:off x="3342330" y="5358232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rgbClr val="3361F5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D45E918C-D1BD-6818-87D4-56964FA44950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ADEA847F-0557-2CC6-091C-881EBB869E19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C129DC9D-1095-B26E-4C1C-6640F54AA9C8}"/>
              </a:ext>
            </a:extLst>
          </p:cNvPr>
          <p:cNvGrpSpPr/>
          <p:nvPr/>
        </p:nvGrpSpPr>
        <p:grpSpPr>
          <a:xfrm>
            <a:off x="2901448" y="1707119"/>
            <a:ext cx="442449" cy="443928"/>
            <a:chOff x="1406740" y="5275641"/>
            <a:chExt cx="442449" cy="443928"/>
          </a:xfrm>
          <a:solidFill>
            <a:schemeClr val="tx1"/>
          </a:solidFill>
        </p:grpSpPr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00BC5601-A441-3BEE-7334-AB6786EF53E1}"/>
                </a:ext>
              </a:extLst>
            </p:cNvPr>
            <p:cNvSpPr/>
            <p:nvPr/>
          </p:nvSpPr>
          <p:spPr>
            <a:xfrm>
              <a:off x="1573885" y="5444265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rgbClr val="3361F5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A4FA9844-5F17-EE13-1558-0D1F063B9638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DBE73C44-61C1-1A82-F25D-16D89258B9C0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CAF0C6FB-2374-1C41-6319-746674B60C7C}"/>
              </a:ext>
            </a:extLst>
          </p:cNvPr>
          <p:cNvGrpSpPr/>
          <p:nvPr/>
        </p:nvGrpSpPr>
        <p:grpSpPr>
          <a:xfrm>
            <a:off x="7438512" y="1684669"/>
            <a:ext cx="442820" cy="452298"/>
            <a:chOff x="10357510" y="5253191"/>
            <a:chExt cx="362769" cy="370534"/>
          </a:xfrm>
          <a:solidFill>
            <a:schemeClr val="tx1"/>
          </a:solidFill>
        </p:grpSpPr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C30B460-3EEB-2009-A91D-D7FFE95498E4}"/>
                </a:ext>
              </a:extLst>
            </p:cNvPr>
            <p:cNvSpPr/>
            <p:nvPr/>
          </p:nvSpPr>
          <p:spPr>
            <a:xfrm>
              <a:off x="10498402" y="5401849"/>
              <a:ext cx="221877" cy="221876"/>
            </a:xfrm>
            <a:custGeom>
              <a:avLst/>
              <a:gdLst>
                <a:gd name="connsiteX0" fmla="*/ 0 w 221877"/>
                <a:gd name="connsiteY0" fmla="*/ 110938 h 221876"/>
                <a:gd name="connsiteX1" fmla="*/ 110939 w 221877"/>
                <a:gd name="connsiteY1" fmla="*/ 221877 h 221876"/>
                <a:gd name="connsiteX2" fmla="*/ 221877 w 221877"/>
                <a:gd name="connsiteY2" fmla="*/ 110938 h 221876"/>
                <a:gd name="connsiteX3" fmla="*/ 110939 w 221877"/>
                <a:gd name="connsiteY3" fmla="*/ 0 h 221876"/>
                <a:gd name="connsiteX4" fmla="*/ 0 w 221877"/>
                <a:gd name="connsiteY4" fmla="*/ 110938 h 22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77" h="221876">
                  <a:moveTo>
                    <a:pt x="0" y="110938"/>
                  </a:moveTo>
                  <a:cubicBezTo>
                    <a:pt x="0" y="172208"/>
                    <a:pt x="49669" y="221877"/>
                    <a:pt x="110939" y="221877"/>
                  </a:cubicBezTo>
                  <a:cubicBezTo>
                    <a:pt x="172208" y="221877"/>
                    <a:pt x="221877" y="172208"/>
                    <a:pt x="221877" y="110938"/>
                  </a:cubicBezTo>
                  <a:cubicBezTo>
                    <a:pt x="221877" y="49669"/>
                    <a:pt x="172208" y="0"/>
                    <a:pt x="110939" y="0"/>
                  </a:cubicBezTo>
                  <a:cubicBezTo>
                    <a:pt x="49669" y="0"/>
                    <a:pt x="0" y="49669"/>
                    <a:pt x="0" y="110938"/>
                  </a:cubicBezTo>
                  <a:close/>
                </a:path>
              </a:pathLst>
            </a:custGeom>
            <a:solidFill>
              <a:srgbClr val="3361F5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8B9089CD-50F7-076D-E851-642218A653F6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0E2EC12F-F18C-1FA3-22C3-EA59D587738A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1DC28193-2EDB-D065-C6F7-87AF0000A090}"/>
              </a:ext>
            </a:extLst>
          </p:cNvPr>
          <p:cNvGrpSpPr/>
          <p:nvPr/>
        </p:nvGrpSpPr>
        <p:grpSpPr>
          <a:xfrm>
            <a:off x="9731230" y="1668962"/>
            <a:ext cx="409440" cy="401531"/>
            <a:chOff x="6770455" y="5253911"/>
            <a:chExt cx="409440" cy="401531"/>
          </a:xfrm>
          <a:solidFill>
            <a:schemeClr val="tx1"/>
          </a:solidFill>
        </p:grpSpPr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A5800676-E67A-B3E2-5912-367BBA8EB2D4}"/>
                </a:ext>
              </a:extLst>
            </p:cNvPr>
            <p:cNvSpPr/>
            <p:nvPr/>
          </p:nvSpPr>
          <p:spPr>
            <a:xfrm>
              <a:off x="6941155" y="5416702"/>
              <a:ext cx="238740" cy="238740"/>
            </a:xfrm>
            <a:custGeom>
              <a:avLst/>
              <a:gdLst>
                <a:gd name="connsiteX0" fmla="*/ 0 w 238740"/>
                <a:gd name="connsiteY0" fmla="*/ 119370 h 238740"/>
                <a:gd name="connsiteX1" fmla="*/ 119370 w 238740"/>
                <a:gd name="connsiteY1" fmla="*/ 238740 h 238740"/>
                <a:gd name="connsiteX2" fmla="*/ 238740 w 238740"/>
                <a:gd name="connsiteY2" fmla="*/ 119370 h 238740"/>
                <a:gd name="connsiteX3" fmla="*/ 119370 w 238740"/>
                <a:gd name="connsiteY3" fmla="*/ 0 h 238740"/>
                <a:gd name="connsiteX4" fmla="*/ 0 w 238740"/>
                <a:gd name="connsiteY4" fmla="*/ 119370 h 23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40" h="238740">
                  <a:moveTo>
                    <a:pt x="0" y="119370"/>
                  </a:moveTo>
                  <a:cubicBezTo>
                    <a:pt x="0" y="185296"/>
                    <a:pt x="53444" y="238740"/>
                    <a:pt x="119370" y="238740"/>
                  </a:cubicBezTo>
                  <a:cubicBezTo>
                    <a:pt x="185296" y="238740"/>
                    <a:pt x="238740" y="185296"/>
                    <a:pt x="238740" y="119370"/>
                  </a:cubicBezTo>
                  <a:cubicBezTo>
                    <a:pt x="238740" y="53444"/>
                    <a:pt x="185296" y="0"/>
                    <a:pt x="119370" y="0"/>
                  </a:cubicBezTo>
                  <a:cubicBezTo>
                    <a:pt x="53444" y="0"/>
                    <a:pt x="0" y="53444"/>
                    <a:pt x="0" y="119370"/>
                  </a:cubicBezTo>
                  <a:close/>
                </a:path>
              </a:pathLst>
            </a:custGeom>
            <a:solidFill>
              <a:srgbClr val="3361F5"/>
            </a:solidFill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BF64F19A-6647-B304-39DA-2AF47AD5DB99}"/>
                </a:ext>
              </a:extLst>
            </p:cNvPr>
            <p:cNvGrpSpPr/>
            <p:nvPr/>
          </p:nvGrpSpPr>
          <p:grpSpPr>
            <a:xfrm>
              <a:off x="6770455" y="5253911"/>
              <a:ext cx="387355" cy="378253"/>
              <a:chOff x="6770455" y="5253911"/>
              <a:chExt cx="387355" cy="378253"/>
            </a:xfrm>
            <a:grpFill/>
          </p:grpSpPr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30262285-FCA8-1AC3-F355-08DA5E35524B}"/>
                  </a:ext>
                </a:extLst>
              </p:cNvPr>
              <p:cNvSpPr/>
              <p:nvPr/>
            </p:nvSpPr>
            <p:spPr>
              <a:xfrm>
                <a:off x="6770455" y="5253911"/>
                <a:ext cx="387355" cy="378253"/>
              </a:xfrm>
              <a:custGeom>
                <a:avLst/>
                <a:gdLst>
                  <a:gd name="connsiteX0" fmla="*/ 291860 w 387355"/>
                  <a:gd name="connsiteY0" fmla="*/ 378254 h 378253"/>
                  <a:gd name="connsiteX1" fmla="*/ 95496 w 387355"/>
                  <a:gd name="connsiteY1" fmla="*/ 378254 h 378253"/>
                  <a:gd name="connsiteX2" fmla="*/ 0 w 387355"/>
                  <a:gd name="connsiteY2" fmla="*/ 282758 h 378253"/>
                  <a:gd name="connsiteX3" fmla="*/ 0 w 387355"/>
                  <a:gd name="connsiteY3" fmla="*/ 168162 h 378253"/>
                  <a:gd name="connsiteX4" fmla="*/ 38198 w 387355"/>
                  <a:gd name="connsiteY4" fmla="*/ 91169 h 378253"/>
                  <a:gd name="connsiteX5" fmla="*/ 133098 w 387355"/>
                  <a:gd name="connsiteY5" fmla="*/ 20144 h 378253"/>
                  <a:gd name="connsiteX6" fmla="*/ 254855 w 387355"/>
                  <a:gd name="connsiteY6" fmla="*/ 20144 h 378253"/>
                  <a:gd name="connsiteX7" fmla="*/ 349157 w 387355"/>
                  <a:gd name="connsiteY7" fmla="*/ 91169 h 378253"/>
                  <a:gd name="connsiteX8" fmla="*/ 387356 w 387355"/>
                  <a:gd name="connsiteY8" fmla="*/ 168162 h 378253"/>
                  <a:gd name="connsiteX9" fmla="*/ 387356 w 387355"/>
                  <a:gd name="connsiteY9" fmla="*/ 282161 h 378253"/>
                  <a:gd name="connsiteX10" fmla="*/ 291860 w 387355"/>
                  <a:gd name="connsiteY10" fmla="*/ 378254 h 378253"/>
                  <a:gd name="connsiteX11" fmla="*/ 147422 w 387355"/>
                  <a:gd name="connsiteY11" fmla="*/ 39840 h 378253"/>
                  <a:gd name="connsiteX12" fmla="*/ 52523 w 387355"/>
                  <a:gd name="connsiteY12" fmla="*/ 110865 h 378253"/>
                  <a:gd name="connsiteX13" fmla="*/ 23874 w 387355"/>
                  <a:gd name="connsiteY13" fmla="*/ 168759 h 378253"/>
                  <a:gd name="connsiteX14" fmla="*/ 23874 w 387355"/>
                  <a:gd name="connsiteY14" fmla="*/ 282758 h 378253"/>
                  <a:gd name="connsiteX15" fmla="*/ 95496 w 387355"/>
                  <a:gd name="connsiteY15" fmla="*/ 354380 h 378253"/>
                  <a:gd name="connsiteX16" fmla="*/ 291860 w 387355"/>
                  <a:gd name="connsiteY16" fmla="*/ 354380 h 378253"/>
                  <a:gd name="connsiteX17" fmla="*/ 363482 w 387355"/>
                  <a:gd name="connsiteY17" fmla="*/ 282758 h 378253"/>
                  <a:gd name="connsiteX18" fmla="*/ 363482 w 387355"/>
                  <a:gd name="connsiteY18" fmla="*/ 168162 h 378253"/>
                  <a:gd name="connsiteX19" fmla="*/ 334833 w 387355"/>
                  <a:gd name="connsiteY19" fmla="*/ 110268 h 378253"/>
                  <a:gd name="connsiteX20" fmla="*/ 240531 w 387355"/>
                  <a:gd name="connsiteY20" fmla="*/ 39243 h 378253"/>
                  <a:gd name="connsiteX21" fmla="*/ 147422 w 387355"/>
                  <a:gd name="connsiteY21" fmla="*/ 39840 h 37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7355" h="378253">
                    <a:moveTo>
                      <a:pt x="291860" y="378254"/>
                    </a:moveTo>
                    <a:lnTo>
                      <a:pt x="95496" y="378254"/>
                    </a:lnTo>
                    <a:cubicBezTo>
                      <a:pt x="42973" y="378254"/>
                      <a:pt x="0" y="335281"/>
                      <a:pt x="0" y="282758"/>
                    </a:cubicBezTo>
                    <a:lnTo>
                      <a:pt x="0" y="168162"/>
                    </a:lnTo>
                    <a:cubicBezTo>
                      <a:pt x="0" y="137723"/>
                      <a:pt x="14324" y="109074"/>
                      <a:pt x="38198" y="91169"/>
                    </a:cubicBezTo>
                    <a:lnTo>
                      <a:pt x="133098" y="20144"/>
                    </a:lnTo>
                    <a:cubicBezTo>
                      <a:pt x="169505" y="-6715"/>
                      <a:pt x="218447" y="-6715"/>
                      <a:pt x="254855" y="20144"/>
                    </a:cubicBezTo>
                    <a:lnTo>
                      <a:pt x="349157" y="91169"/>
                    </a:lnTo>
                    <a:cubicBezTo>
                      <a:pt x="373628" y="109671"/>
                      <a:pt x="387356" y="137723"/>
                      <a:pt x="387356" y="168162"/>
                    </a:cubicBezTo>
                    <a:lnTo>
                      <a:pt x="387356" y="282161"/>
                    </a:lnTo>
                    <a:cubicBezTo>
                      <a:pt x="387356" y="335281"/>
                      <a:pt x="344382" y="378254"/>
                      <a:pt x="291860" y="378254"/>
                    </a:cubicBezTo>
                    <a:close/>
                    <a:moveTo>
                      <a:pt x="147422" y="39840"/>
                    </a:moveTo>
                    <a:lnTo>
                      <a:pt x="52523" y="110865"/>
                    </a:lnTo>
                    <a:cubicBezTo>
                      <a:pt x="34617" y="123996"/>
                      <a:pt x="23874" y="145482"/>
                      <a:pt x="23874" y="168759"/>
                    </a:cubicBezTo>
                    <a:lnTo>
                      <a:pt x="23874" y="282758"/>
                    </a:lnTo>
                    <a:cubicBezTo>
                      <a:pt x="23874" y="322150"/>
                      <a:pt x="56104" y="354380"/>
                      <a:pt x="95496" y="354380"/>
                    </a:cubicBezTo>
                    <a:lnTo>
                      <a:pt x="291860" y="354380"/>
                    </a:lnTo>
                    <a:cubicBezTo>
                      <a:pt x="331252" y="354380"/>
                      <a:pt x="363482" y="322150"/>
                      <a:pt x="363482" y="282758"/>
                    </a:cubicBezTo>
                    <a:lnTo>
                      <a:pt x="363482" y="168162"/>
                    </a:lnTo>
                    <a:cubicBezTo>
                      <a:pt x="363482" y="145482"/>
                      <a:pt x="352738" y="124592"/>
                      <a:pt x="334833" y="110268"/>
                    </a:cubicBezTo>
                    <a:lnTo>
                      <a:pt x="240531" y="39243"/>
                    </a:lnTo>
                    <a:cubicBezTo>
                      <a:pt x="212479" y="18950"/>
                      <a:pt x="174877" y="18950"/>
                      <a:pt x="147422" y="39840"/>
                    </a:cubicBez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2FF759CC-A472-0C21-4749-D707C7B0BD8F}"/>
                  </a:ext>
                </a:extLst>
              </p:cNvPr>
              <p:cNvSpPr/>
              <p:nvPr/>
            </p:nvSpPr>
            <p:spPr>
              <a:xfrm>
                <a:off x="6905100" y="5482249"/>
                <a:ext cx="118526" cy="53225"/>
              </a:xfrm>
              <a:custGeom>
                <a:avLst/>
                <a:gdLst>
                  <a:gd name="connsiteX0" fmla="*/ 58735 w 118526"/>
                  <a:gd name="connsiteY0" fmla="*/ 53226 h 53225"/>
                  <a:gd name="connsiteX1" fmla="*/ 1438 w 118526"/>
                  <a:gd name="connsiteY1" fmla="*/ 18012 h 53225"/>
                  <a:gd name="connsiteX2" fmla="*/ 5616 w 118526"/>
                  <a:gd name="connsiteY2" fmla="*/ 2494 h 53225"/>
                  <a:gd name="connsiteX3" fmla="*/ 21134 w 118526"/>
                  <a:gd name="connsiteY3" fmla="*/ 6672 h 53225"/>
                  <a:gd name="connsiteX4" fmla="*/ 59332 w 118526"/>
                  <a:gd name="connsiteY4" fmla="*/ 30546 h 53225"/>
                  <a:gd name="connsiteX5" fmla="*/ 96934 w 118526"/>
                  <a:gd name="connsiteY5" fmla="*/ 6075 h 53225"/>
                  <a:gd name="connsiteX6" fmla="*/ 112452 w 118526"/>
                  <a:gd name="connsiteY6" fmla="*/ 1300 h 53225"/>
                  <a:gd name="connsiteX7" fmla="*/ 117227 w 118526"/>
                  <a:gd name="connsiteY7" fmla="*/ 16818 h 53225"/>
                  <a:gd name="connsiteX8" fmla="*/ 60526 w 118526"/>
                  <a:gd name="connsiteY8" fmla="*/ 53226 h 53225"/>
                  <a:gd name="connsiteX9" fmla="*/ 58735 w 118526"/>
                  <a:gd name="connsiteY9" fmla="*/ 53226 h 5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526" h="53225">
                    <a:moveTo>
                      <a:pt x="58735" y="53226"/>
                    </a:moveTo>
                    <a:cubicBezTo>
                      <a:pt x="35458" y="53226"/>
                      <a:pt x="13971" y="40095"/>
                      <a:pt x="1438" y="18012"/>
                    </a:cubicBezTo>
                    <a:cubicBezTo>
                      <a:pt x="-1547" y="12640"/>
                      <a:pt x="244" y="5478"/>
                      <a:pt x="5616" y="2494"/>
                    </a:cubicBezTo>
                    <a:cubicBezTo>
                      <a:pt x="10987" y="-491"/>
                      <a:pt x="18149" y="1300"/>
                      <a:pt x="21134" y="6672"/>
                    </a:cubicBezTo>
                    <a:cubicBezTo>
                      <a:pt x="29490" y="21593"/>
                      <a:pt x="44411" y="30546"/>
                      <a:pt x="59332" y="30546"/>
                    </a:cubicBezTo>
                    <a:cubicBezTo>
                      <a:pt x="74850" y="30546"/>
                      <a:pt x="88578" y="20996"/>
                      <a:pt x="96934" y="6075"/>
                    </a:cubicBezTo>
                    <a:cubicBezTo>
                      <a:pt x="99918" y="703"/>
                      <a:pt x="107080" y="-1684"/>
                      <a:pt x="112452" y="1300"/>
                    </a:cubicBezTo>
                    <a:cubicBezTo>
                      <a:pt x="117823" y="4284"/>
                      <a:pt x="120211" y="11446"/>
                      <a:pt x="117227" y="16818"/>
                    </a:cubicBezTo>
                    <a:cubicBezTo>
                      <a:pt x="105290" y="38902"/>
                      <a:pt x="83803" y="52629"/>
                      <a:pt x="60526" y="53226"/>
                    </a:cubicBezTo>
                    <a:lnTo>
                      <a:pt x="58735" y="53226"/>
                    </a:ln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71" name="文本框 70">
            <a:extLst>
              <a:ext uri="{FF2B5EF4-FFF2-40B4-BE49-F238E27FC236}">
                <a16:creationId xmlns:a16="http://schemas.microsoft.com/office/drawing/2014/main" id="{C9B6A680-DACB-7A8B-C08A-FCFCAD2F1CE9}"/>
              </a:ext>
            </a:extLst>
          </p:cNvPr>
          <p:cNvSpPr txBox="1"/>
          <p:nvPr/>
        </p:nvSpPr>
        <p:spPr>
          <a:xfrm>
            <a:off x="4471009" y="2202880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/>
              <a:t>所有模板素材均可任意编辑支持一键替换图片更改文字内容</a:t>
            </a: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6703CD1E-505F-AEA6-5910-6C7510725AD6}"/>
              </a:ext>
            </a:extLst>
          </p:cNvPr>
          <p:cNvSpPr txBox="1"/>
          <p:nvPr/>
        </p:nvSpPr>
        <p:spPr>
          <a:xfrm>
            <a:off x="6774052" y="2202880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/>
              <a:t>所有模板素材均可任意编辑支持一键替换图片更改文字内容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C30F34AC-5667-5D6C-19E5-DE624596318E}"/>
              </a:ext>
            </a:extLst>
          </p:cNvPr>
          <p:cNvSpPr txBox="1"/>
          <p:nvPr/>
        </p:nvSpPr>
        <p:spPr>
          <a:xfrm>
            <a:off x="9024377" y="2202880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/>
              <a:t>所有模板素材均可任意编辑支持一键替换图片更改文字内容</a:t>
            </a: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59F5E01B-2912-EBB3-5A65-6B71979E0C37}"/>
              </a:ext>
            </a:extLst>
          </p:cNvPr>
          <p:cNvSpPr txBox="1"/>
          <p:nvPr/>
        </p:nvSpPr>
        <p:spPr>
          <a:xfrm>
            <a:off x="2220684" y="5681181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/>
              <a:t>所有模板素材均可任意编辑支持一键替换图片更改文字内容</a:t>
            </a:r>
          </a:p>
        </p:txBody>
      </p:sp>
      <p:grpSp>
        <p:nvGrpSpPr>
          <p:cNvPr id="75" name="组合 74">
            <a:extLst>
              <a:ext uri="{FF2B5EF4-FFF2-40B4-BE49-F238E27FC236}">
                <a16:creationId xmlns:a16="http://schemas.microsoft.com/office/drawing/2014/main" id="{7E0E0A54-CD23-6785-3CCB-726BE90C7148}"/>
              </a:ext>
            </a:extLst>
          </p:cNvPr>
          <p:cNvGrpSpPr/>
          <p:nvPr/>
        </p:nvGrpSpPr>
        <p:grpSpPr>
          <a:xfrm>
            <a:off x="5183929" y="5131908"/>
            <a:ext cx="424112" cy="443754"/>
            <a:chOff x="3193522" y="5222129"/>
            <a:chExt cx="424112" cy="443754"/>
          </a:xfrm>
          <a:solidFill>
            <a:schemeClr val="tx1"/>
          </a:solidFill>
        </p:grpSpPr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915F3319-F2CD-FEF1-67A1-028EE406B6DE}"/>
                </a:ext>
              </a:extLst>
            </p:cNvPr>
            <p:cNvSpPr/>
            <p:nvPr/>
          </p:nvSpPr>
          <p:spPr>
            <a:xfrm>
              <a:off x="3342330" y="5358232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rgbClr val="3361F5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107E4FB0-5526-43CD-0D4D-33E44C056518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6C5DFB9F-BDB5-26E8-C0B8-745EF742EB71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3666EC84-0B37-CFCA-2156-C1409296D2C8}"/>
              </a:ext>
            </a:extLst>
          </p:cNvPr>
          <p:cNvGrpSpPr/>
          <p:nvPr/>
        </p:nvGrpSpPr>
        <p:grpSpPr>
          <a:xfrm>
            <a:off x="2901448" y="5185420"/>
            <a:ext cx="442449" cy="443928"/>
            <a:chOff x="1406740" y="5275641"/>
            <a:chExt cx="442449" cy="443928"/>
          </a:xfrm>
          <a:solidFill>
            <a:schemeClr val="tx1"/>
          </a:solidFill>
        </p:grpSpPr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EC5BFFF6-84A6-4F20-071C-7335DD884145}"/>
                </a:ext>
              </a:extLst>
            </p:cNvPr>
            <p:cNvSpPr/>
            <p:nvPr/>
          </p:nvSpPr>
          <p:spPr>
            <a:xfrm>
              <a:off x="1573885" y="5444265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rgbClr val="3361F5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DCBD55A0-430C-D74C-E74D-2956BF111E88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2DBC07AE-F68E-651F-7319-5F298D3187BE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3" name="组合 82">
            <a:extLst>
              <a:ext uri="{FF2B5EF4-FFF2-40B4-BE49-F238E27FC236}">
                <a16:creationId xmlns:a16="http://schemas.microsoft.com/office/drawing/2014/main" id="{4C295A45-832E-3620-1E96-39F6660F1270}"/>
              </a:ext>
            </a:extLst>
          </p:cNvPr>
          <p:cNvGrpSpPr/>
          <p:nvPr/>
        </p:nvGrpSpPr>
        <p:grpSpPr>
          <a:xfrm>
            <a:off x="7438512" y="5162970"/>
            <a:ext cx="442820" cy="452298"/>
            <a:chOff x="10357510" y="5253191"/>
            <a:chExt cx="362769" cy="370534"/>
          </a:xfrm>
          <a:solidFill>
            <a:schemeClr val="tx1"/>
          </a:solidFill>
        </p:grpSpPr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E1D63D5D-32A0-4079-B927-8123F3F62766}"/>
                </a:ext>
              </a:extLst>
            </p:cNvPr>
            <p:cNvSpPr/>
            <p:nvPr/>
          </p:nvSpPr>
          <p:spPr>
            <a:xfrm>
              <a:off x="10498402" y="5401849"/>
              <a:ext cx="221877" cy="221876"/>
            </a:xfrm>
            <a:custGeom>
              <a:avLst/>
              <a:gdLst>
                <a:gd name="connsiteX0" fmla="*/ 0 w 221877"/>
                <a:gd name="connsiteY0" fmla="*/ 110938 h 221876"/>
                <a:gd name="connsiteX1" fmla="*/ 110939 w 221877"/>
                <a:gd name="connsiteY1" fmla="*/ 221877 h 221876"/>
                <a:gd name="connsiteX2" fmla="*/ 221877 w 221877"/>
                <a:gd name="connsiteY2" fmla="*/ 110938 h 221876"/>
                <a:gd name="connsiteX3" fmla="*/ 110939 w 221877"/>
                <a:gd name="connsiteY3" fmla="*/ 0 h 221876"/>
                <a:gd name="connsiteX4" fmla="*/ 0 w 221877"/>
                <a:gd name="connsiteY4" fmla="*/ 110938 h 22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77" h="221876">
                  <a:moveTo>
                    <a:pt x="0" y="110938"/>
                  </a:moveTo>
                  <a:cubicBezTo>
                    <a:pt x="0" y="172208"/>
                    <a:pt x="49669" y="221877"/>
                    <a:pt x="110939" y="221877"/>
                  </a:cubicBezTo>
                  <a:cubicBezTo>
                    <a:pt x="172208" y="221877"/>
                    <a:pt x="221877" y="172208"/>
                    <a:pt x="221877" y="110938"/>
                  </a:cubicBezTo>
                  <a:cubicBezTo>
                    <a:pt x="221877" y="49669"/>
                    <a:pt x="172208" y="0"/>
                    <a:pt x="110939" y="0"/>
                  </a:cubicBezTo>
                  <a:cubicBezTo>
                    <a:pt x="49669" y="0"/>
                    <a:pt x="0" y="49669"/>
                    <a:pt x="0" y="110938"/>
                  </a:cubicBezTo>
                  <a:close/>
                </a:path>
              </a:pathLst>
            </a:custGeom>
            <a:solidFill>
              <a:srgbClr val="3361F5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35394BB-62B8-6EE5-AE80-E97822B53500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A448A0BA-34CC-61D3-95B1-67089B8836F3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9D88BBB6-A08F-4376-9A9B-AE2CCD5CD273}"/>
              </a:ext>
            </a:extLst>
          </p:cNvPr>
          <p:cNvGrpSpPr/>
          <p:nvPr/>
        </p:nvGrpSpPr>
        <p:grpSpPr>
          <a:xfrm>
            <a:off x="9731230" y="5147263"/>
            <a:ext cx="409440" cy="401531"/>
            <a:chOff x="6770455" y="5253911"/>
            <a:chExt cx="409440" cy="401531"/>
          </a:xfrm>
          <a:solidFill>
            <a:schemeClr val="tx1"/>
          </a:solidFill>
        </p:grpSpPr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1B6F32AC-FE66-57C5-11A2-A16CF85747CB}"/>
                </a:ext>
              </a:extLst>
            </p:cNvPr>
            <p:cNvSpPr/>
            <p:nvPr/>
          </p:nvSpPr>
          <p:spPr>
            <a:xfrm>
              <a:off x="6941155" y="5416702"/>
              <a:ext cx="238740" cy="238740"/>
            </a:xfrm>
            <a:custGeom>
              <a:avLst/>
              <a:gdLst>
                <a:gd name="connsiteX0" fmla="*/ 0 w 238740"/>
                <a:gd name="connsiteY0" fmla="*/ 119370 h 238740"/>
                <a:gd name="connsiteX1" fmla="*/ 119370 w 238740"/>
                <a:gd name="connsiteY1" fmla="*/ 238740 h 238740"/>
                <a:gd name="connsiteX2" fmla="*/ 238740 w 238740"/>
                <a:gd name="connsiteY2" fmla="*/ 119370 h 238740"/>
                <a:gd name="connsiteX3" fmla="*/ 119370 w 238740"/>
                <a:gd name="connsiteY3" fmla="*/ 0 h 238740"/>
                <a:gd name="connsiteX4" fmla="*/ 0 w 238740"/>
                <a:gd name="connsiteY4" fmla="*/ 119370 h 23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40" h="238740">
                  <a:moveTo>
                    <a:pt x="0" y="119370"/>
                  </a:moveTo>
                  <a:cubicBezTo>
                    <a:pt x="0" y="185296"/>
                    <a:pt x="53444" y="238740"/>
                    <a:pt x="119370" y="238740"/>
                  </a:cubicBezTo>
                  <a:cubicBezTo>
                    <a:pt x="185296" y="238740"/>
                    <a:pt x="238740" y="185296"/>
                    <a:pt x="238740" y="119370"/>
                  </a:cubicBezTo>
                  <a:cubicBezTo>
                    <a:pt x="238740" y="53444"/>
                    <a:pt x="185296" y="0"/>
                    <a:pt x="119370" y="0"/>
                  </a:cubicBezTo>
                  <a:cubicBezTo>
                    <a:pt x="53444" y="0"/>
                    <a:pt x="0" y="53444"/>
                    <a:pt x="0" y="119370"/>
                  </a:cubicBezTo>
                  <a:close/>
                </a:path>
              </a:pathLst>
            </a:custGeom>
            <a:solidFill>
              <a:srgbClr val="3361F5"/>
            </a:solidFill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E3AE5532-F3AF-61F8-D6B4-13C72F6FD2AD}"/>
                </a:ext>
              </a:extLst>
            </p:cNvPr>
            <p:cNvGrpSpPr/>
            <p:nvPr/>
          </p:nvGrpSpPr>
          <p:grpSpPr>
            <a:xfrm>
              <a:off x="6770455" y="5253911"/>
              <a:ext cx="387355" cy="378253"/>
              <a:chOff x="6770455" y="5253911"/>
              <a:chExt cx="387355" cy="378253"/>
            </a:xfrm>
            <a:grpFill/>
          </p:grpSpPr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E6C0FB3A-4B8E-D139-F6C1-AAB4164FC6F9}"/>
                  </a:ext>
                </a:extLst>
              </p:cNvPr>
              <p:cNvSpPr/>
              <p:nvPr/>
            </p:nvSpPr>
            <p:spPr>
              <a:xfrm>
                <a:off x="6770455" y="5253911"/>
                <a:ext cx="387355" cy="378253"/>
              </a:xfrm>
              <a:custGeom>
                <a:avLst/>
                <a:gdLst>
                  <a:gd name="connsiteX0" fmla="*/ 291860 w 387355"/>
                  <a:gd name="connsiteY0" fmla="*/ 378254 h 378253"/>
                  <a:gd name="connsiteX1" fmla="*/ 95496 w 387355"/>
                  <a:gd name="connsiteY1" fmla="*/ 378254 h 378253"/>
                  <a:gd name="connsiteX2" fmla="*/ 0 w 387355"/>
                  <a:gd name="connsiteY2" fmla="*/ 282758 h 378253"/>
                  <a:gd name="connsiteX3" fmla="*/ 0 w 387355"/>
                  <a:gd name="connsiteY3" fmla="*/ 168162 h 378253"/>
                  <a:gd name="connsiteX4" fmla="*/ 38198 w 387355"/>
                  <a:gd name="connsiteY4" fmla="*/ 91169 h 378253"/>
                  <a:gd name="connsiteX5" fmla="*/ 133098 w 387355"/>
                  <a:gd name="connsiteY5" fmla="*/ 20144 h 378253"/>
                  <a:gd name="connsiteX6" fmla="*/ 254855 w 387355"/>
                  <a:gd name="connsiteY6" fmla="*/ 20144 h 378253"/>
                  <a:gd name="connsiteX7" fmla="*/ 349157 w 387355"/>
                  <a:gd name="connsiteY7" fmla="*/ 91169 h 378253"/>
                  <a:gd name="connsiteX8" fmla="*/ 387356 w 387355"/>
                  <a:gd name="connsiteY8" fmla="*/ 168162 h 378253"/>
                  <a:gd name="connsiteX9" fmla="*/ 387356 w 387355"/>
                  <a:gd name="connsiteY9" fmla="*/ 282161 h 378253"/>
                  <a:gd name="connsiteX10" fmla="*/ 291860 w 387355"/>
                  <a:gd name="connsiteY10" fmla="*/ 378254 h 378253"/>
                  <a:gd name="connsiteX11" fmla="*/ 147422 w 387355"/>
                  <a:gd name="connsiteY11" fmla="*/ 39840 h 378253"/>
                  <a:gd name="connsiteX12" fmla="*/ 52523 w 387355"/>
                  <a:gd name="connsiteY12" fmla="*/ 110865 h 378253"/>
                  <a:gd name="connsiteX13" fmla="*/ 23874 w 387355"/>
                  <a:gd name="connsiteY13" fmla="*/ 168759 h 378253"/>
                  <a:gd name="connsiteX14" fmla="*/ 23874 w 387355"/>
                  <a:gd name="connsiteY14" fmla="*/ 282758 h 378253"/>
                  <a:gd name="connsiteX15" fmla="*/ 95496 w 387355"/>
                  <a:gd name="connsiteY15" fmla="*/ 354380 h 378253"/>
                  <a:gd name="connsiteX16" fmla="*/ 291860 w 387355"/>
                  <a:gd name="connsiteY16" fmla="*/ 354380 h 378253"/>
                  <a:gd name="connsiteX17" fmla="*/ 363482 w 387355"/>
                  <a:gd name="connsiteY17" fmla="*/ 282758 h 378253"/>
                  <a:gd name="connsiteX18" fmla="*/ 363482 w 387355"/>
                  <a:gd name="connsiteY18" fmla="*/ 168162 h 378253"/>
                  <a:gd name="connsiteX19" fmla="*/ 334833 w 387355"/>
                  <a:gd name="connsiteY19" fmla="*/ 110268 h 378253"/>
                  <a:gd name="connsiteX20" fmla="*/ 240531 w 387355"/>
                  <a:gd name="connsiteY20" fmla="*/ 39243 h 378253"/>
                  <a:gd name="connsiteX21" fmla="*/ 147422 w 387355"/>
                  <a:gd name="connsiteY21" fmla="*/ 39840 h 37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7355" h="378253">
                    <a:moveTo>
                      <a:pt x="291860" y="378254"/>
                    </a:moveTo>
                    <a:lnTo>
                      <a:pt x="95496" y="378254"/>
                    </a:lnTo>
                    <a:cubicBezTo>
                      <a:pt x="42973" y="378254"/>
                      <a:pt x="0" y="335281"/>
                      <a:pt x="0" y="282758"/>
                    </a:cubicBezTo>
                    <a:lnTo>
                      <a:pt x="0" y="168162"/>
                    </a:lnTo>
                    <a:cubicBezTo>
                      <a:pt x="0" y="137723"/>
                      <a:pt x="14324" y="109074"/>
                      <a:pt x="38198" y="91169"/>
                    </a:cubicBezTo>
                    <a:lnTo>
                      <a:pt x="133098" y="20144"/>
                    </a:lnTo>
                    <a:cubicBezTo>
                      <a:pt x="169505" y="-6715"/>
                      <a:pt x="218447" y="-6715"/>
                      <a:pt x="254855" y="20144"/>
                    </a:cubicBezTo>
                    <a:lnTo>
                      <a:pt x="349157" y="91169"/>
                    </a:lnTo>
                    <a:cubicBezTo>
                      <a:pt x="373628" y="109671"/>
                      <a:pt x="387356" y="137723"/>
                      <a:pt x="387356" y="168162"/>
                    </a:cubicBezTo>
                    <a:lnTo>
                      <a:pt x="387356" y="282161"/>
                    </a:lnTo>
                    <a:cubicBezTo>
                      <a:pt x="387356" y="335281"/>
                      <a:pt x="344382" y="378254"/>
                      <a:pt x="291860" y="378254"/>
                    </a:cubicBezTo>
                    <a:close/>
                    <a:moveTo>
                      <a:pt x="147422" y="39840"/>
                    </a:moveTo>
                    <a:lnTo>
                      <a:pt x="52523" y="110865"/>
                    </a:lnTo>
                    <a:cubicBezTo>
                      <a:pt x="34617" y="123996"/>
                      <a:pt x="23874" y="145482"/>
                      <a:pt x="23874" y="168759"/>
                    </a:cubicBezTo>
                    <a:lnTo>
                      <a:pt x="23874" y="282758"/>
                    </a:lnTo>
                    <a:cubicBezTo>
                      <a:pt x="23874" y="322150"/>
                      <a:pt x="56104" y="354380"/>
                      <a:pt x="95496" y="354380"/>
                    </a:cubicBezTo>
                    <a:lnTo>
                      <a:pt x="291860" y="354380"/>
                    </a:lnTo>
                    <a:cubicBezTo>
                      <a:pt x="331252" y="354380"/>
                      <a:pt x="363482" y="322150"/>
                      <a:pt x="363482" y="282758"/>
                    </a:cubicBezTo>
                    <a:lnTo>
                      <a:pt x="363482" y="168162"/>
                    </a:lnTo>
                    <a:cubicBezTo>
                      <a:pt x="363482" y="145482"/>
                      <a:pt x="352738" y="124592"/>
                      <a:pt x="334833" y="110268"/>
                    </a:cubicBezTo>
                    <a:lnTo>
                      <a:pt x="240531" y="39243"/>
                    </a:lnTo>
                    <a:cubicBezTo>
                      <a:pt x="212479" y="18950"/>
                      <a:pt x="174877" y="18950"/>
                      <a:pt x="147422" y="39840"/>
                    </a:cubicBez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3CA0ADE5-B8F8-07A8-34B7-15A22D98470B}"/>
                  </a:ext>
                </a:extLst>
              </p:cNvPr>
              <p:cNvSpPr/>
              <p:nvPr/>
            </p:nvSpPr>
            <p:spPr>
              <a:xfrm>
                <a:off x="6905100" y="5482249"/>
                <a:ext cx="118526" cy="53225"/>
              </a:xfrm>
              <a:custGeom>
                <a:avLst/>
                <a:gdLst>
                  <a:gd name="connsiteX0" fmla="*/ 58735 w 118526"/>
                  <a:gd name="connsiteY0" fmla="*/ 53226 h 53225"/>
                  <a:gd name="connsiteX1" fmla="*/ 1438 w 118526"/>
                  <a:gd name="connsiteY1" fmla="*/ 18012 h 53225"/>
                  <a:gd name="connsiteX2" fmla="*/ 5616 w 118526"/>
                  <a:gd name="connsiteY2" fmla="*/ 2494 h 53225"/>
                  <a:gd name="connsiteX3" fmla="*/ 21134 w 118526"/>
                  <a:gd name="connsiteY3" fmla="*/ 6672 h 53225"/>
                  <a:gd name="connsiteX4" fmla="*/ 59332 w 118526"/>
                  <a:gd name="connsiteY4" fmla="*/ 30546 h 53225"/>
                  <a:gd name="connsiteX5" fmla="*/ 96934 w 118526"/>
                  <a:gd name="connsiteY5" fmla="*/ 6075 h 53225"/>
                  <a:gd name="connsiteX6" fmla="*/ 112452 w 118526"/>
                  <a:gd name="connsiteY6" fmla="*/ 1300 h 53225"/>
                  <a:gd name="connsiteX7" fmla="*/ 117227 w 118526"/>
                  <a:gd name="connsiteY7" fmla="*/ 16818 h 53225"/>
                  <a:gd name="connsiteX8" fmla="*/ 60526 w 118526"/>
                  <a:gd name="connsiteY8" fmla="*/ 53226 h 53225"/>
                  <a:gd name="connsiteX9" fmla="*/ 58735 w 118526"/>
                  <a:gd name="connsiteY9" fmla="*/ 53226 h 5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526" h="53225">
                    <a:moveTo>
                      <a:pt x="58735" y="53226"/>
                    </a:moveTo>
                    <a:cubicBezTo>
                      <a:pt x="35458" y="53226"/>
                      <a:pt x="13971" y="40095"/>
                      <a:pt x="1438" y="18012"/>
                    </a:cubicBezTo>
                    <a:cubicBezTo>
                      <a:pt x="-1547" y="12640"/>
                      <a:pt x="244" y="5478"/>
                      <a:pt x="5616" y="2494"/>
                    </a:cubicBezTo>
                    <a:cubicBezTo>
                      <a:pt x="10987" y="-491"/>
                      <a:pt x="18149" y="1300"/>
                      <a:pt x="21134" y="6672"/>
                    </a:cubicBezTo>
                    <a:cubicBezTo>
                      <a:pt x="29490" y="21593"/>
                      <a:pt x="44411" y="30546"/>
                      <a:pt x="59332" y="30546"/>
                    </a:cubicBezTo>
                    <a:cubicBezTo>
                      <a:pt x="74850" y="30546"/>
                      <a:pt x="88578" y="20996"/>
                      <a:pt x="96934" y="6075"/>
                    </a:cubicBezTo>
                    <a:cubicBezTo>
                      <a:pt x="99918" y="703"/>
                      <a:pt x="107080" y="-1684"/>
                      <a:pt x="112452" y="1300"/>
                    </a:cubicBezTo>
                    <a:cubicBezTo>
                      <a:pt x="117823" y="4284"/>
                      <a:pt x="120211" y="11446"/>
                      <a:pt x="117227" y="16818"/>
                    </a:cubicBezTo>
                    <a:cubicBezTo>
                      <a:pt x="105290" y="38902"/>
                      <a:pt x="83803" y="52629"/>
                      <a:pt x="60526" y="53226"/>
                    </a:cubicBezTo>
                    <a:lnTo>
                      <a:pt x="58735" y="53226"/>
                    </a:ln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92" name="文本框 91">
            <a:extLst>
              <a:ext uri="{FF2B5EF4-FFF2-40B4-BE49-F238E27FC236}">
                <a16:creationId xmlns:a16="http://schemas.microsoft.com/office/drawing/2014/main" id="{AB930949-D79C-8778-86BE-E5A83FABF5A5}"/>
              </a:ext>
            </a:extLst>
          </p:cNvPr>
          <p:cNvSpPr txBox="1"/>
          <p:nvPr/>
        </p:nvSpPr>
        <p:spPr>
          <a:xfrm>
            <a:off x="4471009" y="5681181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/>
              <a:t>所有模板素材均可任意编辑支持一键替换图片更改文字内容</a:t>
            </a: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DC9B1ED1-EF10-960D-AA8E-0F2D204FAB17}"/>
              </a:ext>
            </a:extLst>
          </p:cNvPr>
          <p:cNvSpPr txBox="1"/>
          <p:nvPr/>
        </p:nvSpPr>
        <p:spPr>
          <a:xfrm>
            <a:off x="6774052" y="5681181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/>
              <a:t>所有模板素材均可任意编辑支持一键替换图片更改文字内容</a:t>
            </a: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8253EE9C-0862-4362-8CB8-A77D538C923B}"/>
              </a:ext>
            </a:extLst>
          </p:cNvPr>
          <p:cNvSpPr txBox="1"/>
          <p:nvPr/>
        </p:nvSpPr>
        <p:spPr>
          <a:xfrm>
            <a:off x="9024377" y="5681181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/>
              <a:t>所有模板素材均可任意编辑支持一键替换图片更改文字内容</a:t>
            </a: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9B0D0F95-1558-2DAB-3BE3-F7BC455B9B2E}"/>
              </a:ext>
            </a:extLst>
          </p:cNvPr>
          <p:cNvSpPr txBox="1"/>
          <p:nvPr/>
        </p:nvSpPr>
        <p:spPr>
          <a:xfrm>
            <a:off x="3180708" y="3967447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>
                <a:solidFill>
                  <a:schemeClr val="bg1"/>
                </a:solidFill>
              </a:rPr>
              <a:t>所有模板素材均可任意编辑支持一键替换图片更改文字内容</a:t>
            </a:r>
          </a:p>
        </p:txBody>
      </p:sp>
      <p:grpSp>
        <p:nvGrpSpPr>
          <p:cNvPr id="96" name="组合 95">
            <a:extLst>
              <a:ext uri="{FF2B5EF4-FFF2-40B4-BE49-F238E27FC236}">
                <a16:creationId xmlns:a16="http://schemas.microsoft.com/office/drawing/2014/main" id="{446CA39E-C583-3E35-F114-C64A47E5F679}"/>
              </a:ext>
            </a:extLst>
          </p:cNvPr>
          <p:cNvGrpSpPr/>
          <p:nvPr/>
        </p:nvGrpSpPr>
        <p:grpSpPr>
          <a:xfrm>
            <a:off x="6143953" y="3418174"/>
            <a:ext cx="424112" cy="443754"/>
            <a:chOff x="3193522" y="5222129"/>
            <a:chExt cx="424112" cy="443754"/>
          </a:xfrm>
          <a:solidFill>
            <a:schemeClr val="tx1"/>
          </a:solidFill>
        </p:grpSpPr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EA2D6403-C5BF-B548-C7C5-EDCCB8E83A1D}"/>
                </a:ext>
              </a:extLst>
            </p:cNvPr>
            <p:cNvSpPr/>
            <p:nvPr/>
          </p:nvSpPr>
          <p:spPr>
            <a:xfrm>
              <a:off x="3342330" y="5358232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0CC461B6-60D8-2580-3544-9BB089AD4DF8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1E830654-E754-EB0B-5C37-57D698FA0850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0" name="组合 99">
            <a:extLst>
              <a:ext uri="{FF2B5EF4-FFF2-40B4-BE49-F238E27FC236}">
                <a16:creationId xmlns:a16="http://schemas.microsoft.com/office/drawing/2014/main" id="{221F339D-E16B-7DE6-9ECF-467DEDAD03E3}"/>
              </a:ext>
            </a:extLst>
          </p:cNvPr>
          <p:cNvGrpSpPr/>
          <p:nvPr/>
        </p:nvGrpSpPr>
        <p:grpSpPr>
          <a:xfrm>
            <a:off x="3861472" y="3471686"/>
            <a:ext cx="442449" cy="443928"/>
            <a:chOff x="1406740" y="5275641"/>
            <a:chExt cx="442449" cy="443928"/>
          </a:xfrm>
          <a:solidFill>
            <a:schemeClr val="tx1"/>
          </a:solidFill>
        </p:grpSpPr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6AEADE12-5ADE-D49C-45F4-77C82483C150}"/>
                </a:ext>
              </a:extLst>
            </p:cNvPr>
            <p:cNvSpPr/>
            <p:nvPr/>
          </p:nvSpPr>
          <p:spPr>
            <a:xfrm>
              <a:off x="1573885" y="5444265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D638658F-2EFC-2427-CDCD-41A83F7A7323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F3E6659A-96AD-23A1-A496-7477F310442F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4" name="组合 103">
            <a:extLst>
              <a:ext uri="{FF2B5EF4-FFF2-40B4-BE49-F238E27FC236}">
                <a16:creationId xmlns:a16="http://schemas.microsoft.com/office/drawing/2014/main" id="{489FF65B-C519-A314-D345-0DDAD323425C}"/>
              </a:ext>
            </a:extLst>
          </p:cNvPr>
          <p:cNvGrpSpPr/>
          <p:nvPr/>
        </p:nvGrpSpPr>
        <p:grpSpPr>
          <a:xfrm>
            <a:off x="8398536" y="3449236"/>
            <a:ext cx="442820" cy="452298"/>
            <a:chOff x="10357510" y="5253191"/>
            <a:chExt cx="362769" cy="370534"/>
          </a:xfrm>
          <a:solidFill>
            <a:schemeClr val="tx1"/>
          </a:solidFill>
        </p:grpSpPr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409177DA-8F76-B491-956E-5C7B9ACAC2BB}"/>
                </a:ext>
              </a:extLst>
            </p:cNvPr>
            <p:cNvSpPr/>
            <p:nvPr/>
          </p:nvSpPr>
          <p:spPr>
            <a:xfrm>
              <a:off x="10498402" y="5401849"/>
              <a:ext cx="221877" cy="221876"/>
            </a:xfrm>
            <a:custGeom>
              <a:avLst/>
              <a:gdLst>
                <a:gd name="connsiteX0" fmla="*/ 0 w 221877"/>
                <a:gd name="connsiteY0" fmla="*/ 110938 h 221876"/>
                <a:gd name="connsiteX1" fmla="*/ 110939 w 221877"/>
                <a:gd name="connsiteY1" fmla="*/ 221877 h 221876"/>
                <a:gd name="connsiteX2" fmla="*/ 221877 w 221877"/>
                <a:gd name="connsiteY2" fmla="*/ 110938 h 221876"/>
                <a:gd name="connsiteX3" fmla="*/ 110939 w 221877"/>
                <a:gd name="connsiteY3" fmla="*/ 0 h 221876"/>
                <a:gd name="connsiteX4" fmla="*/ 0 w 221877"/>
                <a:gd name="connsiteY4" fmla="*/ 110938 h 22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77" h="221876">
                  <a:moveTo>
                    <a:pt x="0" y="110938"/>
                  </a:moveTo>
                  <a:cubicBezTo>
                    <a:pt x="0" y="172208"/>
                    <a:pt x="49669" y="221877"/>
                    <a:pt x="110939" y="221877"/>
                  </a:cubicBezTo>
                  <a:cubicBezTo>
                    <a:pt x="172208" y="221877"/>
                    <a:pt x="221877" y="172208"/>
                    <a:pt x="221877" y="110938"/>
                  </a:cubicBezTo>
                  <a:cubicBezTo>
                    <a:pt x="221877" y="49669"/>
                    <a:pt x="172208" y="0"/>
                    <a:pt x="110939" y="0"/>
                  </a:cubicBezTo>
                  <a:cubicBezTo>
                    <a:pt x="49669" y="0"/>
                    <a:pt x="0" y="49669"/>
                    <a:pt x="0" y="11093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68E747F4-3475-285D-D889-40D1ADD750F4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2D87B817-A143-7DB9-3AED-0A3CDDE31980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组合 107">
            <a:extLst>
              <a:ext uri="{FF2B5EF4-FFF2-40B4-BE49-F238E27FC236}">
                <a16:creationId xmlns:a16="http://schemas.microsoft.com/office/drawing/2014/main" id="{D69C59D8-F8C3-1537-2417-E6C04EC8E135}"/>
              </a:ext>
            </a:extLst>
          </p:cNvPr>
          <p:cNvGrpSpPr/>
          <p:nvPr/>
        </p:nvGrpSpPr>
        <p:grpSpPr>
          <a:xfrm>
            <a:off x="10691254" y="3433529"/>
            <a:ext cx="409440" cy="401531"/>
            <a:chOff x="6770455" y="5253911"/>
            <a:chExt cx="409440" cy="401531"/>
          </a:xfrm>
          <a:solidFill>
            <a:schemeClr val="tx1"/>
          </a:solidFill>
        </p:grpSpPr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12FC1380-FB18-4B03-B478-972484E86EF5}"/>
                </a:ext>
              </a:extLst>
            </p:cNvPr>
            <p:cNvSpPr/>
            <p:nvPr/>
          </p:nvSpPr>
          <p:spPr>
            <a:xfrm>
              <a:off x="6941155" y="5416702"/>
              <a:ext cx="238740" cy="238740"/>
            </a:xfrm>
            <a:custGeom>
              <a:avLst/>
              <a:gdLst>
                <a:gd name="connsiteX0" fmla="*/ 0 w 238740"/>
                <a:gd name="connsiteY0" fmla="*/ 119370 h 238740"/>
                <a:gd name="connsiteX1" fmla="*/ 119370 w 238740"/>
                <a:gd name="connsiteY1" fmla="*/ 238740 h 238740"/>
                <a:gd name="connsiteX2" fmla="*/ 238740 w 238740"/>
                <a:gd name="connsiteY2" fmla="*/ 119370 h 238740"/>
                <a:gd name="connsiteX3" fmla="*/ 119370 w 238740"/>
                <a:gd name="connsiteY3" fmla="*/ 0 h 238740"/>
                <a:gd name="connsiteX4" fmla="*/ 0 w 238740"/>
                <a:gd name="connsiteY4" fmla="*/ 119370 h 23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40" h="238740">
                  <a:moveTo>
                    <a:pt x="0" y="119370"/>
                  </a:moveTo>
                  <a:cubicBezTo>
                    <a:pt x="0" y="185296"/>
                    <a:pt x="53444" y="238740"/>
                    <a:pt x="119370" y="238740"/>
                  </a:cubicBezTo>
                  <a:cubicBezTo>
                    <a:pt x="185296" y="238740"/>
                    <a:pt x="238740" y="185296"/>
                    <a:pt x="238740" y="119370"/>
                  </a:cubicBezTo>
                  <a:cubicBezTo>
                    <a:pt x="238740" y="53444"/>
                    <a:pt x="185296" y="0"/>
                    <a:pt x="119370" y="0"/>
                  </a:cubicBezTo>
                  <a:cubicBezTo>
                    <a:pt x="53444" y="0"/>
                    <a:pt x="0" y="53444"/>
                    <a:pt x="0" y="119370"/>
                  </a:cubicBezTo>
                  <a:close/>
                </a:path>
              </a:pathLst>
            </a:custGeom>
            <a:solidFill>
              <a:schemeClr val="bg1"/>
            </a:solidFill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grpSp>
          <p:nvGrpSpPr>
            <p:cNvPr id="110" name="组合 109">
              <a:extLst>
                <a:ext uri="{FF2B5EF4-FFF2-40B4-BE49-F238E27FC236}">
                  <a16:creationId xmlns:a16="http://schemas.microsoft.com/office/drawing/2014/main" id="{3DEEE2AF-BD10-0413-5056-283563F659AF}"/>
                </a:ext>
              </a:extLst>
            </p:cNvPr>
            <p:cNvGrpSpPr/>
            <p:nvPr/>
          </p:nvGrpSpPr>
          <p:grpSpPr>
            <a:xfrm>
              <a:off x="6770455" y="5253911"/>
              <a:ext cx="387355" cy="378253"/>
              <a:chOff x="6770455" y="5253911"/>
              <a:chExt cx="387355" cy="378253"/>
            </a:xfrm>
            <a:grpFill/>
          </p:grpSpPr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5FC905D7-1707-23BC-3BF9-647A506C50B4}"/>
                  </a:ext>
                </a:extLst>
              </p:cNvPr>
              <p:cNvSpPr/>
              <p:nvPr/>
            </p:nvSpPr>
            <p:spPr>
              <a:xfrm>
                <a:off x="6770455" y="5253911"/>
                <a:ext cx="387355" cy="378253"/>
              </a:xfrm>
              <a:custGeom>
                <a:avLst/>
                <a:gdLst>
                  <a:gd name="connsiteX0" fmla="*/ 291860 w 387355"/>
                  <a:gd name="connsiteY0" fmla="*/ 378254 h 378253"/>
                  <a:gd name="connsiteX1" fmla="*/ 95496 w 387355"/>
                  <a:gd name="connsiteY1" fmla="*/ 378254 h 378253"/>
                  <a:gd name="connsiteX2" fmla="*/ 0 w 387355"/>
                  <a:gd name="connsiteY2" fmla="*/ 282758 h 378253"/>
                  <a:gd name="connsiteX3" fmla="*/ 0 w 387355"/>
                  <a:gd name="connsiteY3" fmla="*/ 168162 h 378253"/>
                  <a:gd name="connsiteX4" fmla="*/ 38198 w 387355"/>
                  <a:gd name="connsiteY4" fmla="*/ 91169 h 378253"/>
                  <a:gd name="connsiteX5" fmla="*/ 133098 w 387355"/>
                  <a:gd name="connsiteY5" fmla="*/ 20144 h 378253"/>
                  <a:gd name="connsiteX6" fmla="*/ 254855 w 387355"/>
                  <a:gd name="connsiteY6" fmla="*/ 20144 h 378253"/>
                  <a:gd name="connsiteX7" fmla="*/ 349157 w 387355"/>
                  <a:gd name="connsiteY7" fmla="*/ 91169 h 378253"/>
                  <a:gd name="connsiteX8" fmla="*/ 387356 w 387355"/>
                  <a:gd name="connsiteY8" fmla="*/ 168162 h 378253"/>
                  <a:gd name="connsiteX9" fmla="*/ 387356 w 387355"/>
                  <a:gd name="connsiteY9" fmla="*/ 282161 h 378253"/>
                  <a:gd name="connsiteX10" fmla="*/ 291860 w 387355"/>
                  <a:gd name="connsiteY10" fmla="*/ 378254 h 378253"/>
                  <a:gd name="connsiteX11" fmla="*/ 147422 w 387355"/>
                  <a:gd name="connsiteY11" fmla="*/ 39840 h 378253"/>
                  <a:gd name="connsiteX12" fmla="*/ 52523 w 387355"/>
                  <a:gd name="connsiteY12" fmla="*/ 110865 h 378253"/>
                  <a:gd name="connsiteX13" fmla="*/ 23874 w 387355"/>
                  <a:gd name="connsiteY13" fmla="*/ 168759 h 378253"/>
                  <a:gd name="connsiteX14" fmla="*/ 23874 w 387355"/>
                  <a:gd name="connsiteY14" fmla="*/ 282758 h 378253"/>
                  <a:gd name="connsiteX15" fmla="*/ 95496 w 387355"/>
                  <a:gd name="connsiteY15" fmla="*/ 354380 h 378253"/>
                  <a:gd name="connsiteX16" fmla="*/ 291860 w 387355"/>
                  <a:gd name="connsiteY16" fmla="*/ 354380 h 378253"/>
                  <a:gd name="connsiteX17" fmla="*/ 363482 w 387355"/>
                  <a:gd name="connsiteY17" fmla="*/ 282758 h 378253"/>
                  <a:gd name="connsiteX18" fmla="*/ 363482 w 387355"/>
                  <a:gd name="connsiteY18" fmla="*/ 168162 h 378253"/>
                  <a:gd name="connsiteX19" fmla="*/ 334833 w 387355"/>
                  <a:gd name="connsiteY19" fmla="*/ 110268 h 378253"/>
                  <a:gd name="connsiteX20" fmla="*/ 240531 w 387355"/>
                  <a:gd name="connsiteY20" fmla="*/ 39243 h 378253"/>
                  <a:gd name="connsiteX21" fmla="*/ 147422 w 387355"/>
                  <a:gd name="connsiteY21" fmla="*/ 39840 h 37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7355" h="378253">
                    <a:moveTo>
                      <a:pt x="291860" y="378254"/>
                    </a:moveTo>
                    <a:lnTo>
                      <a:pt x="95496" y="378254"/>
                    </a:lnTo>
                    <a:cubicBezTo>
                      <a:pt x="42973" y="378254"/>
                      <a:pt x="0" y="335281"/>
                      <a:pt x="0" y="282758"/>
                    </a:cubicBezTo>
                    <a:lnTo>
                      <a:pt x="0" y="168162"/>
                    </a:lnTo>
                    <a:cubicBezTo>
                      <a:pt x="0" y="137723"/>
                      <a:pt x="14324" y="109074"/>
                      <a:pt x="38198" y="91169"/>
                    </a:cubicBezTo>
                    <a:lnTo>
                      <a:pt x="133098" y="20144"/>
                    </a:lnTo>
                    <a:cubicBezTo>
                      <a:pt x="169505" y="-6715"/>
                      <a:pt x="218447" y="-6715"/>
                      <a:pt x="254855" y="20144"/>
                    </a:cubicBezTo>
                    <a:lnTo>
                      <a:pt x="349157" y="91169"/>
                    </a:lnTo>
                    <a:cubicBezTo>
                      <a:pt x="373628" y="109671"/>
                      <a:pt x="387356" y="137723"/>
                      <a:pt x="387356" y="168162"/>
                    </a:cubicBezTo>
                    <a:lnTo>
                      <a:pt x="387356" y="282161"/>
                    </a:lnTo>
                    <a:cubicBezTo>
                      <a:pt x="387356" y="335281"/>
                      <a:pt x="344382" y="378254"/>
                      <a:pt x="291860" y="378254"/>
                    </a:cubicBezTo>
                    <a:close/>
                    <a:moveTo>
                      <a:pt x="147422" y="39840"/>
                    </a:moveTo>
                    <a:lnTo>
                      <a:pt x="52523" y="110865"/>
                    </a:lnTo>
                    <a:cubicBezTo>
                      <a:pt x="34617" y="123996"/>
                      <a:pt x="23874" y="145482"/>
                      <a:pt x="23874" y="168759"/>
                    </a:cubicBezTo>
                    <a:lnTo>
                      <a:pt x="23874" y="282758"/>
                    </a:lnTo>
                    <a:cubicBezTo>
                      <a:pt x="23874" y="322150"/>
                      <a:pt x="56104" y="354380"/>
                      <a:pt x="95496" y="354380"/>
                    </a:cubicBezTo>
                    <a:lnTo>
                      <a:pt x="291860" y="354380"/>
                    </a:lnTo>
                    <a:cubicBezTo>
                      <a:pt x="331252" y="354380"/>
                      <a:pt x="363482" y="322150"/>
                      <a:pt x="363482" y="282758"/>
                    </a:cubicBezTo>
                    <a:lnTo>
                      <a:pt x="363482" y="168162"/>
                    </a:lnTo>
                    <a:cubicBezTo>
                      <a:pt x="363482" y="145482"/>
                      <a:pt x="352738" y="124592"/>
                      <a:pt x="334833" y="110268"/>
                    </a:cubicBezTo>
                    <a:lnTo>
                      <a:pt x="240531" y="39243"/>
                    </a:lnTo>
                    <a:cubicBezTo>
                      <a:pt x="212479" y="18950"/>
                      <a:pt x="174877" y="18950"/>
                      <a:pt x="147422" y="39840"/>
                    </a:cubicBez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E6A6C782-EB28-566B-D3CF-7CBF532DB0D1}"/>
                  </a:ext>
                </a:extLst>
              </p:cNvPr>
              <p:cNvSpPr/>
              <p:nvPr/>
            </p:nvSpPr>
            <p:spPr>
              <a:xfrm>
                <a:off x="6905100" y="5482249"/>
                <a:ext cx="118526" cy="53225"/>
              </a:xfrm>
              <a:custGeom>
                <a:avLst/>
                <a:gdLst>
                  <a:gd name="connsiteX0" fmla="*/ 58735 w 118526"/>
                  <a:gd name="connsiteY0" fmla="*/ 53226 h 53225"/>
                  <a:gd name="connsiteX1" fmla="*/ 1438 w 118526"/>
                  <a:gd name="connsiteY1" fmla="*/ 18012 h 53225"/>
                  <a:gd name="connsiteX2" fmla="*/ 5616 w 118526"/>
                  <a:gd name="connsiteY2" fmla="*/ 2494 h 53225"/>
                  <a:gd name="connsiteX3" fmla="*/ 21134 w 118526"/>
                  <a:gd name="connsiteY3" fmla="*/ 6672 h 53225"/>
                  <a:gd name="connsiteX4" fmla="*/ 59332 w 118526"/>
                  <a:gd name="connsiteY4" fmla="*/ 30546 h 53225"/>
                  <a:gd name="connsiteX5" fmla="*/ 96934 w 118526"/>
                  <a:gd name="connsiteY5" fmla="*/ 6075 h 53225"/>
                  <a:gd name="connsiteX6" fmla="*/ 112452 w 118526"/>
                  <a:gd name="connsiteY6" fmla="*/ 1300 h 53225"/>
                  <a:gd name="connsiteX7" fmla="*/ 117227 w 118526"/>
                  <a:gd name="connsiteY7" fmla="*/ 16818 h 53225"/>
                  <a:gd name="connsiteX8" fmla="*/ 60526 w 118526"/>
                  <a:gd name="connsiteY8" fmla="*/ 53226 h 53225"/>
                  <a:gd name="connsiteX9" fmla="*/ 58735 w 118526"/>
                  <a:gd name="connsiteY9" fmla="*/ 53226 h 5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526" h="53225">
                    <a:moveTo>
                      <a:pt x="58735" y="53226"/>
                    </a:moveTo>
                    <a:cubicBezTo>
                      <a:pt x="35458" y="53226"/>
                      <a:pt x="13971" y="40095"/>
                      <a:pt x="1438" y="18012"/>
                    </a:cubicBezTo>
                    <a:cubicBezTo>
                      <a:pt x="-1547" y="12640"/>
                      <a:pt x="244" y="5478"/>
                      <a:pt x="5616" y="2494"/>
                    </a:cubicBezTo>
                    <a:cubicBezTo>
                      <a:pt x="10987" y="-491"/>
                      <a:pt x="18149" y="1300"/>
                      <a:pt x="21134" y="6672"/>
                    </a:cubicBezTo>
                    <a:cubicBezTo>
                      <a:pt x="29490" y="21593"/>
                      <a:pt x="44411" y="30546"/>
                      <a:pt x="59332" y="30546"/>
                    </a:cubicBezTo>
                    <a:cubicBezTo>
                      <a:pt x="74850" y="30546"/>
                      <a:pt x="88578" y="20996"/>
                      <a:pt x="96934" y="6075"/>
                    </a:cubicBezTo>
                    <a:cubicBezTo>
                      <a:pt x="99918" y="703"/>
                      <a:pt x="107080" y="-1684"/>
                      <a:pt x="112452" y="1300"/>
                    </a:cubicBezTo>
                    <a:cubicBezTo>
                      <a:pt x="117823" y="4284"/>
                      <a:pt x="120211" y="11446"/>
                      <a:pt x="117227" y="16818"/>
                    </a:cubicBezTo>
                    <a:cubicBezTo>
                      <a:pt x="105290" y="38902"/>
                      <a:pt x="83803" y="52629"/>
                      <a:pt x="60526" y="53226"/>
                    </a:cubicBezTo>
                    <a:lnTo>
                      <a:pt x="58735" y="53226"/>
                    </a:ln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13" name="文本框 112">
            <a:extLst>
              <a:ext uri="{FF2B5EF4-FFF2-40B4-BE49-F238E27FC236}">
                <a16:creationId xmlns:a16="http://schemas.microsoft.com/office/drawing/2014/main" id="{824523C9-3C32-6341-942A-0BA6D85B4479}"/>
              </a:ext>
            </a:extLst>
          </p:cNvPr>
          <p:cNvSpPr txBox="1"/>
          <p:nvPr/>
        </p:nvSpPr>
        <p:spPr>
          <a:xfrm>
            <a:off x="5431033" y="3967447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>
                <a:solidFill>
                  <a:schemeClr val="bg1"/>
                </a:solidFill>
              </a:rPr>
              <a:t>所有模板素材均可任意编辑支持一键替换图片更改文字内容</a:t>
            </a:r>
          </a:p>
        </p:txBody>
      </p:sp>
      <p:sp>
        <p:nvSpPr>
          <p:cNvPr id="114" name="文本框 113">
            <a:extLst>
              <a:ext uri="{FF2B5EF4-FFF2-40B4-BE49-F238E27FC236}">
                <a16:creationId xmlns:a16="http://schemas.microsoft.com/office/drawing/2014/main" id="{DAB0EB00-A5C1-2E97-E6E9-F4600BCA1A6F}"/>
              </a:ext>
            </a:extLst>
          </p:cNvPr>
          <p:cNvSpPr txBox="1"/>
          <p:nvPr/>
        </p:nvSpPr>
        <p:spPr>
          <a:xfrm>
            <a:off x="7734076" y="3967447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>
                <a:solidFill>
                  <a:schemeClr val="bg1"/>
                </a:solidFill>
              </a:rPr>
              <a:t>所有模板素材均可任意编辑支持一键替换图片更改文字内容</a:t>
            </a:r>
          </a:p>
        </p:txBody>
      </p:sp>
      <p:sp>
        <p:nvSpPr>
          <p:cNvPr id="115" name="文本框 114">
            <a:extLst>
              <a:ext uri="{FF2B5EF4-FFF2-40B4-BE49-F238E27FC236}">
                <a16:creationId xmlns:a16="http://schemas.microsoft.com/office/drawing/2014/main" id="{7C08AB59-10CA-76FB-EB86-CACDD526EC2D}"/>
              </a:ext>
            </a:extLst>
          </p:cNvPr>
          <p:cNvSpPr txBox="1"/>
          <p:nvPr/>
        </p:nvSpPr>
        <p:spPr>
          <a:xfrm>
            <a:off x="9984401" y="3967447"/>
            <a:ext cx="1821044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algn="ctr"/>
            <a:r>
              <a:rPr lang="zh-CN" altLang="en-US" dirty="0">
                <a:solidFill>
                  <a:schemeClr val="bg1"/>
                </a:solidFill>
              </a:rPr>
              <a:t>所有模板素材均可任意编辑支持一键替换图片更改文字内容</a:t>
            </a:r>
          </a:p>
        </p:txBody>
      </p:sp>
    </p:spTree>
    <p:extLst>
      <p:ext uri="{BB962C8B-B14F-4D97-AF65-F5344CB8AC3E}">
        <p14:creationId xmlns:p14="http://schemas.microsoft.com/office/powerpoint/2010/main" val="39188329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FFE2606-FF5C-F991-12C2-66C12F3722E6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3AC2C76B-CB85-13B1-5EA6-22E110EECE06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F04EAE3-57FA-26EB-22D7-B1C8F84561C0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7643DC89-DC40-4B19-48A4-03E2051C502A}"/>
              </a:ext>
            </a:extLst>
          </p:cNvPr>
          <p:cNvSpPr/>
          <p:nvPr/>
        </p:nvSpPr>
        <p:spPr>
          <a:xfrm>
            <a:off x="1219815" y="2569892"/>
            <a:ext cx="1592728" cy="1592728"/>
          </a:xfrm>
          <a:prstGeom prst="ellips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D9F46B27-4348-B35D-0C69-4ECC949C1E11}"/>
              </a:ext>
            </a:extLst>
          </p:cNvPr>
          <p:cNvSpPr/>
          <p:nvPr/>
        </p:nvSpPr>
        <p:spPr>
          <a:xfrm>
            <a:off x="1308914" y="2658991"/>
            <a:ext cx="1414529" cy="1414529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5AB4DA31-BA1C-93DF-D922-3B94E25346C8}"/>
              </a:ext>
            </a:extLst>
          </p:cNvPr>
          <p:cNvSpPr/>
          <p:nvPr/>
        </p:nvSpPr>
        <p:spPr>
          <a:xfrm>
            <a:off x="6614638" y="2569892"/>
            <a:ext cx="1592728" cy="1592728"/>
          </a:xfrm>
          <a:prstGeom prst="ellips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00F5D42F-5E66-E781-0A73-4C92A0BFB2AC}"/>
              </a:ext>
            </a:extLst>
          </p:cNvPr>
          <p:cNvSpPr/>
          <p:nvPr/>
        </p:nvSpPr>
        <p:spPr>
          <a:xfrm>
            <a:off x="6703737" y="2658991"/>
            <a:ext cx="1414529" cy="1414529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45680323-A2DD-6FB9-8012-4FFA3644EAFE}"/>
              </a:ext>
            </a:extLst>
          </p:cNvPr>
          <p:cNvSpPr/>
          <p:nvPr/>
        </p:nvSpPr>
        <p:spPr>
          <a:xfrm>
            <a:off x="3946414" y="2234241"/>
            <a:ext cx="1592728" cy="1592728"/>
          </a:xfrm>
          <a:prstGeom prst="ellips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719C08E4-9A27-051B-F6D9-0F70F4DBC800}"/>
              </a:ext>
            </a:extLst>
          </p:cNvPr>
          <p:cNvSpPr/>
          <p:nvPr/>
        </p:nvSpPr>
        <p:spPr>
          <a:xfrm>
            <a:off x="4035513" y="2323340"/>
            <a:ext cx="1414529" cy="1414529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F081D10C-0A96-4F0E-58DD-7E9D60C7D54B}"/>
              </a:ext>
            </a:extLst>
          </p:cNvPr>
          <p:cNvSpPr/>
          <p:nvPr/>
        </p:nvSpPr>
        <p:spPr>
          <a:xfrm>
            <a:off x="9333047" y="2234241"/>
            <a:ext cx="1592728" cy="1592728"/>
          </a:xfrm>
          <a:prstGeom prst="ellips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FFFFFF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FC5B87E9-FD44-BE15-C1A8-5802057EF026}"/>
              </a:ext>
            </a:extLst>
          </p:cNvPr>
          <p:cNvSpPr/>
          <p:nvPr/>
        </p:nvSpPr>
        <p:spPr>
          <a:xfrm>
            <a:off x="9422146" y="2323340"/>
            <a:ext cx="1414529" cy="1414529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3" name="弧形 22">
            <a:extLst>
              <a:ext uri="{FF2B5EF4-FFF2-40B4-BE49-F238E27FC236}">
                <a16:creationId xmlns:a16="http://schemas.microsoft.com/office/drawing/2014/main" id="{FF7902A2-D617-625D-6F47-0E661774F39D}"/>
              </a:ext>
            </a:extLst>
          </p:cNvPr>
          <p:cNvSpPr/>
          <p:nvPr/>
        </p:nvSpPr>
        <p:spPr>
          <a:xfrm rot="18404973">
            <a:off x="2601144" y="2955683"/>
            <a:ext cx="1798130" cy="1798131"/>
          </a:xfrm>
          <a:prstGeom prst="arc">
            <a:avLst>
              <a:gd name="adj1" fmla="val 16825165"/>
              <a:gd name="adj2" fmla="val 20855904"/>
            </a:avLst>
          </a:prstGeom>
          <a:ln w="6350">
            <a:solidFill>
              <a:schemeClr val="tx1"/>
            </a:solidFill>
            <a:prstDash val="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4" name="弧形 23">
            <a:extLst>
              <a:ext uri="{FF2B5EF4-FFF2-40B4-BE49-F238E27FC236}">
                <a16:creationId xmlns:a16="http://schemas.microsoft.com/office/drawing/2014/main" id="{7409037C-12D5-42A3-31F4-F9E76B215668}"/>
              </a:ext>
            </a:extLst>
          </p:cNvPr>
          <p:cNvSpPr/>
          <p:nvPr/>
        </p:nvSpPr>
        <p:spPr>
          <a:xfrm rot="18404973">
            <a:off x="7985755" y="2955683"/>
            <a:ext cx="1798130" cy="1798131"/>
          </a:xfrm>
          <a:prstGeom prst="arc">
            <a:avLst>
              <a:gd name="adj1" fmla="val 16825165"/>
              <a:gd name="adj2" fmla="val 20855904"/>
            </a:avLst>
          </a:prstGeom>
          <a:ln w="6350">
            <a:solidFill>
              <a:schemeClr val="tx1"/>
            </a:solidFill>
            <a:prstDash val="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00000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5" name="弧形 24">
            <a:extLst>
              <a:ext uri="{FF2B5EF4-FFF2-40B4-BE49-F238E27FC236}">
                <a16:creationId xmlns:a16="http://schemas.microsoft.com/office/drawing/2014/main" id="{633EC26C-AAA6-9FA6-B6F6-3A596F3E595A}"/>
              </a:ext>
            </a:extLst>
          </p:cNvPr>
          <p:cNvSpPr/>
          <p:nvPr/>
        </p:nvSpPr>
        <p:spPr>
          <a:xfrm rot="3195027" flipV="1">
            <a:off x="5172600" y="2006050"/>
            <a:ext cx="1798130" cy="1798131"/>
          </a:xfrm>
          <a:prstGeom prst="arc">
            <a:avLst>
              <a:gd name="adj1" fmla="val 16825165"/>
              <a:gd name="adj2" fmla="val 21468755"/>
            </a:avLst>
          </a:prstGeom>
          <a:ln w="6350">
            <a:solidFill>
              <a:schemeClr val="tx1"/>
            </a:solidFill>
            <a:prstDash val="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00000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6" name="稿定-9">
            <a:extLst>
              <a:ext uri="{FF2B5EF4-FFF2-40B4-BE49-F238E27FC236}">
                <a16:creationId xmlns:a16="http://schemas.microsoft.com/office/drawing/2014/main" id="{714CA2A0-6E41-0CE0-37A8-6E5E9485F32F}"/>
              </a:ext>
            </a:extLst>
          </p:cNvPr>
          <p:cNvSpPr/>
          <p:nvPr/>
        </p:nvSpPr>
        <p:spPr>
          <a:xfrm flipH="1">
            <a:off x="1403256" y="432851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7" name="稿定-31">
            <a:extLst>
              <a:ext uri="{FF2B5EF4-FFF2-40B4-BE49-F238E27FC236}">
                <a16:creationId xmlns:a16="http://schemas.microsoft.com/office/drawing/2014/main" id="{FC8870F0-7C0D-D41F-5C11-B3CCCD0B54FE}"/>
              </a:ext>
            </a:extLst>
          </p:cNvPr>
          <p:cNvSpPr/>
          <p:nvPr/>
        </p:nvSpPr>
        <p:spPr>
          <a:xfrm flipH="1">
            <a:off x="1205842" y="459424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8" name="稿定-9">
            <a:extLst>
              <a:ext uri="{FF2B5EF4-FFF2-40B4-BE49-F238E27FC236}">
                <a16:creationId xmlns:a16="http://schemas.microsoft.com/office/drawing/2014/main" id="{FADAE2F2-BF52-A654-3635-062EC8E526BD}"/>
              </a:ext>
            </a:extLst>
          </p:cNvPr>
          <p:cNvSpPr/>
          <p:nvPr/>
        </p:nvSpPr>
        <p:spPr>
          <a:xfrm flipH="1">
            <a:off x="4224277" y="392343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9" name="稿定-31">
            <a:extLst>
              <a:ext uri="{FF2B5EF4-FFF2-40B4-BE49-F238E27FC236}">
                <a16:creationId xmlns:a16="http://schemas.microsoft.com/office/drawing/2014/main" id="{B4D63A19-3F93-CC1A-35D7-6D2FE2EC470B}"/>
              </a:ext>
            </a:extLst>
          </p:cNvPr>
          <p:cNvSpPr/>
          <p:nvPr/>
        </p:nvSpPr>
        <p:spPr>
          <a:xfrm flipH="1">
            <a:off x="4026863" y="4189165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0" name="稿定-9">
            <a:extLst>
              <a:ext uri="{FF2B5EF4-FFF2-40B4-BE49-F238E27FC236}">
                <a16:creationId xmlns:a16="http://schemas.microsoft.com/office/drawing/2014/main" id="{012788F6-06D7-7D6D-2F48-8C9C4FDCAAD5}"/>
              </a:ext>
            </a:extLst>
          </p:cNvPr>
          <p:cNvSpPr/>
          <p:nvPr/>
        </p:nvSpPr>
        <p:spPr>
          <a:xfrm flipH="1">
            <a:off x="6948995" y="429418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1" name="稿定-31">
            <a:extLst>
              <a:ext uri="{FF2B5EF4-FFF2-40B4-BE49-F238E27FC236}">
                <a16:creationId xmlns:a16="http://schemas.microsoft.com/office/drawing/2014/main" id="{E363BE5E-DA57-5E55-74B0-9E74F3C816EB}"/>
              </a:ext>
            </a:extLst>
          </p:cNvPr>
          <p:cNvSpPr/>
          <p:nvPr/>
        </p:nvSpPr>
        <p:spPr>
          <a:xfrm flipH="1">
            <a:off x="6751581" y="455992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32" name="稿定-9">
            <a:extLst>
              <a:ext uri="{FF2B5EF4-FFF2-40B4-BE49-F238E27FC236}">
                <a16:creationId xmlns:a16="http://schemas.microsoft.com/office/drawing/2014/main" id="{60EF4C72-A78D-CABE-0B5D-DBD45A5DBD75}"/>
              </a:ext>
            </a:extLst>
          </p:cNvPr>
          <p:cNvSpPr/>
          <p:nvPr/>
        </p:nvSpPr>
        <p:spPr>
          <a:xfrm flipH="1">
            <a:off x="9673713" y="3963741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3" name="稿定-31">
            <a:extLst>
              <a:ext uri="{FF2B5EF4-FFF2-40B4-BE49-F238E27FC236}">
                <a16:creationId xmlns:a16="http://schemas.microsoft.com/office/drawing/2014/main" id="{91B79C2C-8EA9-42FE-ECE9-F528B559C916}"/>
              </a:ext>
            </a:extLst>
          </p:cNvPr>
          <p:cNvSpPr/>
          <p:nvPr/>
        </p:nvSpPr>
        <p:spPr>
          <a:xfrm flipH="1">
            <a:off x="9476299" y="4229476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7D42C612-8EC4-0743-9B16-F60E6C720E8F}"/>
              </a:ext>
            </a:extLst>
          </p:cNvPr>
          <p:cNvGrpSpPr/>
          <p:nvPr/>
        </p:nvGrpSpPr>
        <p:grpSpPr>
          <a:xfrm>
            <a:off x="4390193" y="2640739"/>
            <a:ext cx="745216" cy="779729"/>
            <a:chOff x="3193522" y="5222129"/>
            <a:chExt cx="424112" cy="443754"/>
          </a:xfrm>
          <a:solidFill>
            <a:schemeClr val="tx1"/>
          </a:solidFill>
        </p:grpSpPr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B988ED24-81AE-A77B-F12F-46C0B2B3FBDF}"/>
                </a:ext>
              </a:extLst>
            </p:cNvPr>
            <p:cNvSpPr/>
            <p:nvPr/>
          </p:nvSpPr>
          <p:spPr>
            <a:xfrm>
              <a:off x="3342330" y="5358232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5FF553B-533D-51EE-271D-9411428743EC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612E0F4E-37BD-28C4-E99B-C5D8897FCCC7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2A8E03F-6918-7BAB-10A0-BCF205EADAAE}"/>
              </a:ext>
            </a:extLst>
          </p:cNvPr>
          <p:cNvGrpSpPr/>
          <p:nvPr/>
        </p:nvGrpSpPr>
        <p:grpSpPr>
          <a:xfrm>
            <a:off x="1575511" y="2969811"/>
            <a:ext cx="777436" cy="780035"/>
            <a:chOff x="1406740" y="5275641"/>
            <a:chExt cx="442449" cy="443928"/>
          </a:xfrm>
          <a:solidFill>
            <a:schemeClr val="tx1"/>
          </a:solidFill>
        </p:grpSpPr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39D78B3F-8AD4-26B8-5DEA-0FB29FB7DD55}"/>
                </a:ext>
              </a:extLst>
            </p:cNvPr>
            <p:cNvSpPr/>
            <p:nvPr/>
          </p:nvSpPr>
          <p:spPr>
            <a:xfrm>
              <a:off x="1573885" y="5444265"/>
              <a:ext cx="275304" cy="275304"/>
            </a:xfrm>
            <a:custGeom>
              <a:avLst/>
              <a:gdLst>
                <a:gd name="connsiteX0" fmla="*/ 0 w 275304"/>
                <a:gd name="connsiteY0" fmla="*/ 137652 h 275304"/>
                <a:gd name="connsiteX1" fmla="*/ 137652 w 275304"/>
                <a:gd name="connsiteY1" fmla="*/ 275304 h 275304"/>
                <a:gd name="connsiteX2" fmla="*/ 275304 w 275304"/>
                <a:gd name="connsiteY2" fmla="*/ 137652 h 275304"/>
                <a:gd name="connsiteX3" fmla="*/ 137652 w 275304"/>
                <a:gd name="connsiteY3" fmla="*/ 0 h 275304"/>
                <a:gd name="connsiteX4" fmla="*/ 0 w 275304"/>
                <a:gd name="connsiteY4" fmla="*/ 137652 h 27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304" h="275304">
                  <a:moveTo>
                    <a:pt x="0" y="137652"/>
                  </a:moveTo>
                  <a:cubicBezTo>
                    <a:pt x="0" y="213675"/>
                    <a:pt x="61629" y="275304"/>
                    <a:pt x="137652" y="275304"/>
                  </a:cubicBezTo>
                  <a:cubicBezTo>
                    <a:pt x="213675" y="275304"/>
                    <a:pt x="275304" y="213675"/>
                    <a:pt x="275304" y="137652"/>
                  </a:cubicBezTo>
                  <a:cubicBezTo>
                    <a:pt x="275304" y="61629"/>
                    <a:pt x="213675" y="0"/>
                    <a:pt x="137652" y="0"/>
                  </a:cubicBezTo>
                  <a:cubicBezTo>
                    <a:pt x="61629" y="0"/>
                    <a:pt x="0" y="61629"/>
                    <a:pt x="0" y="137652"/>
                  </a:cubicBezTo>
                  <a:close/>
                </a:path>
              </a:pathLst>
            </a:custGeom>
            <a:solidFill>
              <a:schemeClr val="bg1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DB1DF7D-8411-C059-1890-F3E4A75928FF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26FF4499-C558-974E-2CD3-58D0676FAEA5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A9615A77-D966-FF1B-4EB3-A3CF02B6F186}"/>
              </a:ext>
            </a:extLst>
          </p:cNvPr>
          <p:cNvGrpSpPr/>
          <p:nvPr/>
        </p:nvGrpSpPr>
        <p:grpSpPr>
          <a:xfrm>
            <a:off x="7045879" y="3021716"/>
            <a:ext cx="778088" cy="794742"/>
            <a:chOff x="10357510" y="5253191"/>
            <a:chExt cx="362769" cy="370534"/>
          </a:xfrm>
          <a:solidFill>
            <a:schemeClr val="tx1"/>
          </a:solidFill>
        </p:grpSpPr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3C6C4294-1877-C75A-7552-52899A7FE6E6}"/>
                </a:ext>
              </a:extLst>
            </p:cNvPr>
            <p:cNvSpPr/>
            <p:nvPr/>
          </p:nvSpPr>
          <p:spPr>
            <a:xfrm>
              <a:off x="10498402" y="5401849"/>
              <a:ext cx="221877" cy="221876"/>
            </a:xfrm>
            <a:custGeom>
              <a:avLst/>
              <a:gdLst>
                <a:gd name="connsiteX0" fmla="*/ 0 w 221877"/>
                <a:gd name="connsiteY0" fmla="*/ 110938 h 221876"/>
                <a:gd name="connsiteX1" fmla="*/ 110939 w 221877"/>
                <a:gd name="connsiteY1" fmla="*/ 221877 h 221876"/>
                <a:gd name="connsiteX2" fmla="*/ 221877 w 221877"/>
                <a:gd name="connsiteY2" fmla="*/ 110938 h 221876"/>
                <a:gd name="connsiteX3" fmla="*/ 110939 w 221877"/>
                <a:gd name="connsiteY3" fmla="*/ 0 h 221876"/>
                <a:gd name="connsiteX4" fmla="*/ 0 w 221877"/>
                <a:gd name="connsiteY4" fmla="*/ 110938 h 22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77" h="221876">
                  <a:moveTo>
                    <a:pt x="0" y="110938"/>
                  </a:moveTo>
                  <a:cubicBezTo>
                    <a:pt x="0" y="172208"/>
                    <a:pt x="49669" y="221877"/>
                    <a:pt x="110939" y="221877"/>
                  </a:cubicBezTo>
                  <a:cubicBezTo>
                    <a:pt x="172208" y="221877"/>
                    <a:pt x="221877" y="172208"/>
                    <a:pt x="221877" y="110938"/>
                  </a:cubicBezTo>
                  <a:cubicBezTo>
                    <a:pt x="221877" y="49669"/>
                    <a:pt x="172208" y="0"/>
                    <a:pt x="110939" y="0"/>
                  </a:cubicBezTo>
                  <a:cubicBezTo>
                    <a:pt x="49669" y="0"/>
                    <a:pt x="0" y="49669"/>
                    <a:pt x="0" y="110938"/>
                  </a:cubicBezTo>
                  <a:close/>
                </a:path>
              </a:pathLst>
            </a:custGeom>
            <a:solidFill>
              <a:schemeClr val="bg1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CBA7CF5F-3BCD-A876-8759-6530328A8F92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4E8FF496-B109-2765-D7DF-54FB317A49D9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586BB387-156C-FC37-5909-CED5739B3FA9}"/>
              </a:ext>
            </a:extLst>
          </p:cNvPr>
          <p:cNvGrpSpPr/>
          <p:nvPr/>
        </p:nvGrpSpPr>
        <p:grpSpPr>
          <a:xfrm>
            <a:off x="9783413" y="2677213"/>
            <a:ext cx="719435" cy="705538"/>
            <a:chOff x="6770455" y="5253911"/>
            <a:chExt cx="409440" cy="401531"/>
          </a:xfrm>
          <a:solidFill>
            <a:schemeClr val="tx1"/>
          </a:solidFill>
        </p:grpSpPr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DC915186-8010-6CA1-58F2-DFCF0BA8DA90}"/>
                </a:ext>
              </a:extLst>
            </p:cNvPr>
            <p:cNvSpPr/>
            <p:nvPr/>
          </p:nvSpPr>
          <p:spPr>
            <a:xfrm>
              <a:off x="6941155" y="5416702"/>
              <a:ext cx="238740" cy="238740"/>
            </a:xfrm>
            <a:custGeom>
              <a:avLst/>
              <a:gdLst>
                <a:gd name="connsiteX0" fmla="*/ 0 w 238740"/>
                <a:gd name="connsiteY0" fmla="*/ 119370 h 238740"/>
                <a:gd name="connsiteX1" fmla="*/ 119370 w 238740"/>
                <a:gd name="connsiteY1" fmla="*/ 238740 h 238740"/>
                <a:gd name="connsiteX2" fmla="*/ 238740 w 238740"/>
                <a:gd name="connsiteY2" fmla="*/ 119370 h 238740"/>
                <a:gd name="connsiteX3" fmla="*/ 119370 w 238740"/>
                <a:gd name="connsiteY3" fmla="*/ 0 h 238740"/>
                <a:gd name="connsiteX4" fmla="*/ 0 w 238740"/>
                <a:gd name="connsiteY4" fmla="*/ 119370 h 23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40" h="238740">
                  <a:moveTo>
                    <a:pt x="0" y="119370"/>
                  </a:moveTo>
                  <a:cubicBezTo>
                    <a:pt x="0" y="185296"/>
                    <a:pt x="53444" y="238740"/>
                    <a:pt x="119370" y="238740"/>
                  </a:cubicBezTo>
                  <a:cubicBezTo>
                    <a:pt x="185296" y="238740"/>
                    <a:pt x="238740" y="185296"/>
                    <a:pt x="238740" y="119370"/>
                  </a:cubicBezTo>
                  <a:cubicBezTo>
                    <a:pt x="238740" y="53444"/>
                    <a:pt x="185296" y="0"/>
                    <a:pt x="119370" y="0"/>
                  </a:cubicBezTo>
                  <a:cubicBezTo>
                    <a:pt x="53444" y="0"/>
                    <a:pt x="0" y="53444"/>
                    <a:pt x="0" y="119370"/>
                  </a:cubicBezTo>
                  <a:close/>
                </a:path>
              </a:pathLst>
            </a:custGeom>
            <a:solidFill>
              <a:schemeClr val="bg1"/>
            </a:solidFill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717FDEB3-B638-A871-FA6E-FBE363820F9D}"/>
                </a:ext>
              </a:extLst>
            </p:cNvPr>
            <p:cNvGrpSpPr/>
            <p:nvPr/>
          </p:nvGrpSpPr>
          <p:grpSpPr>
            <a:xfrm>
              <a:off x="6770455" y="5253911"/>
              <a:ext cx="387355" cy="378253"/>
              <a:chOff x="6770455" y="5253911"/>
              <a:chExt cx="387355" cy="378253"/>
            </a:xfrm>
            <a:grpFill/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EF704EF7-6EB6-CAB3-0411-AB905A736824}"/>
                  </a:ext>
                </a:extLst>
              </p:cNvPr>
              <p:cNvSpPr/>
              <p:nvPr/>
            </p:nvSpPr>
            <p:spPr>
              <a:xfrm>
                <a:off x="6770455" y="5253911"/>
                <a:ext cx="387355" cy="378253"/>
              </a:xfrm>
              <a:custGeom>
                <a:avLst/>
                <a:gdLst>
                  <a:gd name="connsiteX0" fmla="*/ 291860 w 387355"/>
                  <a:gd name="connsiteY0" fmla="*/ 378254 h 378253"/>
                  <a:gd name="connsiteX1" fmla="*/ 95496 w 387355"/>
                  <a:gd name="connsiteY1" fmla="*/ 378254 h 378253"/>
                  <a:gd name="connsiteX2" fmla="*/ 0 w 387355"/>
                  <a:gd name="connsiteY2" fmla="*/ 282758 h 378253"/>
                  <a:gd name="connsiteX3" fmla="*/ 0 w 387355"/>
                  <a:gd name="connsiteY3" fmla="*/ 168162 h 378253"/>
                  <a:gd name="connsiteX4" fmla="*/ 38198 w 387355"/>
                  <a:gd name="connsiteY4" fmla="*/ 91169 h 378253"/>
                  <a:gd name="connsiteX5" fmla="*/ 133098 w 387355"/>
                  <a:gd name="connsiteY5" fmla="*/ 20144 h 378253"/>
                  <a:gd name="connsiteX6" fmla="*/ 254855 w 387355"/>
                  <a:gd name="connsiteY6" fmla="*/ 20144 h 378253"/>
                  <a:gd name="connsiteX7" fmla="*/ 349157 w 387355"/>
                  <a:gd name="connsiteY7" fmla="*/ 91169 h 378253"/>
                  <a:gd name="connsiteX8" fmla="*/ 387356 w 387355"/>
                  <a:gd name="connsiteY8" fmla="*/ 168162 h 378253"/>
                  <a:gd name="connsiteX9" fmla="*/ 387356 w 387355"/>
                  <a:gd name="connsiteY9" fmla="*/ 282161 h 378253"/>
                  <a:gd name="connsiteX10" fmla="*/ 291860 w 387355"/>
                  <a:gd name="connsiteY10" fmla="*/ 378254 h 378253"/>
                  <a:gd name="connsiteX11" fmla="*/ 147422 w 387355"/>
                  <a:gd name="connsiteY11" fmla="*/ 39840 h 378253"/>
                  <a:gd name="connsiteX12" fmla="*/ 52523 w 387355"/>
                  <a:gd name="connsiteY12" fmla="*/ 110865 h 378253"/>
                  <a:gd name="connsiteX13" fmla="*/ 23874 w 387355"/>
                  <a:gd name="connsiteY13" fmla="*/ 168759 h 378253"/>
                  <a:gd name="connsiteX14" fmla="*/ 23874 w 387355"/>
                  <a:gd name="connsiteY14" fmla="*/ 282758 h 378253"/>
                  <a:gd name="connsiteX15" fmla="*/ 95496 w 387355"/>
                  <a:gd name="connsiteY15" fmla="*/ 354380 h 378253"/>
                  <a:gd name="connsiteX16" fmla="*/ 291860 w 387355"/>
                  <a:gd name="connsiteY16" fmla="*/ 354380 h 378253"/>
                  <a:gd name="connsiteX17" fmla="*/ 363482 w 387355"/>
                  <a:gd name="connsiteY17" fmla="*/ 282758 h 378253"/>
                  <a:gd name="connsiteX18" fmla="*/ 363482 w 387355"/>
                  <a:gd name="connsiteY18" fmla="*/ 168162 h 378253"/>
                  <a:gd name="connsiteX19" fmla="*/ 334833 w 387355"/>
                  <a:gd name="connsiteY19" fmla="*/ 110268 h 378253"/>
                  <a:gd name="connsiteX20" fmla="*/ 240531 w 387355"/>
                  <a:gd name="connsiteY20" fmla="*/ 39243 h 378253"/>
                  <a:gd name="connsiteX21" fmla="*/ 147422 w 387355"/>
                  <a:gd name="connsiteY21" fmla="*/ 39840 h 37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87355" h="378253">
                    <a:moveTo>
                      <a:pt x="291860" y="378254"/>
                    </a:moveTo>
                    <a:lnTo>
                      <a:pt x="95496" y="378254"/>
                    </a:lnTo>
                    <a:cubicBezTo>
                      <a:pt x="42973" y="378254"/>
                      <a:pt x="0" y="335281"/>
                      <a:pt x="0" y="282758"/>
                    </a:cubicBezTo>
                    <a:lnTo>
                      <a:pt x="0" y="168162"/>
                    </a:lnTo>
                    <a:cubicBezTo>
                      <a:pt x="0" y="137723"/>
                      <a:pt x="14324" y="109074"/>
                      <a:pt x="38198" y="91169"/>
                    </a:cubicBezTo>
                    <a:lnTo>
                      <a:pt x="133098" y="20144"/>
                    </a:lnTo>
                    <a:cubicBezTo>
                      <a:pt x="169505" y="-6715"/>
                      <a:pt x="218447" y="-6715"/>
                      <a:pt x="254855" y="20144"/>
                    </a:cubicBezTo>
                    <a:lnTo>
                      <a:pt x="349157" y="91169"/>
                    </a:lnTo>
                    <a:cubicBezTo>
                      <a:pt x="373628" y="109671"/>
                      <a:pt x="387356" y="137723"/>
                      <a:pt x="387356" y="168162"/>
                    </a:cubicBezTo>
                    <a:lnTo>
                      <a:pt x="387356" y="282161"/>
                    </a:lnTo>
                    <a:cubicBezTo>
                      <a:pt x="387356" y="335281"/>
                      <a:pt x="344382" y="378254"/>
                      <a:pt x="291860" y="378254"/>
                    </a:cubicBezTo>
                    <a:close/>
                    <a:moveTo>
                      <a:pt x="147422" y="39840"/>
                    </a:moveTo>
                    <a:lnTo>
                      <a:pt x="52523" y="110865"/>
                    </a:lnTo>
                    <a:cubicBezTo>
                      <a:pt x="34617" y="123996"/>
                      <a:pt x="23874" y="145482"/>
                      <a:pt x="23874" y="168759"/>
                    </a:cubicBezTo>
                    <a:lnTo>
                      <a:pt x="23874" y="282758"/>
                    </a:lnTo>
                    <a:cubicBezTo>
                      <a:pt x="23874" y="322150"/>
                      <a:pt x="56104" y="354380"/>
                      <a:pt x="95496" y="354380"/>
                    </a:cubicBezTo>
                    <a:lnTo>
                      <a:pt x="291860" y="354380"/>
                    </a:lnTo>
                    <a:cubicBezTo>
                      <a:pt x="331252" y="354380"/>
                      <a:pt x="363482" y="322150"/>
                      <a:pt x="363482" y="282758"/>
                    </a:cubicBezTo>
                    <a:lnTo>
                      <a:pt x="363482" y="168162"/>
                    </a:lnTo>
                    <a:cubicBezTo>
                      <a:pt x="363482" y="145482"/>
                      <a:pt x="352738" y="124592"/>
                      <a:pt x="334833" y="110268"/>
                    </a:cubicBezTo>
                    <a:lnTo>
                      <a:pt x="240531" y="39243"/>
                    </a:lnTo>
                    <a:cubicBezTo>
                      <a:pt x="212479" y="18950"/>
                      <a:pt x="174877" y="18950"/>
                      <a:pt x="147422" y="39840"/>
                    </a:cubicBez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D9603220-0FC6-5B9D-A6B7-9A05FDD98CAE}"/>
                  </a:ext>
                </a:extLst>
              </p:cNvPr>
              <p:cNvSpPr/>
              <p:nvPr/>
            </p:nvSpPr>
            <p:spPr>
              <a:xfrm>
                <a:off x="6905100" y="5482249"/>
                <a:ext cx="118526" cy="53225"/>
              </a:xfrm>
              <a:custGeom>
                <a:avLst/>
                <a:gdLst>
                  <a:gd name="connsiteX0" fmla="*/ 58735 w 118526"/>
                  <a:gd name="connsiteY0" fmla="*/ 53226 h 53225"/>
                  <a:gd name="connsiteX1" fmla="*/ 1438 w 118526"/>
                  <a:gd name="connsiteY1" fmla="*/ 18012 h 53225"/>
                  <a:gd name="connsiteX2" fmla="*/ 5616 w 118526"/>
                  <a:gd name="connsiteY2" fmla="*/ 2494 h 53225"/>
                  <a:gd name="connsiteX3" fmla="*/ 21134 w 118526"/>
                  <a:gd name="connsiteY3" fmla="*/ 6672 h 53225"/>
                  <a:gd name="connsiteX4" fmla="*/ 59332 w 118526"/>
                  <a:gd name="connsiteY4" fmla="*/ 30546 h 53225"/>
                  <a:gd name="connsiteX5" fmla="*/ 96934 w 118526"/>
                  <a:gd name="connsiteY5" fmla="*/ 6075 h 53225"/>
                  <a:gd name="connsiteX6" fmla="*/ 112452 w 118526"/>
                  <a:gd name="connsiteY6" fmla="*/ 1300 h 53225"/>
                  <a:gd name="connsiteX7" fmla="*/ 117227 w 118526"/>
                  <a:gd name="connsiteY7" fmla="*/ 16818 h 53225"/>
                  <a:gd name="connsiteX8" fmla="*/ 60526 w 118526"/>
                  <a:gd name="connsiteY8" fmla="*/ 53226 h 53225"/>
                  <a:gd name="connsiteX9" fmla="*/ 58735 w 118526"/>
                  <a:gd name="connsiteY9" fmla="*/ 53226 h 5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526" h="53225">
                    <a:moveTo>
                      <a:pt x="58735" y="53226"/>
                    </a:moveTo>
                    <a:cubicBezTo>
                      <a:pt x="35458" y="53226"/>
                      <a:pt x="13971" y="40095"/>
                      <a:pt x="1438" y="18012"/>
                    </a:cubicBezTo>
                    <a:cubicBezTo>
                      <a:pt x="-1547" y="12640"/>
                      <a:pt x="244" y="5478"/>
                      <a:pt x="5616" y="2494"/>
                    </a:cubicBezTo>
                    <a:cubicBezTo>
                      <a:pt x="10987" y="-491"/>
                      <a:pt x="18149" y="1300"/>
                      <a:pt x="21134" y="6672"/>
                    </a:cubicBezTo>
                    <a:cubicBezTo>
                      <a:pt x="29490" y="21593"/>
                      <a:pt x="44411" y="30546"/>
                      <a:pt x="59332" y="30546"/>
                    </a:cubicBezTo>
                    <a:cubicBezTo>
                      <a:pt x="74850" y="30546"/>
                      <a:pt x="88578" y="20996"/>
                      <a:pt x="96934" y="6075"/>
                    </a:cubicBezTo>
                    <a:cubicBezTo>
                      <a:pt x="99918" y="703"/>
                      <a:pt x="107080" y="-1684"/>
                      <a:pt x="112452" y="1300"/>
                    </a:cubicBezTo>
                    <a:cubicBezTo>
                      <a:pt x="117823" y="4284"/>
                      <a:pt x="120211" y="11446"/>
                      <a:pt x="117227" y="16818"/>
                    </a:cubicBezTo>
                    <a:cubicBezTo>
                      <a:pt x="105290" y="38902"/>
                      <a:pt x="83803" y="52629"/>
                      <a:pt x="60526" y="53226"/>
                    </a:cubicBezTo>
                    <a:lnTo>
                      <a:pt x="58735" y="53226"/>
                    </a:lnTo>
                    <a:close/>
                  </a:path>
                </a:pathLst>
              </a:custGeom>
              <a:grpFill/>
              <a:ln w="4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839780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矩形 1">
            <a:extLst>
              <a:ext uri="{FF2B5EF4-FFF2-40B4-BE49-F238E27FC236}">
                <a16:creationId xmlns:a16="http://schemas.microsoft.com/office/drawing/2014/main" id="{DE0C6B56-0347-4282-701B-8FBF32F4761F}"/>
              </a:ext>
            </a:extLst>
          </p:cNvPr>
          <p:cNvSpPr/>
          <p:nvPr/>
        </p:nvSpPr>
        <p:spPr>
          <a:xfrm>
            <a:off x="9050527" y="2417590"/>
            <a:ext cx="1571447" cy="392474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9" name="矩形 1">
            <a:extLst>
              <a:ext uri="{FF2B5EF4-FFF2-40B4-BE49-F238E27FC236}">
                <a16:creationId xmlns:a16="http://schemas.microsoft.com/office/drawing/2014/main" id="{ADD3ACC4-ABE7-F70B-2000-73B5E1D9C968}"/>
              </a:ext>
            </a:extLst>
          </p:cNvPr>
          <p:cNvSpPr/>
          <p:nvPr/>
        </p:nvSpPr>
        <p:spPr>
          <a:xfrm>
            <a:off x="1500573" y="2417590"/>
            <a:ext cx="1571447" cy="392474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20" name="矩形 1">
            <a:extLst>
              <a:ext uri="{FF2B5EF4-FFF2-40B4-BE49-F238E27FC236}">
                <a16:creationId xmlns:a16="http://schemas.microsoft.com/office/drawing/2014/main" id="{5B7B86AE-2219-746A-B4FC-AAE8349F0F48}"/>
              </a:ext>
            </a:extLst>
          </p:cNvPr>
          <p:cNvSpPr/>
          <p:nvPr/>
        </p:nvSpPr>
        <p:spPr>
          <a:xfrm>
            <a:off x="3388061" y="2417590"/>
            <a:ext cx="1571447" cy="392474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21" name="矩形 1">
            <a:extLst>
              <a:ext uri="{FF2B5EF4-FFF2-40B4-BE49-F238E27FC236}">
                <a16:creationId xmlns:a16="http://schemas.microsoft.com/office/drawing/2014/main" id="{F52B2EB0-9263-F2BF-66F7-E47E222F8912}"/>
              </a:ext>
            </a:extLst>
          </p:cNvPr>
          <p:cNvSpPr/>
          <p:nvPr/>
        </p:nvSpPr>
        <p:spPr>
          <a:xfrm>
            <a:off x="5275550" y="2417590"/>
            <a:ext cx="1571447" cy="392474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22" name="矩形 1">
            <a:extLst>
              <a:ext uri="{FF2B5EF4-FFF2-40B4-BE49-F238E27FC236}">
                <a16:creationId xmlns:a16="http://schemas.microsoft.com/office/drawing/2014/main" id="{B9517476-6B0E-CDAB-976B-8231D7AAFB2E}"/>
              </a:ext>
            </a:extLst>
          </p:cNvPr>
          <p:cNvSpPr/>
          <p:nvPr/>
        </p:nvSpPr>
        <p:spPr>
          <a:xfrm>
            <a:off x="7163039" y="2417590"/>
            <a:ext cx="1571447" cy="392474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45" name="任意多边形: 形状 1">
            <a:extLst>
              <a:ext uri="{FF2B5EF4-FFF2-40B4-BE49-F238E27FC236}">
                <a16:creationId xmlns:a16="http://schemas.microsoft.com/office/drawing/2014/main" id="{3274A797-6679-4B2B-0169-5D83831DC5B1}"/>
              </a:ext>
            </a:extLst>
          </p:cNvPr>
          <p:cNvSpPr/>
          <p:nvPr/>
        </p:nvSpPr>
        <p:spPr>
          <a:xfrm>
            <a:off x="1485121" y="1532731"/>
            <a:ext cx="9221760" cy="1704668"/>
          </a:xfrm>
          <a:custGeom>
            <a:avLst/>
            <a:gdLst>
              <a:gd name="connsiteX0" fmla="*/ 999180 w 10810551"/>
              <a:gd name="connsiteY0" fmla="*/ 0 h 1998360"/>
              <a:gd name="connsiteX1" fmla="*/ 1557831 w 10810551"/>
              <a:gd name="connsiteY1" fmla="*/ 170644 h 1998360"/>
              <a:gd name="connsiteX2" fmla="*/ 1651049 w 10810551"/>
              <a:gd name="connsiteY2" fmla="*/ 247556 h 1998360"/>
              <a:gd name="connsiteX3" fmla="*/ 1658091 w 10810551"/>
              <a:gd name="connsiteY3" fmla="*/ 256091 h 1998360"/>
              <a:gd name="connsiteX4" fmla="*/ 2100703 w 10810551"/>
              <a:gd name="connsiteY4" fmla="*/ 439427 h 1998360"/>
              <a:gd name="connsiteX5" fmla="*/ 2543316 w 10810551"/>
              <a:gd name="connsiteY5" fmla="*/ 256091 h 1998360"/>
              <a:gd name="connsiteX6" fmla="*/ 2550356 w 10810551"/>
              <a:gd name="connsiteY6" fmla="*/ 247558 h 1998360"/>
              <a:gd name="connsiteX7" fmla="*/ 2643577 w 10810551"/>
              <a:gd name="connsiteY7" fmla="*/ 170644 h 1998360"/>
              <a:gd name="connsiteX8" fmla="*/ 3202228 w 10810551"/>
              <a:gd name="connsiteY8" fmla="*/ 0 h 1998360"/>
              <a:gd name="connsiteX9" fmla="*/ 3760879 w 10810551"/>
              <a:gd name="connsiteY9" fmla="*/ 170644 h 1998360"/>
              <a:gd name="connsiteX10" fmla="*/ 3854093 w 10810551"/>
              <a:gd name="connsiteY10" fmla="*/ 247553 h 1998360"/>
              <a:gd name="connsiteX11" fmla="*/ 3861138 w 10810551"/>
              <a:gd name="connsiteY11" fmla="*/ 256091 h 1998360"/>
              <a:gd name="connsiteX12" fmla="*/ 4303750 w 10810551"/>
              <a:gd name="connsiteY12" fmla="*/ 439427 h 1998360"/>
              <a:gd name="connsiteX13" fmla="*/ 4746363 w 10810551"/>
              <a:gd name="connsiteY13" fmla="*/ 256091 h 1998360"/>
              <a:gd name="connsiteX14" fmla="*/ 4753401 w 10810551"/>
              <a:gd name="connsiteY14" fmla="*/ 247560 h 1998360"/>
              <a:gd name="connsiteX15" fmla="*/ 4846624 w 10810551"/>
              <a:gd name="connsiteY15" fmla="*/ 170644 h 1998360"/>
              <a:gd name="connsiteX16" fmla="*/ 5405275 w 10810551"/>
              <a:gd name="connsiteY16" fmla="*/ 0 h 1998360"/>
              <a:gd name="connsiteX17" fmla="*/ 5963926 w 10810551"/>
              <a:gd name="connsiteY17" fmla="*/ 170644 h 1998360"/>
              <a:gd name="connsiteX18" fmla="*/ 6057138 w 10810551"/>
              <a:gd name="connsiteY18" fmla="*/ 247550 h 1998360"/>
              <a:gd name="connsiteX19" fmla="*/ 6064184 w 10810551"/>
              <a:gd name="connsiteY19" fmla="*/ 256091 h 1998360"/>
              <a:gd name="connsiteX20" fmla="*/ 6506797 w 10810551"/>
              <a:gd name="connsiteY20" fmla="*/ 439427 h 1998360"/>
              <a:gd name="connsiteX21" fmla="*/ 6949410 w 10810551"/>
              <a:gd name="connsiteY21" fmla="*/ 256091 h 1998360"/>
              <a:gd name="connsiteX22" fmla="*/ 6956446 w 10810551"/>
              <a:gd name="connsiteY22" fmla="*/ 247563 h 1998360"/>
              <a:gd name="connsiteX23" fmla="*/ 7049672 w 10810551"/>
              <a:gd name="connsiteY23" fmla="*/ 170644 h 1998360"/>
              <a:gd name="connsiteX24" fmla="*/ 7608323 w 10810551"/>
              <a:gd name="connsiteY24" fmla="*/ 0 h 1998360"/>
              <a:gd name="connsiteX25" fmla="*/ 8166974 w 10810551"/>
              <a:gd name="connsiteY25" fmla="*/ 170644 h 1998360"/>
              <a:gd name="connsiteX26" fmla="*/ 8260188 w 10810551"/>
              <a:gd name="connsiteY26" fmla="*/ 247553 h 1998360"/>
              <a:gd name="connsiteX27" fmla="*/ 8267232 w 10810551"/>
              <a:gd name="connsiteY27" fmla="*/ 256091 h 1998360"/>
              <a:gd name="connsiteX28" fmla="*/ 8709845 w 10810551"/>
              <a:gd name="connsiteY28" fmla="*/ 439427 h 1998360"/>
              <a:gd name="connsiteX29" fmla="*/ 9152458 w 10810551"/>
              <a:gd name="connsiteY29" fmla="*/ 256091 h 1998360"/>
              <a:gd name="connsiteX30" fmla="*/ 9159494 w 10810551"/>
              <a:gd name="connsiteY30" fmla="*/ 247563 h 1998360"/>
              <a:gd name="connsiteX31" fmla="*/ 9252720 w 10810551"/>
              <a:gd name="connsiteY31" fmla="*/ 170644 h 1998360"/>
              <a:gd name="connsiteX32" fmla="*/ 9811371 w 10810551"/>
              <a:gd name="connsiteY32" fmla="*/ 0 h 1998360"/>
              <a:gd name="connsiteX33" fmla="*/ 10810551 w 10810551"/>
              <a:gd name="connsiteY33" fmla="*/ 999180 h 1998360"/>
              <a:gd name="connsiteX34" fmla="*/ 9811371 w 10810551"/>
              <a:gd name="connsiteY34" fmla="*/ 1998360 h 1998360"/>
              <a:gd name="connsiteX35" fmla="*/ 9252720 w 10810551"/>
              <a:gd name="connsiteY35" fmla="*/ 1827716 h 1998360"/>
              <a:gd name="connsiteX36" fmla="*/ 9159493 w 10810551"/>
              <a:gd name="connsiteY36" fmla="*/ 1750797 h 1998360"/>
              <a:gd name="connsiteX37" fmla="*/ 9152458 w 10810551"/>
              <a:gd name="connsiteY37" fmla="*/ 1742270 h 1998360"/>
              <a:gd name="connsiteX38" fmla="*/ 8709845 w 10810551"/>
              <a:gd name="connsiteY38" fmla="*/ 1558934 h 1998360"/>
              <a:gd name="connsiteX39" fmla="*/ 8267232 w 10810551"/>
              <a:gd name="connsiteY39" fmla="*/ 1742270 h 1998360"/>
              <a:gd name="connsiteX40" fmla="*/ 8260191 w 10810551"/>
              <a:gd name="connsiteY40" fmla="*/ 1750805 h 1998360"/>
              <a:gd name="connsiteX41" fmla="*/ 8166974 w 10810551"/>
              <a:gd name="connsiteY41" fmla="*/ 1827716 h 1998360"/>
              <a:gd name="connsiteX42" fmla="*/ 7608323 w 10810551"/>
              <a:gd name="connsiteY42" fmla="*/ 1998360 h 1998360"/>
              <a:gd name="connsiteX43" fmla="*/ 7049672 w 10810551"/>
              <a:gd name="connsiteY43" fmla="*/ 1827716 h 1998360"/>
              <a:gd name="connsiteX44" fmla="*/ 6956443 w 10810551"/>
              <a:gd name="connsiteY44" fmla="*/ 1750795 h 1998360"/>
              <a:gd name="connsiteX45" fmla="*/ 6949410 w 10810551"/>
              <a:gd name="connsiteY45" fmla="*/ 1742270 h 1998360"/>
              <a:gd name="connsiteX46" fmla="*/ 6506797 w 10810551"/>
              <a:gd name="connsiteY46" fmla="*/ 1558934 h 1998360"/>
              <a:gd name="connsiteX47" fmla="*/ 6064184 w 10810551"/>
              <a:gd name="connsiteY47" fmla="*/ 1742270 h 1998360"/>
              <a:gd name="connsiteX48" fmla="*/ 6057141 w 10810551"/>
              <a:gd name="connsiteY48" fmla="*/ 1750807 h 1998360"/>
              <a:gd name="connsiteX49" fmla="*/ 5963926 w 10810551"/>
              <a:gd name="connsiteY49" fmla="*/ 1827716 h 1998360"/>
              <a:gd name="connsiteX50" fmla="*/ 5405275 w 10810551"/>
              <a:gd name="connsiteY50" fmla="*/ 1998360 h 1998360"/>
              <a:gd name="connsiteX51" fmla="*/ 4846624 w 10810551"/>
              <a:gd name="connsiteY51" fmla="*/ 1827716 h 1998360"/>
              <a:gd name="connsiteX52" fmla="*/ 4753398 w 10810551"/>
              <a:gd name="connsiteY52" fmla="*/ 1750797 h 1998360"/>
              <a:gd name="connsiteX53" fmla="*/ 4746363 w 10810551"/>
              <a:gd name="connsiteY53" fmla="*/ 1742270 h 1998360"/>
              <a:gd name="connsiteX54" fmla="*/ 4303750 w 10810551"/>
              <a:gd name="connsiteY54" fmla="*/ 1558934 h 1998360"/>
              <a:gd name="connsiteX55" fmla="*/ 3861138 w 10810551"/>
              <a:gd name="connsiteY55" fmla="*/ 1742270 h 1998360"/>
              <a:gd name="connsiteX56" fmla="*/ 3854096 w 10810551"/>
              <a:gd name="connsiteY56" fmla="*/ 1750805 h 1998360"/>
              <a:gd name="connsiteX57" fmla="*/ 3760879 w 10810551"/>
              <a:gd name="connsiteY57" fmla="*/ 1827716 h 1998360"/>
              <a:gd name="connsiteX58" fmla="*/ 3202228 w 10810551"/>
              <a:gd name="connsiteY58" fmla="*/ 1998360 h 1998360"/>
              <a:gd name="connsiteX59" fmla="*/ 2643577 w 10810551"/>
              <a:gd name="connsiteY59" fmla="*/ 1827716 h 1998360"/>
              <a:gd name="connsiteX60" fmla="*/ 2550353 w 10810551"/>
              <a:gd name="connsiteY60" fmla="*/ 1750799 h 1998360"/>
              <a:gd name="connsiteX61" fmla="*/ 2543316 w 10810551"/>
              <a:gd name="connsiteY61" fmla="*/ 1742270 h 1998360"/>
              <a:gd name="connsiteX62" fmla="*/ 2100703 w 10810551"/>
              <a:gd name="connsiteY62" fmla="*/ 1558934 h 1998360"/>
              <a:gd name="connsiteX63" fmla="*/ 1658091 w 10810551"/>
              <a:gd name="connsiteY63" fmla="*/ 1742270 h 1998360"/>
              <a:gd name="connsiteX64" fmla="*/ 1651051 w 10810551"/>
              <a:gd name="connsiteY64" fmla="*/ 1750802 h 1998360"/>
              <a:gd name="connsiteX65" fmla="*/ 1557831 w 10810551"/>
              <a:gd name="connsiteY65" fmla="*/ 1827716 h 1998360"/>
              <a:gd name="connsiteX66" fmla="*/ 999180 w 10810551"/>
              <a:gd name="connsiteY66" fmla="*/ 1998360 h 1998360"/>
              <a:gd name="connsiteX67" fmla="*/ 0 w 10810551"/>
              <a:gd name="connsiteY67" fmla="*/ 999180 h 1998360"/>
              <a:gd name="connsiteX68" fmla="*/ 999180 w 10810551"/>
              <a:gd name="connsiteY68" fmla="*/ 0 h 1998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0810551" h="1998360">
                <a:moveTo>
                  <a:pt x="999180" y="0"/>
                </a:moveTo>
                <a:cubicBezTo>
                  <a:pt x="1206117" y="0"/>
                  <a:pt x="1398361" y="62908"/>
                  <a:pt x="1557831" y="170644"/>
                </a:cubicBezTo>
                <a:lnTo>
                  <a:pt x="1651049" y="247556"/>
                </a:lnTo>
                <a:lnTo>
                  <a:pt x="1658091" y="256091"/>
                </a:lnTo>
                <a:cubicBezTo>
                  <a:pt x="1771365" y="369365"/>
                  <a:pt x="1927852" y="439427"/>
                  <a:pt x="2100703" y="439427"/>
                </a:cubicBezTo>
                <a:cubicBezTo>
                  <a:pt x="2273554" y="439427"/>
                  <a:pt x="2430042" y="369365"/>
                  <a:pt x="2543316" y="256091"/>
                </a:cubicBezTo>
                <a:lnTo>
                  <a:pt x="2550356" y="247558"/>
                </a:lnTo>
                <a:lnTo>
                  <a:pt x="2643577" y="170644"/>
                </a:lnTo>
                <a:cubicBezTo>
                  <a:pt x="2803047" y="62908"/>
                  <a:pt x="2995291" y="0"/>
                  <a:pt x="3202228" y="0"/>
                </a:cubicBezTo>
                <a:cubicBezTo>
                  <a:pt x="3409164" y="0"/>
                  <a:pt x="3601408" y="62908"/>
                  <a:pt x="3760879" y="170644"/>
                </a:cubicBezTo>
                <a:lnTo>
                  <a:pt x="3854093" y="247553"/>
                </a:lnTo>
                <a:lnTo>
                  <a:pt x="3861138" y="256091"/>
                </a:lnTo>
                <a:cubicBezTo>
                  <a:pt x="3974412" y="369365"/>
                  <a:pt x="4130899" y="439427"/>
                  <a:pt x="4303750" y="439427"/>
                </a:cubicBezTo>
                <a:cubicBezTo>
                  <a:pt x="4476601" y="439427"/>
                  <a:pt x="4633089" y="369365"/>
                  <a:pt x="4746363" y="256091"/>
                </a:cubicBezTo>
                <a:lnTo>
                  <a:pt x="4753401" y="247560"/>
                </a:lnTo>
                <a:lnTo>
                  <a:pt x="4846624" y="170644"/>
                </a:lnTo>
                <a:cubicBezTo>
                  <a:pt x="5006094" y="62908"/>
                  <a:pt x="5198338" y="0"/>
                  <a:pt x="5405275" y="0"/>
                </a:cubicBezTo>
                <a:cubicBezTo>
                  <a:pt x="5612212" y="0"/>
                  <a:pt x="5804456" y="62908"/>
                  <a:pt x="5963926" y="170644"/>
                </a:cubicBezTo>
                <a:lnTo>
                  <a:pt x="6057138" y="247550"/>
                </a:lnTo>
                <a:lnTo>
                  <a:pt x="6064184" y="256091"/>
                </a:lnTo>
                <a:cubicBezTo>
                  <a:pt x="6177459" y="369365"/>
                  <a:pt x="6333946" y="439427"/>
                  <a:pt x="6506797" y="439427"/>
                </a:cubicBezTo>
                <a:cubicBezTo>
                  <a:pt x="6679648" y="439427"/>
                  <a:pt x="6836136" y="369365"/>
                  <a:pt x="6949410" y="256091"/>
                </a:cubicBezTo>
                <a:lnTo>
                  <a:pt x="6956446" y="247563"/>
                </a:lnTo>
                <a:lnTo>
                  <a:pt x="7049672" y="170644"/>
                </a:lnTo>
                <a:cubicBezTo>
                  <a:pt x="7209142" y="62908"/>
                  <a:pt x="7401386" y="0"/>
                  <a:pt x="7608323" y="0"/>
                </a:cubicBezTo>
                <a:cubicBezTo>
                  <a:pt x="7815260" y="0"/>
                  <a:pt x="8007504" y="62908"/>
                  <a:pt x="8166974" y="170644"/>
                </a:cubicBezTo>
                <a:lnTo>
                  <a:pt x="8260188" y="247553"/>
                </a:lnTo>
                <a:lnTo>
                  <a:pt x="8267232" y="256091"/>
                </a:lnTo>
                <a:cubicBezTo>
                  <a:pt x="8380507" y="369365"/>
                  <a:pt x="8536994" y="439427"/>
                  <a:pt x="8709845" y="439427"/>
                </a:cubicBezTo>
                <a:cubicBezTo>
                  <a:pt x="8882696" y="439427"/>
                  <a:pt x="9039183" y="369365"/>
                  <a:pt x="9152458" y="256091"/>
                </a:cubicBezTo>
                <a:lnTo>
                  <a:pt x="9159494" y="247563"/>
                </a:lnTo>
                <a:lnTo>
                  <a:pt x="9252720" y="170644"/>
                </a:lnTo>
                <a:cubicBezTo>
                  <a:pt x="9412190" y="62908"/>
                  <a:pt x="9604434" y="0"/>
                  <a:pt x="9811371" y="0"/>
                </a:cubicBezTo>
                <a:cubicBezTo>
                  <a:pt x="10363203" y="0"/>
                  <a:pt x="10810551" y="447348"/>
                  <a:pt x="10810551" y="999180"/>
                </a:cubicBezTo>
                <a:cubicBezTo>
                  <a:pt x="10810551" y="1551012"/>
                  <a:pt x="10363203" y="1998360"/>
                  <a:pt x="9811371" y="1998360"/>
                </a:cubicBezTo>
                <a:cubicBezTo>
                  <a:pt x="9604434" y="1998360"/>
                  <a:pt x="9412190" y="1935452"/>
                  <a:pt x="9252720" y="1827716"/>
                </a:cubicBezTo>
                <a:lnTo>
                  <a:pt x="9159493" y="1750797"/>
                </a:lnTo>
                <a:lnTo>
                  <a:pt x="9152458" y="1742270"/>
                </a:lnTo>
                <a:cubicBezTo>
                  <a:pt x="9039183" y="1628996"/>
                  <a:pt x="8882696" y="1558934"/>
                  <a:pt x="8709845" y="1558934"/>
                </a:cubicBezTo>
                <a:cubicBezTo>
                  <a:pt x="8536994" y="1558934"/>
                  <a:pt x="8380507" y="1628996"/>
                  <a:pt x="8267232" y="1742270"/>
                </a:cubicBezTo>
                <a:lnTo>
                  <a:pt x="8260191" y="1750805"/>
                </a:lnTo>
                <a:lnTo>
                  <a:pt x="8166974" y="1827716"/>
                </a:lnTo>
                <a:cubicBezTo>
                  <a:pt x="8007504" y="1935452"/>
                  <a:pt x="7815260" y="1998360"/>
                  <a:pt x="7608323" y="1998360"/>
                </a:cubicBezTo>
                <a:cubicBezTo>
                  <a:pt x="7401386" y="1998360"/>
                  <a:pt x="7209142" y="1935452"/>
                  <a:pt x="7049672" y="1827716"/>
                </a:cubicBezTo>
                <a:lnTo>
                  <a:pt x="6956443" y="1750795"/>
                </a:lnTo>
                <a:lnTo>
                  <a:pt x="6949410" y="1742270"/>
                </a:lnTo>
                <a:cubicBezTo>
                  <a:pt x="6836136" y="1628996"/>
                  <a:pt x="6679648" y="1558934"/>
                  <a:pt x="6506797" y="1558934"/>
                </a:cubicBezTo>
                <a:cubicBezTo>
                  <a:pt x="6333946" y="1558934"/>
                  <a:pt x="6177459" y="1628996"/>
                  <a:pt x="6064184" y="1742270"/>
                </a:cubicBezTo>
                <a:lnTo>
                  <a:pt x="6057141" y="1750807"/>
                </a:lnTo>
                <a:lnTo>
                  <a:pt x="5963926" y="1827716"/>
                </a:lnTo>
                <a:cubicBezTo>
                  <a:pt x="5804456" y="1935452"/>
                  <a:pt x="5612212" y="1998360"/>
                  <a:pt x="5405275" y="1998360"/>
                </a:cubicBezTo>
                <a:cubicBezTo>
                  <a:pt x="5198338" y="1998360"/>
                  <a:pt x="5006094" y="1935452"/>
                  <a:pt x="4846624" y="1827716"/>
                </a:cubicBezTo>
                <a:lnTo>
                  <a:pt x="4753398" y="1750797"/>
                </a:lnTo>
                <a:lnTo>
                  <a:pt x="4746363" y="1742270"/>
                </a:lnTo>
                <a:cubicBezTo>
                  <a:pt x="4633089" y="1628996"/>
                  <a:pt x="4476601" y="1558934"/>
                  <a:pt x="4303750" y="1558934"/>
                </a:cubicBezTo>
                <a:cubicBezTo>
                  <a:pt x="4130899" y="1558934"/>
                  <a:pt x="3974412" y="1628996"/>
                  <a:pt x="3861138" y="1742270"/>
                </a:cubicBezTo>
                <a:lnTo>
                  <a:pt x="3854096" y="1750805"/>
                </a:lnTo>
                <a:lnTo>
                  <a:pt x="3760879" y="1827716"/>
                </a:lnTo>
                <a:cubicBezTo>
                  <a:pt x="3601408" y="1935452"/>
                  <a:pt x="3409164" y="1998360"/>
                  <a:pt x="3202228" y="1998360"/>
                </a:cubicBezTo>
                <a:cubicBezTo>
                  <a:pt x="2995291" y="1998360"/>
                  <a:pt x="2803047" y="1935452"/>
                  <a:pt x="2643577" y="1827716"/>
                </a:cubicBezTo>
                <a:lnTo>
                  <a:pt x="2550353" y="1750799"/>
                </a:lnTo>
                <a:lnTo>
                  <a:pt x="2543316" y="1742270"/>
                </a:lnTo>
                <a:cubicBezTo>
                  <a:pt x="2430042" y="1628996"/>
                  <a:pt x="2273554" y="1558934"/>
                  <a:pt x="2100703" y="1558934"/>
                </a:cubicBezTo>
                <a:cubicBezTo>
                  <a:pt x="1927852" y="1558934"/>
                  <a:pt x="1771365" y="1628996"/>
                  <a:pt x="1658091" y="1742270"/>
                </a:cubicBezTo>
                <a:lnTo>
                  <a:pt x="1651051" y="1750802"/>
                </a:lnTo>
                <a:lnTo>
                  <a:pt x="1557831" y="1827716"/>
                </a:lnTo>
                <a:cubicBezTo>
                  <a:pt x="1398361" y="1935452"/>
                  <a:pt x="1206117" y="1998360"/>
                  <a:pt x="999180" y="1998360"/>
                </a:cubicBezTo>
                <a:cubicBezTo>
                  <a:pt x="447348" y="1998360"/>
                  <a:pt x="0" y="1551012"/>
                  <a:pt x="0" y="999180"/>
                </a:cubicBezTo>
                <a:cubicBezTo>
                  <a:pt x="0" y="447348"/>
                  <a:pt x="447348" y="0"/>
                  <a:pt x="999180" y="0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B2C4FFF0-D84C-1140-FFD1-A8391B8845F0}"/>
              </a:ext>
            </a:extLst>
          </p:cNvPr>
          <p:cNvSpPr/>
          <p:nvPr/>
        </p:nvSpPr>
        <p:spPr>
          <a:xfrm>
            <a:off x="1696007" y="1743773"/>
            <a:ext cx="1282584" cy="128258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444500">
              <a:srgbClr val="3361F5">
                <a:alpha val="9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3516086C-6496-9A02-C8AA-6761463626BA}"/>
              </a:ext>
            </a:extLst>
          </p:cNvPr>
          <p:cNvSpPr/>
          <p:nvPr/>
        </p:nvSpPr>
        <p:spPr>
          <a:xfrm>
            <a:off x="3571296" y="1743773"/>
            <a:ext cx="1282584" cy="128258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444500">
              <a:srgbClr val="3361F5">
                <a:alpha val="9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L"/>
              <a:ea typeface="思源宋体 Light" panose="02020300000000000000" pitchFamily="18" charset="-122"/>
            </a:endParaRP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A6D5D665-F294-D237-2104-F52A8ABD98CD}"/>
              </a:ext>
            </a:extLst>
          </p:cNvPr>
          <p:cNvSpPr/>
          <p:nvPr/>
        </p:nvSpPr>
        <p:spPr>
          <a:xfrm>
            <a:off x="5454709" y="1743773"/>
            <a:ext cx="1282584" cy="128258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444500">
              <a:srgbClr val="3361F5">
                <a:alpha val="9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L"/>
              <a:ea typeface="思源宋体 Light" panose="02020300000000000000" pitchFamily="18" charset="-122"/>
            </a:endParaRPr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46E81928-A8AB-952B-DA76-3401986D6F7A}"/>
              </a:ext>
            </a:extLst>
          </p:cNvPr>
          <p:cNvSpPr/>
          <p:nvPr/>
        </p:nvSpPr>
        <p:spPr>
          <a:xfrm>
            <a:off x="7321872" y="1743773"/>
            <a:ext cx="1282584" cy="128258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444500">
              <a:srgbClr val="3361F5">
                <a:alpha val="9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L"/>
              <a:ea typeface="思源宋体 Light" panose="02020300000000000000" pitchFamily="18" charset="-122"/>
            </a:endParaRPr>
          </a:p>
        </p:txBody>
      </p:sp>
      <p:sp>
        <p:nvSpPr>
          <p:cNvPr id="69" name="椭圆 68">
            <a:extLst>
              <a:ext uri="{FF2B5EF4-FFF2-40B4-BE49-F238E27FC236}">
                <a16:creationId xmlns:a16="http://schemas.microsoft.com/office/drawing/2014/main" id="{2CC2B1D6-0C30-502F-5A80-22D7DA1947ED}"/>
              </a:ext>
            </a:extLst>
          </p:cNvPr>
          <p:cNvSpPr/>
          <p:nvPr/>
        </p:nvSpPr>
        <p:spPr>
          <a:xfrm>
            <a:off x="9197159" y="1743773"/>
            <a:ext cx="1282584" cy="128258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444500">
              <a:srgbClr val="3361F5">
                <a:alpha val="9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L"/>
              <a:ea typeface="思源宋体 Light" panose="02020300000000000000" pitchFamily="18" charset="-122"/>
            </a:endParaRPr>
          </a:p>
        </p:txBody>
      </p:sp>
      <p:sp>
        <p:nvSpPr>
          <p:cNvPr id="74" name="任意多边形: 形状 73">
            <a:extLst>
              <a:ext uri="{FF2B5EF4-FFF2-40B4-BE49-F238E27FC236}">
                <a16:creationId xmlns:a16="http://schemas.microsoft.com/office/drawing/2014/main" id="{B3959B01-43E0-A50A-154B-1E2A2A32F531}"/>
              </a:ext>
            </a:extLst>
          </p:cNvPr>
          <p:cNvSpPr/>
          <p:nvPr/>
        </p:nvSpPr>
        <p:spPr>
          <a:xfrm rot="5400000">
            <a:off x="3149182" y="2264078"/>
            <a:ext cx="214006" cy="305348"/>
          </a:xfrm>
          <a:custGeom>
            <a:avLst/>
            <a:gdLst>
              <a:gd name="connsiteX0" fmla="*/ 0 w 595310"/>
              <a:gd name="connsiteY0" fmla="*/ 307032 h 849403"/>
              <a:gd name="connsiteX1" fmla="*/ 297655 w 595310"/>
              <a:gd name="connsiteY1" fmla="*/ 0 h 849403"/>
              <a:gd name="connsiteX2" fmla="*/ 595310 w 595310"/>
              <a:gd name="connsiteY2" fmla="*/ 307032 h 849403"/>
              <a:gd name="connsiteX3" fmla="*/ 449534 w 595310"/>
              <a:gd name="connsiteY3" fmla="*/ 307032 h 849403"/>
              <a:gd name="connsiteX4" fmla="*/ 297655 w 595310"/>
              <a:gd name="connsiteY4" fmla="*/ 849403 h 849403"/>
              <a:gd name="connsiteX5" fmla="*/ 145776 w 595310"/>
              <a:gd name="connsiteY5" fmla="*/ 307032 h 849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310" h="849403">
                <a:moveTo>
                  <a:pt x="0" y="307032"/>
                </a:moveTo>
                <a:lnTo>
                  <a:pt x="297655" y="0"/>
                </a:lnTo>
                <a:lnTo>
                  <a:pt x="595310" y="307032"/>
                </a:lnTo>
                <a:lnTo>
                  <a:pt x="449534" y="307032"/>
                </a:lnTo>
                <a:lnTo>
                  <a:pt x="297655" y="849403"/>
                </a:lnTo>
                <a:lnTo>
                  <a:pt x="145776" y="307032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3CECF49F-C083-6E35-796E-EEB41630C1B8}"/>
              </a:ext>
            </a:extLst>
          </p:cNvPr>
          <p:cNvSpPr/>
          <p:nvPr/>
        </p:nvSpPr>
        <p:spPr>
          <a:xfrm rot="5400000">
            <a:off x="5023737" y="2264078"/>
            <a:ext cx="214006" cy="305348"/>
          </a:xfrm>
          <a:custGeom>
            <a:avLst/>
            <a:gdLst>
              <a:gd name="connsiteX0" fmla="*/ 0 w 595310"/>
              <a:gd name="connsiteY0" fmla="*/ 307032 h 849403"/>
              <a:gd name="connsiteX1" fmla="*/ 297655 w 595310"/>
              <a:gd name="connsiteY1" fmla="*/ 0 h 849403"/>
              <a:gd name="connsiteX2" fmla="*/ 595310 w 595310"/>
              <a:gd name="connsiteY2" fmla="*/ 307032 h 849403"/>
              <a:gd name="connsiteX3" fmla="*/ 449534 w 595310"/>
              <a:gd name="connsiteY3" fmla="*/ 307032 h 849403"/>
              <a:gd name="connsiteX4" fmla="*/ 297655 w 595310"/>
              <a:gd name="connsiteY4" fmla="*/ 849403 h 849403"/>
              <a:gd name="connsiteX5" fmla="*/ 145776 w 595310"/>
              <a:gd name="connsiteY5" fmla="*/ 307032 h 849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310" h="849403">
                <a:moveTo>
                  <a:pt x="0" y="307032"/>
                </a:moveTo>
                <a:lnTo>
                  <a:pt x="297655" y="0"/>
                </a:lnTo>
                <a:lnTo>
                  <a:pt x="595310" y="307032"/>
                </a:lnTo>
                <a:lnTo>
                  <a:pt x="449534" y="307032"/>
                </a:lnTo>
                <a:lnTo>
                  <a:pt x="297655" y="849403"/>
                </a:lnTo>
                <a:lnTo>
                  <a:pt x="145776" y="307032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76" name="任意多边形: 形状 75">
            <a:extLst>
              <a:ext uri="{FF2B5EF4-FFF2-40B4-BE49-F238E27FC236}">
                <a16:creationId xmlns:a16="http://schemas.microsoft.com/office/drawing/2014/main" id="{DB2E22D8-0000-84AD-3AA9-B975D322C46A}"/>
              </a:ext>
            </a:extLst>
          </p:cNvPr>
          <p:cNvSpPr/>
          <p:nvPr/>
        </p:nvSpPr>
        <p:spPr>
          <a:xfrm rot="5400000">
            <a:off x="6898291" y="2264078"/>
            <a:ext cx="214006" cy="305348"/>
          </a:xfrm>
          <a:custGeom>
            <a:avLst/>
            <a:gdLst>
              <a:gd name="connsiteX0" fmla="*/ 0 w 595310"/>
              <a:gd name="connsiteY0" fmla="*/ 307032 h 849403"/>
              <a:gd name="connsiteX1" fmla="*/ 297655 w 595310"/>
              <a:gd name="connsiteY1" fmla="*/ 0 h 849403"/>
              <a:gd name="connsiteX2" fmla="*/ 595310 w 595310"/>
              <a:gd name="connsiteY2" fmla="*/ 307032 h 849403"/>
              <a:gd name="connsiteX3" fmla="*/ 449534 w 595310"/>
              <a:gd name="connsiteY3" fmla="*/ 307032 h 849403"/>
              <a:gd name="connsiteX4" fmla="*/ 297655 w 595310"/>
              <a:gd name="connsiteY4" fmla="*/ 849403 h 849403"/>
              <a:gd name="connsiteX5" fmla="*/ 145776 w 595310"/>
              <a:gd name="connsiteY5" fmla="*/ 307032 h 849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310" h="849403">
                <a:moveTo>
                  <a:pt x="0" y="307032"/>
                </a:moveTo>
                <a:lnTo>
                  <a:pt x="297655" y="0"/>
                </a:lnTo>
                <a:lnTo>
                  <a:pt x="595310" y="307032"/>
                </a:lnTo>
                <a:lnTo>
                  <a:pt x="449534" y="307032"/>
                </a:lnTo>
                <a:lnTo>
                  <a:pt x="297655" y="849403"/>
                </a:lnTo>
                <a:lnTo>
                  <a:pt x="145776" y="307032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77" name="任意多边形: 形状 76">
            <a:extLst>
              <a:ext uri="{FF2B5EF4-FFF2-40B4-BE49-F238E27FC236}">
                <a16:creationId xmlns:a16="http://schemas.microsoft.com/office/drawing/2014/main" id="{70AA6BC3-ED78-DB46-2318-17B90DE7CD13}"/>
              </a:ext>
            </a:extLst>
          </p:cNvPr>
          <p:cNvSpPr/>
          <p:nvPr/>
        </p:nvSpPr>
        <p:spPr>
          <a:xfrm rot="5400000">
            <a:off x="8772845" y="2264078"/>
            <a:ext cx="214006" cy="305348"/>
          </a:xfrm>
          <a:custGeom>
            <a:avLst/>
            <a:gdLst>
              <a:gd name="connsiteX0" fmla="*/ 0 w 595310"/>
              <a:gd name="connsiteY0" fmla="*/ 307032 h 849403"/>
              <a:gd name="connsiteX1" fmla="*/ 297655 w 595310"/>
              <a:gd name="connsiteY1" fmla="*/ 0 h 849403"/>
              <a:gd name="connsiteX2" fmla="*/ 595310 w 595310"/>
              <a:gd name="connsiteY2" fmla="*/ 307032 h 849403"/>
              <a:gd name="connsiteX3" fmla="*/ 449534 w 595310"/>
              <a:gd name="connsiteY3" fmla="*/ 307032 h 849403"/>
              <a:gd name="connsiteX4" fmla="*/ 297655 w 595310"/>
              <a:gd name="connsiteY4" fmla="*/ 849403 h 849403"/>
              <a:gd name="connsiteX5" fmla="*/ 145776 w 595310"/>
              <a:gd name="connsiteY5" fmla="*/ 307032 h 849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310" h="849403">
                <a:moveTo>
                  <a:pt x="0" y="307032"/>
                </a:moveTo>
                <a:lnTo>
                  <a:pt x="297655" y="0"/>
                </a:lnTo>
                <a:lnTo>
                  <a:pt x="595310" y="307032"/>
                </a:lnTo>
                <a:lnTo>
                  <a:pt x="449534" y="307032"/>
                </a:lnTo>
                <a:lnTo>
                  <a:pt x="297655" y="849403"/>
                </a:lnTo>
                <a:lnTo>
                  <a:pt x="145776" y="307032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B17EB52A-86D8-4972-5484-8CEDFABCC7E8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AF368F1F-0822-E3A5-EA75-383F8AC061F7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3748903A-90AC-FB24-AB70-51F74923BA50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E78656CD-1D69-2A4B-7E86-6E3AE86CE0F0}"/>
              </a:ext>
            </a:extLst>
          </p:cNvPr>
          <p:cNvGrpSpPr/>
          <p:nvPr/>
        </p:nvGrpSpPr>
        <p:grpSpPr>
          <a:xfrm>
            <a:off x="4004099" y="2084591"/>
            <a:ext cx="395205" cy="443754"/>
            <a:chOff x="3193522" y="5222129"/>
            <a:chExt cx="395205" cy="443754"/>
          </a:xfrm>
          <a:solidFill>
            <a:schemeClr val="tx1"/>
          </a:solidFill>
        </p:grpSpPr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503D6351-D89F-7EC9-9E09-52B14442DE45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9DD5A006-F1AD-7DBB-BFA8-FF2764812C71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3" name="组合 102">
            <a:extLst>
              <a:ext uri="{FF2B5EF4-FFF2-40B4-BE49-F238E27FC236}">
                <a16:creationId xmlns:a16="http://schemas.microsoft.com/office/drawing/2014/main" id="{6E402CB9-37A5-34D4-C561-02F9428768BC}"/>
              </a:ext>
            </a:extLst>
          </p:cNvPr>
          <p:cNvGrpSpPr/>
          <p:nvPr/>
        </p:nvGrpSpPr>
        <p:grpSpPr>
          <a:xfrm>
            <a:off x="2068359" y="2084591"/>
            <a:ext cx="441102" cy="423968"/>
            <a:chOff x="1406740" y="5275641"/>
            <a:chExt cx="441102" cy="423968"/>
          </a:xfrm>
          <a:solidFill>
            <a:schemeClr val="tx1"/>
          </a:solidFill>
        </p:grpSpPr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7442D19E-29F5-9384-5C16-AEE36A2A8927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EA764383-1767-5224-C28F-A3845407C8B3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7" name="组合 106">
            <a:extLst>
              <a:ext uri="{FF2B5EF4-FFF2-40B4-BE49-F238E27FC236}">
                <a16:creationId xmlns:a16="http://schemas.microsoft.com/office/drawing/2014/main" id="{A82E7C04-7FBC-AEDF-53D7-C84C4882F4A8}"/>
              </a:ext>
            </a:extLst>
          </p:cNvPr>
          <p:cNvGrpSpPr/>
          <p:nvPr/>
        </p:nvGrpSpPr>
        <p:grpSpPr>
          <a:xfrm>
            <a:off x="5870375" y="2109898"/>
            <a:ext cx="433340" cy="433340"/>
            <a:chOff x="10357510" y="5253191"/>
            <a:chExt cx="355003" cy="355003"/>
          </a:xfrm>
          <a:solidFill>
            <a:schemeClr val="tx1"/>
          </a:solidFill>
        </p:grpSpPr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26739FCC-DFCC-7546-C67D-46CEC77043C8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A7D20A90-C30F-93A6-61F7-88CEA54A55E9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13" name="组合 112">
            <a:extLst>
              <a:ext uri="{FF2B5EF4-FFF2-40B4-BE49-F238E27FC236}">
                <a16:creationId xmlns:a16="http://schemas.microsoft.com/office/drawing/2014/main" id="{026BA410-24D0-FF1C-F377-E70830D36E76}"/>
              </a:ext>
            </a:extLst>
          </p:cNvPr>
          <p:cNvGrpSpPr/>
          <p:nvPr/>
        </p:nvGrpSpPr>
        <p:grpSpPr>
          <a:xfrm>
            <a:off x="7758443" y="2132745"/>
            <a:ext cx="387355" cy="378253"/>
            <a:chOff x="6770455" y="5253911"/>
            <a:chExt cx="387355" cy="378253"/>
          </a:xfrm>
          <a:solidFill>
            <a:schemeClr val="tx1"/>
          </a:solidFill>
        </p:grpSpPr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EE566A36-937B-C752-734D-10E59BB8BB99}"/>
                </a:ext>
              </a:extLst>
            </p:cNvPr>
            <p:cNvSpPr/>
            <p:nvPr/>
          </p:nvSpPr>
          <p:spPr>
            <a:xfrm>
              <a:off x="6770455" y="5253911"/>
              <a:ext cx="387355" cy="378253"/>
            </a:xfrm>
            <a:custGeom>
              <a:avLst/>
              <a:gdLst>
                <a:gd name="connsiteX0" fmla="*/ 291860 w 387355"/>
                <a:gd name="connsiteY0" fmla="*/ 378254 h 378253"/>
                <a:gd name="connsiteX1" fmla="*/ 95496 w 387355"/>
                <a:gd name="connsiteY1" fmla="*/ 378254 h 378253"/>
                <a:gd name="connsiteX2" fmla="*/ 0 w 387355"/>
                <a:gd name="connsiteY2" fmla="*/ 282758 h 378253"/>
                <a:gd name="connsiteX3" fmla="*/ 0 w 387355"/>
                <a:gd name="connsiteY3" fmla="*/ 168162 h 378253"/>
                <a:gd name="connsiteX4" fmla="*/ 38198 w 387355"/>
                <a:gd name="connsiteY4" fmla="*/ 91169 h 378253"/>
                <a:gd name="connsiteX5" fmla="*/ 133098 w 387355"/>
                <a:gd name="connsiteY5" fmla="*/ 20144 h 378253"/>
                <a:gd name="connsiteX6" fmla="*/ 254855 w 387355"/>
                <a:gd name="connsiteY6" fmla="*/ 20144 h 378253"/>
                <a:gd name="connsiteX7" fmla="*/ 349157 w 387355"/>
                <a:gd name="connsiteY7" fmla="*/ 91169 h 378253"/>
                <a:gd name="connsiteX8" fmla="*/ 387356 w 387355"/>
                <a:gd name="connsiteY8" fmla="*/ 168162 h 378253"/>
                <a:gd name="connsiteX9" fmla="*/ 387356 w 387355"/>
                <a:gd name="connsiteY9" fmla="*/ 282161 h 378253"/>
                <a:gd name="connsiteX10" fmla="*/ 291860 w 387355"/>
                <a:gd name="connsiteY10" fmla="*/ 378254 h 378253"/>
                <a:gd name="connsiteX11" fmla="*/ 147422 w 387355"/>
                <a:gd name="connsiteY11" fmla="*/ 39840 h 378253"/>
                <a:gd name="connsiteX12" fmla="*/ 52523 w 387355"/>
                <a:gd name="connsiteY12" fmla="*/ 110865 h 378253"/>
                <a:gd name="connsiteX13" fmla="*/ 23874 w 387355"/>
                <a:gd name="connsiteY13" fmla="*/ 168759 h 378253"/>
                <a:gd name="connsiteX14" fmla="*/ 23874 w 387355"/>
                <a:gd name="connsiteY14" fmla="*/ 282758 h 378253"/>
                <a:gd name="connsiteX15" fmla="*/ 95496 w 387355"/>
                <a:gd name="connsiteY15" fmla="*/ 354380 h 378253"/>
                <a:gd name="connsiteX16" fmla="*/ 291860 w 387355"/>
                <a:gd name="connsiteY16" fmla="*/ 354380 h 378253"/>
                <a:gd name="connsiteX17" fmla="*/ 363482 w 387355"/>
                <a:gd name="connsiteY17" fmla="*/ 282758 h 378253"/>
                <a:gd name="connsiteX18" fmla="*/ 363482 w 387355"/>
                <a:gd name="connsiteY18" fmla="*/ 168162 h 378253"/>
                <a:gd name="connsiteX19" fmla="*/ 334833 w 387355"/>
                <a:gd name="connsiteY19" fmla="*/ 110268 h 378253"/>
                <a:gd name="connsiteX20" fmla="*/ 240531 w 387355"/>
                <a:gd name="connsiteY20" fmla="*/ 39243 h 378253"/>
                <a:gd name="connsiteX21" fmla="*/ 147422 w 387355"/>
                <a:gd name="connsiteY21" fmla="*/ 39840 h 37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7355" h="378253">
                  <a:moveTo>
                    <a:pt x="291860" y="378254"/>
                  </a:moveTo>
                  <a:lnTo>
                    <a:pt x="95496" y="378254"/>
                  </a:lnTo>
                  <a:cubicBezTo>
                    <a:pt x="42973" y="378254"/>
                    <a:pt x="0" y="335281"/>
                    <a:pt x="0" y="282758"/>
                  </a:cubicBezTo>
                  <a:lnTo>
                    <a:pt x="0" y="168162"/>
                  </a:lnTo>
                  <a:cubicBezTo>
                    <a:pt x="0" y="137723"/>
                    <a:pt x="14324" y="109074"/>
                    <a:pt x="38198" y="91169"/>
                  </a:cubicBezTo>
                  <a:lnTo>
                    <a:pt x="133098" y="20144"/>
                  </a:lnTo>
                  <a:cubicBezTo>
                    <a:pt x="169505" y="-6715"/>
                    <a:pt x="218447" y="-6715"/>
                    <a:pt x="254855" y="20144"/>
                  </a:cubicBezTo>
                  <a:lnTo>
                    <a:pt x="349157" y="91169"/>
                  </a:lnTo>
                  <a:cubicBezTo>
                    <a:pt x="373628" y="109671"/>
                    <a:pt x="387356" y="137723"/>
                    <a:pt x="387356" y="168162"/>
                  </a:cubicBezTo>
                  <a:lnTo>
                    <a:pt x="387356" y="282161"/>
                  </a:lnTo>
                  <a:cubicBezTo>
                    <a:pt x="387356" y="335281"/>
                    <a:pt x="344382" y="378254"/>
                    <a:pt x="291860" y="378254"/>
                  </a:cubicBezTo>
                  <a:close/>
                  <a:moveTo>
                    <a:pt x="147422" y="39840"/>
                  </a:moveTo>
                  <a:lnTo>
                    <a:pt x="52523" y="110865"/>
                  </a:lnTo>
                  <a:cubicBezTo>
                    <a:pt x="34617" y="123996"/>
                    <a:pt x="23874" y="145482"/>
                    <a:pt x="23874" y="168759"/>
                  </a:cubicBezTo>
                  <a:lnTo>
                    <a:pt x="23874" y="282758"/>
                  </a:lnTo>
                  <a:cubicBezTo>
                    <a:pt x="23874" y="322150"/>
                    <a:pt x="56104" y="354380"/>
                    <a:pt x="95496" y="354380"/>
                  </a:cubicBezTo>
                  <a:lnTo>
                    <a:pt x="291860" y="354380"/>
                  </a:lnTo>
                  <a:cubicBezTo>
                    <a:pt x="331252" y="354380"/>
                    <a:pt x="363482" y="322150"/>
                    <a:pt x="363482" y="282758"/>
                  </a:cubicBezTo>
                  <a:lnTo>
                    <a:pt x="363482" y="168162"/>
                  </a:lnTo>
                  <a:cubicBezTo>
                    <a:pt x="363482" y="145482"/>
                    <a:pt x="352738" y="124592"/>
                    <a:pt x="334833" y="110268"/>
                  </a:cubicBezTo>
                  <a:lnTo>
                    <a:pt x="240531" y="39243"/>
                  </a:lnTo>
                  <a:cubicBezTo>
                    <a:pt x="212479" y="18950"/>
                    <a:pt x="174877" y="18950"/>
                    <a:pt x="147422" y="39840"/>
                  </a:cubicBez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73F08C36-71C7-71FA-0C05-BF7CD7A59BA1}"/>
                </a:ext>
              </a:extLst>
            </p:cNvPr>
            <p:cNvSpPr/>
            <p:nvPr/>
          </p:nvSpPr>
          <p:spPr>
            <a:xfrm>
              <a:off x="6905100" y="5482249"/>
              <a:ext cx="118526" cy="53225"/>
            </a:xfrm>
            <a:custGeom>
              <a:avLst/>
              <a:gdLst>
                <a:gd name="connsiteX0" fmla="*/ 58735 w 118526"/>
                <a:gd name="connsiteY0" fmla="*/ 53226 h 53225"/>
                <a:gd name="connsiteX1" fmla="*/ 1438 w 118526"/>
                <a:gd name="connsiteY1" fmla="*/ 18012 h 53225"/>
                <a:gd name="connsiteX2" fmla="*/ 5616 w 118526"/>
                <a:gd name="connsiteY2" fmla="*/ 2494 h 53225"/>
                <a:gd name="connsiteX3" fmla="*/ 21134 w 118526"/>
                <a:gd name="connsiteY3" fmla="*/ 6672 h 53225"/>
                <a:gd name="connsiteX4" fmla="*/ 59332 w 118526"/>
                <a:gd name="connsiteY4" fmla="*/ 30546 h 53225"/>
                <a:gd name="connsiteX5" fmla="*/ 96934 w 118526"/>
                <a:gd name="connsiteY5" fmla="*/ 6075 h 53225"/>
                <a:gd name="connsiteX6" fmla="*/ 112452 w 118526"/>
                <a:gd name="connsiteY6" fmla="*/ 1300 h 53225"/>
                <a:gd name="connsiteX7" fmla="*/ 117227 w 118526"/>
                <a:gd name="connsiteY7" fmla="*/ 16818 h 53225"/>
                <a:gd name="connsiteX8" fmla="*/ 60526 w 118526"/>
                <a:gd name="connsiteY8" fmla="*/ 53226 h 53225"/>
                <a:gd name="connsiteX9" fmla="*/ 58735 w 118526"/>
                <a:gd name="connsiteY9" fmla="*/ 53226 h 5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526" h="53225">
                  <a:moveTo>
                    <a:pt x="58735" y="53226"/>
                  </a:moveTo>
                  <a:cubicBezTo>
                    <a:pt x="35458" y="53226"/>
                    <a:pt x="13971" y="40095"/>
                    <a:pt x="1438" y="18012"/>
                  </a:cubicBezTo>
                  <a:cubicBezTo>
                    <a:pt x="-1547" y="12640"/>
                    <a:pt x="244" y="5478"/>
                    <a:pt x="5616" y="2494"/>
                  </a:cubicBezTo>
                  <a:cubicBezTo>
                    <a:pt x="10987" y="-491"/>
                    <a:pt x="18149" y="1300"/>
                    <a:pt x="21134" y="6672"/>
                  </a:cubicBezTo>
                  <a:cubicBezTo>
                    <a:pt x="29490" y="21593"/>
                    <a:pt x="44411" y="30546"/>
                    <a:pt x="59332" y="30546"/>
                  </a:cubicBezTo>
                  <a:cubicBezTo>
                    <a:pt x="74850" y="30546"/>
                    <a:pt x="88578" y="20996"/>
                    <a:pt x="96934" y="6075"/>
                  </a:cubicBezTo>
                  <a:cubicBezTo>
                    <a:pt x="99918" y="703"/>
                    <a:pt x="107080" y="-1684"/>
                    <a:pt x="112452" y="1300"/>
                  </a:cubicBezTo>
                  <a:cubicBezTo>
                    <a:pt x="117823" y="4284"/>
                    <a:pt x="120211" y="11446"/>
                    <a:pt x="117227" y="16818"/>
                  </a:cubicBezTo>
                  <a:cubicBezTo>
                    <a:pt x="105290" y="38902"/>
                    <a:pt x="83803" y="52629"/>
                    <a:pt x="60526" y="53226"/>
                  </a:cubicBezTo>
                  <a:lnTo>
                    <a:pt x="58735" y="53226"/>
                  </a:ln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3CC359E2-8EA7-D124-F7BB-556CABF8D353}"/>
              </a:ext>
            </a:extLst>
          </p:cNvPr>
          <p:cNvGrpSpPr/>
          <p:nvPr/>
        </p:nvGrpSpPr>
        <p:grpSpPr>
          <a:xfrm>
            <a:off x="9617225" y="2109896"/>
            <a:ext cx="441102" cy="423968"/>
            <a:chOff x="1406740" y="5275641"/>
            <a:chExt cx="441102" cy="423968"/>
          </a:xfrm>
          <a:solidFill>
            <a:schemeClr val="tx1"/>
          </a:solidFill>
        </p:grpSpPr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40999A6C-A70D-CCFC-E577-710240BDE09C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4081170E-9E46-0368-075E-4C1238A9B893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124" name="稿定-9">
            <a:extLst>
              <a:ext uri="{FF2B5EF4-FFF2-40B4-BE49-F238E27FC236}">
                <a16:creationId xmlns:a16="http://schemas.microsoft.com/office/drawing/2014/main" id="{CA06E12D-23A3-23F7-E0B7-721CF8B163DA}"/>
              </a:ext>
            </a:extLst>
          </p:cNvPr>
          <p:cNvSpPr/>
          <p:nvPr/>
        </p:nvSpPr>
        <p:spPr>
          <a:xfrm flipH="1">
            <a:off x="1809320" y="36057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5" name="稿定-31">
            <a:extLst>
              <a:ext uri="{FF2B5EF4-FFF2-40B4-BE49-F238E27FC236}">
                <a16:creationId xmlns:a16="http://schemas.microsoft.com/office/drawing/2014/main" id="{0294256F-0F95-52D7-465E-4F28AF671A9F}"/>
              </a:ext>
            </a:extLst>
          </p:cNvPr>
          <p:cNvSpPr/>
          <p:nvPr/>
        </p:nvSpPr>
        <p:spPr>
          <a:xfrm flipH="1">
            <a:off x="1611906" y="38715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26" name="稿定-9">
            <a:extLst>
              <a:ext uri="{FF2B5EF4-FFF2-40B4-BE49-F238E27FC236}">
                <a16:creationId xmlns:a16="http://schemas.microsoft.com/office/drawing/2014/main" id="{EF441425-5A6B-5F7D-F24A-F4C5E2EC7F70}"/>
              </a:ext>
            </a:extLst>
          </p:cNvPr>
          <p:cNvSpPr/>
          <p:nvPr/>
        </p:nvSpPr>
        <p:spPr>
          <a:xfrm flipH="1">
            <a:off x="1809320" y="448053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7" name="稿定-31">
            <a:extLst>
              <a:ext uri="{FF2B5EF4-FFF2-40B4-BE49-F238E27FC236}">
                <a16:creationId xmlns:a16="http://schemas.microsoft.com/office/drawing/2014/main" id="{D91CF8CC-A7AF-D647-DBB5-69E8CC2C80FA}"/>
              </a:ext>
            </a:extLst>
          </p:cNvPr>
          <p:cNvSpPr/>
          <p:nvPr/>
        </p:nvSpPr>
        <p:spPr>
          <a:xfrm flipH="1">
            <a:off x="1611906" y="474627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28" name="稿定-9">
            <a:extLst>
              <a:ext uri="{FF2B5EF4-FFF2-40B4-BE49-F238E27FC236}">
                <a16:creationId xmlns:a16="http://schemas.microsoft.com/office/drawing/2014/main" id="{B90C76FB-4484-8892-166A-1417348ED7CB}"/>
              </a:ext>
            </a:extLst>
          </p:cNvPr>
          <p:cNvSpPr/>
          <p:nvPr/>
        </p:nvSpPr>
        <p:spPr>
          <a:xfrm flipH="1">
            <a:off x="1809320" y="535528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29" name="稿定-31">
            <a:extLst>
              <a:ext uri="{FF2B5EF4-FFF2-40B4-BE49-F238E27FC236}">
                <a16:creationId xmlns:a16="http://schemas.microsoft.com/office/drawing/2014/main" id="{D98E3AEA-44E8-BE32-EFEF-884075294327}"/>
              </a:ext>
            </a:extLst>
          </p:cNvPr>
          <p:cNvSpPr/>
          <p:nvPr/>
        </p:nvSpPr>
        <p:spPr>
          <a:xfrm flipH="1">
            <a:off x="1611906" y="562101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41" name="稿定-9">
            <a:extLst>
              <a:ext uri="{FF2B5EF4-FFF2-40B4-BE49-F238E27FC236}">
                <a16:creationId xmlns:a16="http://schemas.microsoft.com/office/drawing/2014/main" id="{105664FF-96D1-4A32-1037-02167DBACDE1}"/>
              </a:ext>
            </a:extLst>
          </p:cNvPr>
          <p:cNvSpPr/>
          <p:nvPr/>
        </p:nvSpPr>
        <p:spPr>
          <a:xfrm flipH="1">
            <a:off x="3684609" y="36057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42" name="稿定-31">
            <a:extLst>
              <a:ext uri="{FF2B5EF4-FFF2-40B4-BE49-F238E27FC236}">
                <a16:creationId xmlns:a16="http://schemas.microsoft.com/office/drawing/2014/main" id="{A85FC7FA-CD8C-69B4-A458-78F8843F7CC8}"/>
              </a:ext>
            </a:extLst>
          </p:cNvPr>
          <p:cNvSpPr/>
          <p:nvPr/>
        </p:nvSpPr>
        <p:spPr>
          <a:xfrm flipH="1">
            <a:off x="3487195" y="38715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43" name="稿定-9">
            <a:extLst>
              <a:ext uri="{FF2B5EF4-FFF2-40B4-BE49-F238E27FC236}">
                <a16:creationId xmlns:a16="http://schemas.microsoft.com/office/drawing/2014/main" id="{08D763D0-6065-A8EF-AF3B-1B76ED7FFA92}"/>
              </a:ext>
            </a:extLst>
          </p:cNvPr>
          <p:cNvSpPr/>
          <p:nvPr/>
        </p:nvSpPr>
        <p:spPr>
          <a:xfrm flipH="1">
            <a:off x="3684609" y="448053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44" name="稿定-31">
            <a:extLst>
              <a:ext uri="{FF2B5EF4-FFF2-40B4-BE49-F238E27FC236}">
                <a16:creationId xmlns:a16="http://schemas.microsoft.com/office/drawing/2014/main" id="{9DBF7C42-DC30-B2A1-CE9E-7E48E78B7336}"/>
              </a:ext>
            </a:extLst>
          </p:cNvPr>
          <p:cNvSpPr/>
          <p:nvPr/>
        </p:nvSpPr>
        <p:spPr>
          <a:xfrm flipH="1">
            <a:off x="3487195" y="474627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45" name="稿定-9">
            <a:extLst>
              <a:ext uri="{FF2B5EF4-FFF2-40B4-BE49-F238E27FC236}">
                <a16:creationId xmlns:a16="http://schemas.microsoft.com/office/drawing/2014/main" id="{F76A25CA-FB81-527A-A82A-E399575997BC}"/>
              </a:ext>
            </a:extLst>
          </p:cNvPr>
          <p:cNvSpPr/>
          <p:nvPr/>
        </p:nvSpPr>
        <p:spPr>
          <a:xfrm flipH="1">
            <a:off x="3684609" y="535528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46" name="稿定-31">
            <a:extLst>
              <a:ext uri="{FF2B5EF4-FFF2-40B4-BE49-F238E27FC236}">
                <a16:creationId xmlns:a16="http://schemas.microsoft.com/office/drawing/2014/main" id="{390E6C81-24AD-3BD2-FC8B-E7414B55CE5F}"/>
              </a:ext>
            </a:extLst>
          </p:cNvPr>
          <p:cNvSpPr/>
          <p:nvPr/>
        </p:nvSpPr>
        <p:spPr>
          <a:xfrm flipH="1">
            <a:off x="3487195" y="562101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47" name="稿定-9">
            <a:extLst>
              <a:ext uri="{FF2B5EF4-FFF2-40B4-BE49-F238E27FC236}">
                <a16:creationId xmlns:a16="http://schemas.microsoft.com/office/drawing/2014/main" id="{D5BB2AD7-415F-347C-892B-FE0DE5F3CC2B}"/>
              </a:ext>
            </a:extLst>
          </p:cNvPr>
          <p:cNvSpPr/>
          <p:nvPr/>
        </p:nvSpPr>
        <p:spPr>
          <a:xfrm flipH="1">
            <a:off x="5568022" y="36057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50" name="稿定-31">
            <a:extLst>
              <a:ext uri="{FF2B5EF4-FFF2-40B4-BE49-F238E27FC236}">
                <a16:creationId xmlns:a16="http://schemas.microsoft.com/office/drawing/2014/main" id="{074E2747-2114-DECE-1FC0-40BA88C4AA2B}"/>
              </a:ext>
            </a:extLst>
          </p:cNvPr>
          <p:cNvSpPr/>
          <p:nvPr/>
        </p:nvSpPr>
        <p:spPr>
          <a:xfrm flipH="1">
            <a:off x="5370608" y="38715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51" name="稿定-9">
            <a:extLst>
              <a:ext uri="{FF2B5EF4-FFF2-40B4-BE49-F238E27FC236}">
                <a16:creationId xmlns:a16="http://schemas.microsoft.com/office/drawing/2014/main" id="{53B1ABB8-52FE-839B-0694-5A8FD09FAAB2}"/>
              </a:ext>
            </a:extLst>
          </p:cNvPr>
          <p:cNvSpPr/>
          <p:nvPr/>
        </p:nvSpPr>
        <p:spPr>
          <a:xfrm flipH="1">
            <a:off x="5568022" y="448053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52" name="稿定-31">
            <a:extLst>
              <a:ext uri="{FF2B5EF4-FFF2-40B4-BE49-F238E27FC236}">
                <a16:creationId xmlns:a16="http://schemas.microsoft.com/office/drawing/2014/main" id="{D3F38976-4FD9-BDC8-05EE-6804ECC098AD}"/>
              </a:ext>
            </a:extLst>
          </p:cNvPr>
          <p:cNvSpPr/>
          <p:nvPr/>
        </p:nvSpPr>
        <p:spPr>
          <a:xfrm flipH="1">
            <a:off x="5370608" y="474627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53" name="稿定-9">
            <a:extLst>
              <a:ext uri="{FF2B5EF4-FFF2-40B4-BE49-F238E27FC236}">
                <a16:creationId xmlns:a16="http://schemas.microsoft.com/office/drawing/2014/main" id="{AA1D2549-55A9-72CA-1C78-CD852F872483}"/>
              </a:ext>
            </a:extLst>
          </p:cNvPr>
          <p:cNvSpPr/>
          <p:nvPr/>
        </p:nvSpPr>
        <p:spPr>
          <a:xfrm flipH="1">
            <a:off x="5568022" y="535528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54" name="稿定-31">
            <a:extLst>
              <a:ext uri="{FF2B5EF4-FFF2-40B4-BE49-F238E27FC236}">
                <a16:creationId xmlns:a16="http://schemas.microsoft.com/office/drawing/2014/main" id="{F79B4975-6742-A9FE-2065-70B774D95DBC}"/>
              </a:ext>
            </a:extLst>
          </p:cNvPr>
          <p:cNvSpPr/>
          <p:nvPr/>
        </p:nvSpPr>
        <p:spPr>
          <a:xfrm flipH="1">
            <a:off x="5370608" y="562101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55" name="稿定-9">
            <a:extLst>
              <a:ext uri="{FF2B5EF4-FFF2-40B4-BE49-F238E27FC236}">
                <a16:creationId xmlns:a16="http://schemas.microsoft.com/office/drawing/2014/main" id="{0FF7AAB4-2398-AEAD-82A0-19F39B3A6453}"/>
              </a:ext>
            </a:extLst>
          </p:cNvPr>
          <p:cNvSpPr/>
          <p:nvPr/>
        </p:nvSpPr>
        <p:spPr>
          <a:xfrm flipH="1">
            <a:off x="7470509" y="36057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60" name="稿定-31">
            <a:extLst>
              <a:ext uri="{FF2B5EF4-FFF2-40B4-BE49-F238E27FC236}">
                <a16:creationId xmlns:a16="http://schemas.microsoft.com/office/drawing/2014/main" id="{352673E9-7D9F-2E9C-0EFA-E02F4E3BFD23}"/>
              </a:ext>
            </a:extLst>
          </p:cNvPr>
          <p:cNvSpPr/>
          <p:nvPr/>
        </p:nvSpPr>
        <p:spPr>
          <a:xfrm flipH="1">
            <a:off x="7273095" y="38715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61" name="稿定-9">
            <a:extLst>
              <a:ext uri="{FF2B5EF4-FFF2-40B4-BE49-F238E27FC236}">
                <a16:creationId xmlns:a16="http://schemas.microsoft.com/office/drawing/2014/main" id="{459C8F78-8F96-DA2F-1690-7D59F58ADCA5}"/>
              </a:ext>
            </a:extLst>
          </p:cNvPr>
          <p:cNvSpPr/>
          <p:nvPr/>
        </p:nvSpPr>
        <p:spPr>
          <a:xfrm flipH="1">
            <a:off x="7470509" y="448053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62" name="稿定-31">
            <a:extLst>
              <a:ext uri="{FF2B5EF4-FFF2-40B4-BE49-F238E27FC236}">
                <a16:creationId xmlns:a16="http://schemas.microsoft.com/office/drawing/2014/main" id="{7814D076-7F36-45C6-A143-F9118141A87B}"/>
              </a:ext>
            </a:extLst>
          </p:cNvPr>
          <p:cNvSpPr/>
          <p:nvPr/>
        </p:nvSpPr>
        <p:spPr>
          <a:xfrm flipH="1">
            <a:off x="7273095" y="474627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63" name="稿定-9">
            <a:extLst>
              <a:ext uri="{FF2B5EF4-FFF2-40B4-BE49-F238E27FC236}">
                <a16:creationId xmlns:a16="http://schemas.microsoft.com/office/drawing/2014/main" id="{67679845-AC9C-8512-281E-41715713A4DE}"/>
              </a:ext>
            </a:extLst>
          </p:cNvPr>
          <p:cNvSpPr/>
          <p:nvPr/>
        </p:nvSpPr>
        <p:spPr>
          <a:xfrm flipH="1">
            <a:off x="7470509" y="535528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64" name="稿定-31">
            <a:extLst>
              <a:ext uri="{FF2B5EF4-FFF2-40B4-BE49-F238E27FC236}">
                <a16:creationId xmlns:a16="http://schemas.microsoft.com/office/drawing/2014/main" id="{83A3769F-054C-B65E-A0D5-250D0E344B0E}"/>
              </a:ext>
            </a:extLst>
          </p:cNvPr>
          <p:cNvSpPr/>
          <p:nvPr/>
        </p:nvSpPr>
        <p:spPr>
          <a:xfrm flipH="1">
            <a:off x="7273095" y="562101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65" name="稿定-9">
            <a:extLst>
              <a:ext uri="{FF2B5EF4-FFF2-40B4-BE49-F238E27FC236}">
                <a16:creationId xmlns:a16="http://schemas.microsoft.com/office/drawing/2014/main" id="{4C904D43-6BC7-3360-9F07-80645BFCCCFB}"/>
              </a:ext>
            </a:extLst>
          </p:cNvPr>
          <p:cNvSpPr/>
          <p:nvPr/>
        </p:nvSpPr>
        <p:spPr>
          <a:xfrm flipH="1">
            <a:off x="9362859" y="36057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66" name="稿定-31">
            <a:extLst>
              <a:ext uri="{FF2B5EF4-FFF2-40B4-BE49-F238E27FC236}">
                <a16:creationId xmlns:a16="http://schemas.microsoft.com/office/drawing/2014/main" id="{6000095E-ECD5-1105-D20D-A6E8604FE329}"/>
              </a:ext>
            </a:extLst>
          </p:cNvPr>
          <p:cNvSpPr/>
          <p:nvPr/>
        </p:nvSpPr>
        <p:spPr>
          <a:xfrm flipH="1">
            <a:off x="9165445" y="38715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67" name="稿定-9">
            <a:extLst>
              <a:ext uri="{FF2B5EF4-FFF2-40B4-BE49-F238E27FC236}">
                <a16:creationId xmlns:a16="http://schemas.microsoft.com/office/drawing/2014/main" id="{BA1B0681-3F50-E04D-6BBA-DE6BC19631C7}"/>
              </a:ext>
            </a:extLst>
          </p:cNvPr>
          <p:cNvSpPr/>
          <p:nvPr/>
        </p:nvSpPr>
        <p:spPr>
          <a:xfrm flipH="1">
            <a:off x="9362859" y="448053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68" name="稿定-31">
            <a:extLst>
              <a:ext uri="{FF2B5EF4-FFF2-40B4-BE49-F238E27FC236}">
                <a16:creationId xmlns:a16="http://schemas.microsoft.com/office/drawing/2014/main" id="{102428A5-261A-54C4-DDB3-912BC9CB0354}"/>
              </a:ext>
            </a:extLst>
          </p:cNvPr>
          <p:cNvSpPr/>
          <p:nvPr/>
        </p:nvSpPr>
        <p:spPr>
          <a:xfrm flipH="1">
            <a:off x="9165445" y="474627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69" name="稿定-9">
            <a:extLst>
              <a:ext uri="{FF2B5EF4-FFF2-40B4-BE49-F238E27FC236}">
                <a16:creationId xmlns:a16="http://schemas.microsoft.com/office/drawing/2014/main" id="{971B5557-C579-B713-41F4-6EE4A00943FE}"/>
              </a:ext>
            </a:extLst>
          </p:cNvPr>
          <p:cNvSpPr/>
          <p:nvPr/>
        </p:nvSpPr>
        <p:spPr>
          <a:xfrm flipH="1">
            <a:off x="9362859" y="535528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70" name="稿定-31">
            <a:extLst>
              <a:ext uri="{FF2B5EF4-FFF2-40B4-BE49-F238E27FC236}">
                <a16:creationId xmlns:a16="http://schemas.microsoft.com/office/drawing/2014/main" id="{8F9E3FB9-97B9-9F71-FABA-CC7ED91843ED}"/>
              </a:ext>
            </a:extLst>
          </p:cNvPr>
          <p:cNvSpPr/>
          <p:nvPr/>
        </p:nvSpPr>
        <p:spPr>
          <a:xfrm flipH="1">
            <a:off x="9165445" y="562101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44151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3CBD9EC2-1D18-C655-D6CF-09923A13B858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303717D-5BBE-D1A9-3680-3F7F98975F30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2F52FFB-F091-6E64-0AF8-3FF5CC271A6D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8" name="gaoding-5">
            <a:extLst>
              <a:ext uri="{FF2B5EF4-FFF2-40B4-BE49-F238E27FC236}">
                <a16:creationId xmlns:a16="http://schemas.microsoft.com/office/drawing/2014/main" id="{36B6860D-EBDD-5826-12F6-1CD08537E62C}"/>
              </a:ext>
            </a:extLst>
          </p:cNvPr>
          <p:cNvSpPr/>
          <p:nvPr/>
        </p:nvSpPr>
        <p:spPr>
          <a:xfrm>
            <a:off x="476281" y="2227444"/>
            <a:ext cx="11239438" cy="35803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9" name="gaoding-6">
            <a:extLst>
              <a:ext uri="{FF2B5EF4-FFF2-40B4-BE49-F238E27FC236}">
                <a16:creationId xmlns:a16="http://schemas.microsoft.com/office/drawing/2014/main" id="{E11C83FE-5A70-88C1-B4E4-F7E7644E7EE3}"/>
              </a:ext>
            </a:extLst>
          </p:cNvPr>
          <p:cNvSpPr/>
          <p:nvPr/>
        </p:nvSpPr>
        <p:spPr>
          <a:xfrm>
            <a:off x="1764927" y="2852098"/>
            <a:ext cx="1997783" cy="2757618"/>
          </a:xfrm>
          <a:prstGeom prst="roundRect">
            <a:avLst>
              <a:gd name="adj" fmla="val 5659"/>
            </a:avLst>
          </a:prstGeom>
          <a:noFill/>
          <a:ln w="6350" cap="flat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lin ang="0" scaled="1"/>
              <a:tileRect/>
            </a:gradFill>
            <a:prstDash val="dash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0" name="gaoding-7">
            <a:extLst>
              <a:ext uri="{FF2B5EF4-FFF2-40B4-BE49-F238E27FC236}">
                <a16:creationId xmlns:a16="http://schemas.microsoft.com/office/drawing/2014/main" id="{274BE485-3147-15BD-31BA-D78435344264}"/>
              </a:ext>
            </a:extLst>
          </p:cNvPr>
          <p:cNvSpPr/>
          <p:nvPr/>
        </p:nvSpPr>
        <p:spPr>
          <a:xfrm>
            <a:off x="6202752" y="2852098"/>
            <a:ext cx="1997783" cy="2757618"/>
          </a:xfrm>
          <a:prstGeom prst="roundRect">
            <a:avLst>
              <a:gd name="adj" fmla="val 6238"/>
            </a:avLst>
          </a:prstGeom>
          <a:noFill/>
          <a:ln w="6350" cap="flat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lin ang="0" scaled="1"/>
              <a:tileRect/>
            </a:gradFill>
            <a:prstDash val="dash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1" name="gaoding-8">
            <a:extLst>
              <a:ext uri="{FF2B5EF4-FFF2-40B4-BE49-F238E27FC236}">
                <a16:creationId xmlns:a16="http://schemas.microsoft.com/office/drawing/2014/main" id="{CC94DA3E-8875-EAAA-8030-4A01FA26CCFE}"/>
              </a:ext>
            </a:extLst>
          </p:cNvPr>
          <p:cNvSpPr/>
          <p:nvPr/>
        </p:nvSpPr>
        <p:spPr>
          <a:xfrm>
            <a:off x="3983840" y="2852098"/>
            <a:ext cx="1997783" cy="1919667"/>
          </a:xfrm>
          <a:prstGeom prst="roundRect">
            <a:avLst>
              <a:gd name="adj" fmla="val 6417"/>
            </a:avLst>
          </a:prstGeom>
          <a:noFill/>
          <a:ln w="6350" cap="flat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lin ang="0" scaled="1"/>
              <a:tileRect/>
            </a:gradFill>
            <a:prstDash val="dash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2" name="gaoding-9">
            <a:extLst>
              <a:ext uri="{FF2B5EF4-FFF2-40B4-BE49-F238E27FC236}">
                <a16:creationId xmlns:a16="http://schemas.microsoft.com/office/drawing/2014/main" id="{18CA5D14-0A5E-5F47-7030-89D2BF83F4EA}"/>
              </a:ext>
            </a:extLst>
          </p:cNvPr>
          <p:cNvSpPr/>
          <p:nvPr/>
        </p:nvSpPr>
        <p:spPr>
          <a:xfrm>
            <a:off x="8513166" y="2852098"/>
            <a:ext cx="1997783" cy="1919667"/>
          </a:xfrm>
          <a:prstGeom prst="roundRect">
            <a:avLst>
              <a:gd name="adj" fmla="val 7976"/>
            </a:avLst>
          </a:prstGeom>
          <a:noFill/>
          <a:ln w="6350" cap="flat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lin ang="0" scaled="1"/>
              <a:tileRect/>
            </a:gradFill>
            <a:prstDash val="dash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21" name="gaoding-18">
            <a:extLst>
              <a:ext uri="{FF2B5EF4-FFF2-40B4-BE49-F238E27FC236}">
                <a16:creationId xmlns:a16="http://schemas.microsoft.com/office/drawing/2014/main" id="{1801CF7C-38F7-3832-56A0-B7712E6FA66D}"/>
              </a:ext>
            </a:extLst>
          </p:cNvPr>
          <p:cNvSpPr txBox="1"/>
          <p:nvPr/>
        </p:nvSpPr>
        <p:spPr>
          <a:xfrm>
            <a:off x="1837435" y="2294314"/>
            <a:ext cx="5434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2019.12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2" name="gaoding-19">
            <a:extLst>
              <a:ext uri="{FF2B5EF4-FFF2-40B4-BE49-F238E27FC236}">
                <a16:creationId xmlns:a16="http://schemas.microsoft.com/office/drawing/2014/main" id="{3F4BD0C0-3516-268A-04C0-29392DE8567A}"/>
              </a:ext>
            </a:extLst>
          </p:cNvPr>
          <p:cNvSpPr txBox="1"/>
          <p:nvPr/>
        </p:nvSpPr>
        <p:spPr>
          <a:xfrm>
            <a:off x="4090305" y="2294314"/>
            <a:ext cx="57547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2020.12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3" name="gaoding-20">
            <a:extLst>
              <a:ext uri="{FF2B5EF4-FFF2-40B4-BE49-F238E27FC236}">
                <a16:creationId xmlns:a16="http://schemas.microsoft.com/office/drawing/2014/main" id="{7EB291B8-71DB-6DF6-73C4-829610520EEE}"/>
              </a:ext>
            </a:extLst>
          </p:cNvPr>
          <p:cNvSpPr txBox="1"/>
          <p:nvPr/>
        </p:nvSpPr>
        <p:spPr>
          <a:xfrm>
            <a:off x="6258940" y="2302307"/>
            <a:ext cx="5434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2021.12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4" name="gaoding-21">
            <a:extLst>
              <a:ext uri="{FF2B5EF4-FFF2-40B4-BE49-F238E27FC236}">
                <a16:creationId xmlns:a16="http://schemas.microsoft.com/office/drawing/2014/main" id="{2A197F53-F619-BF7C-6C62-E0DC0B71B9E9}"/>
              </a:ext>
            </a:extLst>
          </p:cNvPr>
          <p:cNvSpPr txBox="1"/>
          <p:nvPr/>
        </p:nvSpPr>
        <p:spPr>
          <a:xfrm>
            <a:off x="8513403" y="2310300"/>
            <a:ext cx="57547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2022.12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5" name="gaoding-22">
            <a:extLst>
              <a:ext uri="{FF2B5EF4-FFF2-40B4-BE49-F238E27FC236}">
                <a16:creationId xmlns:a16="http://schemas.microsoft.com/office/drawing/2014/main" id="{4CFF8C5E-D50C-E4A1-7412-886365903238}"/>
              </a:ext>
            </a:extLst>
          </p:cNvPr>
          <p:cNvSpPr/>
          <p:nvPr/>
        </p:nvSpPr>
        <p:spPr>
          <a:xfrm>
            <a:off x="464843" y="2216016"/>
            <a:ext cx="1029392" cy="380888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4" name="稿定-9">
            <a:extLst>
              <a:ext uri="{FF2B5EF4-FFF2-40B4-BE49-F238E27FC236}">
                <a16:creationId xmlns:a16="http://schemas.microsoft.com/office/drawing/2014/main" id="{24B22667-0EF2-3517-7802-61DCFD3D402E}"/>
              </a:ext>
            </a:extLst>
          </p:cNvPr>
          <p:cNvSpPr/>
          <p:nvPr/>
        </p:nvSpPr>
        <p:spPr>
          <a:xfrm flipH="1">
            <a:off x="1968890" y="304039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5" name="稿定-31">
            <a:extLst>
              <a:ext uri="{FF2B5EF4-FFF2-40B4-BE49-F238E27FC236}">
                <a16:creationId xmlns:a16="http://schemas.microsoft.com/office/drawing/2014/main" id="{9318140F-0825-6E5D-B5B1-EA4BF882B8B1}"/>
              </a:ext>
            </a:extLst>
          </p:cNvPr>
          <p:cNvSpPr/>
          <p:nvPr/>
        </p:nvSpPr>
        <p:spPr>
          <a:xfrm flipH="1">
            <a:off x="1968890" y="330613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6" name="稿定-9">
            <a:extLst>
              <a:ext uri="{FF2B5EF4-FFF2-40B4-BE49-F238E27FC236}">
                <a16:creationId xmlns:a16="http://schemas.microsoft.com/office/drawing/2014/main" id="{B9C5D87B-060B-4D8D-7EA8-B742A98562F2}"/>
              </a:ext>
            </a:extLst>
          </p:cNvPr>
          <p:cNvSpPr/>
          <p:nvPr/>
        </p:nvSpPr>
        <p:spPr>
          <a:xfrm flipH="1">
            <a:off x="1968890" y="37550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7" name="稿定-31">
            <a:extLst>
              <a:ext uri="{FF2B5EF4-FFF2-40B4-BE49-F238E27FC236}">
                <a16:creationId xmlns:a16="http://schemas.microsoft.com/office/drawing/2014/main" id="{3755EAAA-AAA1-F61E-87CE-40CC75BA2B78}"/>
              </a:ext>
            </a:extLst>
          </p:cNvPr>
          <p:cNvSpPr/>
          <p:nvPr/>
        </p:nvSpPr>
        <p:spPr>
          <a:xfrm flipH="1">
            <a:off x="1968890" y="40208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D03FC150-2046-3DB6-DE72-E839AB0676BA}"/>
              </a:ext>
            </a:extLst>
          </p:cNvPr>
          <p:cNvGrpSpPr/>
          <p:nvPr/>
        </p:nvGrpSpPr>
        <p:grpSpPr>
          <a:xfrm>
            <a:off x="2284296" y="5287038"/>
            <a:ext cx="180870" cy="203089"/>
            <a:chOff x="3193522" y="5222129"/>
            <a:chExt cx="395205" cy="443754"/>
          </a:xfrm>
          <a:solidFill>
            <a:schemeClr val="tx1"/>
          </a:solidFill>
        </p:grpSpPr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225D9D91-8DED-0EEC-40C3-B612A3FA2F16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6D625203-C8E6-8D20-0AD2-7DDB08AE0EE3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8954DD72-C102-1576-6576-71A8361AEA7B}"/>
              </a:ext>
            </a:extLst>
          </p:cNvPr>
          <p:cNvGrpSpPr/>
          <p:nvPr/>
        </p:nvGrpSpPr>
        <p:grpSpPr>
          <a:xfrm>
            <a:off x="1968891" y="5277080"/>
            <a:ext cx="201876" cy="194034"/>
            <a:chOff x="1406740" y="5275641"/>
            <a:chExt cx="441102" cy="423968"/>
          </a:xfrm>
          <a:solidFill>
            <a:schemeClr val="tx1"/>
          </a:solidFill>
        </p:grpSpPr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141E93CE-A713-B1F0-541B-D5DBF71B51B8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5BAB394-F3D9-B91C-628A-474857607FBE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56375D9E-EE3E-40F4-17C6-2822ACF8497D}"/>
              </a:ext>
            </a:extLst>
          </p:cNvPr>
          <p:cNvGrpSpPr/>
          <p:nvPr/>
        </p:nvGrpSpPr>
        <p:grpSpPr>
          <a:xfrm>
            <a:off x="2578695" y="5285788"/>
            <a:ext cx="198323" cy="198323"/>
            <a:chOff x="10357510" y="5253191"/>
            <a:chExt cx="355003" cy="355003"/>
          </a:xfrm>
          <a:solidFill>
            <a:schemeClr val="tx1"/>
          </a:solidFill>
        </p:grpSpPr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6E39A98E-68E4-4A9A-8794-4A9E1BBECCD7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2DC67220-B58B-E854-10AC-32D0081AB3A2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67" name="稿定-9">
            <a:extLst>
              <a:ext uri="{FF2B5EF4-FFF2-40B4-BE49-F238E27FC236}">
                <a16:creationId xmlns:a16="http://schemas.microsoft.com/office/drawing/2014/main" id="{767BD4BB-40EA-D7A9-5493-8CEECAD0407B}"/>
              </a:ext>
            </a:extLst>
          </p:cNvPr>
          <p:cNvSpPr/>
          <p:nvPr/>
        </p:nvSpPr>
        <p:spPr>
          <a:xfrm flipH="1">
            <a:off x="1968890" y="449056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8" name="稿定-31">
            <a:extLst>
              <a:ext uri="{FF2B5EF4-FFF2-40B4-BE49-F238E27FC236}">
                <a16:creationId xmlns:a16="http://schemas.microsoft.com/office/drawing/2014/main" id="{4BC55DE6-ECBE-8596-FDE9-1D1573C7532B}"/>
              </a:ext>
            </a:extLst>
          </p:cNvPr>
          <p:cNvSpPr/>
          <p:nvPr/>
        </p:nvSpPr>
        <p:spPr>
          <a:xfrm flipH="1">
            <a:off x="1968890" y="475629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3" name="稿定-9">
            <a:extLst>
              <a:ext uri="{FF2B5EF4-FFF2-40B4-BE49-F238E27FC236}">
                <a16:creationId xmlns:a16="http://schemas.microsoft.com/office/drawing/2014/main" id="{BD28B385-3D53-06D8-B0A9-8167ED6096FB}"/>
              </a:ext>
            </a:extLst>
          </p:cNvPr>
          <p:cNvSpPr/>
          <p:nvPr/>
        </p:nvSpPr>
        <p:spPr>
          <a:xfrm flipH="1">
            <a:off x="4152955" y="304039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4" name="稿定-31">
            <a:extLst>
              <a:ext uri="{FF2B5EF4-FFF2-40B4-BE49-F238E27FC236}">
                <a16:creationId xmlns:a16="http://schemas.microsoft.com/office/drawing/2014/main" id="{89EB61DC-8200-09E4-8279-B04703A32970}"/>
              </a:ext>
            </a:extLst>
          </p:cNvPr>
          <p:cNvSpPr/>
          <p:nvPr/>
        </p:nvSpPr>
        <p:spPr>
          <a:xfrm flipH="1">
            <a:off x="4152955" y="330613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5" name="稿定-9">
            <a:extLst>
              <a:ext uri="{FF2B5EF4-FFF2-40B4-BE49-F238E27FC236}">
                <a16:creationId xmlns:a16="http://schemas.microsoft.com/office/drawing/2014/main" id="{C66EF619-3FFF-42F3-9C8F-9262D512E80F}"/>
              </a:ext>
            </a:extLst>
          </p:cNvPr>
          <p:cNvSpPr/>
          <p:nvPr/>
        </p:nvSpPr>
        <p:spPr>
          <a:xfrm flipH="1">
            <a:off x="4152955" y="37550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6" name="稿定-31">
            <a:extLst>
              <a:ext uri="{FF2B5EF4-FFF2-40B4-BE49-F238E27FC236}">
                <a16:creationId xmlns:a16="http://schemas.microsoft.com/office/drawing/2014/main" id="{964E18B5-13A2-04B1-E42F-A5706D2CB780}"/>
              </a:ext>
            </a:extLst>
          </p:cNvPr>
          <p:cNvSpPr/>
          <p:nvPr/>
        </p:nvSpPr>
        <p:spPr>
          <a:xfrm flipH="1">
            <a:off x="4152955" y="40208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7" name="稿定-9">
            <a:extLst>
              <a:ext uri="{FF2B5EF4-FFF2-40B4-BE49-F238E27FC236}">
                <a16:creationId xmlns:a16="http://schemas.microsoft.com/office/drawing/2014/main" id="{BE16ABBC-1BB7-6C4F-1DD7-3427380EA0E0}"/>
              </a:ext>
            </a:extLst>
          </p:cNvPr>
          <p:cNvSpPr/>
          <p:nvPr/>
        </p:nvSpPr>
        <p:spPr>
          <a:xfrm flipH="1">
            <a:off x="8701546" y="304039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8" name="稿定-31">
            <a:extLst>
              <a:ext uri="{FF2B5EF4-FFF2-40B4-BE49-F238E27FC236}">
                <a16:creationId xmlns:a16="http://schemas.microsoft.com/office/drawing/2014/main" id="{C7DC23AB-DE7F-3346-6B4B-92A628A3BA5E}"/>
              </a:ext>
            </a:extLst>
          </p:cNvPr>
          <p:cNvSpPr/>
          <p:nvPr/>
        </p:nvSpPr>
        <p:spPr>
          <a:xfrm flipH="1">
            <a:off x="8701546" y="330613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9" name="稿定-9">
            <a:extLst>
              <a:ext uri="{FF2B5EF4-FFF2-40B4-BE49-F238E27FC236}">
                <a16:creationId xmlns:a16="http://schemas.microsoft.com/office/drawing/2014/main" id="{943275A3-ACD9-582A-933A-66B61889997B}"/>
              </a:ext>
            </a:extLst>
          </p:cNvPr>
          <p:cNvSpPr/>
          <p:nvPr/>
        </p:nvSpPr>
        <p:spPr>
          <a:xfrm flipH="1">
            <a:off x="8701546" y="37550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0" name="稿定-31">
            <a:extLst>
              <a:ext uri="{FF2B5EF4-FFF2-40B4-BE49-F238E27FC236}">
                <a16:creationId xmlns:a16="http://schemas.microsoft.com/office/drawing/2014/main" id="{05654A39-A395-4365-2112-C7F76CDD38ED}"/>
              </a:ext>
            </a:extLst>
          </p:cNvPr>
          <p:cNvSpPr/>
          <p:nvPr/>
        </p:nvSpPr>
        <p:spPr>
          <a:xfrm flipH="1">
            <a:off x="8701546" y="40208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1" name="稿定-9">
            <a:extLst>
              <a:ext uri="{FF2B5EF4-FFF2-40B4-BE49-F238E27FC236}">
                <a16:creationId xmlns:a16="http://schemas.microsoft.com/office/drawing/2014/main" id="{9FC858AF-AFAE-46C0-87B0-747BAF086FBD}"/>
              </a:ext>
            </a:extLst>
          </p:cNvPr>
          <p:cNvSpPr/>
          <p:nvPr/>
        </p:nvSpPr>
        <p:spPr>
          <a:xfrm flipH="1">
            <a:off x="6368949" y="304039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2" name="稿定-31">
            <a:extLst>
              <a:ext uri="{FF2B5EF4-FFF2-40B4-BE49-F238E27FC236}">
                <a16:creationId xmlns:a16="http://schemas.microsoft.com/office/drawing/2014/main" id="{F9D4AC53-3ABB-8B1B-89F6-9EA38A773E5A}"/>
              </a:ext>
            </a:extLst>
          </p:cNvPr>
          <p:cNvSpPr/>
          <p:nvPr/>
        </p:nvSpPr>
        <p:spPr>
          <a:xfrm flipH="1">
            <a:off x="6368949" y="330613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3" name="稿定-9">
            <a:extLst>
              <a:ext uri="{FF2B5EF4-FFF2-40B4-BE49-F238E27FC236}">
                <a16:creationId xmlns:a16="http://schemas.microsoft.com/office/drawing/2014/main" id="{A36EF515-9166-70FE-E388-6A272D78727D}"/>
              </a:ext>
            </a:extLst>
          </p:cNvPr>
          <p:cNvSpPr/>
          <p:nvPr/>
        </p:nvSpPr>
        <p:spPr>
          <a:xfrm flipH="1">
            <a:off x="6368949" y="37550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4" name="稿定-31">
            <a:extLst>
              <a:ext uri="{FF2B5EF4-FFF2-40B4-BE49-F238E27FC236}">
                <a16:creationId xmlns:a16="http://schemas.microsoft.com/office/drawing/2014/main" id="{6997F382-04C5-A3B5-E2C6-B4D15853FDE5}"/>
              </a:ext>
            </a:extLst>
          </p:cNvPr>
          <p:cNvSpPr/>
          <p:nvPr/>
        </p:nvSpPr>
        <p:spPr>
          <a:xfrm flipH="1">
            <a:off x="6368949" y="40208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5" name="稿定-9">
            <a:extLst>
              <a:ext uri="{FF2B5EF4-FFF2-40B4-BE49-F238E27FC236}">
                <a16:creationId xmlns:a16="http://schemas.microsoft.com/office/drawing/2014/main" id="{87D2CC0F-E007-6FB2-DDA3-6B458687098C}"/>
              </a:ext>
            </a:extLst>
          </p:cNvPr>
          <p:cNvSpPr/>
          <p:nvPr/>
        </p:nvSpPr>
        <p:spPr>
          <a:xfrm flipH="1">
            <a:off x="6368949" y="449056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6" name="稿定-31">
            <a:extLst>
              <a:ext uri="{FF2B5EF4-FFF2-40B4-BE49-F238E27FC236}">
                <a16:creationId xmlns:a16="http://schemas.microsoft.com/office/drawing/2014/main" id="{713DCEB6-AF95-1837-94E2-DB31B0BEDB61}"/>
              </a:ext>
            </a:extLst>
          </p:cNvPr>
          <p:cNvSpPr/>
          <p:nvPr/>
        </p:nvSpPr>
        <p:spPr>
          <a:xfrm flipH="1">
            <a:off x="6368949" y="475629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68139668-C8DF-73DA-4AB8-BD5FB279F448}"/>
              </a:ext>
            </a:extLst>
          </p:cNvPr>
          <p:cNvGrpSpPr/>
          <p:nvPr/>
        </p:nvGrpSpPr>
        <p:grpSpPr>
          <a:xfrm>
            <a:off x="6684354" y="5262571"/>
            <a:ext cx="180870" cy="203089"/>
            <a:chOff x="3193522" y="5222129"/>
            <a:chExt cx="395205" cy="443754"/>
          </a:xfrm>
          <a:solidFill>
            <a:schemeClr val="tx1"/>
          </a:solidFill>
        </p:grpSpPr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B8D810A9-4DFE-ADDB-80E2-E7223D68DFDE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BFDE8BAD-1D29-20EC-529E-319C48DC3A89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组合 89">
            <a:extLst>
              <a:ext uri="{FF2B5EF4-FFF2-40B4-BE49-F238E27FC236}">
                <a16:creationId xmlns:a16="http://schemas.microsoft.com/office/drawing/2014/main" id="{76F15E11-717D-DBC2-BE2B-BFC676D4A8F0}"/>
              </a:ext>
            </a:extLst>
          </p:cNvPr>
          <p:cNvGrpSpPr/>
          <p:nvPr/>
        </p:nvGrpSpPr>
        <p:grpSpPr>
          <a:xfrm>
            <a:off x="6368949" y="5252613"/>
            <a:ext cx="201876" cy="194034"/>
            <a:chOff x="1406740" y="5275641"/>
            <a:chExt cx="441102" cy="423968"/>
          </a:xfrm>
          <a:solidFill>
            <a:schemeClr val="tx1"/>
          </a:solidFill>
        </p:grpSpPr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3D70C985-F49B-BCFD-D507-8365011B0EED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5135920-9629-86E8-61A3-A1988455A693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2F7F8215-E8CF-1C13-8014-B64C6C2CFA6C}"/>
              </a:ext>
            </a:extLst>
          </p:cNvPr>
          <p:cNvGrpSpPr/>
          <p:nvPr/>
        </p:nvGrpSpPr>
        <p:grpSpPr>
          <a:xfrm>
            <a:off x="6978753" y="5261321"/>
            <a:ext cx="198323" cy="198323"/>
            <a:chOff x="10357510" y="5253191"/>
            <a:chExt cx="355003" cy="355003"/>
          </a:xfrm>
          <a:solidFill>
            <a:schemeClr val="tx1"/>
          </a:solidFill>
        </p:grpSpPr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9625A186-05D5-B02F-0451-771ED6880446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BAEB5F13-CF36-A890-3371-91B5102E28AC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组合 95">
            <a:extLst>
              <a:ext uri="{FF2B5EF4-FFF2-40B4-BE49-F238E27FC236}">
                <a16:creationId xmlns:a16="http://schemas.microsoft.com/office/drawing/2014/main" id="{0F8F9645-225A-EE32-BD63-2CD6E264A48E}"/>
              </a:ext>
            </a:extLst>
          </p:cNvPr>
          <p:cNvGrpSpPr/>
          <p:nvPr/>
        </p:nvGrpSpPr>
        <p:grpSpPr>
          <a:xfrm>
            <a:off x="4468360" y="4467481"/>
            <a:ext cx="180870" cy="203089"/>
            <a:chOff x="3193522" y="5222129"/>
            <a:chExt cx="395205" cy="443754"/>
          </a:xfrm>
          <a:solidFill>
            <a:schemeClr val="tx1"/>
          </a:solidFill>
        </p:grpSpPr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4091B42-08DB-A336-3D84-BD48C83C69E7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BA1A98AD-FE02-994E-F5CD-6608DE462E7C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4D638A8A-673F-5496-9504-759D6ACA2F58}"/>
              </a:ext>
            </a:extLst>
          </p:cNvPr>
          <p:cNvGrpSpPr/>
          <p:nvPr/>
        </p:nvGrpSpPr>
        <p:grpSpPr>
          <a:xfrm>
            <a:off x="4152955" y="4457523"/>
            <a:ext cx="201876" cy="194034"/>
            <a:chOff x="1406740" y="5275641"/>
            <a:chExt cx="441102" cy="423968"/>
          </a:xfrm>
          <a:solidFill>
            <a:schemeClr val="tx1"/>
          </a:solidFill>
        </p:grpSpPr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A30BCF2D-E3FA-D101-F61F-F76AA785DAB9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8581F40-A75C-34DF-2CF3-038501F61027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0C727511-3470-5531-A9C0-E4A02070059A}"/>
              </a:ext>
            </a:extLst>
          </p:cNvPr>
          <p:cNvGrpSpPr/>
          <p:nvPr/>
        </p:nvGrpSpPr>
        <p:grpSpPr>
          <a:xfrm>
            <a:off x="4762759" y="4466231"/>
            <a:ext cx="198323" cy="198323"/>
            <a:chOff x="10357510" y="5253191"/>
            <a:chExt cx="355003" cy="355003"/>
          </a:xfrm>
          <a:solidFill>
            <a:schemeClr val="tx1"/>
          </a:solidFill>
        </p:grpSpPr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D2DA12A8-A862-8C3B-AA84-88DEC633B3B9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7646F49F-C883-DAE8-EE37-3B84273F82F4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5" name="组合 104">
            <a:extLst>
              <a:ext uri="{FF2B5EF4-FFF2-40B4-BE49-F238E27FC236}">
                <a16:creationId xmlns:a16="http://schemas.microsoft.com/office/drawing/2014/main" id="{5ABBD7AC-F8BA-5F6D-47D7-8F4266AFBA6D}"/>
              </a:ext>
            </a:extLst>
          </p:cNvPr>
          <p:cNvGrpSpPr/>
          <p:nvPr/>
        </p:nvGrpSpPr>
        <p:grpSpPr>
          <a:xfrm>
            <a:off x="9016951" y="4459296"/>
            <a:ext cx="180870" cy="203089"/>
            <a:chOff x="3193522" y="5222129"/>
            <a:chExt cx="395205" cy="443754"/>
          </a:xfrm>
          <a:solidFill>
            <a:schemeClr val="tx1"/>
          </a:solidFill>
        </p:grpSpPr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C0A859E3-931A-3CFB-E4DF-4158F838FDD2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89A5FD82-EA58-B835-2E6E-2E71F8C94D0F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组合 107">
            <a:extLst>
              <a:ext uri="{FF2B5EF4-FFF2-40B4-BE49-F238E27FC236}">
                <a16:creationId xmlns:a16="http://schemas.microsoft.com/office/drawing/2014/main" id="{A6F052B6-EC2A-8794-BA19-A3BCAE1BC012}"/>
              </a:ext>
            </a:extLst>
          </p:cNvPr>
          <p:cNvGrpSpPr/>
          <p:nvPr/>
        </p:nvGrpSpPr>
        <p:grpSpPr>
          <a:xfrm>
            <a:off x="8701546" y="4449338"/>
            <a:ext cx="201876" cy="194034"/>
            <a:chOff x="1406740" y="5275641"/>
            <a:chExt cx="441102" cy="423968"/>
          </a:xfrm>
          <a:solidFill>
            <a:schemeClr val="tx1"/>
          </a:solidFill>
        </p:grpSpPr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B326DB6B-A134-4941-2116-28B4E46627F5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2AB2E1B9-5EBF-B0A0-6909-1FC6B6993AFC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056B2F85-F4AF-172E-50E2-35528760BF9A}"/>
              </a:ext>
            </a:extLst>
          </p:cNvPr>
          <p:cNvGrpSpPr/>
          <p:nvPr/>
        </p:nvGrpSpPr>
        <p:grpSpPr>
          <a:xfrm>
            <a:off x="9311350" y="4458046"/>
            <a:ext cx="198323" cy="198323"/>
            <a:chOff x="10357510" y="5253191"/>
            <a:chExt cx="355003" cy="355003"/>
          </a:xfrm>
          <a:solidFill>
            <a:schemeClr val="tx1"/>
          </a:solidFill>
        </p:grpSpPr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4F81DD9A-A889-640E-DE52-155375B1350C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3E965692-778C-B2BA-7F3E-C7B0923AF32E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grpFill/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90065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文本框 58">
            <a:extLst>
              <a:ext uri="{FF2B5EF4-FFF2-40B4-BE49-F238E27FC236}">
                <a16:creationId xmlns:a16="http://schemas.microsoft.com/office/drawing/2014/main" id="{756CD9EB-9BF3-B6E4-61C9-7C81267BA5F8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FF3E1C6D-9D16-52CC-80C4-0AE4CD77966C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549E751C-AA8C-1358-391B-737C5FBE7B4C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82F5E0FE-960D-BF75-A275-8D7298A6F84B}"/>
              </a:ext>
            </a:extLst>
          </p:cNvPr>
          <p:cNvGrpSpPr/>
          <p:nvPr/>
        </p:nvGrpSpPr>
        <p:grpSpPr>
          <a:xfrm>
            <a:off x="4956166" y="2593678"/>
            <a:ext cx="2216269" cy="2236472"/>
            <a:chOff x="4956166" y="2260191"/>
            <a:chExt cx="2216269" cy="2236472"/>
          </a:xfrm>
        </p:grpSpPr>
        <p:sp>
          <p:nvSpPr>
            <p:cNvPr id="68" name="椭圆 67">
              <a:extLst>
                <a:ext uri="{FF2B5EF4-FFF2-40B4-BE49-F238E27FC236}">
                  <a16:creationId xmlns:a16="http://schemas.microsoft.com/office/drawing/2014/main" id="{F2A0BB39-051D-7F78-72B1-C407B4E24A9D}"/>
                </a:ext>
              </a:extLst>
            </p:cNvPr>
            <p:cNvSpPr/>
            <p:nvPr/>
          </p:nvSpPr>
          <p:spPr>
            <a:xfrm rot="16200000">
              <a:off x="4958244" y="2276548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rgbClr val="3361F5"/>
                </a:gs>
                <a:gs pos="100000">
                  <a:srgbClr val="7A98F8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69" name="椭圆 68">
              <a:extLst>
                <a:ext uri="{FF2B5EF4-FFF2-40B4-BE49-F238E27FC236}">
                  <a16:creationId xmlns:a16="http://schemas.microsoft.com/office/drawing/2014/main" id="{E034FA3D-ACD5-A9FF-65BA-CC5CE371C9FF}"/>
                </a:ext>
              </a:extLst>
            </p:cNvPr>
            <p:cNvSpPr/>
            <p:nvPr/>
          </p:nvSpPr>
          <p:spPr>
            <a:xfrm rot="15726438">
              <a:off x="4956165" y="2260192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rgbClr val="3361F5">
                    <a:alpha val="0"/>
                  </a:srgb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70" name="椭圆 69">
              <a:extLst>
                <a:ext uri="{FF2B5EF4-FFF2-40B4-BE49-F238E27FC236}">
                  <a16:creationId xmlns:a16="http://schemas.microsoft.com/office/drawing/2014/main" id="{E8844168-6557-70AC-8587-F7667A05A6DC}"/>
                </a:ext>
              </a:extLst>
            </p:cNvPr>
            <p:cNvSpPr/>
            <p:nvPr/>
          </p:nvSpPr>
          <p:spPr>
            <a:xfrm rot="16200000">
              <a:off x="4957741" y="2282472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rgbClr val="3361F5">
                    <a:alpha val="0"/>
                  </a:srgb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sp>
        <p:nvSpPr>
          <p:cNvPr id="73" name="Freeform 6">
            <a:extLst>
              <a:ext uri="{FF2B5EF4-FFF2-40B4-BE49-F238E27FC236}">
                <a16:creationId xmlns:a16="http://schemas.microsoft.com/office/drawing/2014/main" id="{831C54C8-9E39-5E0A-02C5-C7902A849B89}"/>
              </a:ext>
            </a:extLst>
          </p:cNvPr>
          <p:cNvSpPr>
            <a:spLocks/>
          </p:cNvSpPr>
          <p:nvPr/>
        </p:nvSpPr>
        <p:spPr bwMode="auto">
          <a:xfrm>
            <a:off x="3282427" y="2816336"/>
            <a:ext cx="5627146" cy="1568451"/>
          </a:xfrm>
          <a:custGeom>
            <a:avLst/>
            <a:gdLst>
              <a:gd name="T0" fmla="*/ 1120 w 1757"/>
              <a:gd name="T1" fmla="*/ 2 h 540"/>
              <a:gd name="T2" fmla="*/ 1757 w 1757"/>
              <a:gd name="T3" fmla="*/ 266 h 540"/>
              <a:gd name="T4" fmla="*/ 878 w 1757"/>
              <a:gd name="T5" fmla="*/ 540 h 540"/>
              <a:gd name="T6" fmla="*/ 0 w 1757"/>
              <a:gd name="T7" fmla="*/ 266 h 540"/>
              <a:gd name="T8" fmla="*/ 0 w 1757"/>
              <a:gd name="T9" fmla="*/ 266 h 540"/>
              <a:gd name="T10" fmla="*/ 664 w 1757"/>
              <a:gd name="T11" fmla="*/ 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57" h="540">
                <a:moveTo>
                  <a:pt x="1120" y="2"/>
                </a:moveTo>
                <a:cubicBezTo>
                  <a:pt x="1488" y="35"/>
                  <a:pt x="1757" y="140"/>
                  <a:pt x="1757" y="266"/>
                </a:cubicBezTo>
                <a:cubicBezTo>
                  <a:pt x="1757" y="417"/>
                  <a:pt x="1363" y="540"/>
                  <a:pt x="878" y="540"/>
                </a:cubicBezTo>
                <a:cubicBezTo>
                  <a:pt x="393" y="540"/>
                  <a:pt x="0" y="417"/>
                  <a:pt x="0" y="266"/>
                </a:cubicBezTo>
                <a:cubicBezTo>
                  <a:pt x="0" y="266"/>
                  <a:pt x="0" y="266"/>
                  <a:pt x="0" y="266"/>
                </a:cubicBezTo>
                <a:cubicBezTo>
                  <a:pt x="0" y="137"/>
                  <a:pt x="282" y="29"/>
                  <a:pt x="664" y="0"/>
                </a:cubicBezTo>
              </a:path>
            </a:pathLst>
          </a:custGeom>
          <a:noFill/>
          <a:ln w="15875" cap="rnd">
            <a:gradFill flip="none" rotWithShape="1">
              <a:gsLst>
                <a:gs pos="0">
                  <a:srgbClr val="3361F5">
                    <a:alpha val="0"/>
                  </a:srgbClr>
                </a:gs>
                <a:gs pos="100000">
                  <a:srgbClr val="7A98F8"/>
                </a:gs>
              </a:gsLst>
              <a:lin ang="5400000" scaled="1"/>
              <a:tileRect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000000"/>
              </a:solidFill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grpSp>
        <p:nvGrpSpPr>
          <p:cNvPr id="142" name="组合 141">
            <a:extLst>
              <a:ext uri="{FF2B5EF4-FFF2-40B4-BE49-F238E27FC236}">
                <a16:creationId xmlns:a16="http://schemas.microsoft.com/office/drawing/2014/main" id="{CD25CAA7-5DFC-8EE2-88B5-EC4A0D50614D}"/>
              </a:ext>
            </a:extLst>
          </p:cNvPr>
          <p:cNvGrpSpPr/>
          <p:nvPr/>
        </p:nvGrpSpPr>
        <p:grpSpPr>
          <a:xfrm>
            <a:off x="2964333" y="3279567"/>
            <a:ext cx="636187" cy="641987"/>
            <a:chOff x="4956166" y="2260191"/>
            <a:chExt cx="2216269" cy="2236472"/>
          </a:xfrm>
        </p:grpSpPr>
        <p:sp>
          <p:nvSpPr>
            <p:cNvPr id="143" name="椭圆 142">
              <a:extLst>
                <a:ext uri="{FF2B5EF4-FFF2-40B4-BE49-F238E27FC236}">
                  <a16:creationId xmlns:a16="http://schemas.microsoft.com/office/drawing/2014/main" id="{F3302443-7694-06F3-C457-41109082DD8C}"/>
                </a:ext>
              </a:extLst>
            </p:cNvPr>
            <p:cNvSpPr/>
            <p:nvPr/>
          </p:nvSpPr>
          <p:spPr>
            <a:xfrm rot="16200000">
              <a:off x="4958244" y="2276548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rgbClr val="3361F5"/>
                </a:gs>
                <a:gs pos="100000">
                  <a:srgbClr val="7A98F8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44" name="椭圆 143">
              <a:extLst>
                <a:ext uri="{FF2B5EF4-FFF2-40B4-BE49-F238E27FC236}">
                  <a16:creationId xmlns:a16="http://schemas.microsoft.com/office/drawing/2014/main" id="{44E4CB49-B884-1863-8CB0-C52D7B963272}"/>
                </a:ext>
              </a:extLst>
            </p:cNvPr>
            <p:cNvSpPr/>
            <p:nvPr/>
          </p:nvSpPr>
          <p:spPr>
            <a:xfrm rot="15726438">
              <a:off x="4956165" y="2260192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rgbClr val="3361F5">
                    <a:alpha val="0"/>
                  </a:srgb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45" name="椭圆 144">
              <a:extLst>
                <a:ext uri="{FF2B5EF4-FFF2-40B4-BE49-F238E27FC236}">
                  <a16:creationId xmlns:a16="http://schemas.microsoft.com/office/drawing/2014/main" id="{D51FB59C-8151-5AE8-F443-380B6CA95C30}"/>
                </a:ext>
              </a:extLst>
            </p:cNvPr>
            <p:cNvSpPr/>
            <p:nvPr/>
          </p:nvSpPr>
          <p:spPr>
            <a:xfrm rot="16200000">
              <a:off x="4957741" y="2282472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rgbClr val="3361F5">
                    <a:alpha val="0"/>
                  </a:srgb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grpSp>
        <p:nvGrpSpPr>
          <p:cNvPr id="146" name="组合 145">
            <a:extLst>
              <a:ext uri="{FF2B5EF4-FFF2-40B4-BE49-F238E27FC236}">
                <a16:creationId xmlns:a16="http://schemas.microsoft.com/office/drawing/2014/main" id="{510C8891-DC0A-6070-839C-67EABBA425A3}"/>
              </a:ext>
            </a:extLst>
          </p:cNvPr>
          <p:cNvGrpSpPr/>
          <p:nvPr/>
        </p:nvGrpSpPr>
        <p:grpSpPr>
          <a:xfrm>
            <a:off x="3972204" y="3889923"/>
            <a:ext cx="636187" cy="641987"/>
            <a:chOff x="4956166" y="2260191"/>
            <a:chExt cx="2216269" cy="2236472"/>
          </a:xfrm>
        </p:grpSpPr>
        <p:sp>
          <p:nvSpPr>
            <p:cNvPr id="147" name="椭圆 146">
              <a:extLst>
                <a:ext uri="{FF2B5EF4-FFF2-40B4-BE49-F238E27FC236}">
                  <a16:creationId xmlns:a16="http://schemas.microsoft.com/office/drawing/2014/main" id="{75569A12-66F6-07CB-A071-A1678DF20939}"/>
                </a:ext>
              </a:extLst>
            </p:cNvPr>
            <p:cNvSpPr/>
            <p:nvPr/>
          </p:nvSpPr>
          <p:spPr>
            <a:xfrm rot="16200000">
              <a:off x="4958244" y="2276548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rgbClr val="3361F5"/>
                </a:gs>
                <a:gs pos="100000">
                  <a:srgbClr val="7A98F8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48" name="椭圆 147">
              <a:extLst>
                <a:ext uri="{FF2B5EF4-FFF2-40B4-BE49-F238E27FC236}">
                  <a16:creationId xmlns:a16="http://schemas.microsoft.com/office/drawing/2014/main" id="{EB8E462A-913F-622A-ECEE-80613DDB1706}"/>
                </a:ext>
              </a:extLst>
            </p:cNvPr>
            <p:cNvSpPr/>
            <p:nvPr/>
          </p:nvSpPr>
          <p:spPr>
            <a:xfrm rot="15726438">
              <a:off x="4956165" y="2260192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rgbClr val="3361F5">
                    <a:alpha val="0"/>
                  </a:srgb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49" name="椭圆 148">
              <a:extLst>
                <a:ext uri="{FF2B5EF4-FFF2-40B4-BE49-F238E27FC236}">
                  <a16:creationId xmlns:a16="http://schemas.microsoft.com/office/drawing/2014/main" id="{2887F0EB-FD4F-08A5-B60B-65264B08AA8C}"/>
                </a:ext>
              </a:extLst>
            </p:cNvPr>
            <p:cNvSpPr/>
            <p:nvPr/>
          </p:nvSpPr>
          <p:spPr>
            <a:xfrm rot="16200000">
              <a:off x="4957741" y="2282472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rgbClr val="3361F5">
                    <a:alpha val="0"/>
                  </a:srgb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grpSp>
        <p:nvGrpSpPr>
          <p:cNvPr id="150" name="组合 149">
            <a:extLst>
              <a:ext uri="{FF2B5EF4-FFF2-40B4-BE49-F238E27FC236}">
                <a16:creationId xmlns:a16="http://schemas.microsoft.com/office/drawing/2014/main" id="{029670E2-168F-02F6-3608-67FB33B5ADE9}"/>
              </a:ext>
            </a:extLst>
          </p:cNvPr>
          <p:cNvGrpSpPr/>
          <p:nvPr/>
        </p:nvGrpSpPr>
        <p:grpSpPr>
          <a:xfrm>
            <a:off x="7517879" y="3889923"/>
            <a:ext cx="636187" cy="641987"/>
            <a:chOff x="4956166" y="2260191"/>
            <a:chExt cx="2216269" cy="2236472"/>
          </a:xfrm>
        </p:grpSpPr>
        <p:sp>
          <p:nvSpPr>
            <p:cNvPr id="151" name="椭圆 150">
              <a:extLst>
                <a:ext uri="{FF2B5EF4-FFF2-40B4-BE49-F238E27FC236}">
                  <a16:creationId xmlns:a16="http://schemas.microsoft.com/office/drawing/2014/main" id="{502FBBD6-9995-F57A-EFD3-096C6FAD41E5}"/>
                </a:ext>
              </a:extLst>
            </p:cNvPr>
            <p:cNvSpPr/>
            <p:nvPr/>
          </p:nvSpPr>
          <p:spPr>
            <a:xfrm rot="16200000">
              <a:off x="4958244" y="2276548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rgbClr val="3361F5"/>
                </a:gs>
                <a:gs pos="100000">
                  <a:srgbClr val="7A98F8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52" name="椭圆 151">
              <a:extLst>
                <a:ext uri="{FF2B5EF4-FFF2-40B4-BE49-F238E27FC236}">
                  <a16:creationId xmlns:a16="http://schemas.microsoft.com/office/drawing/2014/main" id="{722E34CC-9FF2-BB83-C2DA-1EB8C2265212}"/>
                </a:ext>
              </a:extLst>
            </p:cNvPr>
            <p:cNvSpPr/>
            <p:nvPr/>
          </p:nvSpPr>
          <p:spPr>
            <a:xfrm rot="15726438">
              <a:off x="4956165" y="2260192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rgbClr val="3361F5">
                    <a:alpha val="0"/>
                  </a:srgb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53" name="椭圆 152">
              <a:extLst>
                <a:ext uri="{FF2B5EF4-FFF2-40B4-BE49-F238E27FC236}">
                  <a16:creationId xmlns:a16="http://schemas.microsoft.com/office/drawing/2014/main" id="{1C93A422-4AC0-C6FA-0263-6B415AA02730}"/>
                </a:ext>
              </a:extLst>
            </p:cNvPr>
            <p:cNvSpPr/>
            <p:nvPr/>
          </p:nvSpPr>
          <p:spPr>
            <a:xfrm rot="16200000">
              <a:off x="4957741" y="2282472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rgbClr val="3361F5">
                    <a:alpha val="0"/>
                  </a:srgb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grpSp>
        <p:nvGrpSpPr>
          <p:cNvPr id="154" name="组合 153">
            <a:extLst>
              <a:ext uri="{FF2B5EF4-FFF2-40B4-BE49-F238E27FC236}">
                <a16:creationId xmlns:a16="http://schemas.microsoft.com/office/drawing/2014/main" id="{C8DD652D-5FBB-7E5A-C22C-A414475EBA08}"/>
              </a:ext>
            </a:extLst>
          </p:cNvPr>
          <p:cNvGrpSpPr/>
          <p:nvPr/>
        </p:nvGrpSpPr>
        <p:grpSpPr>
          <a:xfrm>
            <a:off x="8591552" y="3279567"/>
            <a:ext cx="636187" cy="641987"/>
            <a:chOff x="4956166" y="2260191"/>
            <a:chExt cx="2216269" cy="2236472"/>
          </a:xfrm>
        </p:grpSpPr>
        <p:sp>
          <p:nvSpPr>
            <p:cNvPr id="155" name="椭圆 154">
              <a:extLst>
                <a:ext uri="{FF2B5EF4-FFF2-40B4-BE49-F238E27FC236}">
                  <a16:creationId xmlns:a16="http://schemas.microsoft.com/office/drawing/2014/main" id="{06EC6BEC-7583-5ADD-0A88-09C909B4B447}"/>
                </a:ext>
              </a:extLst>
            </p:cNvPr>
            <p:cNvSpPr/>
            <p:nvPr/>
          </p:nvSpPr>
          <p:spPr>
            <a:xfrm rot="16200000">
              <a:off x="4958244" y="2276548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rgbClr val="3361F5"/>
                </a:gs>
                <a:gs pos="100000">
                  <a:srgbClr val="7A98F8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56" name="椭圆 155">
              <a:extLst>
                <a:ext uri="{FF2B5EF4-FFF2-40B4-BE49-F238E27FC236}">
                  <a16:creationId xmlns:a16="http://schemas.microsoft.com/office/drawing/2014/main" id="{3FA25E15-C32A-A1FB-6851-D242826EBB2F}"/>
                </a:ext>
              </a:extLst>
            </p:cNvPr>
            <p:cNvSpPr/>
            <p:nvPr/>
          </p:nvSpPr>
          <p:spPr>
            <a:xfrm rot="15726438">
              <a:off x="4956165" y="2260192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rgbClr val="3361F5">
                    <a:alpha val="0"/>
                  </a:srgb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57" name="椭圆 156">
              <a:extLst>
                <a:ext uri="{FF2B5EF4-FFF2-40B4-BE49-F238E27FC236}">
                  <a16:creationId xmlns:a16="http://schemas.microsoft.com/office/drawing/2014/main" id="{3F3DFD84-7BE9-CAA9-D495-D3E8CB493B10}"/>
                </a:ext>
              </a:extLst>
            </p:cNvPr>
            <p:cNvSpPr/>
            <p:nvPr/>
          </p:nvSpPr>
          <p:spPr>
            <a:xfrm rot="16200000">
              <a:off x="4957741" y="2282472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rgbClr val="3361F5">
                    <a:alpha val="0"/>
                  </a:srgb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grpSp>
        <p:nvGrpSpPr>
          <p:cNvPr id="158" name="组合 157">
            <a:extLst>
              <a:ext uri="{FF2B5EF4-FFF2-40B4-BE49-F238E27FC236}">
                <a16:creationId xmlns:a16="http://schemas.microsoft.com/office/drawing/2014/main" id="{282EFF39-21A1-5DA0-2C3A-2B8970191EF1}"/>
              </a:ext>
            </a:extLst>
          </p:cNvPr>
          <p:cNvGrpSpPr/>
          <p:nvPr/>
        </p:nvGrpSpPr>
        <p:grpSpPr>
          <a:xfrm>
            <a:off x="4096473" y="4006635"/>
            <a:ext cx="387049" cy="402168"/>
            <a:chOff x="4959329" y="5244522"/>
            <a:chExt cx="440486" cy="457692"/>
          </a:xfrm>
        </p:grpSpPr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78873B62-0399-32F3-4D89-107A29F4DA85}"/>
                </a:ext>
              </a:extLst>
            </p:cNvPr>
            <p:cNvSpPr/>
            <p:nvPr/>
          </p:nvSpPr>
          <p:spPr>
            <a:xfrm>
              <a:off x="4959329" y="5280999"/>
              <a:ext cx="440486" cy="421215"/>
            </a:xfrm>
            <a:custGeom>
              <a:avLst/>
              <a:gdLst>
                <a:gd name="connsiteX0" fmla="*/ 310405 w 440486"/>
                <a:gd name="connsiteY0" fmla="*/ 421215 h 421215"/>
                <a:gd name="connsiteX1" fmla="*/ 130081 w 440486"/>
                <a:gd name="connsiteY1" fmla="*/ 421215 h 421215"/>
                <a:gd name="connsiteX2" fmla="*/ 0 w 440486"/>
                <a:gd name="connsiteY2" fmla="*/ 291134 h 421215"/>
                <a:gd name="connsiteX3" fmla="*/ 0 w 440486"/>
                <a:gd name="connsiteY3" fmla="*/ 130081 h 421215"/>
                <a:gd name="connsiteX4" fmla="*/ 130081 w 440486"/>
                <a:gd name="connsiteY4" fmla="*/ 0 h 421215"/>
                <a:gd name="connsiteX5" fmla="*/ 311782 w 440486"/>
                <a:gd name="connsiteY5" fmla="*/ 0 h 421215"/>
                <a:gd name="connsiteX6" fmla="*/ 440486 w 440486"/>
                <a:gd name="connsiteY6" fmla="*/ 130081 h 421215"/>
                <a:gd name="connsiteX7" fmla="*/ 440486 w 440486"/>
                <a:gd name="connsiteY7" fmla="*/ 292511 h 421215"/>
                <a:gd name="connsiteX8" fmla="*/ 310405 w 440486"/>
                <a:gd name="connsiteY8" fmla="*/ 421215 h 421215"/>
                <a:gd name="connsiteX9" fmla="*/ 130081 w 440486"/>
                <a:gd name="connsiteY9" fmla="*/ 27530 h 421215"/>
                <a:gd name="connsiteX10" fmla="*/ 27530 w 440486"/>
                <a:gd name="connsiteY10" fmla="*/ 130081 h 421215"/>
                <a:gd name="connsiteX11" fmla="*/ 27530 w 440486"/>
                <a:gd name="connsiteY11" fmla="*/ 291134 h 421215"/>
                <a:gd name="connsiteX12" fmla="*/ 130081 w 440486"/>
                <a:gd name="connsiteY12" fmla="*/ 393685 h 421215"/>
                <a:gd name="connsiteX13" fmla="*/ 310405 w 440486"/>
                <a:gd name="connsiteY13" fmla="*/ 393685 h 421215"/>
                <a:gd name="connsiteX14" fmla="*/ 412956 w 440486"/>
                <a:gd name="connsiteY14" fmla="*/ 292511 h 421215"/>
                <a:gd name="connsiteX15" fmla="*/ 412956 w 440486"/>
                <a:gd name="connsiteY15" fmla="*/ 130081 h 421215"/>
                <a:gd name="connsiteX16" fmla="*/ 311782 w 440486"/>
                <a:gd name="connsiteY16" fmla="*/ 27530 h 421215"/>
                <a:gd name="connsiteX17" fmla="*/ 130081 w 440486"/>
                <a:gd name="connsiteY17" fmla="*/ 27530 h 421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0486" h="421215">
                  <a:moveTo>
                    <a:pt x="310405" y="421215"/>
                  </a:moveTo>
                  <a:lnTo>
                    <a:pt x="130081" y="421215"/>
                  </a:lnTo>
                  <a:cubicBezTo>
                    <a:pt x="58502" y="421215"/>
                    <a:pt x="0" y="362713"/>
                    <a:pt x="0" y="291134"/>
                  </a:cubicBezTo>
                  <a:lnTo>
                    <a:pt x="0" y="130081"/>
                  </a:lnTo>
                  <a:cubicBezTo>
                    <a:pt x="0" y="58502"/>
                    <a:pt x="58502" y="0"/>
                    <a:pt x="130081" y="0"/>
                  </a:cubicBezTo>
                  <a:lnTo>
                    <a:pt x="311782" y="0"/>
                  </a:lnTo>
                  <a:cubicBezTo>
                    <a:pt x="382673" y="0"/>
                    <a:pt x="440486" y="58502"/>
                    <a:pt x="440486" y="130081"/>
                  </a:cubicBezTo>
                  <a:lnTo>
                    <a:pt x="440486" y="292511"/>
                  </a:lnTo>
                  <a:cubicBezTo>
                    <a:pt x="440486" y="363401"/>
                    <a:pt x="381984" y="421215"/>
                    <a:pt x="310405" y="421215"/>
                  </a:cubicBezTo>
                  <a:close/>
                  <a:moveTo>
                    <a:pt x="130081" y="27530"/>
                  </a:moveTo>
                  <a:cubicBezTo>
                    <a:pt x="73644" y="27530"/>
                    <a:pt x="27530" y="73644"/>
                    <a:pt x="27530" y="130081"/>
                  </a:cubicBezTo>
                  <a:lnTo>
                    <a:pt x="27530" y="291134"/>
                  </a:lnTo>
                  <a:cubicBezTo>
                    <a:pt x="27530" y="347571"/>
                    <a:pt x="73644" y="393685"/>
                    <a:pt x="130081" y="393685"/>
                  </a:cubicBezTo>
                  <a:lnTo>
                    <a:pt x="310405" y="393685"/>
                  </a:lnTo>
                  <a:cubicBezTo>
                    <a:pt x="366843" y="393685"/>
                    <a:pt x="412956" y="348260"/>
                    <a:pt x="412956" y="292511"/>
                  </a:cubicBezTo>
                  <a:lnTo>
                    <a:pt x="412956" y="130081"/>
                  </a:lnTo>
                  <a:cubicBezTo>
                    <a:pt x="412956" y="73644"/>
                    <a:pt x="367531" y="27530"/>
                    <a:pt x="311782" y="27530"/>
                  </a:cubicBezTo>
                  <a:lnTo>
                    <a:pt x="130081" y="27530"/>
                  </a:ln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B09FCB09-7744-97DA-3584-79E1802EC613}"/>
                </a:ext>
              </a:extLst>
            </p:cNvPr>
            <p:cNvSpPr/>
            <p:nvPr/>
          </p:nvSpPr>
          <p:spPr>
            <a:xfrm>
              <a:off x="5088033" y="5244522"/>
              <a:ext cx="183077" cy="285627"/>
            </a:xfrm>
            <a:custGeom>
              <a:avLst/>
              <a:gdLst>
                <a:gd name="connsiteX0" fmla="*/ 90850 w 183077"/>
                <a:gd name="connsiteY0" fmla="*/ 285628 h 285627"/>
                <a:gd name="connsiteX1" fmla="*/ 30972 w 183077"/>
                <a:gd name="connsiteY1" fmla="*/ 249150 h 285627"/>
                <a:gd name="connsiteX2" fmla="*/ 35101 w 183077"/>
                <a:gd name="connsiteY2" fmla="*/ 232632 h 285627"/>
                <a:gd name="connsiteX3" fmla="*/ 51620 w 183077"/>
                <a:gd name="connsiteY3" fmla="*/ 236761 h 285627"/>
                <a:gd name="connsiteX4" fmla="*/ 91539 w 183077"/>
                <a:gd name="connsiteY4" fmla="*/ 261539 h 285627"/>
                <a:gd name="connsiteX5" fmla="*/ 130769 w 183077"/>
                <a:gd name="connsiteY5" fmla="*/ 236073 h 285627"/>
                <a:gd name="connsiteX6" fmla="*/ 147288 w 183077"/>
                <a:gd name="connsiteY6" fmla="*/ 231255 h 285627"/>
                <a:gd name="connsiteX7" fmla="*/ 152105 w 183077"/>
                <a:gd name="connsiteY7" fmla="*/ 247774 h 285627"/>
                <a:gd name="connsiteX8" fmla="*/ 92915 w 183077"/>
                <a:gd name="connsiteY8" fmla="*/ 285628 h 285627"/>
                <a:gd name="connsiteX9" fmla="*/ 90850 w 183077"/>
                <a:gd name="connsiteY9" fmla="*/ 285628 h 285627"/>
                <a:gd name="connsiteX10" fmla="*/ 13765 w 183077"/>
                <a:gd name="connsiteY10" fmla="*/ 89474 h 285627"/>
                <a:gd name="connsiteX11" fmla="*/ 0 w 183077"/>
                <a:gd name="connsiteY11" fmla="*/ 71579 h 285627"/>
                <a:gd name="connsiteX12" fmla="*/ 0 w 183077"/>
                <a:gd name="connsiteY12" fmla="*/ 17895 h 285627"/>
                <a:gd name="connsiteX13" fmla="*/ 13765 w 183077"/>
                <a:gd name="connsiteY13" fmla="*/ 0 h 285627"/>
                <a:gd name="connsiteX14" fmla="*/ 27530 w 183077"/>
                <a:gd name="connsiteY14" fmla="*/ 17895 h 285627"/>
                <a:gd name="connsiteX15" fmla="*/ 27530 w 183077"/>
                <a:gd name="connsiteY15" fmla="*/ 72267 h 285627"/>
                <a:gd name="connsiteX16" fmla="*/ 13765 w 183077"/>
                <a:gd name="connsiteY16" fmla="*/ 89474 h 285627"/>
                <a:gd name="connsiteX17" fmla="*/ 169312 w 183077"/>
                <a:gd name="connsiteY17" fmla="*/ 89474 h 285627"/>
                <a:gd name="connsiteX18" fmla="*/ 155547 w 183077"/>
                <a:gd name="connsiteY18" fmla="*/ 71579 h 285627"/>
                <a:gd name="connsiteX19" fmla="*/ 155547 w 183077"/>
                <a:gd name="connsiteY19" fmla="*/ 17895 h 285627"/>
                <a:gd name="connsiteX20" fmla="*/ 169312 w 183077"/>
                <a:gd name="connsiteY20" fmla="*/ 0 h 285627"/>
                <a:gd name="connsiteX21" fmla="*/ 183077 w 183077"/>
                <a:gd name="connsiteY21" fmla="*/ 17895 h 285627"/>
                <a:gd name="connsiteX22" fmla="*/ 183077 w 183077"/>
                <a:gd name="connsiteY22" fmla="*/ 72267 h 285627"/>
                <a:gd name="connsiteX23" fmla="*/ 169312 w 183077"/>
                <a:gd name="connsiteY23" fmla="*/ 89474 h 28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83077" h="285627">
                  <a:moveTo>
                    <a:pt x="90850" y="285628"/>
                  </a:moveTo>
                  <a:cubicBezTo>
                    <a:pt x="66761" y="285628"/>
                    <a:pt x="44049" y="271863"/>
                    <a:pt x="30972" y="249150"/>
                  </a:cubicBezTo>
                  <a:cubicBezTo>
                    <a:pt x="27530" y="243644"/>
                    <a:pt x="29595" y="236073"/>
                    <a:pt x="35101" y="232632"/>
                  </a:cubicBezTo>
                  <a:cubicBezTo>
                    <a:pt x="40607" y="229191"/>
                    <a:pt x="48178" y="231255"/>
                    <a:pt x="51620" y="236761"/>
                  </a:cubicBezTo>
                  <a:cubicBezTo>
                    <a:pt x="60567" y="252591"/>
                    <a:pt x="75709" y="261539"/>
                    <a:pt x="91539" y="261539"/>
                  </a:cubicBezTo>
                  <a:cubicBezTo>
                    <a:pt x="108057" y="261539"/>
                    <a:pt x="121822" y="251215"/>
                    <a:pt x="130769" y="236073"/>
                  </a:cubicBezTo>
                  <a:cubicBezTo>
                    <a:pt x="134211" y="230567"/>
                    <a:pt x="141093" y="227814"/>
                    <a:pt x="147288" y="231255"/>
                  </a:cubicBezTo>
                  <a:cubicBezTo>
                    <a:pt x="152794" y="234697"/>
                    <a:pt x="155547" y="241579"/>
                    <a:pt x="152105" y="247774"/>
                  </a:cubicBezTo>
                  <a:cubicBezTo>
                    <a:pt x="139717" y="271174"/>
                    <a:pt x="117004" y="284940"/>
                    <a:pt x="92915" y="285628"/>
                  </a:cubicBezTo>
                  <a:lnTo>
                    <a:pt x="90850" y="285628"/>
                  </a:lnTo>
                  <a:close/>
                  <a:moveTo>
                    <a:pt x="13765" y="89474"/>
                  </a:moveTo>
                  <a:cubicBezTo>
                    <a:pt x="6194" y="89474"/>
                    <a:pt x="0" y="81903"/>
                    <a:pt x="0" y="71579"/>
                  </a:cubicBezTo>
                  <a:lnTo>
                    <a:pt x="0" y="17895"/>
                  </a:lnTo>
                  <a:cubicBezTo>
                    <a:pt x="0" y="8259"/>
                    <a:pt x="6194" y="0"/>
                    <a:pt x="13765" y="0"/>
                  </a:cubicBezTo>
                  <a:cubicBezTo>
                    <a:pt x="21336" y="0"/>
                    <a:pt x="27530" y="7571"/>
                    <a:pt x="27530" y="17895"/>
                  </a:cubicBezTo>
                  <a:lnTo>
                    <a:pt x="27530" y="72267"/>
                  </a:lnTo>
                  <a:cubicBezTo>
                    <a:pt x="27530" y="81903"/>
                    <a:pt x="21336" y="89474"/>
                    <a:pt x="13765" y="89474"/>
                  </a:cubicBezTo>
                  <a:close/>
                  <a:moveTo>
                    <a:pt x="169312" y="89474"/>
                  </a:moveTo>
                  <a:cubicBezTo>
                    <a:pt x="161741" y="89474"/>
                    <a:pt x="155547" y="81903"/>
                    <a:pt x="155547" y="71579"/>
                  </a:cubicBezTo>
                  <a:lnTo>
                    <a:pt x="155547" y="17895"/>
                  </a:lnTo>
                  <a:cubicBezTo>
                    <a:pt x="155547" y="8259"/>
                    <a:pt x="161741" y="0"/>
                    <a:pt x="169312" y="0"/>
                  </a:cubicBezTo>
                  <a:cubicBezTo>
                    <a:pt x="176883" y="0"/>
                    <a:pt x="183077" y="7571"/>
                    <a:pt x="183077" y="17895"/>
                  </a:cubicBezTo>
                  <a:lnTo>
                    <a:pt x="183077" y="72267"/>
                  </a:lnTo>
                  <a:cubicBezTo>
                    <a:pt x="181701" y="81903"/>
                    <a:pt x="176195" y="89474"/>
                    <a:pt x="169312" y="89474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grpSp>
        <p:nvGrpSpPr>
          <p:cNvPr id="161" name="组合 160">
            <a:extLst>
              <a:ext uri="{FF2B5EF4-FFF2-40B4-BE49-F238E27FC236}">
                <a16:creationId xmlns:a16="http://schemas.microsoft.com/office/drawing/2014/main" id="{B338948D-D32B-0566-C453-3284F217B3F1}"/>
              </a:ext>
            </a:extLst>
          </p:cNvPr>
          <p:cNvGrpSpPr/>
          <p:nvPr/>
        </p:nvGrpSpPr>
        <p:grpSpPr>
          <a:xfrm>
            <a:off x="3094668" y="3400578"/>
            <a:ext cx="361901" cy="406359"/>
            <a:chOff x="3193522" y="5222129"/>
            <a:chExt cx="395205" cy="443754"/>
          </a:xfrm>
        </p:grpSpPr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B65FFCB1-5ABF-2EE9-6EDE-DFAA35BF1B76}"/>
                </a:ext>
              </a:extLst>
            </p:cNvPr>
            <p:cNvSpPr/>
            <p:nvPr/>
          </p:nvSpPr>
          <p:spPr>
            <a:xfrm>
              <a:off x="3193522" y="5222129"/>
              <a:ext cx="395205" cy="443754"/>
            </a:xfrm>
            <a:custGeom>
              <a:avLst/>
              <a:gdLst>
                <a:gd name="connsiteX0" fmla="*/ 197675 w 395205"/>
                <a:gd name="connsiteY0" fmla="*/ 443755 h 443754"/>
                <a:gd name="connsiteX1" fmla="*/ 141926 w 395205"/>
                <a:gd name="connsiteY1" fmla="*/ 420354 h 443754"/>
                <a:gd name="connsiteX2" fmla="*/ 60711 w 395205"/>
                <a:gd name="connsiteY2" fmla="*/ 339139 h 443754"/>
                <a:gd name="connsiteX3" fmla="*/ 832 w 395205"/>
                <a:gd name="connsiteY3" fmla="*/ 178775 h 443754"/>
                <a:gd name="connsiteX4" fmla="*/ 57270 w 395205"/>
                <a:gd name="connsiteY4" fmla="*/ 59017 h 443754"/>
                <a:gd name="connsiteX5" fmla="*/ 174962 w 395205"/>
                <a:gd name="connsiteY5" fmla="*/ 1204 h 443754"/>
                <a:gd name="connsiteX6" fmla="*/ 329132 w 395205"/>
                <a:gd name="connsiteY6" fmla="*/ 50758 h 443754"/>
                <a:gd name="connsiteX7" fmla="*/ 395205 w 395205"/>
                <a:gd name="connsiteY7" fmla="*/ 198046 h 443754"/>
                <a:gd name="connsiteX8" fmla="*/ 335327 w 395205"/>
                <a:gd name="connsiteY8" fmla="*/ 340516 h 443754"/>
                <a:gd name="connsiteX9" fmla="*/ 252735 w 395205"/>
                <a:gd name="connsiteY9" fmla="*/ 420354 h 443754"/>
                <a:gd name="connsiteX10" fmla="*/ 197675 w 395205"/>
                <a:gd name="connsiteY10" fmla="*/ 443755 h 443754"/>
                <a:gd name="connsiteX11" fmla="*/ 196298 w 395205"/>
                <a:gd name="connsiteY11" fmla="*/ 28046 h 443754"/>
                <a:gd name="connsiteX12" fmla="*/ 177715 w 395205"/>
                <a:gd name="connsiteY12" fmla="*/ 28734 h 443754"/>
                <a:gd name="connsiteX13" fmla="*/ 76541 w 395205"/>
                <a:gd name="connsiteY13" fmla="*/ 78289 h 443754"/>
                <a:gd name="connsiteX14" fmla="*/ 28363 w 395205"/>
                <a:gd name="connsiteY14" fmla="*/ 181528 h 443754"/>
                <a:gd name="connsiteX15" fmla="*/ 79982 w 395205"/>
                <a:gd name="connsiteY15" fmla="*/ 319868 h 443754"/>
                <a:gd name="connsiteX16" fmla="*/ 161885 w 395205"/>
                <a:gd name="connsiteY16" fmla="*/ 401083 h 443754"/>
                <a:gd name="connsiteX17" fmla="*/ 197675 w 395205"/>
                <a:gd name="connsiteY17" fmla="*/ 416224 h 443754"/>
                <a:gd name="connsiteX18" fmla="*/ 232776 w 395205"/>
                <a:gd name="connsiteY18" fmla="*/ 401771 h 443754"/>
                <a:gd name="connsiteX19" fmla="*/ 233464 w 395205"/>
                <a:gd name="connsiteY19" fmla="*/ 401083 h 443754"/>
                <a:gd name="connsiteX20" fmla="*/ 316055 w 395205"/>
                <a:gd name="connsiteY20" fmla="*/ 321244 h 443754"/>
                <a:gd name="connsiteX21" fmla="*/ 367675 w 395205"/>
                <a:gd name="connsiteY21" fmla="*/ 198734 h 443754"/>
                <a:gd name="connsiteX22" fmla="*/ 310549 w 395205"/>
                <a:gd name="connsiteY22" fmla="*/ 72094 h 443754"/>
                <a:gd name="connsiteX23" fmla="*/ 196298 w 395205"/>
                <a:gd name="connsiteY23" fmla="*/ 28046 h 44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5205" h="443754">
                  <a:moveTo>
                    <a:pt x="197675" y="443755"/>
                  </a:moveTo>
                  <a:cubicBezTo>
                    <a:pt x="176339" y="443755"/>
                    <a:pt x="157067" y="435496"/>
                    <a:pt x="141926" y="420354"/>
                  </a:cubicBezTo>
                  <a:lnTo>
                    <a:pt x="60711" y="339139"/>
                  </a:lnTo>
                  <a:cubicBezTo>
                    <a:pt x="17350" y="297155"/>
                    <a:pt x="-4674" y="238653"/>
                    <a:pt x="832" y="178775"/>
                  </a:cubicBezTo>
                  <a:cubicBezTo>
                    <a:pt x="5650" y="133349"/>
                    <a:pt x="24921" y="91366"/>
                    <a:pt x="57270" y="59017"/>
                  </a:cubicBezTo>
                  <a:cubicBezTo>
                    <a:pt x="87553" y="26669"/>
                    <a:pt x="130913" y="5333"/>
                    <a:pt x="174962" y="1204"/>
                  </a:cubicBezTo>
                  <a:cubicBezTo>
                    <a:pt x="230711" y="-4991"/>
                    <a:pt x="287148" y="12904"/>
                    <a:pt x="329132" y="50758"/>
                  </a:cubicBezTo>
                  <a:cubicBezTo>
                    <a:pt x="371116" y="88613"/>
                    <a:pt x="395205" y="142297"/>
                    <a:pt x="395205" y="198046"/>
                  </a:cubicBezTo>
                  <a:cubicBezTo>
                    <a:pt x="395205" y="251730"/>
                    <a:pt x="373181" y="304038"/>
                    <a:pt x="335327" y="340516"/>
                  </a:cubicBezTo>
                  <a:lnTo>
                    <a:pt x="252735" y="420354"/>
                  </a:lnTo>
                  <a:cubicBezTo>
                    <a:pt x="238282" y="436184"/>
                    <a:pt x="219699" y="443755"/>
                    <a:pt x="197675" y="443755"/>
                  </a:cubicBezTo>
                  <a:close/>
                  <a:moveTo>
                    <a:pt x="196298" y="28046"/>
                  </a:moveTo>
                  <a:cubicBezTo>
                    <a:pt x="190104" y="28046"/>
                    <a:pt x="183909" y="28046"/>
                    <a:pt x="177715" y="28734"/>
                  </a:cubicBezTo>
                  <a:cubicBezTo>
                    <a:pt x="139861" y="32175"/>
                    <a:pt x="102695" y="50070"/>
                    <a:pt x="76541" y="78289"/>
                  </a:cubicBezTo>
                  <a:cubicBezTo>
                    <a:pt x="48322" y="106507"/>
                    <a:pt x="31804" y="141609"/>
                    <a:pt x="28363" y="181528"/>
                  </a:cubicBezTo>
                  <a:cubicBezTo>
                    <a:pt x="23545" y="233835"/>
                    <a:pt x="42128" y="282702"/>
                    <a:pt x="79982" y="319868"/>
                  </a:cubicBezTo>
                  <a:lnTo>
                    <a:pt x="161885" y="401083"/>
                  </a:lnTo>
                  <a:cubicBezTo>
                    <a:pt x="171521" y="411407"/>
                    <a:pt x="183221" y="416224"/>
                    <a:pt x="197675" y="416224"/>
                  </a:cubicBezTo>
                  <a:cubicBezTo>
                    <a:pt x="212816" y="416224"/>
                    <a:pt x="223828" y="411407"/>
                    <a:pt x="232776" y="401771"/>
                  </a:cubicBezTo>
                  <a:lnTo>
                    <a:pt x="233464" y="401083"/>
                  </a:lnTo>
                  <a:lnTo>
                    <a:pt x="316055" y="321244"/>
                  </a:lnTo>
                  <a:cubicBezTo>
                    <a:pt x="349092" y="289585"/>
                    <a:pt x="367675" y="244848"/>
                    <a:pt x="367675" y="198734"/>
                  </a:cubicBezTo>
                  <a:cubicBezTo>
                    <a:pt x="367675" y="150556"/>
                    <a:pt x="347027" y="104443"/>
                    <a:pt x="310549" y="72094"/>
                  </a:cubicBezTo>
                  <a:cubicBezTo>
                    <a:pt x="278889" y="43187"/>
                    <a:pt x="238282" y="28046"/>
                    <a:pt x="196298" y="28046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6C685337-2A84-2348-F729-48419F7A5697}"/>
                </a:ext>
              </a:extLst>
            </p:cNvPr>
            <p:cNvSpPr/>
            <p:nvPr/>
          </p:nvSpPr>
          <p:spPr>
            <a:xfrm>
              <a:off x="3328565" y="5342402"/>
              <a:ext cx="126639" cy="126639"/>
            </a:xfrm>
            <a:custGeom>
              <a:avLst/>
              <a:gdLst>
                <a:gd name="connsiteX0" fmla="*/ 63320 w 126639"/>
                <a:gd name="connsiteY0" fmla="*/ 126640 h 126639"/>
                <a:gd name="connsiteX1" fmla="*/ 0 w 126639"/>
                <a:gd name="connsiteY1" fmla="*/ 63320 h 126639"/>
                <a:gd name="connsiteX2" fmla="*/ 63320 w 126639"/>
                <a:gd name="connsiteY2" fmla="*/ 0 h 126639"/>
                <a:gd name="connsiteX3" fmla="*/ 126640 w 126639"/>
                <a:gd name="connsiteY3" fmla="*/ 63320 h 126639"/>
                <a:gd name="connsiteX4" fmla="*/ 63320 w 126639"/>
                <a:gd name="connsiteY4" fmla="*/ 126640 h 126639"/>
                <a:gd name="connsiteX5" fmla="*/ 63320 w 126639"/>
                <a:gd name="connsiteY5" fmla="*/ 27530 h 126639"/>
                <a:gd name="connsiteX6" fmla="*/ 27530 w 126639"/>
                <a:gd name="connsiteY6" fmla="*/ 63320 h 126639"/>
                <a:gd name="connsiteX7" fmla="*/ 63320 w 126639"/>
                <a:gd name="connsiteY7" fmla="*/ 99109 h 126639"/>
                <a:gd name="connsiteX8" fmla="*/ 99109 w 126639"/>
                <a:gd name="connsiteY8" fmla="*/ 63320 h 126639"/>
                <a:gd name="connsiteX9" fmla="*/ 63320 w 126639"/>
                <a:gd name="connsiteY9" fmla="*/ 27530 h 1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39" h="126639">
                  <a:moveTo>
                    <a:pt x="63320" y="126640"/>
                  </a:moveTo>
                  <a:cubicBezTo>
                    <a:pt x="28219" y="126640"/>
                    <a:pt x="0" y="98421"/>
                    <a:pt x="0" y="63320"/>
                  </a:cubicBezTo>
                  <a:cubicBezTo>
                    <a:pt x="0" y="28219"/>
                    <a:pt x="28219" y="0"/>
                    <a:pt x="63320" y="0"/>
                  </a:cubicBezTo>
                  <a:cubicBezTo>
                    <a:pt x="98421" y="0"/>
                    <a:pt x="126640" y="28219"/>
                    <a:pt x="126640" y="63320"/>
                  </a:cubicBezTo>
                  <a:cubicBezTo>
                    <a:pt x="126640" y="98421"/>
                    <a:pt x="97733" y="126640"/>
                    <a:pt x="63320" y="126640"/>
                  </a:cubicBezTo>
                  <a:close/>
                  <a:moveTo>
                    <a:pt x="63320" y="27530"/>
                  </a:moveTo>
                  <a:cubicBezTo>
                    <a:pt x="43360" y="27530"/>
                    <a:pt x="27530" y="43360"/>
                    <a:pt x="27530" y="63320"/>
                  </a:cubicBezTo>
                  <a:cubicBezTo>
                    <a:pt x="27530" y="83279"/>
                    <a:pt x="43360" y="99109"/>
                    <a:pt x="63320" y="99109"/>
                  </a:cubicBezTo>
                  <a:cubicBezTo>
                    <a:pt x="83279" y="99109"/>
                    <a:pt x="99109" y="83279"/>
                    <a:pt x="99109" y="63320"/>
                  </a:cubicBezTo>
                  <a:cubicBezTo>
                    <a:pt x="99109" y="43360"/>
                    <a:pt x="82591" y="27530"/>
                    <a:pt x="63320" y="275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grpSp>
        <p:nvGrpSpPr>
          <p:cNvPr id="167" name="组合 166">
            <a:extLst>
              <a:ext uri="{FF2B5EF4-FFF2-40B4-BE49-F238E27FC236}">
                <a16:creationId xmlns:a16="http://schemas.microsoft.com/office/drawing/2014/main" id="{2228A73E-1CDB-C62F-871C-EB64CF828574}"/>
              </a:ext>
            </a:extLst>
          </p:cNvPr>
          <p:cNvGrpSpPr/>
          <p:nvPr/>
        </p:nvGrpSpPr>
        <p:grpSpPr>
          <a:xfrm>
            <a:off x="8752088" y="3426255"/>
            <a:ext cx="355003" cy="355003"/>
            <a:chOff x="10357510" y="5253191"/>
            <a:chExt cx="355003" cy="355003"/>
          </a:xfrm>
        </p:grpSpPr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63829EDF-0DAC-F2EF-E8D4-739A59FC7F81}"/>
                </a:ext>
              </a:extLst>
            </p:cNvPr>
            <p:cNvSpPr/>
            <p:nvPr/>
          </p:nvSpPr>
          <p:spPr>
            <a:xfrm>
              <a:off x="10357510" y="5253191"/>
              <a:ext cx="355003" cy="355003"/>
            </a:xfrm>
            <a:custGeom>
              <a:avLst/>
              <a:gdLst>
                <a:gd name="connsiteX0" fmla="*/ 177502 w 355003"/>
                <a:gd name="connsiteY0" fmla="*/ 355003 h 355003"/>
                <a:gd name="connsiteX1" fmla="*/ 0 w 355003"/>
                <a:gd name="connsiteY1" fmla="*/ 177502 h 355003"/>
                <a:gd name="connsiteX2" fmla="*/ 177502 w 355003"/>
                <a:gd name="connsiteY2" fmla="*/ 0 h 355003"/>
                <a:gd name="connsiteX3" fmla="*/ 355003 w 355003"/>
                <a:gd name="connsiteY3" fmla="*/ 177502 h 355003"/>
                <a:gd name="connsiteX4" fmla="*/ 177502 w 355003"/>
                <a:gd name="connsiteY4" fmla="*/ 355003 h 355003"/>
                <a:gd name="connsiteX5" fmla="*/ 177502 w 355003"/>
                <a:gd name="connsiteY5" fmla="*/ 22188 h 355003"/>
                <a:gd name="connsiteX6" fmla="*/ 22188 w 355003"/>
                <a:gd name="connsiteY6" fmla="*/ 177502 h 355003"/>
                <a:gd name="connsiteX7" fmla="*/ 177502 w 355003"/>
                <a:gd name="connsiteY7" fmla="*/ 332816 h 355003"/>
                <a:gd name="connsiteX8" fmla="*/ 332816 w 355003"/>
                <a:gd name="connsiteY8" fmla="*/ 177502 h 355003"/>
                <a:gd name="connsiteX9" fmla="*/ 177502 w 355003"/>
                <a:gd name="connsiteY9" fmla="*/ 22188 h 35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003" h="355003">
                  <a:moveTo>
                    <a:pt x="177502" y="355003"/>
                  </a:moveTo>
                  <a:cubicBezTo>
                    <a:pt x="79876" y="355003"/>
                    <a:pt x="0" y="275127"/>
                    <a:pt x="0" y="177502"/>
                  </a:cubicBezTo>
                  <a:cubicBezTo>
                    <a:pt x="0" y="79876"/>
                    <a:pt x="79876" y="0"/>
                    <a:pt x="177502" y="0"/>
                  </a:cubicBezTo>
                  <a:cubicBezTo>
                    <a:pt x="275128" y="0"/>
                    <a:pt x="355003" y="79876"/>
                    <a:pt x="355003" y="177502"/>
                  </a:cubicBezTo>
                  <a:cubicBezTo>
                    <a:pt x="355003" y="275127"/>
                    <a:pt x="275682" y="355003"/>
                    <a:pt x="177502" y="355003"/>
                  </a:cubicBezTo>
                  <a:close/>
                  <a:moveTo>
                    <a:pt x="177502" y="22188"/>
                  </a:moveTo>
                  <a:cubicBezTo>
                    <a:pt x="92079" y="22188"/>
                    <a:pt x="22188" y="92079"/>
                    <a:pt x="22188" y="177502"/>
                  </a:cubicBezTo>
                  <a:cubicBezTo>
                    <a:pt x="22188" y="262924"/>
                    <a:pt x="92079" y="332816"/>
                    <a:pt x="177502" y="332816"/>
                  </a:cubicBezTo>
                  <a:cubicBezTo>
                    <a:pt x="262924" y="332816"/>
                    <a:pt x="332816" y="262924"/>
                    <a:pt x="332816" y="177502"/>
                  </a:cubicBezTo>
                  <a:cubicBezTo>
                    <a:pt x="332816" y="92079"/>
                    <a:pt x="263479" y="22188"/>
                    <a:pt x="177502" y="22188"/>
                  </a:cubicBezTo>
                  <a:close/>
                </a:path>
              </a:pathLst>
            </a:custGeom>
            <a:solidFill>
              <a:srgbClr val="FFFFFF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8D39445E-FAF4-C056-13E4-E755A1F62D51}"/>
                </a:ext>
              </a:extLst>
            </p:cNvPr>
            <p:cNvSpPr/>
            <p:nvPr/>
          </p:nvSpPr>
          <p:spPr>
            <a:xfrm>
              <a:off x="10450144" y="5345825"/>
              <a:ext cx="169735" cy="169735"/>
            </a:xfrm>
            <a:custGeom>
              <a:avLst/>
              <a:gdLst>
                <a:gd name="connsiteX0" fmla="*/ 84868 w 169735"/>
                <a:gd name="connsiteY0" fmla="*/ 169736 h 169735"/>
                <a:gd name="connsiteX1" fmla="*/ 0 w 169735"/>
                <a:gd name="connsiteY1" fmla="*/ 84868 h 169735"/>
                <a:gd name="connsiteX2" fmla="*/ 84868 w 169735"/>
                <a:gd name="connsiteY2" fmla="*/ 0 h 169735"/>
                <a:gd name="connsiteX3" fmla="*/ 169736 w 169735"/>
                <a:gd name="connsiteY3" fmla="*/ 84868 h 169735"/>
                <a:gd name="connsiteX4" fmla="*/ 84868 w 169735"/>
                <a:gd name="connsiteY4" fmla="*/ 169736 h 169735"/>
                <a:gd name="connsiteX5" fmla="*/ 84868 w 169735"/>
                <a:gd name="connsiteY5" fmla="*/ 22188 h 169735"/>
                <a:gd name="connsiteX6" fmla="*/ 22188 w 169735"/>
                <a:gd name="connsiteY6" fmla="*/ 84868 h 169735"/>
                <a:gd name="connsiteX7" fmla="*/ 84868 w 169735"/>
                <a:gd name="connsiteY7" fmla="*/ 147548 h 169735"/>
                <a:gd name="connsiteX8" fmla="*/ 147548 w 169735"/>
                <a:gd name="connsiteY8" fmla="*/ 84868 h 169735"/>
                <a:gd name="connsiteX9" fmla="*/ 84868 w 169735"/>
                <a:gd name="connsiteY9" fmla="*/ 22188 h 16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35" h="169735">
                  <a:moveTo>
                    <a:pt x="84868" y="169736"/>
                  </a:moveTo>
                  <a:cubicBezTo>
                    <a:pt x="38274" y="169736"/>
                    <a:pt x="0" y="131462"/>
                    <a:pt x="0" y="84868"/>
                  </a:cubicBezTo>
                  <a:cubicBezTo>
                    <a:pt x="0" y="38274"/>
                    <a:pt x="38274" y="0"/>
                    <a:pt x="84868" y="0"/>
                  </a:cubicBezTo>
                  <a:cubicBezTo>
                    <a:pt x="131462" y="0"/>
                    <a:pt x="169736" y="38274"/>
                    <a:pt x="169736" y="84868"/>
                  </a:cubicBezTo>
                  <a:cubicBezTo>
                    <a:pt x="169736" y="131462"/>
                    <a:pt x="131462" y="169736"/>
                    <a:pt x="84868" y="169736"/>
                  </a:cubicBezTo>
                  <a:close/>
                  <a:moveTo>
                    <a:pt x="84868" y="22188"/>
                  </a:moveTo>
                  <a:cubicBezTo>
                    <a:pt x="50477" y="22188"/>
                    <a:pt x="22188" y="50477"/>
                    <a:pt x="22188" y="84868"/>
                  </a:cubicBezTo>
                  <a:cubicBezTo>
                    <a:pt x="22188" y="119259"/>
                    <a:pt x="50477" y="147548"/>
                    <a:pt x="84868" y="147548"/>
                  </a:cubicBezTo>
                  <a:cubicBezTo>
                    <a:pt x="119259" y="147548"/>
                    <a:pt x="147548" y="119259"/>
                    <a:pt x="147548" y="84868"/>
                  </a:cubicBezTo>
                  <a:cubicBezTo>
                    <a:pt x="147548" y="49922"/>
                    <a:pt x="119259" y="22188"/>
                    <a:pt x="84868" y="22188"/>
                  </a:cubicBezTo>
                  <a:close/>
                </a:path>
              </a:pathLst>
            </a:custGeom>
            <a:solidFill>
              <a:srgbClr val="FFFFFF"/>
            </a:solidFill>
            <a:ln w="42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grpSp>
        <p:nvGrpSpPr>
          <p:cNvPr id="173" name="组合 172">
            <a:extLst>
              <a:ext uri="{FF2B5EF4-FFF2-40B4-BE49-F238E27FC236}">
                <a16:creationId xmlns:a16="http://schemas.microsoft.com/office/drawing/2014/main" id="{D8778F6A-4905-EE72-6BE7-04CE9C7772A7}"/>
              </a:ext>
            </a:extLst>
          </p:cNvPr>
          <p:cNvGrpSpPr/>
          <p:nvPr/>
        </p:nvGrpSpPr>
        <p:grpSpPr>
          <a:xfrm>
            <a:off x="7644221" y="4006635"/>
            <a:ext cx="382904" cy="373907"/>
            <a:chOff x="6770455" y="5253911"/>
            <a:chExt cx="387355" cy="378253"/>
          </a:xfrm>
          <a:solidFill>
            <a:srgbClr val="FFFFFF"/>
          </a:solidFill>
        </p:grpSpPr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F68D6A20-F014-76B0-DD67-276F5285C0CF}"/>
                </a:ext>
              </a:extLst>
            </p:cNvPr>
            <p:cNvSpPr/>
            <p:nvPr/>
          </p:nvSpPr>
          <p:spPr>
            <a:xfrm>
              <a:off x="6770455" y="5253911"/>
              <a:ext cx="387355" cy="378253"/>
            </a:xfrm>
            <a:custGeom>
              <a:avLst/>
              <a:gdLst>
                <a:gd name="connsiteX0" fmla="*/ 291860 w 387355"/>
                <a:gd name="connsiteY0" fmla="*/ 378254 h 378253"/>
                <a:gd name="connsiteX1" fmla="*/ 95496 w 387355"/>
                <a:gd name="connsiteY1" fmla="*/ 378254 h 378253"/>
                <a:gd name="connsiteX2" fmla="*/ 0 w 387355"/>
                <a:gd name="connsiteY2" fmla="*/ 282758 h 378253"/>
                <a:gd name="connsiteX3" fmla="*/ 0 w 387355"/>
                <a:gd name="connsiteY3" fmla="*/ 168162 h 378253"/>
                <a:gd name="connsiteX4" fmla="*/ 38198 w 387355"/>
                <a:gd name="connsiteY4" fmla="*/ 91169 h 378253"/>
                <a:gd name="connsiteX5" fmla="*/ 133098 w 387355"/>
                <a:gd name="connsiteY5" fmla="*/ 20144 h 378253"/>
                <a:gd name="connsiteX6" fmla="*/ 254855 w 387355"/>
                <a:gd name="connsiteY6" fmla="*/ 20144 h 378253"/>
                <a:gd name="connsiteX7" fmla="*/ 349157 w 387355"/>
                <a:gd name="connsiteY7" fmla="*/ 91169 h 378253"/>
                <a:gd name="connsiteX8" fmla="*/ 387356 w 387355"/>
                <a:gd name="connsiteY8" fmla="*/ 168162 h 378253"/>
                <a:gd name="connsiteX9" fmla="*/ 387356 w 387355"/>
                <a:gd name="connsiteY9" fmla="*/ 282161 h 378253"/>
                <a:gd name="connsiteX10" fmla="*/ 291860 w 387355"/>
                <a:gd name="connsiteY10" fmla="*/ 378254 h 378253"/>
                <a:gd name="connsiteX11" fmla="*/ 147422 w 387355"/>
                <a:gd name="connsiteY11" fmla="*/ 39840 h 378253"/>
                <a:gd name="connsiteX12" fmla="*/ 52523 w 387355"/>
                <a:gd name="connsiteY12" fmla="*/ 110865 h 378253"/>
                <a:gd name="connsiteX13" fmla="*/ 23874 w 387355"/>
                <a:gd name="connsiteY13" fmla="*/ 168759 h 378253"/>
                <a:gd name="connsiteX14" fmla="*/ 23874 w 387355"/>
                <a:gd name="connsiteY14" fmla="*/ 282758 h 378253"/>
                <a:gd name="connsiteX15" fmla="*/ 95496 w 387355"/>
                <a:gd name="connsiteY15" fmla="*/ 354380 h 378253"/>
                <a:gd name="connsiteX16" fmla="*/ 291860 w 387355"/>
                <a:gd name="connsiteY16" fmla="*/ 354380 h 378253"/>
                <a:gd name="connsiteX17" fmla="*/ 363482 w 387355"/>
                <a:gd name="connsiteY17" fmla="*/ 282758 h 378253"/>
                <a:gd name="connsiteX18" fmla="*/ 363482 w 387355"/>
                <a:gd name="connsiteY18" fmla="*/ 168162 h 378253"/>
                <a:gd name="connsiteX19" fmla="*/ 334833 w 387355"/>
                <a:gd name="connsiteY19" fmla="*/ 110268 h 378253"/>
                <a:gd name="connsiteX20" fmla="*/ 240531 w 387355"/>
                <a:gd name="connsiteY20" fmla="*/ 39243 h 378253"/>
                <a:gd name="connsiteX21" fmla="*/ 147422 w 387355"/>
                <a:gd name="connsiteY21" fmla="*/ 39840 h 37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7355" h="378253">
                  <a:moveTo>
                    <a:pt x="291860" y="378254"/>
                  </a:moveTo>
                  <a:lnTo>
                    <a:pt x="95496" y="378254"/>
                  </a:lnTo>
                  <a:cubicBezTo>
                    <a:pt x="42973" y="378254"/>
                    <a:pt x="0" y="335281"/>
                    <a:pt x="0" y="282758"/>
                  </a:cubicBezTo>
                  <a:lnTo>
                    <a:pt x="0" y="168162"/>
                  </a:lnTo>
                  <a:cubicBezTo>
                    <a:pt x="0" y="137723"/>
                    <a:pt x="14324" y="109074"/>
                    <a:pt x="38198" y="91169"/>
                  </a:cubicBezTo>
                  <a:lnTo>
                    <a:pt x="133098" y="20144"/>
                  </a:lnTo>
                  <a:cubicBezTo>
                    <a:pt x="169505" y="-6715"/>
                    <a:pt x="218447" y="-6715"/>
                    <a:pt x="254855" y="20144"/>
                  </a:cubicBezTo>
                  <a:lnTo>
                    <a:pt x="349157" y="91169"/>
                  </a:lnTo>
                  <a:cubicBezTo>
                    <a:pt x="373628" y="109671"/>
                    <a:pt x="387356" y="137723"/>
                    <a:pt x="387356" y="168162"/>
                  </a:cubicBezTo>
                  <a:lnTo>
                    <a:pt x="387356" y="282161"/>
                  </a:lnTo>
                  <a:cubicBezTo>
                    <a:pt x="387356" y="335281"/>
                    <a:pt x="344382" y="378254"/>
                    <a:pt x="291860" y="378254"/>
                  </a:cubicBezTo>
                  <a:close/>
                  <a:moveTo>
                    <a:pt x="147422" y="39840"/>
                  </a:moveTo>
                  <a:lnTo>
                    <a:pt x="52523" y="110865"/>
                  </a:lnTo>
                  <a:cubicBezTo>
                    <a:pt x="34617" y="123996"/>
                    <a:pt x="23874" y="145482"/>
                    <a:pt x="23874" y="168759"/>
                  </a:cubicBezTo>
                  <a:lnTo>
                    <a:pt x="23874" y="282758"/>
                  </a:lnTo>
                  <a:cubicBezTo>
                    <a:pt x="23874" y="322150"/>
                    <a:pt x="56104" y="354380"/>
                    <a:pt x="95496" y="354380"/>
                  </a:cubicBezTo>
                  <a:lnTo>
                    <a:pt x="291860" y="354380"/>
                  </a:lnTo>
                  <a:cubicBezTo>
                    <a:pt x="331252" y="354380"/>
                    <a:pt x="363482" y="322150"/>
                    <a:pt x="363482" y="282758"/>
                  </a:cubicBezTo>
                  <a:lnTo>
                    <a:pt x="363482" y="168162"/>
                  </a:lnTo>
                  <a:cubicBezTo>
                    <a:pt x="363482" y="145482"/>
                    <a:pt x="352738" y="124592"/>
                    <a:pt x="334833" y="110268"/>
                  </a:cubicBezTo>
                  <a:lnTo>
                    <a:pt x="240531" y="39243"/>
                  </a:lnTo>
                  <a:cubicBezTo>
                    <a:pt x="212479" y="18950"/>
                    <a:pt x="174877" y="18950"/>
                    <a:pt x="147422" y="39840"/>
                  </a:cubicBez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40C9AA6E-B38D-5E8A-40CC-BAA54D37597F}"/>
                </a:ext>
              </a:extLst>
            </p:cNvPr>
            <p:cNvSpPr/>
            <p:nvPr/>
          </p:nvSpPr>
          <p:spPr>
            <a:xfrm>
              <a:off x="6905100" y="5482249"/>
              <a:ext cx="118526" cy="53225"/>
            </a:xfrm>
            <a:custGeom>
              <a:avLst/>
              <a:gdLst>
                <a:gd name="connsiteX0" fmla="*/ 58735 w 118526"/>
                <a:gd name="connsiteY0" fmla="*/ 53226 h 53225"/>
                <a:gd name="connsiteX1" fmla="*/ 1438 w 118526"/>
                <a:gd name="connsiteY1" fmla="*/ 18012 h 53225"/>
                <a:gd name="connsiteX2" fmla="*/ 5616 w 118526"/>
                <a:gd name="connsiteY2" fmla="*/ 2494 h 53225"/>
                <a:gd name="connsiteX3" fmla="*/ 21134 w 118526"/>
                <a:gd name="connsiteY3" fmla="*/ 6672 h 53225"/>
                <a:gd name="connsiteX4" fmla="*/ 59332 w 118526"/>
                <a:gd name="connsiteY4" fmla="*/ 30546 h 53225"/>
                <a:gd name="connsiteX5" fmla="*/ 96934 w 118526"/>
                <a:gd name="connsiteY5" fmla="*/ 6075 h 53225"/>
                <a:gd name="connsiteX6" fmla="*/ 112452 w 118526"/>
                <a:gd name="connsiteY6" fmla="*/ 1300 h 53225"/>
                <a:gd name="connsiteX7" fmla="*/ 117227 w 118526"/>
                <a:gd name="connsiteY7" fmla="*/ 16818 h 53225"/>
                <a:gd name="connsiteX8" fmla="*/ 60526 w 118526"/>
                <a:gd name="connsiteY8" fmla="*/ 53226 h 53225"/>
                <a:gd name="connsiteX9" fmla="*/ 58735 w 118526"/>
                <a:gd name="connsiteY9" fmla="*/ 53226 h 5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526" h="53225">
                  <a:moveTo>
                    <a:pt x="58735" y="53226"/>
                  </a:moveTo>
                  <a:cubicBezTo>
                    <a:pt x="35458" y="53226"/>
                    <a:pt x="13971" y="40095"/>
                    <a:pt x="1438" y="18012"/>
                  </a:cubicBezTo>
                  <a:cubicBezTo>
                    <a:pt x="-1547" y="12640"/>
                    <a:pt x="244" y="5478"/>
                    <a:pt x="5616" y="2494"/>
                  </a:cubicBezTo>
                  <a:cubicBezTo>
                    <a:pt x="10987" y="-491"/>
                    <a:pt x="18149" y="1300"/>
                    <a:pt x="21134" y="6672"/>
                  </a:cubicBezTo>
                  <a:cubicBezTo>
                    <a:pt x="29490" y="21593"/>
                    <a:pt x="44411" y="30546"/>
                    <a:pt x="59332" y="30546"/>
                  </a:cubicBezTo>
                  <a:cubicBezTo>
                    <a:pt x="74850" y="30546"/>
                    <a:pt x="88578" y="20996"/>
                    <a:pt x="96934" y="6075"/>
                  </a:cubicBezTo>
                  <a:cubicBezTo>
                    <a:pt x="99918" y="703"/>
                    <a:pt x="107080" y="-1684"/>
                    <a:pt x="112452" y="1300"/>
                  </a:cubicBezTo>
                  <a:cubicBezTo>
                    <a:pt x="117823" y="4284"/>
                    <a:pt x="120211" y="11446"/>
                    <a:pt x="117227" y="16818"/>
                  </a:cubicBezTo>
                  <a:cubicBezTo>
                    <a:pt x="105290" y="38902"/>
                    <a:pt x="83803" y="52629"/>
                    <a:pt x="60526" y="53226"/>
                  </a:cubicBezTo>
                  <a:lnTo>
                    <a:pt x="58735" y="53226"/>
                  </a:lnTo>
                  <a:close/>
                </a:path>
              </a:pathLst>
            </a:custGeom>
            <a:grpFill/>
            <a:ln w="4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  <p:sp>
        <p:nvSpPr>
          <p:cNvPr id="74" name="Freeform 7">
            <a:extLst>
              <a:ext uri="{FF2B5EF4-FFF2-40B4-BE49-F238E27FC236}">
                <a16:creationId xmlns:a16="http://schemas.microsoft.com/office/drawing/2014/main" id="{E820A71C-42E9-D77B-A0F4-1DC068F2D359}"/>
              </a:ext>
            </a:extLst>
          </p:cNvPr>
          <p:cNvSpPr>
            <a:spLocks/>
          </p:cNvSpPr>
          <p:nvPr/>
        </p:nvSpPr>
        <p:spPr bwMode="auto">
          <a:xfrm>
            <a:off x="4608643" y="3325441"/>
            <a:ext cx="2974714" cy="618472"/>
          </a:xfrm>
          <a:custGeom>
            <a:avLst/>
            <a:gdLst>
              <a:gd name="T0" fmla="*/ 819 w 929"/>
              <a:gd name="T1" fmla="*/ 7 h 192"/>
              <a:gd name="T2" fmla="*/ 929 w 929"/>
              <a:gd name="T3" fmla="*/ 79 h 192"/>
              <a:gd name="T4" fmla="*/ 464 w 929"/>
              <a:gd name="T5" fmla="*/ 192 h 192"/>
              <a:gd name="T6" fmla="*/ 0 w 929"/>
              <a:gd name="T7" fmla="*/ 79 h 192"/>
              <a:gd name="T8" fmla="*/ 0 w 929"/>
              <a:gd name="T9" fmla="*/ 79 h 192"/>
              <a:gd name="T10" fmla="*/ 136 w 929"/>
              <a:gd name="T11" fmla="*/ 0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29" h="192">
                <a:moveTo>
                  <a:pt x="819" y="7"/>
                </a:moveTo>
                <a:cubicBezTo>
                  <a:pt x="888" y="26"/>
                  <a:pt x="929" y="52"/>
                  <a:pt x="929" y="79"/>
                </a:cubicBezTo>
                <a:cubicBezTo>
                  <a:pt x="929" y="142"/>
                  <a:pt x="721" y="192"/>
                  <a:pt x="464" y="192"/>
                </a:cubicBezTo>
                <a:cubicBezTo>
                  <a:pt x="208" y="192"/>
                  <a:pt x="0" y="142"/>
                  <a:pt x="0" y="7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48"/>
                  <a:pt x="52" y="20"/>
                  <a:pt x="136" y="0"/>
                </a:cubicBezTo>
              </a:path>
            </a:pathLst>
          </a:custGeom>
          <a:noFill/>
          <a:ln w="15875" cap="rnd">
            <a:gradFill flip="none" rotWithShape="1">
              <a:gsLst>
                <a:gs pos="0">
                  <a:srgbClr val="3361F5">
                    <a:alpha val="0"/>
                  </a:srgbClr>
                </a:gs>
                <a:gs pos="100000">
                  <a:srgbClr val="7A98F8"/>
                </a:gs>
              </a:gsLst>
              <a:lin ang="5400000" scaled="1"/>
              <a:tileRect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176" name="稿定-9">
            <a:extLst>
              <a:ext uri="{FF2B5EF4-FFF2-40B4-BE49-F238E27FC236}">
                <a16:creationId xmlns:a16="http://schemas.microsoft.com/office/drawing/2014/main" id="{3B9E237E-D209-EC44-E153-8914516B4A4F}"/>
              </a:ext>
            </a:extLst>
          </p:cNvPr>
          <p:cNvSpPr/>
          <p:nvPr/>
        </p:nvSpPr>
        <p:spPr>
          <a:xfrm flipH="1">
            <a:off x="1822958" y="323383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77" name="稿定-31">
            <a:extLst>
              <a:ext uri="{FF2B5EF4-FFF2-40B4-BE49-F238E27FC236}">
                <a16:creationId xmlns:a16="http://schemas.microsoft.com/office/drawing/2014/main" id="{03746982-E990-35B5-1E7D-824BE9602634}"/>
              </a:ext>
            </a:extLst>
          </p:cNvPr>
          <p:cNvSpPr/>
          <p:nvPr/>
        </p:nvSpPr>
        <p:spPr>
          <a:xfrm flipH="1">
            <a:off x="1428130" y="349956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78" name="稿定-9">
            <a:extLst>
              <a:ext uri="{FF2B5EF4-FFF2-40B4-BE49-F238E27FC236}">
                <a16:creationId xmlns:a16="http://schemas.microsoft.com/office/drawing/2014/main" id="{884995F2-31E3-956B-BEF4-EEB10796B041}"/>
              </a:ext>
            </a:extLst>
          </p:cNvPr>
          <p:cNvSpPr/>
          <p:nvPr/>
        </p:nvSpPr>
        <p:spPr>
          <a:xfrm flipH="1">
            <a:off x="9427711" y="332029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79" name="稿定-31">
            <a:extLst>
              <a:ext uri="{FF2B5EF4-FFF2-40B4-BE49-F238E27FC236}">
                <a16:creationId xmlns:a16="http://schemas.microsoft.com/office/drawing/2014/main" id="{C0842D3B-3E5A-EA10-0301-D6E8684F91AD}"/>
              </a:ext>
            </a:extLst>
          </p:cNvPr>
          <p:cNvSpPr/>
          <p:nvPr/>
        </p:nvSpPr>
        <p:spPr>
          <a:xfrm flipH="1">
            <a:off x="9427711" y="358602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80" name="稿定-9">
            <a:extLst>
              <a:ext uri="{FF2B5EF4-FFF2-40B4-BE49-F238E27FC236}">
                <a16:creationId xmlns:a16="http://schemas.microsoft.com/office/drawing/2014/main" id="{C757A808-AC9D-23E1-B07E-360D06F69B0F}"/>
              </a:ext>
            </a:extLst>
          </p:cNvPr>
          <p:cNvSpPr/>
          <p:nvPr/>
        </p:nvSpPr>
        <p:spPr>
          <a:xfrm flipH="1">
            <a:off x="3788219" y="465208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81" name="稿定-31">
            <a:extLst>
              <a:ext uri="{FF2B5EF4-FFF2-40B4-BE49-F238E27FC236}">
                <a16:creationId xmlns:a16="http://schemas.microsoft.com/office/drawing/2014/main" id="{EEAB7A70-5A00-C636-AA86-791DB18A35A3}"/>
              </a:ext>
            </a:extLst>
          </p:cNvPr>
          <p:cNvSpPr/>
          <p:nvPr/>
        </p:nvSpPr>
        <p:spPr>
          <a:xfrm flipH="1">
            <a:off x="3590805" y="491782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82" name="稿定-9">
            <a:extLst>
              <a:ext uri="{FF2B5EF4-FFF2-40B4-BE49-F238E27FC236}">
                <a16:creationId xmlns:a16="http://schemas.microsoft.com/office/drawing/2014/main" id="{F6C5EBA5-364B-2EE4-90D8-9F44A18C12CE}"/>
              </a:ext>
            </a:extLst>
          </p:cNvPr>
          <p:cNvSpPr/>
          <p:nvPr/>
        </p:nvSpPr>
        <p:spPr>
          <a:xfrm flipH="1">
            <a:off x="7422265" y="465208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83" name="稿定-31">
            <a:extLst>
              <a:ext uri="{FF2B5EF4-FFF2-40B4-BE49-F238E27FC236}">
                <a16:creationId xmlns:a16="http://schemas.microsoft.com/office/drawing/2014/main" id="{612CF4E4-1F23-ABFC-DAB9-1306A34A4B5A}"/>
              </a:ext>
            </a:extLst>
          </p:cNvPr>
          <p:cNvSpPr/>
          <p:nvPr/>
        </p:nvSpPr>
        <p:spPr>
          <a:xfrm flipH="1">
            <a:off x="7224851" y="491782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164" name="组合 163">
            <a:extLst>
              <a:ext uri="{FF2B5EF4-FFF2-40B4-BE49-F238E27FC236}">
                <a16:creationId xmlns:a16="http://schemas.microsoft.com/office/drawing/2014/main" id="{D0529AFD-4096-6D59-CF6C-CA6C8C403DC4}"/>
              </a:ext>
            </a:extLst>
          </p:cNvPr>
          <p:cNvGrpSpPr/>
          <p:nvPr/>
        </p:nvGrpSpPr>
        <p:grpSpPr>
          <a:xfrm>
            <a:off x="5595027" y="3233833"/>
            <a:ext cx="995069" cy="956418"/>
            <a:chOff x="1406740" y="5275641"/>
            <a:chExt cx="441102" cy="423968"/>
          </a:xfrm>
        </p:grpSpPr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8027703E-6A44-3CE4-D818-98C29626033D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A7C74033-E9D5-2D98-66B7-AE03DF9A920D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solidFill>
              <a:srgbClr val="FFFFFF"/>
            </a:solidFill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87540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文本框 40">
            <a:extLst>
              <a:ext uri="{FF2B5EF4-FFF2-40B4-BE49-F238E27FC236}">
                <a16:creationId xmlns:a16="http://schemas.microsoft.com/office/drawing/2014/main" id="{C52B2966-42F3-65F7-9BA0-04BB5B698C90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39CCA84A-08DC-D9A8-5255-2C871DDB7B44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0B60C3E8-D1D3-94D4-7C69-5F829D91AD1A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44" name="gaoding-8">
            <a:extLst>
              <a:ext uri="{FF2B5EF4-FFF2-40B4-BE49-F238E27FC236}">
                <a16:creationId xmlns:a16="http://schemas.microsoft.com/office/drawing/2014/main" id="{6AE173FD-769F-60F5-2E1E-5BC195C60A04}"/>
              </a:ext>
            </a:extLst>
          </p:cNvPr>
          <p:cNvSpPr/>
          <p:nvPr/>
        </p:nvSpPr>
        <p:spPr>
          <a:xfrm>
            <a:off x="3099659" y="3034027"/>
            <a:ext cx="1897640" cy="1729784"/>
          </a:xfrm>
          <a:custGeom>
            <a:avLst/>
            <a:gdLst>
              <a:gd name="connsiteX0" fmla="*/ 0 w 1897640"/>
              <a:gd name="connsiteY0" fmla="*/ 0 h 1729784"/>
              <a:gd name="connsiteX1" fmla="*/ 24304 w 1897640"/>
              <a:gd name="connsiteY1" fmla="*/ 12354 h 1729784"/>
              <a:gd name="connsiteX2" fmla="*/ 1746927 w 1897640"/>
              <a:gd name="connsiteY2" fmla="*/ 445483 h 1729784"/>
              <a:gd name="connsiteX3" fmla="*/ 1897640 w 1897640"/>
              <a:gd name="connsiteY3" fmla="*/ 449294 h 1729784"/>
              <a:gd name="connsiteX4" fmla="*/ 1897640 w 1897640"/>
              <a:gd name="connsiteY4" fmla="*/ 1285940 h 1729784"/>
              <a:gd name="connsiteX5" fmla="*/ 1746927 w 1897640"/>
              <a:gd name="connsiteY5" fmla="*/ 1289751 h 1729784"/>
              <a:gd name="connsiteX6" fmla="*/ 24304 w 1897640"/>
              <a:gd name="connsiteY6" fmla="*/ 1722881 h 1729784"/>
              <a:gd name="connsiteX7" fmla="*/ 10724 w 1897640"/>
              <a:gd name="connsiteY7" fmla="*/ 1729784 h 1729784"/>
              <a:gd name="connsiteX8" fmla="*/ 12256 w 1897640"/>
              <a:gd name="connsiteY8" fmla="*/ 1699432 h 1729784"/>
              <a:gd name="connsiteX9" fmla="*/ 12257 w 1897640"/>
              <a:gd name="connsiteY9" fmla="*/ 139147 h 1729784"/>
              <a:gd name="connsiteX10" fmla="*/ 7817 w 1897640"/>
              <a:gd name="connsiteY10" fmla="*/ 51220 h 172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640" h="1729784">
                <a:moveTo>
                  <a:pt x="0" y="0"/>
                </a:moveTo>
                <a:lnTo>
                  <a:pt x="24304" y="12354"/>
                </a:lnTo>
                <a:cubicBezTo>
                  <a:pt x="550979" y="262189"/>
                  <a:pt x="1132984" y="414363"/>
                  <a:pt x="1746927" y="445483"/>
                </a:cubicBezTo>
                <a:lnTo>
                  <a:pt x="1897640" y="449294"/>
                </a:lnTo>
                <a:lnTo>
                  <a:pt x="1897640" y="1285940"/>
                </a:lnTo>
                <a:lnTo>
                  <a:pt x="1746927" y="1289751"/>
                </a:lnTo>
                <a:cubicBezTo>
                  <a:pt x="1132984" y="1320872"/>
                  <a:pt x="550979" y="1473046"/>
                  <a:pt x="24304" y="1722881"/>
                </a:cubicBezTo>
                <a:lnTo>
                  <a:pt x="10724" y="1729784"/>
                </a:lnTo>
                <a:lnTo>
                  <a:pt x="12256" y="1699432"/>
                </a:lnTo>
                <a:cubicBezTo>
                  <a:pt x="12256" y="1179337"/>
                  <a:pt x="12257" y="659242"/>
                  <a:pt x="12257" y="139147"/>
                </a:cubicBezTo>
                <a:cubicBezTo>
                  <a:pt x="12257" y="109463"/>
                  <a:pt x="10753" y="80130"/>
                  <a:pt x="7817" y="51220"/>
                </a:cubicBezTo>
                <a:close/>
              </a:path>
            </a:pathLst>
          </a:custGeom>
          <a:gradFill>
            <a:gsLst>
              <a:gs pos="5000">
                <a:srgbClr val="7A98F8">
                  <a:alpha val="0"/>
                </a:srgbClr>
              </a:gs>
              <a:gs pos="100000">
                <a:srgbClr val="7A98F8"/>
              </a:gs>
            </a:gsLst>
            <a:lin ang="10800000" scaled="0"/>
          </a:gradFill>
          <a:ln w="807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5" name="gaoding-9">
            <a:extLst>
              <a:ext uri="{FF2B5EF4-FFF2-40B4-BE49-F238E27FC236}">
                <a16:creationId xmlns:a16="http://schemas.microsoft.com/office/drawing/2014/main" id="{0AFE5188-6BBB-CD2C-D029-969587ED1A46}"/>
              </a:ext>
            </a:extLst>
          </p:cNvPr>
          <p:cNvSpPr/>
          <p:nvPr/>
        </p:nvSpPr>
        <p:spPr>
          <a:xfrm flipH="1">
            <a:off x="7194701" y="3034027"/>
            <a:ext cx="1897642" cy="1729785"/>
          </a:xfrm>
          <a:custGeom>
            <a:avLst/>
            <a:gdLst>
              <a:gd name="connsiteX0" fmla="*/ 0 w 1897642"/>
              <a:gd name="connsiteY0" fmla="*/ 0 h 1729785"/>
              <a:gd name="connsiteX1" fmla="*/ 7817 w 1897642"/>
              <a:gd name="connsiteY1" fmla="*/ 51221 h 1729785"/>
              <a:gd name="connsiteX2" fmla="*/ 12257 w 1897642"/>
              <a:gd name="connsiteY2" fmla="*/ 139148 h 1729785"/>
              <a:gd name="connsiteX3" fmla="*/ 12257 w 1897642"/>
              <a:gd name="connsiteY3" fmla="*/ 1699432 h 1729785"/>
              <a:gd name="connsiteX4" fmla="*/ 10724 w 1897642"/>
              <a:gd name="connsiteY4" fmla="*/ 1729785 h 1729785"/>
              <a:gd name="connsiteX5" fmla="*/ 24306 w 1897642"/>
              <a:gd name="connsiteY5" fmla="*/ 1722882 h 1729785"/>
              <a:gd name="connsiteX6" fmla="*/ 1746929 w 1897642"/>
              <a:gd name="connsiteY6" fmla="*/ 1289752 h 1729785"/>
              <a:gd name="connsiteX7" fmla="*/ 1897642 w 1897642"/>
              <a:gd name="connsiteY7" fmla="*/ 1285941 h 1729785"/>
              <a:gd name="connsiteX8" fmla="*/ 1897642 w 1897642"/>
              <a:gd name="connsiteY8" fmla="*/ 449295 h 1729785"/>
              <a:gd name="connsiteX9" fmla="*/ 1746929 w 1897642"/>
              <a:gd name="connsiteY9" fmla="*/ 445484 h 1729785"/>
              <a:gd name="connsiteX10" fmla="*/ 24306 w 1897642"/>
              <a:gd name="connsiteY10" fmla="*/ 12355 h 1729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97642" h="1729785">
                <a:moveTo>
                  <a:pt x="0" y="0"/>
                </a:moveTo>
                <a:lnTo>
                  <a:pt x="7817" y="51221"/>
                </a:lnTo>
                <a:cubicBezTo>
                  <a:pt x="10753" y="80131"/>
                  <a:pt x="12257" y="109464"/>
                  <a:pt x="12257" y="139148"/>
                </a:cubicBezTo>
                <a:lnTo>
                  <a:pt x="12257" y="1699432"/>
                </a:lnTo>
                <a:lnTo>
                  <a:pt x="10724" y="1729785"/>
                </a:lnTo>
                <a:lnTo>
                  <a:pt x="24306" y="1722882"/>
                </a:lnTo>
                <a:cubicBezTo>
                  <a:pt x="550980" y="1473047"/>
                  <a:pt x="1132986" y="1320873"/>
                  <a:pt x="1746929" y="1289752"/>
                </a:cubicBezTo>
                <a:lnTo>
                  <a:pt x="1897642" y="1285941"/>
                </a:lnTo>
                <a:lnTo>
                  <a:pt x="1897642" y="449295"/>
                </a:lnTo>
                <a:lnTo>
                  <a:pt x="1746929" y="445484"/>
                </a:lnTo>
                <a:cubicBezTo>
                  <a:pt x="1132986" y="414364"/>
                  <a:pt x="550980" y="262190"/>
                  <a:pt x="24306" y="12355"/>
                </a:cubicBezTo>
                <a:close/>
              </a:path>
            </a:pathLst>
          </a:custGeom>
          <a:gradFill>
            <a:gsLst>
              <a:gs pos="5000">
                <a:srgbClr val="7A98F8">
                  <a:alpha val="0"/>
                </a:srgbClr>
              </a:gs>
              <a:gs pos="100000">
                <a:srgbClr val="7A98F8"/>
              </a:gs>
            </a:gsLst>
            <a:lin ang="10800000" scaled="0"/>
          </a:gradFill>
          <a:ln w="807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>
              <a:solidFill>
                <a:srgbClr val="FFFFFF">
                  <a:lumMod val="75000"/>
                </a:srgbClr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6" name="gaoding-10">
            <a:extLst>
              <a:ext uri="{FF2B5EF4-FFF2-40B4-BE49-F238E27FC236}">
                <a16:creationId xmlns:a16="http://schemas.microsoft.com/office/drawing/2014/main" id="{A1C3D54B-9EA8-A37F-D936-6B9BE4ECA3D6}"/>
              </a:ext>
            </a:extLst>
          </p:cNvPr>
          <p:cNvSpPr/>
          <p:nvPr/>
        </p:nvSpPr>
        <p:spPr>
          <a:xfrm>
            <a:off x="4431393" y="3228509"/>
            <a:ext cx="1282700" cy="12827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7" name="gaoding-11">
            <a:extLst>
              <a:ext uri="{FF2B5EF4-FFF2-40B4-BE49-F238E27FC236}">
                <a16:creationId xmlns:a16="http://schemas.microsoft.com/office/drawing/2014/main" id="{E3CEE209-4951-1532-6906-B6230EDE5CF0}"/>
              </a:ext>
            </a:extLst>
          </p:cNvPr>
          <p:cNvSpPr/>
          <p:nvPr/>
        </p:nvSpPr>
        <p:spPr>
          <a:xfrm>
            <a:off x="6477907" y="3228509"/>
            <a:ext cx="1282700" cy="12827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8" name="gaoding-12">
            <a:extLst>
              <a:ext uri="{FF2B5EF4-FFF2-40B4-BE49-F238E27FC236}">
                <a16:creationId xmlns:a16="http://schemas.microsoft.com/office/drawing/2014/main" id="{1070F0A8-2B1B-48E8-BF03-D76F755C3666}"/>
              </a:ext>
            </a:extLst>
          </p:cNvPr>
          <p:cNvSpPr/>
          <p:nvPr/>
        </p:nvSpPr>
        <p:spPr>
          <a:xfrm>
            <a:off x="5454650" y="3228509"/>
            <a:ext cx="1282700" cy="1282700"/>
          </a:xfrm>
          <a:prstGeom prst="ellips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3" name="gaoding-17">
            <a:extLst>
              <a:ext uri="{FF2B5EF4-FFF2-40B4-BE49-F238E27FC236}">
                <a16:creationId xmlns:a16="http://schemas.microsoft.com/office/drawing/2014/main" id="{319DB2C0-45EE-E8EB-863E-0FB35414F0EC}"/>
              </a:ext>
            </a:extLst>
          </p:cNvPr>
          <p:cNvSpPr/>
          <p:nvPr/>
        </p:nvSpPr>
        <p:spPr>
          <a:xfrm>
            <a:off x="1391972" y="2313202"/>
            <a:ext cx="1719943" cy="3280228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srgbClr val="2254F4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59" name="gaoding-23">
            <a:extLst>
              <a:ext uri="{FF2B5EF4-FFF2-40B4-BE49-F238E27FC236}">
                <a16:creationId xmlns:a16="http://schemas.microsoft.com/office/drawing/2014/main" id="{01E66456-1E68-F395-DAD3-D80651A523C9}"/>
              </a:ext>
            </a:extLst>
          </p:cNvPr>
          <p:cNvSpPr/>
          <p:nvPr/>
        </p:nvSpPr>
        <p:spPr>
          <a:xfrm>
            <a:off x="9080086" y="2313202"/>
            <a:ext cx="1719943" cy="3280228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srgbClr val="2254F4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D9104FBD-E3FB-EABB-DC05-77C7AAFC2F54}"/>
              </a:ext>
            </a:extLst>
          </p:cNvPr>
          <p:cNvGrpSpPr/>
          <p:nvPr/>
        </p:nvGrpSpPr>
        <p:grpSpPr>
          <a:xfrm>
            <a:off x="5725245" y="3508146"/>
            <a:ext cx="752662" cy="723426"/>
            <a:chOff x="1406740" y="5275641"/>
            <a:chExt cx="441102" cy="423968"/>
          </a:xfrm>
          <a:solidFill>
            <a:schemeClr val="bg1"/>
          </a:solidFill>
        </p:grpSpPr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09574147-CF8E-AB91-72F7-57C8E116CEAA}"/>
                </a:ext>
              </a:extLst>
            </p:cNvPr>
            <p:cNvSpPr/>
            <p:nvPr/>
          </p:nvSpPr>
          <p:spPr>
            <a:xfrm>
              <a:off x="1406740" y="5275641"/>
              <a:ext cx="441102" cy="423968"/>
            </a:xfrm>
            <a:custGeom>
              <a:avLst/>
              <a:gdLst>
                <a:gd name="connsiteX0" fmla="*/ 318562 w 441102"/>
                <a:gd name="connsiteY0" fmla="*/ 423968 h 423968"/>
                <a:gd name="connsiteX1" fmla="*/ 291720 w 441102"/>
                <a:gd name="connsiteY1" fmla="*/ 417086 h 423968"/>
                <a:gd name="connsiteX2" fmla="*/ 233906 w 441102"/>
                <a:gd name="connsiteY2" fmla="*/ 386802 h 423968"/>
                <a:gd name="connsiteX3" fmla="*/ 204999 w 441102"/>
                <a:gd name="connsiteY3" fmla="*/ 386802 h 423968"/>
                <a:gd name="connsiteX4" fmla="*/ 147186 w 441102"/>
                <a:gd name="connsiteY4" fmla="*/ 417086 h 423968"/>
                <a:gd name="connsiteX5" fmla="*/ 85242 w 441102"/>
                <a:gd name="connsiteY5" fmla="*/ 412268 h 423968"/>
                <a:gd name="connsiteX6" fmla="*/ 61841 w 441102"/>
                <a:gd name="connsiteY6" fmla="*/ 355142 h 423968"/>
                <a:gd name="connsiteX7" fmla="*/ 72853 w 441102"/>
                <a:gd name="connsiteY7" fmla="*/ 290446 h 423968"/>
                <a:gd name="connsiteX8" fmla="*/ 63906 w 441102"/>
                <a:gd name="connsiteY8" fmla="*/ 262915 h 423968"/>
                <a:gd name="connsiteX9" fmla="*/ 17793 w 441102"/>
                <a:gd name="connsiteY9" fmla="*/ 217490 h 423968"/>
                <a:gd name="connsiteX10" fmla="*/ 3339 w 441102"/>
                <a:gd name="connsiteY10" fmla="*/ 156923 h 423968"/>
                <a:gd name="connsiteX11" fmla="*/ 50829 w 441102"/>
                <a:gd name="connsiteY11" fmla="*/ 117692 h 423968"/>
                <a:gd name="connsiteX12" fmla="*/ 115526 w 441102"/>
                <a:gd name="connsiteY12" fmla="*/ 108057 h 423968"/>
                <a:gd name="connsiteX13" fmla="*/ 138926 w 441102"/>
                <a:gd name="connsiteY13" fmla="*/ 91539 h 423968"/>
                <a:gd name="connsiteX14" fmla="*/ 167833 w 441102"/>
                <a:gd name="connsiteY14" fmla="*/ 32348 h 423968"/>
                <a:gd name="connsiteX15" fmla="*/ 220829 w 441102"/>
                <a:gd name="connsiteY15" fmla="*/ 0 h 423968"/>
                <a:gd name="connsiteX16" fmla="*/ 273825 w 441102"/>
                <a:gd name="connsiteY16" fmla="*/ 32348 h 423968"/>
                <a:gd name="connsiteX17" fmla="*/ 302732 w 441102"/>
                <a:gd name="connsiteY17" fmla="*/ 90850 h 423968"/>
                <a:gd name="connsiteX18" fmla="*/ 326133 w 441102"/>
                <a:gd name="connsiteY18" fmla="*/ 108057 h 423968"/>
                <a:gd name="connsiteX19" fmla="*/ 390830 w 441102"/>
                <a:gd name="connsiteY19" fmla="*/ 117692 h 423968"/>
                <a:gd name="connsiteX20" fmla="*/ 438320 w 441102"/>
                <a:gd name="connsiteY20" fmla="*/ 158300 h 423968"/>
                <a:gd name="connsiteX21" fmla="*/ 423178 w 441102"/>
                <a:gd name="connsiteY21" fmla="*/ 218178 h 423968"/>
                <a:gd name="connsiteX22" fmla="*/ 375000 w 441102"/>
                <a:gd name="connsiteY22" fmla="*/ 262915 h 423968"/>
                <a:gd name="connsiteX23" fmla="*/ 366052 w 441102"/>
                <a:gd name="connsiteY23" fmla="*/ 291134 h 423968"/>
                <a:gd name="connsiteX24" fmla="*/ 377064 w 441102"/>
                <a:gd name="connsiteY24" fmla="*/ 355142 h 423968"/>
                <a:gd name="connsiteX25" fmla="*/ 353664 w 441102"/>
                <a:gd name="connsiteY25" fmla="*/ 412268 h 423968"/>
                <a:gd name="connsiteX26" fmla="*/ 318562 w 441102"/>
                <a:gd name="connsiteY26" fmla="*/ 423968 h 423968"/>
                <a:gd name="connsiteX27" fmla="*/ 218765 w 441102"/>
                <a:gd name="connsiteY27" fmla="*/ 355830 h 423968"/>
                <a:gd name="connsiteX28" fmla="*/ 246295 w 441102"/>
                <a:gd name="connsiteY28" fmla="*/ 362713 h 423968"/>
                <a:gd name="connsiteX29" fmla="*/ 304109 w 441102"/>
                <a:gd name="connsiteY29" fmla="*/ 392996 h 423968"/>
                <a:gd name="connsiteX30" fmla="*/ 337145 w 441102"/>
                <a:gd name="connsiteY30" fmla="*/ 390243 h 423968"/>
                <a:gd name="connsiteX31" fmla="*/ 349534 w 441102"/>
                <a:gd name="connsiteY31" fmla="*/ 359960 h 423968"/>
                <a:gd name="connsiteX32" fmla="*/ 338522 w 441102"/>
                <a:gd name="connsiteY32" fmla="*/ 295264 h 423968"/>
                <a:gd name="connsiteX33" fmla="*/ 355728 w 441102"/>
                <a:gd name="connsiteY33" fmla="*/ 243644 h 423968"/>
                <a:gd name="connsiteX34" fmla="*/ 402530 w 441102"/>
                <a:gd name="connsiteY34" fmla="*/ 198219 h 423968"/>
                <a:gd name="connsiteX35" fmla="*/ 410789 w 441102"/>
                <a:gd name="connsiteY35" fmla="*/ 166559 h 423968"/>
                <a:gd name="connsiteX36" fmla="*/ 385324 w 441102"/>
                <a:gd name="connsiteY36" fmla="*/ 145223 h 423968"/>
                <a:gd name="connsiteX37" fmla="*/ 320627 w 441102"/>
                <a:gd name="connsiteY37" fmla="*/ 135587 h 423968"/>
                <a:gd name="connsiteX38" fmla="*/ 276578 w 441102"/>
                <a:gd name="connsiteY38" fmla="*/ 103927 h 423968"/>
                <a:gd name="connsiteX39" fmla="*/ 247672 w 441102"/>
                <a:gd name="connsiteY39" fmla="*/ 45425 h 423968"/>
                <a:gd name="connsiteX40" fmla="*/ 219453 w 441102"/>
                <a:gd name="connsiteY40" fmla="*/ 28219 h 423968"/>
                <a:gd name="connsiteX41" fmla="*/ 191234 w 441102"/>
                <a:gd name="connsiteY41" fmla="*/ 45425 h 423968"/>
                <a:gd name="connsiteX42" fmla="*/ 162327 w 441102"/>
                <a:gd name="connsiteY42" fmla="*/ 103927 h 423968"/>
                <a:gd name="connsiteX43" fmla="*/ 118279 w 441102"/>
                <a:gd name="connsiteY43" fmla="*/ 136275 h 423968"/>
                <a:gd name="connsiteX44" fmla="*/ 53582 w 441102"/>
                <a:gd name="connsiteY44" fmla="*/ 145911 h 423968"/>
                <a:gd name="connsiteX45" fmla="*/ 28805 w 441102"/>
                <a:gd name="connsiteY45" fmla="*/ 166559 h 423968"/>
                <a:gd name="connsiteX46" fmla="*/ 36376 w 441102"/>
                <a:gd name="connsiteY46" fmla="*/ 198907 h 423968"/>
                <a:gd name="connsiteX47" fmla="*/ 82489 w 441102"/>
                <a:gd name="connsiteY47" fmla="*/ 244332 h 423968"/>
                <a:gd name="connsiteX48" fmla="*/ 99696 w 441102"/>
                <a:gd name="connsiteY48" fmla="*/ 296640 h 423968"/>
                <a:gd name="connsiteX49" fmla="*/ 88683 w 441102"/>
                <a:gd name="connsiteY49" fmla="*/ 361337 h 423968"/>
                <a:gd name="connsiteX50" fmla="*/ 101072 w 441102"/>
                <a:gd name="connsiteY50" fmla="*/ 391620 h 423968"/>
                <a:gd name="connsiteX51" fmla="*/ 134109 w 441102"/>
                <a:gd name="connsiteY51" fmla="*/ 394373 h 423968"/>
                <a:gd name="connsiteX52" fmla="*/ 191922 w 441102"/>
                <a:gd name="connsiteY52" fmla="*/ 364090 h 423968"/>
                <a:gd name="connsiteX53" fmla="*/ 218765 w 441102"/>
                <a:gd name="connsiteY53" fmla="*/ 355830 h 42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1102" h="423968">
                  <a:moveTo>
                    <a:pt x="318562" y="423968"/>
                  </a:moveTo>
                  <a:cubicBezTo>
                    <a:pt x="309615" y="423968"/>
                    <a:pt x="299979" y="421903"/>
                    <a:pt x="291720" y="417086"/>
                  </a:cubicBezTo>
                  <a:lnTo>
                    <a:pt x="233906" y="386802"/>
                  </a:lnTo>
                  <a:cubicBezTo>
                    <a:pt x="224959" y="381984"/>
                    <a:pt x="213947" y="381984"/>
                    <a:pt x="204999" y="386802"/>
                  </a:cubicBezTo>
                  <a:lnTo>
                    <a:pt x="147186" y="417086"/>
                  </a:lnTo>
                  <a:cubicBezTo>
                    <a:pt x="127226" y="427409"/>
                    <a:pt x="103825" y="425345"/>
                    <a:pt x="85242" y="412268"/>
                  </a:cubicBezTo>
                  <a:cubicBezTo>
                    <a:pt x="67347" y="399191"/>
                    <a:pt x="57712" y="377166"/>
                    <a:pt x="61841" y="355142"/>
                  </a:cubicBezTo>
                  <a:lnTo>
                    <a:pt x="72853" y="290446"/>
                  </a:lnTo>
                  <a:cubicBezTo>
                    <a:pt x="74918" y="280122"/>
                    <a:pt x="71477" y="269798"/>
                    <a:pt x="63906" y="262915"/>
                  </a:cubicBezTo>
                  <a:lnTo>
                    <a:pt x="17793" y="217490"/>
                  </a:lnTo>
                  <a:cubicBezTo>
                    <a:pt x="1274" y="201660"/>
                    <a:pt x="-4232" y="178259"/>
                    <a:pt x="3339" y="156923"/>
                  </a:cubicBezTo>
                  <a:cubicBezTo>
                    <a:pt x="10222" y="135587"/>
                    <a:pt x="28805" y="120446"/>
                    <a:pt x="50829" y="117692"/>
                  </a:cubicBezTo>
                  <a:lnTo>
                    <a:pt x="115526" y="108057"/>
                  </a:lnTo>
                  <a:cubicBezTo>
                    <a:pt x="125850" y="106680"/>
                    <a:pt x="134797" y="100486"/>
                    <a:pt x="138926" y="91539"/>
                  </a:cubicBezTo>
                  <a:lnTo>
                    <a:pt x="167833" y="32348"/>
                  </a:lnTo>
                  <a:cubicBezTo>
                    <a:pt x="178157" y="12389"/>
                    <a:pt x="198117" y="0"/>
                    <a:pt x="220829" y="0"/>
                  </a:cubicBezTo>
                  <a:cubicBezTo>
                    <a:pt x="243542" y="0"/>
                    <a:pt x="263502" y="12389"/>
                    <a:pt x="273825" y="32348"/>
                  </a:cubicBezTo>
                  <a:lnTo>
                    <a:pt x="302732" y="90850"/>
                  </a:lnTo>
                  <a:cubicBezTo>
                    <a:pt x="307550" y="100486"/>
                    <a:pt x="316498" y="106680"/>
                    <a:pt x="326133" y="108057"/>
                  </a:cubicBezTo>
                  <a:lnTo>
                    <a:pt x="390830" y="117692"/>
                  </a:lnTo>
                  <a:cubicBezTo>
                    <a:pt x="413542" y="121134"/>
                    <a:pt x="431437" y="136275"/>
                    <a:pt x="438320" y="158300"/>
                  </a:cubicBezTo>
                  <a:cubicBezTo>
                    <a:pt x="445202" y="179636"/>
                    <a:pt x="439008" y="202348"/>
                    <a:pt x="423178" y="218178"/>
                  </a:cubicBezTo>
                  <a:lnTo>
                    <a:pt x="375000" y="262915"/>
                  </a:lnTo>
                  <a:cubicBezTo>
                    <a:pt x="368117" y="269798"/>
                    <a:pt x="364676" y="280810"/>
                    <a:pt x="366052" y="291134"/>
                  </a:cubicBezTo>
                  <a:lnTo>
                    <a:pt x="377064" y="355142"/>
                  </a:lnTo>
                  <a:cubicBezTo>
                    <a:pt x="380506" y="377166"/>
                    <a:pt x="371558" y="399191"/>
                    <a:pt x="353664" y="412268"/>
                  </a:cubicBezTo>
                  <a:cubicBezTo>
                    <a:pt x="343340" y="419839"/>
                    <a:pt x="330951" y="423968"/>
                    <a:pt x="318562" y="423968"/>
                  </a:cubicBezTo>
                  <a:close/>
                  <a:moveTo>
                    <a:pt x="218765" y="355830"/>
                  </a:moveTo>
                  <a:cubicBezTo>
                    <a:pt x="228400" y="355830"/>
                    <a:pt x="237348" y="357895"/>
                    <a:pt x="246295" y="362713"/>
                  </a:cubicBezTo>
                  <a:lnTo>
                    <a:pt x="304109" y="392996"/>
                  </a:lnTo>
                  <a:cubicBezTo>
                    <a:pt x="315121" y="398503"/>
                    <a:pt x="326821" y="397814"/>
                    <a:pt x="337145" y="390243"/>
                  </a:cubicBezTo>
                  <a:cubicBezTo>
                    <a:pt x="346781" y="383361"/>
                    <a:pt x="351599" y="371660"/>
                    <a:pt x="349534" y="359960"/>
                  </a:cubicBezTo>
                  <a:lnTo>
                    <a:pt x="338522" y="295264"/>
                  </a:lnTo>
                  <a:cubicBezTo>
                    <a:pt x="335769" y="275992"/>
                    <a:pt x="341963" y="256721"/>
                    <a:pt x="355728" y="243644"/>
                  </a:cubicBezTo>
                  <a:lnTo>
                    <a:pt x="402530" y="198219"/>
                  </a:lnTo>
                  <a:cubicBezTo>
                    <a:pt x="411477" y="189960"/>
                    <a:pt x="414230" y="178259"/>
                    <a:pt x="410789" y="166559"/>
                  </a:cubicBezTo>
                  <a:cubicBezTo>
                    <a:pt x="407348" y="154859"/>
                    <a:pt x="397712" y="146599"/>
                    <a:pt x="385324" y="145223"/>
                  </a:cubicBezTo>
                  <a:lnTo>
                    <a:pt x="320627" y="135587"/>
                  </a:lnTo>
                  <a:cubicBezTo>
                    <a:pt x="302044" y="132834"/>
                    <a:pt x="286214" y="121134"/>
                    <a:pt x="276578" y="103927"/>
                  </a:cubicBezTo>
                  <a:lnTo>
                    <a:pt x="247672" y="45425"/>
                  </a:lnTo>
                  <a:cubicBezTo>
                    <a:pt x="242165" y="34413"/>
                    <a:pt x="231842" y="28219"/>
                    <a:pt x="219453" y="28219"/>
                  </a:cubicBezTo>
                  <a:cubicBezTo>
                    <a:pt x="207064" y="28219"/>
                    <a:pt x="196740" y="34413"/>
                    <a:pt x="191234" y="45425"/>
                  </a:cubicBezTo>
                  <a:lnTo>
                    <a:pt x="162327" y="103927"/>
                  </a:lnTo>
                  <a:cubicBezTo>
                    <a:pt x="154756" y="121134"/>
                    <a:pt x="138238" y="133522"/>
                    <a:pt x="118279" y="136275"/>
                  </a:cubicBezTo>
                  <a:lnTo>
                    <a:pt x="53582" y="145911"/>
                  </a:lnTo>
                  <a:cubicBezTo>
                    <a:pt x="41882" y="147288"/>
                    <a:pt x="32246" y="155547"/>
                    <a:pt x="28805" y="166559"/>
                  </a:cubicBezTo>
                  <a:cubicBezTo>
                    <a:pt x="24675" y="178259"/>
                    <a:pt x="28117" y="189960"/>
                    <a:pt x="36376" y="198907"/>
                  </a:cubicBezTo>
                  <a:lnTo>
                    <a:pt x="82489" y="244332"/>
                  </a:lnTo>
                  <a:cubicBezTo>
                    <a:pt x="96943" y="257409"/>
                    <a:pt x="103137" y="277369"/>
                    <a:pt x="99696" y="296640"/>
                  </a:cubicBezTo>
                  <a:lnTo>
                    <a:pt x="88683" y="361337"/>
                  </a:lnTo>
                  <a:cubicBezTo>
                    <a:pt x="86619" y="373037"/>
                    <a:pt x="91437" y="384737"/>
                    <a:pt x="101072" y="391620"/>
                  </a:cubicBezTo>
                  <a:cubicBezTo>
                    <a:pt x="110708" y="398503"/>
                    <a:pt x="123096" y="399879"/>
                    <a:pt x="134109" y="394373"/>
                  </a:cubicBezTo>
                  <a:lnTo>
                    <a:pt x="191922" y="364090"/>
                  </a:lnTo>
                  <a:cubicBezTo>
                    <a:pt x="200182" y="357895"/>
                    <a:pt x="209817" y="355830"/>
                    <a:pt x="218765" y="355830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382B799F-97FC-9EEA-4AE8-A0401A56080F}"/>
                </a:ext>
              </a:extLst>
            </p:cNvPr>
            <p:cNvSpPr/>
            <p:nvPr/>
          </p:nvSpPr>
          <p:spPr>
            <a:xfrm>
              <a:off x="1572238" y="5485498"/>
              <a:ext cx="107056" cy="50305"/>
            </a:xfrm>
            <a:custGeom>
              <a:avLst/>
              <a:gdLst>
                <a:gd name="connsiteX0" fmla="*/ 106262 w 107056"/>
                <a:gd name="connsiteY0" fmla="*/ 8321 h 50305"/>
                <a:gd name="connsiteX1" fmla="*/ 100756 w 107056"/>
                <a:gd name="connsiteY1" fmla="*/ 1439 h 50305"/>
                <a:gd name="connsiteX2" fmla="*/ 91809 w 107056"/>
                <a:gd name="connsiteY2" fmla="*/ 750 h 50305"/>
                <a:gd name="connsiteX3" fmla="*/ 84926 w 107056"/>
                <a:gd name="connsiteY3" fmla="*/ 6256 h 50305"/>
                <a:gd name="connsiteX4" fmla="*/ 53266 w 107056"/>
                <a:gd name="connsiteY4" fmla="*/ 26904 h 50305"/>
                <a:gd name="connsiteX5" fmla="*/ 21606 w 107056"/>
                <a:gd name="connsiteY5" fmla="*/ 6945 h 50305"/>
                <a:gd name="connsiteX6" fmla="*/ 14723 w 107056"/>
                <a:gd name="connsiteY6" fmla="*/ 1439 h 50305"/>
                <a:gd name="connsiteX7" fmla="*/ 5776 w 107056"/>
                <a:gd name="connsiteY7" fmla="*/ 2815 h 50305"/>
                <a:gd name="connsiteX8" fmla="*/ 270 w 107056"/>
                <a:gd name="connsiteY8" fmla="*/ 9698 h 50305"/>
                <a:gd name="connsiteX9" fmla="*/ 1647 w 107056"/>
                <a:gd name="connsiteY9" fmla="*/ 18645 h 50305"/>
                <a:gd name="connsiteX10" fmla="*/ 53266 w 107056"/>
                <a:gd name="connsiteY10" fmla="*/ 50305 h 50305"/>
                <a:gd name="connsiteX11" fmla="*/ 56019 w 107056"/>
                <a:gd name="connsiteY11" fmla="*/ 49617 h 50305"/>
                <a:gd name="connsiteX12" fmla="*/ 106262 w 107056"/>
                <a:gd name="connsiteY12" fmla="*/ 17269 h 50305"/>
                <a:gd name="connsiteX13" fmla="*/ 106262 w 107056"/>
                <a:gd name="connsiteY13" fmla="*/ 8321 h 5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056" h="50305">
                  <a:moveTo>
                    <a:pt x="106262" y="8321"/>
                  </a:moveTo>
                  <a:cubicBezTo>
                    <a:pt x="105574" y="5568"/>
                    <a:pt x="103509" y="2815"/>
                    <a:pt x="100756" y="1439"/>
                  </a:cubicBezTo>
                  <a:cubicBezTo>
                    <a:pt x="98003" y="62"/>
                    <a:pt x="94562" y="-626"/>
                    <a:pt x="91809" y="750"/>
                  </a:cubicBezTo>
                  <a:cubicBezTo>
                    <a:pt x="89056" y="1439"/>
                    <a:pt x="86303" y="3503"/>
                    <a:pt x="84926" y="6256"/>
                  </a:cubicBezTo>
                  <a:cubicBezTo>
                    <a:pt x="77355" y="19333"/>
                    <a:pt x="66343" y="26904"/>
                    <a:pt x="53266" y="26904"/>
                  </a:cubicBezTo>
                  <a:cubicBezTo>
                    <a:pt x="40877" y="26904"/>
                    <a:pt x="29177" y="19333"/>
                    <a:pt x="21606" y="6945"/>
                  </a:cubicBezTo>
                  <a:cubicBezTo>
                    <a:pt x="20230" y="4192"/>
                    <a:pt x="17477" y="2127"/>
                    <a:pt x="14723" y="1439"/>
                  </a:cubicBezTo>
                  <a:cubicBezTo>
                    <a:pt x="11970" y="750"/>
                    <a:pt x="8529" y="1439"/>
                    <a:pt x="5776" y="2815"/>
                  </a:cubicBezTo>
                  <a:cubicBezTo>
                    <a:pt x="3023" y="4192"/>
                    <a:pt x="958" y="6945"/>
                    <a:pt x="270" y="9698"/>
                  </a:cubicBezTo>
                  <a:cubicBezTo>
                    <a:pt x="-418" y="12451"/>
                    <a:pt x="270" y="15892"/>
                    <a:pt x="1647" y="18645"/>
                  </a:cubicBezTo>
                  <a:cubicBezTo>
                    <a:pt x="12659" y="38605"/>
                    <a:pt x="32618" y="50305"/>
                    <a:pt x="53266" y="50305"/>
                  </a:cubicBezTo>
                  <a:cubicBezTo>
                    <a:pt x="54643" y="50305"/>
                    <a:pt x="55331" y="50305"/>
                    <a:pt x="56019" y="49617"/>
                  </a:cubicBezTo>
                  <a:cubicBezTo>
                    <a:pt x="77355" y="48240"/>
                    <a:pt x="95938" y="36540"/>
                    <a:pt x="106262" y="17269"/>
                  </a:cubicBezTo>
                  <a:cubicBezTo>
                    <a:pt x="106950" y="15204"/>
                    <a:pt x="107639" y="11762"/>
                    <a:pt x="106262" y="8321"/>
                  </a:cubicBezTo>
                  <a:close/>
                </a:path>
              </a:pathLst>
            </a:custGeom>
            <a:grpFill/>
            <a:ln w="5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76" name="稿定-9">
            <a:extLst>
              <a:ext uri="{FF2B5EF4-FFF2-40B4-BE49-F238E27FC236}">
                <a16:creationId xmlns:a16="http://schemas.microsoft.com/office/drawing/2014/main" id="{FB422FFB-F7A5-F35B-BC0B-35C6BCC08782}"/>
              </a:ext>
            </a:extLst>
          </p:cNvPr>
          <p:cNvSpPr/>
          <p:nvPr/>
        </p:nvSpPr>
        <p:spPr>
          <a:xfrm flipH="1">
            <a:off x="4552879" y="3577231"/>
            <a:ext cx="843526" cy="529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7" name="稿定-9">
            <a:extLst>
              <a:ext uri="{FF2B5EF4-FFF2-40B4-BE49-F238E27FC236}">
                <a16:creationId xmlns:a16="http://schemas.microsoft.com/office/drawing/2014/main" id="{B8F8069A-2875-D490-9173-B303C97D026A}"/>
              </a:ext>
            </a:extLst>
          </p:cNvPr>
          <p:cNvSpPr/>
          <p:nvPr/>
        </p:nvSpPr>
        <p:spPr>
          <a:xfrm flipH="1">
            <a:off x="6772938" y="3577231"/>
            <a:ext cx="843526" cy="529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8" name="稿定-9">
            <a:extLst>
              <a:ext uri="{FF2B5EF4-FFF2-40B4-BE49-F238E27FC236}">
                <a16:creationId xmlns:a16="http://schemas.microsoft.com/office/drawing/2014/main" id="{60E20C79-56A8-CA7C-6D14-AB218D093394}"/>
              </a:ext>
            </a:extLst>
          </p:cNvPr>
          <p:cNvSpPr/>
          <p:nvPr/>
        </p:nvSpPr>
        <p:spPr>
          <a:xfrm flipH="1">
            <a:off x="1760724" y="273030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9" name="稿定-31">
            <a:extLst>
              <a:ext uri="{FF2B5EF4-FFF2-40B4-BE49-F238E27FC236}">
                <a16:creationId xmlns:a16="http://schemas.microsoft.com/office/drawing/2014/main" id="{565ACF0A-BAF6-D095-709C-AA93EF2EE4BE}"/>
              </a:ext>
            </a:extLst>
          </p:cNvPr>
          <p:cNvSpPr/>
          <p:nvPr/>
        </p:nvSpPr>
        <p:spPr>
          <a:xfrm flipH="1">
            <a:off x="1563310" y="299603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0" name="稿定-9">
            <a:extLst>
              <a:ext uri="{FF2B5EF4-FFF2-40B4-BE49-F238E27FC236}">
                <a16:creationId xmlns:a16="http://schemas.microsoft.com/office/drawing/2014/main" id="{6B09327A-F254-A286-3C57-CA71A00B7783}"/>
              </a:ext>
            </a:extLst>
          </p:cNvPr>
          <p:cNvSpPr/>
          <p:nvPr/>
        </p:nvSpPr>
        <p:spPr>
          <a:xfrm flipH="1">
            <a:off x="1760724" y="359695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1" name="稿定-31">
            <a:extLst>
              <a:ext uri="{FF2B5EF4-FFF2-40B4-BE49-F238E27FC236}">
                <a16:creationId xmlns:a16="http://schemas.microsoft.com/office/drawing/2014/main" id="{2E722987-CCF0-5C85-8915-D0976718F8C3}"/>
              </a:ext>
            </a:extLst>
          </p:cNvPr>
          <p:cNvSpPr/>
          <p:nvPr/>
        </p:nvSpPr>
        <p:spPr>
          <a:xfrm flipH="1">
            <a:off x="1563310" y="386268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2" name="稿定-9">
            <a:extLst>
              <a:ext uri="{FF2B5EF4-FFF2-40B4-BE49-F238E27FC236}">
                <a16:creationId xmlns:a16="http://schemas.microsoft.com/office/drawing/2014/main" id="{3D35B924-2657-FBCA-0175-275E77A6D075}"/>
              </a:ext>
            </a:extLst>
          </p:cNvPr>
          <p:cNvSpPr/>
          <p:nvPr/>
        </p:nvSpPr>
        <p:spPr>
          <a:xfrm flipH="1">
            <a:off x="1760724" y="446360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3" name="稿定-31">
            <a:extLst>
              <a:ext uri="{FF2B5EF4-FFF2-40B4-BE49-F238E27FC236}">
                <a16:creationId xmlns:a16="http://schemas.microsoft.com/office/drawing/2014/main" id="{12849E14-BEE8-7F43-761B-DE8DD0A2D913}"/>
              </a:ext>
            </a:extLst>
          </p:cNvPr>
          <p:cNvSpPr/>
          <p:nvPr/>
        </p:nvSpPr>
        <p:spPr>
          <a:xfrm flipH="1">
            <a:off x="1563310" y="472933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4" name="稿定-9">
            <a:extLst>
              <a:ext uri="{FF2B5EF4-FFF2-40B4-BE49-F238E27FC236}">
                <a16:creationId xmlns:a16="http://schemas.microsoft.com/office/drawing/2014/main" id="{5452DABD-A083-53FA-09D0-992B75D70CB5}"/>
              </a:ext>
            </a:extLst>
          </p:cNvPr>
          <p:cNvSpPr/>
          <p:nvPr/>
        </p:nvSpPr>
        <p:spPr>
          <a:xfrm flipH="1">
            <a:off x="9459419" y="273030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5" name="稿定-31">
            <a:extLst>
              <a:ext uri="{FF2B5EF4-FFF2-40B4-BE49-F238E27FC236}">
                <a16:creationId xmlns:a16="http://schemas.microsoft.com/office/drawing/2014/main" id="{275906C8-7DF6-EF60-B595-5ECC010DBC67}"/>
              </a:ext>
            </a:extLst>
          </p:cNvPr>
          <p:cNvSpPr/>
          <p:nvPr/>
        </p:nvSpPr>
        <p:spPr>
          <a:xfrm flipH="1">
            <a:off x="9262005" y="299603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6" name="稿定-9">
            <a:extLst>
              <a:ext uri="{FF2B5EF4-FFF2-40B4-BE49-F238E27FC236}">
                <a16:creationId xmlns:a16="http://schemas.microsoft.com/office/drawing/2014/main" id="{34EBDA53-CD4D-2F9E-1CEC-AA13C058E233}"/>
              </a:ext>
            </a:extLst>
          </p:cNvPr>
          <p:cNvSpPr/>
          <p:nvPr/>
        </p:nvSpPr>
        <p:spPr>
          <a:xfrm flipH="1">
            <a:off x="9459419" y="359695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7" name="稿定-31">
            <a:extLst>
              <a:ext uri="{FF2B5EF4-FFF2-40B4-BE49-F238E27FC236}">
                <a16:creationId xmlns:a16="http://schemas.microsoft.com/office/drawing/2014/main" id="{AD2F04A2-2DB3-06E4-8B31-98CE93B15369}"/>
              </a:ext>
            </a:extLst>
          </p:cNvPr>
          <p:cNvSpPr/>
          <p:nvPr/>
        </p:nvSpPr>
        <p:spPr>
          <a:xfrm flipH="1">
            <a:off x="9262005" y="386268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8" name="稿定-9">
            <a:extLst>
              <a:ext uri="{FF2B5EF4-FFF2-40B4-BE49-F238E27FC236}">
                <a16:creationId xmlns:a16="http://schemas.microsoft.com/office/drawing/2014/main" id="{64244C67-C345-E789-EFE9-3EB0742E06FE}"/>
              </a:ext>
            </a:extLst>
          </p:cNvPr>
          <p:cNvSpPr/>
          <p:nvPr/>
        </p:nvSpPr>
        <p:spPr>
          <a:xfrm flipH="1">
            <a:off x="9459419" y="446360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9" name="稿定-31">
            <a:extLst>
              <a:ext uri="{FF2B5EF4-FFF2-40B4-BE49-F238E27FC236}">
                <a16:creationId xmlns:a16="http://schemas.microsoft.com/office/drawing/2014/main" id="{30A44373-41CE-A630-ADEE-6EA0B930B6AD}"/>
              </a:ext>
            </a:extLst>
          </p:cNvPr>
          <p:cNvSpPr/>
          <p:nvPr/>
        </p:nvSpPr>
        <p:spPr>
          <a:xfrm flipH="1">
            <a:off x="9262005" y="4729338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16855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F7C63D1E-11B8-93CF-D8A7-72DF4FBE8BB4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FE0F1547-B41D-F350-EC25-E274E77308DF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BBCC2B4-770B-3BB4-D698-2BF1BF8B3434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E2008E9F-4600-EFD3-E4C9-700A51C6B118}"/>
              </a:ext>
            </a:extLst>
          </p:cNvPr>
          <p:cNvSpPr/>
          <p:nvPr/>
        </p:nvSpPr>
        <p:spPr>
          <a:xfrm>
            <a:off x="676768" y="2196790"/>
            <a:ext cx="3172170" cy="389610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: 圆角 38">
            <a:extLst>
              <a:ext uri="{FF2B5EF4-FFF2-40B4-BE49-F238E27FC236}">
                <a16:creationId xmlns:a16="http://schemas.microsoft.com/office/drawing/2014/main" id="{FC49729D-B8A6-D3B7-FFAE-DA288DF88ABB}"/>
              </a:ext>
            </a:extLst>
          </p:cNvPr>
          <p:cNvSpPr/>
          <p:nvPr/>
        </p:nvSpPr>
        <p:spPr>
          <a:xfrm>
            <a:off x="4906537" y="2196790"/>
            <a:ext cx="6608694" cy="389610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34C74481-FDA0-FDE0-6FEB-865057D7E005}"/>
              </a:ext>
            </a:extLst>
          </p:cNvPr>
          <p:cNvGrpSpPr/>
          <p:nvPr/>
        </p:nvGrpSpPr>
        <p:grpSpPr>
          <a:xfrm>
            <a:off x="705612" y="2244168"/>
            <a:ext cx="3086054" cy="499032"/>
            <a:chOff x="656827" y="2196790"/>
            <a:chExt cx="2450933" cy="40011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5728D9F1-827C-2130-00DA-3E36F0BD3FEB}"/>
                </a:ext>
              </a:extLst>
            </p:cNvPr>
            <p:cNvSpPr/>
            <p:nvPr/>
          </p:nvSpPr>
          <p:spPr>
            <a:xfrm>
              <a:off x="676767" y="2196790"/>
              <a:ext cx="1044457" cy="400110"/>
            </a:xfrm>
            <a:prstGeom prst="rect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90AE0D18-FFC7-BC4F-319C-A6925AE9B374}"/>
                </a:ext>
              </a:extLst>
            </p:cNvPr>
            <p:cNvSpPr/>
            <p:nvPr/>
          </p:nvSpPr>
          <p:spPr>
            <a:xfrm>
              <a:off x="1739152" y="2196790"/>
              <a:ext cx="1368144" cy="400110"/>
            </a:xfrm>
            <a:prstGeom prst="rect">
              <a:avLst/>
            </a:prstGeom>
            <a:noFill/>
            <a:ln w="6350">
              <a:solidFill>
                <a:srgbClr val="3361F5"/>
              </a:solidFill>
              <a:prstDash val="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42" name="稿定-9">
              <a:extLst>
                <a:ext uri="{FF2B5EF4-FFF2-40B4-BE49-F238E27FC236}">
                  <a16:creationId xmlns:a16="http://schemas.microsoft.com/office/drawing/2014/main" id="{922CE25F-27AB-1E4E-67F5-42EDF67898C2}"/>
                </a:ext>
              </a:extLst>
            </p:cNvPr>
            <p:cNvSpPr/>
            <p:nvPr/>
          </p:nvSpPr>
          <p:spPr>
            <a:xfrm flipH="1">
              <a:off x="656827" y="2286932"/>
              <a:ext cx="1044456" cy="19592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  <a:sym typeface="+mn-lt"/>
                </a:rPr>
                <a:t>设计师素材库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endParaRPr>
            </a:p>
          </p:txBody>
        </p:sp>
        <p:sp>
          <p:nvSpPr>
            <p:cNvPr id="43" name="稿定-31">
              <a:extLst>
                <a:ext uri="{FF2B5EF4-FFF2-40B4-BE49-F238E27FC236}">
                  <a16:creationId xmlns:a16="http://schemas.microsoft.com/office/drawing/2014/main" id="{8F9CB2CF-BCE4-C54F-1320-9DA851848CEB}"/>
                </a:ext>
              </a:extLst>
            </p:cNvPr>
            <p:cNvSpPr/>
            <p:nvPr/>
          </p:nvSpPr>
          <p:spPr>
            <a:xfrm flipH="1">
              <a:off x="1780984" y="2268104"/>
              <a:ext cx="132677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所有模板素材均可任意编辑更改文字内容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endParaRPr>
            </a:p>
          </p:txBody>
        </p:sp>
      </p:grp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E5C6F967-36EB-4151-AC7E-AF20A96EB41F}"/>
              </a:ext>
            </a:extLst>
          </p:cNvPr>
          <p:cNvCxnSpPr>
            <a:cxnSpLocks/>
          </p:cNvCxnSpPr>
          <p:nvPr/>
        </p:nvCxnSpPr>
        <p:spPr>
          <a:xfrm>
            <a:off x="845741" y="3725443"/>
            <a:ext cx="2834223" cy="0"/>
          </a:xfrm>
          <a:prstGeom prst="line">
            <a:avLst/>
          </a:prstGeom>
          <a:ln>
            <a:solidFill>
              <a:srgbClr val="3361F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4BD1A865-4C8C-2ECE-382F-F5F95F8491C9}"/>
              </a:ext>
            </a:extLst>
          </p:cNvPr>
          <p:cNvCxnSpPr>
            <a:cxnSpLocks/>
          </p:cNvCxnSpPr>
          <p:nvPr/>
        </p:nvCxnSpPr>
        <p:spPr>
          <a:xfrm>
            <a:off x="845741" y="4691332"/>
            <a:ext cx="2834223" cy="0"/>
          </a:xfrm>
          <a:prstGeom prst="line">
            <a:avLst/>
          </a:prstGeom>
          <a:ln>
            <a:solidFill>
              <a:srgbClr val="3361F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稿定-9">
            <a:extLst>
              <a:ext uri="{FF2B5EF4-FFF2-40B4-BE49-F238E27FC236}">
                <a16:creationId xmlns:a16="http://schemas.microsoft.com/office/drawing/2014/main" id="{81929FFC-E8C0-DF1B-D85E-96EAF41A6321}"/>
              </a:ext>
            </a:extLst>
          </p:cNvPr>
          <p:cNvSpPr/>
          <p:nvPr/>
        </p:nvSpPr>
        <p:spPr>
          <a:xfrm flipH="1">
            <a:off x="769114" y="320651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6" name="稿定-31">
            <a:extLst>
              <a:ext uri="{FF2B5EF4-FFF2-40B4-BE49-F238E27FC236}">
                <a16:creationId xmlns:a16="http://schemas.microsoft.com/office/drawing/2014/main" id="{16728684-E3B4-E747-0A58-C5E737E30073}"/>
              </a:ext>
            </a:extLst>
          </p:cNvPr>
          <p:cNvSpPr/>
          <p:nvPr/>
        </p:nvSpPr>
        <p:spPr>
          <a:xfrm flipH="1">
            <a:off x="845740" y="3450196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7" name="稿定-9">
            <a:extLst>
              <a:ext uri="{FF2B5EF4-FFF2-40B4-BE49-F238E27FC236}">
                <a16:creationId xmlns:a16="http://schemas.microsoft.com/office/drawing/2014/main" id="{98AFF723-B884-BD15-4B7D-BEA3A7DF79EC}"/>
              </a:ext>
            </a:extLst>
          </p:cNvPr>
          <p:cNvSpPr/>
          <p:nvPr/>
        </p:nvSpPr>
        <p:spPr>
          <a:xfrm flipH="1">
            <a:off x="769114" y="417240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8" name="稿定-31">
            <a:extLst>
              <a:ext uri="{FF2B5EF4-FFF2-40B4-BE49-F238E27FC236}">
                <a16:creationId xmlns:a16="http://schemas.microsoft.com/office/drawing/2014/main" id="{E52F8E4D-33AA-5F29-BDAE-7D106A4E0F82}"/>
              </a:ext>
            </a:extLst>
          </p:cNvPr>
          <p:cNvSpPr/>
          <p:nvPr/>
        </p:nvSpPr>
        <p:spPr>
          <a:xfrm flipH="1">
            <a:off x="845740" y="4416084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558118AF-C1EE-BBD9-8D0B-BF84B4B4B488}"/>
              </a:ext>
            </a:extLst>
          </p:cNvPr>
          <p:cNvCxnSpPr>
            <a:cxnSpLocks/>
          </p:cNvCxnSpPr>
          <p:nvPr/>
        </p:nvCxnSpPr>
        <p:spPr>
          <a:xfrm>
            <a:off x="845741" y="5658857"/>
            <a:ext cx="2834223" cy="0"/>
          </a:xfrm>
          <a:prstGeom prst="line">
            <a:avLst/>
          </a:prstGeom>
          <a:ln>
            <a:solidFill>
              <a:srgbClr val="3361F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稿定-9">
            <a:extLst>
              <a:ext uri="{FF2B5EF4-FFF2-40B4-BE49-F238E27FC236}">
                <a16:creationId xmlns:a16="http://schemas.microsoft.com/office/drawing/2014/main" id="{397DA7D3-1A2F-671A-D0B4-9CAF0A4000D3}"/>
              </a:ext>
            </a:extLst>
          </p:cNvPr>
          <p:cNvSpPr/>
          <p:nvPr/>
        </p:nvSpPr>
        <p:spPr>
          <a:xfrm flipH="1">
            <a:off x="769114" y="513992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1" name="稿定-31">
            <a:extLst>
              <a:ext uri="{FF2B5EF4-FFF2-40B4-BE49-F238E27FC236}">
                <a16:creationId xmlns:a16="http://schemas.microsoft.com/office/drawing/2014/main" id="{906B0587-8A40-CA88-5780-B5ED7C2BEC75}"/>
              </a:ext>
            </a:extLst>
          </p:cNvPr>
          <p:cNvSpPr/>
          <p:nvPr/>
        </p:nvSpPr>
        <p:spPr>
          <a:xfrm flipH="1">
            <a:off x="845740" y="5383609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E7C8A9F7-E00D-444E-67D7-D4C4D70EB196}"/>
              </a:ext>
            </a:extLst>
          </p:cNvPr>
          <p:cNvCxnSpPr/>
          <p:nvPr/>
        </p:nvCxnSpPr>
        <p:spPr>
          <a:xfrm>
            <a:off x="3968256" y="4172404"/>
            <a:ext cx="811974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稿定-9">
            <a:extLst>
              <a:ext uri="{FF2B5EF4-FFF2-40B4-BE49-F238E27FC236}">
                <a16:creationId xmlns:a16="http://schemas.microsoft.com/office/drawing/2014/main" id="{3F97298E-76F6-1FD3-F3A2-D7BDF33DBE6F}"/>
              </a:ext>
            </a:extLst>
          </p:cNvPr>
          <p:cNvSpPr/>
          <p:nvPr/>
        </p:nvSpPr>
        <p:spPr>
          <a:xfrm flipH="1">
            <a:off x="4010636" y="3825111"/>
            <a:ext cx="734203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优化问题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969AFA11-CC49-0300-0781-5831B6260C75}"/>
              </a:ext>
            </a:extLst>
          </p:cNvPr>
          <p:cNvGrpSpPr/>
          <p:nvPr/>
        </p:nvGrpSpPr>
        <p:grpSpPr>
          <a:xfrm>
            <a:off x="5124830" y="2493684"/>
            <a:ext cx="3086054" cy="499032"/>
            <a:chOff x="656827" y="2196790"/>
            <a:chExt cx="2450933" cy="400110"/>
          </a:xfrm>
        </p:grpSpPr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CB477F04-747E-B00F-AC27-32D5D22F6BE2}"/>
                </a:ext>
              </a:extLst>
            </p:cNvPr>
            <p:cNvSpPr/>
            <p:nvPr/>
          </p:nvSpPr>
          <p:spPr>
            <a:xfrm>
              <a:off x="676767" y="2196790"/>
              <a:ext cx="1044457" cy="400110"/>
            </a:xfrm>
            <a:prstGeom prst="rect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B3F272A7-8FC1-8479-2B84-B96B7A38A2C0}"/>
                </a:ext>
              </a:extLst>
            </p:cNvPr>
            <p:cNvSpPr/>
            <p:nvPr/>
          </p:nvSpPr>
          <p:spPr>
            <a:xfrm>
              <a:off x="1739152" y="2196790"/>
              <a:ext cx="1368144" cy="400110"/>
            </a:xfrm>
            <a:prstGeom prst="rect">
              <a:avLst/>
            </a:prstGeom>
            <a:noFill/>
            <a:ln w="6350">
              <a:solidFill>
                <a:srgbClr val="3361F5"/>
              </a:solidFill>
              <a:prstDash val="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57" name="稿定-9">
              <a:extLst>
                <a:ext uri="{FF2B5EF4-FFF2-40B4-BE49-F238E27FC236}">
                  <a16:creationId xmlns:a16="http://schemas.microsoft.com/office/drawing/2014/main" id="{90419C5D-06CD-4FA2-31E9-ACA5B2A28D11}"/>
                </a:ext>
              </a:extLst>
            </p:cNvPr>
            <p:cNvSpPr/>
            <p:nvPr/>
          </p:nvSpPr>
          <p:spPr>
            <a:xfrm flipH="1">
              <a:off x="656827" y="2286932"/>
              <a:ext cx="1044456" cy="19592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  <a:sym typeface="+mn-lt"/>
                </a:rPr>
                <a:t>设计师素材库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endParaRPr>
            </a:p>
          </p:txBody>
        </p:sp>
        <p:sp>
          <p:nvSpPr>
            <p:cNvPr id="58" name="稿定-31">
              <a:extLst>
                <a:ext uri="{FF2B5EF4-FFF2-40B4-BE49-F238E27FC236}">
                  <a16:creationId xmlns:a16="http://schemas.microsoft.com/office/drawing/2014/main" id="{E95B90C4-9998-29D5-8430-F7C7F1791424}"/>
                </a:ext>
              </a:extLst>
            </p:cNvPr>
            <p:cNvSpPr/>
            <p:nvPr/>
          </p:nvSpPr>
          <p:spPr>
            <a:xfrm flipH="1">
              <a:off x="1780984" y="2268104"/>
              <a:ext cx="132677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所有模板素材均可任意编辑更改文字内容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endParaRPr>
            </a:p>
          </p:txBody>
        </p:sp>
      </p:grp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2DE56CB8-4F6A-D154-4EA2-D85B67EDF61C}"/>
              </a:ext>
            </a:extLst>
          </p:cNvPr>
          <p:cNvSpPr/>
          <p:nvPr/>
        </p:nvSpPr>
        <p:spPr>
          <a:xfrm>
            <a:off x="5149937" y="3138436"/>
            <a:ext cx="3060363" cy="590689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3E6B9CFB-4AC6-095D-9563-FADEE0D384D4}"/>
              </a:ext>
            </a:extLst>
          </p:cNvPr>
          <p:cNvSpPr/>
          <p:nvPr/>
        </p:nvSpPr>
        <p:spPr>
          <a:xfrm>
            <a:off x="5149937" y="3872736"/>
            <a:ext cx="3060363" cy="590689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160C5979-0D52-9EDE-817C-248FD800E40D}"/>
              </a:ext>
            </a:extLst>
          </p:cNvPr>
          <p:cNvSpPr/>
          <p:nvPr/>
        </p:nvSpPr>
        <p:spPr>
          <a:xfrm>
            <a:off x="5149937" y="4607036"/>
            <a:ext cx="3060363" cy="590689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66E9640A-C1B6-C815-58EE-6989119742F3}"/>
              </a:ext>
            </a:extLst>
          </p:cNvPr>
          <p:cNvSpPr/>
          <p:nvPr/>
        </p:nvSpPr>
        <p:spPr>
          <a:xfrm>
            <a:off x="8797119" y="2743200"/>
            <a:ext cx="811435" cy="811435"/>
          </a:xfrm>
          <a:prstGeom prst="ellips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03E4E5C7-5BD1-3868-96E8-6FDD2D81796A}"/>
              </a:ext>
            </a:extLst>
          </p:cNvPr>
          <p:cNvSpPr/>
          <p:nvPr/>
        </p:nvSpPr>
        <p:spPr>
          <a:xfrm>
            <a:off x="8797119" y="3755904"/>
            <a:ext cx="811435" cy="811435"/>
          </a:xfrm>
          <a:prstGeom prst="ellips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椭圆 64">
            <a:extLst>
              <a:ext uri="{FF2B5EF4-FFF2-40B4-BE49-F238E27FC236}">
                <a16:creationId xmlns:a16="http://schemas.microsoft.com/office/drawing/2014/main" id="{A9DE1624-5BDD-18D1-853E-88A1AE4ECEBB}"/>
              </a:ext>
            </a:extLst>
          </p:cNvPr>
          <p:cNvSpPr/>
          <p:nvPr/>
        </p:nvSpPr>
        <p:spPr>
          <a:xfrm>
            <a:off x="8797119" y="4766961"/>
            <a:ext cx="811435" cy="811435"/>
          </a:xfrm>
          <a:prstGeom prst="ellips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矩形: 圆角 65">
            <a:extLst>
              <a:ext uri="{FF2B5EF4-FFF2-40B4-BE49-F238E27FC236}">
                <a16:creationId xmlns:a16="http://schemas.microsoft.com/office/drawing/2014/main" id="{762D5B3B-CC3A-54C8-1B46-1C48DEEC5327}"/>
              </a:ext>
            </a:extLst>
          </p:cNvPr>
          <p:cNvSpPr/>
          <p:nvPr/>
        </p:nvSpPr>
        <p:spPr>
          <a:xfrm>
            <a:off x="9734861" y="2952809"/>
            <a:ext cx="1588105" cy="392215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A9FA885D-9F5F-CD48-D678-609CAFBF65E6}"/>
              </a:ext>
            </a:extLst>
          </p:cNvPr>
          <p:cNvSpPr/>
          <p:nvPr/>
        </p:nvSpPr>
        <p:spPr>
          <a:xfrm>
            <a:off x="9734861" y="3976296"/>
            <a:ext cx="1588105" cy="392215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58181156-0B88-913F-8A26-D04A88D9744D}"/>
              </a:ext>
            </a:extLst>
          </p:cNvPr>
          <p:cNvSpPr/>
          <p:nvPr/>
        </p:nvSpPr>
        <p:spPr>
          <a:xfrm>
            <a:off x="9734861" y="4943821"/>
            <a:ext cx="1588105" cy="392215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稿定-31">
            <a:extLst>
              <a:ext uri="{FF2B5EF4-FFF2-40B4-BE49-F238E27FC236}">
                <a16:creationId xmlns:a16="http://schemas.microsoft.com/office/drawing/2014/main" id="{EA2A282A-5EC7-3CEA-F53A-338D7E0F96C2}"/>
              </a:ext>
            </a:extLst>
          </p:cNvPr>
          <p:cNvSpPr/>
          <p:nvPr/>
        </p:nvSpPr>
        <p:spPr>
          <a:xfrm flipH="1">
            <a:off x="5226988" y="3225006"/>
            <a:ext cx="2906260" cy="4116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0" name="稿定-31">
            <a:extLst>
              <a:ext uri="{FF2B5EF4-FFF2-40B4-BE49-F238E27FC236}">
                <a16:creationId xmlns:a16="http://schemas.microsoft.com/office/drawing/2014/main" id="{9B17C1D0-DDBE-9905-469F-8E525EDD8D59}"/>
              </a:ext>
            </a:extLst>
          </p:cNvPr>
          <p:cNvSpPr/>
          <p:nvPr/>
        </p:nvSpPr>
        <p:spPr>
          <a:xfrm flipH="1">
            <a:off x="5226988" y="3958683"/>
            <a:ext cx="2906260" cy="4116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1" name="稿定-31">
            <a:extLst>
              <a:ext uri="{FF2B5EF4-FFF2-40B4-BE49-F238E27FC236}">
                <a16:creationId xmlns:a16="http://schemas.microsoft.com/office/drawing/2014/main" id="{B5563E89-5734-3E86-B985-59866613EE29}"/>
              </a:ext>
            </a:extLst>
          </p:cNvPr>
          <p:cNvSpPr/>
          <p:nvPr/>
        </p:nvSpPr>
        <p:spPr>
          <a:xfrm flipH="1">
            <a:off x="5226988" y="4692983"/>
            <a:ext cx="2906260" cy="4116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众多素材，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4" name="稿定-31">
            <a:extLst>
              <a:ext uri="{FF2B5EF4-FFF2-40B4-BE49-F238E27FC236}">
                <a16:creationId xmlns:a16="http://schemas.microsoft.com/office/drawing/2014/main" id="{8708E478-AB6A-B5B9-362A-47614739254B}"/>
              </a:ext>
            </a:extLst>
          </p:cNvPr>
          <p:cNvSpPr/>
          <p:nvPr/>
        </p:nvSpPr>
        <p:spPr>
          <a:xfrm flipH="1">
            <a:off x="9808611" y="2951960"/>
            <a:ext cx="1467518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5" name="稿定-31">
            <a:extLst>
              <a:ext uri="{FF2B5EF4-FFF2-40B4-BE49-F238E27FC236}">
                <a16:creationId xmlns:a16="http://schemas.microsoft.com/office/drawing/2014/main" id="{3209975D-4CD0-9DC0-05D3-BDC321E777AE}"/>
              </a:ext>
            </a:extLst>
          </p:cNvPr>
          <p:cNvSpPr/>
          <p:nvPr/>
        </p:nvSpPr>
        <p:spPr>
          <a:xfrm flipH="1">
            <a:off x="9808611" y="3995944"/>
            <a:ext cx="1467518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6" name="稿定-31">
            <a:extLst>
              <a:ext uri="{FF2B5EF4-FFF2-40B4-BE49-F238E27FC236}">
                <a16:creationId xmlns:a16="http://schemas.microsoft.com/office/drawing/2014/main" id="{9D0DD877-0F96-A69B-6D65-3A631DD2954E}"/>
              </a:ext>
            </a:extLst>
          </p:cNvPr>
          <p:cNvSpPr/>
          <p:nvPr/>
        </p:nvSpPr>
        <p:spPr>
          <a:xfrm flipH="1">
            <a:off x="9808611" y="4956662"/>
            <a:ext cx="1467518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7" name="稿定-9">
            <a:extLst>
              <a:ext uri="{FF2B5EF4-FFF2-40B4-BE49-F238E27FC236}">
                <a16:creationId xmlns:a16="http://schemas.microsoft.com/office/drawing/2014/main" id="{F1165F11-ABE4-4536-C589-CC4A417BF2DF}"/>
              </a:ext>
            </a:extLst>
          </p:cNvPr>
          <p:cNvSpPr/>
          <p:nvPr/>
        </p:nvSpPr>
        <p:spPr>
          <a:xfrm flipH="1">
            <a:off x="8732436" y="2884066"/>
            <a:ext cx="947252" cy="529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8" name="稿定-9">
            <a:extLst>
              <a:ext uri="{FF2B5EF4-FFF2-40B4-BE49-F238E27FC236}">
                <a16:creationId xmlns:a16="http://schemas.microsoft.com/office/drawing/2014/main" id="{B0ACD0C8-B708-8442-91DB-919A56A391B2}"/>
              </a:ext>
            </a:extLst>
          </p:cNvPr>
          <p:cNvSpPr/>
          <p:nvPr/>
        </p:nvSpPr>
        <p:spPr>
          <a:xfrm flipH="1">
            <a:off x="8732436" y="3896901"/>
            <a:ext cx="947252" cy="529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9" name="稿定-9">
            <a:extLst>
              <a:ext uri="{FF2B5EF4-FFF2-40B4-BE49-F238E27FC236}">
                <a16:creationId xmlns:a16="http://schemas.microsoft.com/office/drawing/2014/main" id="{E0908F79-6079-57D6-986C-6DBDAACB9D1D}"/>
              </a:ext>
            </a:extLst>
          </p:cNvPr>
          <p:cNvSpPr/>
          <p:nvPr/>
        </p:nvSpPr>
        <p:spPr>
          <a:xfrm flipH="1">
            <a:off x="8732436" y="4910694"/>
            <a:ext cx="947252" cy="529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素材库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9B864BA8-51A8-E9D1-128F-1C04FFC9A84D}"/>
              </a:ext>
            </a:extLst>
          </p:cNvPr>
          <p:cNvGrpSpPr/>
          <p:nvPr/>
        </p:nvGrpSpPr>
        <p:grpSpPr>
          <a:xfrm>
            <a:off x="5124830" y="5341336"/>
            <a:ext cx="3086054" cy="499032"/>
            <a:chOff x="656827" y="2196790"/>
            <a:chExt cx="2450933" cy="400110"/>
          </a:xfrm>
        </p:grpSpPr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88620E25-FF54-896D-DFAA-05E7B762289E}"/>
                </a:ext>
              </a:extLst>
            </p:cNvPr>
            <p:cNvSpPr/>
            <p:nvPr/>
          </p:nvSpPr>
          <p:spPr>
            <a:xfrm>
              <a:off x="676767" y="2196790"/>
              <a:ext cx="1044457" cy="400110"/>
            </a:xfrm>
            <a:prstGeom prst="rect">
              <a:avLst/>
            </a:prstGeom>
            <a:solidFill>
              <a:srgbClr val="3361F5"/>
            </a:solidFill>
            <a:ln>
              <a:noFill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E2E1DE2B-7222-7B73-855D-F5A84AFF2460}"/>
                </a:ext>
              </a:extLst>
            </p:cNvPr>
            <p:cNvSpPr/>
            <p:nvPr/>
          </p:nvSpPr>
          <p:spPr>
            <a:xfrm>
              <a:off x="1739152" y="2196790"/>
              <a:ext cx="1368144" cy="400110"/>
            </a:xfrm>
            <a:prstGeom prst="rect">
              <a:avLst/>
            </a:prstGeom>
            <a:noFill/>
            <a:ln w="6350">
              <a:solidFill>
                <a:srgbClr val="3361F5"/>
              </a:solidFill>
              <a:prstDash val="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 dirty="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</a:endParaRPr>
            </a:p>
          </p:txBody>
        </p:sp>
        <p:sp>
          <p:nvSpPr>
            <p:cNvPr id="85" name="稿定-9">
              <a:extLst>
                <a:ext uri="{FF2B5EF4-FFF2-40B4-BE49-F238E27FC236}">
                  <a16:creationId xmlns:a16="http://schemas.microsoft.com/office/drawing/2014/main" id="{547E0C18-C8BC-254D-17C7-D9BA70636E59}"/>
                </a:ext>
              </a:extLst>
            </p:cNvPr>
            <p:cNvSpPr/>
            <p:nvPr/>
          </p:nvSpPr>
          <p:spPr>
            <a:xfrm flipH="1">
              <a:off x="656827" y="2286932"/>
              <a:ext cx="1044456" cy="19592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POSans H" panose="00020600040101010101" pitchFamily="18" charset="-122"/>
                  <a:ea typeface="OPPOSans H" panose="00020600040101010101" pitchFamily="18" charset="-122"/>
                  <a:cs typeface="OPPOSans H" panose="00020600040101010101" pitchFamily="18" charset="-122"/>
                  <a:sym typeface="+mn-lt"/>
                </a:rPr>
                <a:t>设计师素材库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endParaRPr>
            </a:p>
          </p:txBody>
        </p:sp>
        <p:sp>
          <p:nvSpPr>
            <p:cNvPr id="86" name="稿定-31">
              <a:extLst>
                <a:ext uri="{FF2B5EF4-FFF2-40B4-BE49-F238E27FC236}">
                  <a16:creationId xmlns:a16="http://schemas.microsoft.com/office/drawing/2014/main" id="{5B77F4D8-6BD4-D733-E145-BA865A9D5334}"/>
                </a:ext>
              </a:extLst>
            </p:cNvPr>
            <p:cNvSpPr/>
            <p:nvPr/>
          </p:nvSpPr>
          <p:spPr>
            <a:xfrm flipH="1">
              <a:off x="1780984" y="2268104"/>
              <a:ext cx="132677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POSans R" panose="00020600040101010101" pitchFamily="18" charset="-122"/>
                  <a:ea typeface="OPPOSans R" panose="00020600040101010101" pitchFamily="18" charset="-122"/>
                  <a:cs typeface="OPPOSans R" panose="00020600040101010101" pitchFamily="18" charset="-122"/>
                  <a:sym typeface="+mn-lt"/>
                </a:rPr>
                <a:t>所有模板素材均可任意编辑更改文字内容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endParaRPr>
            </a:p>
          </p:txBody>
        </p:sp>
      </p:grpSp>
      <p:cxnSp>
        <p:nvCxnSpPr>
          <p:cNvPr id="87" name="直接连接符 86">
            <a:extLst>
              <a:ext uri="{FF2B5EF4-FFF2-40B4-BE49-F238E27FC236}">
                <a16:creationId xmlns:a16="http://schemas.microsoft.com/office/drawing/2014/main" id="{7A365406-F0FB-7611-D4D5-D768BBCFFA69}"/>
              </a:ext>
            </a:extLst>
          </p:cNvPr>
          <p:cNvCxnSpPr>
            <a:cxnSpLocks/>
          </p:cNvCxnSpPr>
          <p:nvPr/>
        </p:nvCxnSpPr>
        <p:spPr>
          <a:xfrm>
            <a:off x="8270669" y="3148786"/>
            <a:ext cx="428341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90">
            <a:extLst>
              <a:ext uri="{FF2B5EF4-FFF2-40B4-BE49-F238E27FC236}">
                <a16:creationId xmlns:a16="http://schemas.microsoft.com/office/drawing/2014/main" id="{6D342EEB-BCE2-EEE0-054E-B6FAED8E86D2}"/>
              </a:ext>
            </a:extLst>
          </p:cNvPr>
          <p:cNvCxnSpPr>
            <a:cxnSpLocks/>
          </p:cNvCxnSpPr>
          <p:nvPr/>
        </p:nvCxnSpPr>
        <p:spPr>
          <a:xfrm>
            <a:off x="8270669" y="4165560"/>
            <a:ext cx="428341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连接符 91">
            <a:extLst>
              <a:ext uri="{FF2B5EF4-FFF2-40B4-BE49-F238E27FC236}">
                <a16:creationId xmlns:a16="http://schemas.microsoft.com/office/drawing/2014/main" id="{1BF4DDB1-F351-AD2D-B520-A945E78EE2D0}"/>
              </a:ext>
            </a:extLst>
          </p:cNvPr>
          <p:cNvCxnSpPr>
            <a:cxnSpLocks/>
          </p:cNvCxnSpPr>
          <p:nvPr/>
        </p:nvCxnSpPr>
        <p:spPr>
          <a:xfrm>
            <a:off x="8270669" y="5197725"/>
            <a:ext cx="428341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115790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Line">
            <a:extLst>
              <a:ext uri="{FF2B5EF4-FFF2-40B4-BE49-F238E27FC236}">
                <a16:creationId xmlns:a16="http://schemas.microsoft.com/office/drawing/2014/main" id="{578213CD-A527-0645-5F73-CC937B00775D}"/>
              </a:ext>
            </a:extLst>
          </p:cNvPr>
          <p:cNvSpPr/>
          <p:nvPr/>
        </p:nvSpPr>
        <p:spPr>
          <a:xfrm>
            <a:off x="6941800" y="4761560"/>
            <a:ext cx="0" cy="1003605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9" name="稿定-9">
            <a:extLst>
              <a:ext uri="{FF2B5EF4-FFF2-40B4-BE49-F238E27FC236}">
                <a16:creationId xmlns:a16="http://schemas.microsoft.com/office/drawing/2014/main" id="{88B8ABF5-32E5-E15E-29CA-A26294E7CEE1}"/>
              </a:ext>
            </a:extLst>
          </p:cNvPr>
          <p:cNvSpPr/>
          <p:nvPr/>
        </p:nvSpPr>
        <p:spPr>
          <a:xfrm flipH="1">
            <a:off x="6941799" y="517535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0" name="稿定-31">
            <a:extLst>
              <a:ext uri="{FF2B5EF4-FFF2-40B4-BE49-F238E27FC236}">
                <a16:creationId xmlns:a16="http://schemas.microsoft.com/office/drawing/2014/main" id="{CDA8F75F-C7CD-49E2-97A9-3DD5DF6A875E}"/>
              </a:ext>
            </a:extLst>
          </p:cNvPr>
          <p:cNvSpPr/>
          <p:nvPr/>
        </p:nvSpPr>
        <p:spPr>
          <a:xfrm flipH="1">
            <a:off x="7018425" y="5441085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1" name="Line">
            <a:extLst>
              <a:ext uri="{FF2B5EF4-FFF2-40B4-BE49-F238E27FC236}">
                <a16:creationId xmlns:a16="http://schemas.microsoft.com/office/drawing/2014/main" id="{41A874A5-5BAE-6D7F-BD16-E982F4864237}"/>
              </a:ext>
            </a:extLst>
          </p:cNvPr>
          <p:cNvSpPr/>
          <p:nvPr/>
        </p:nvSpPr>
        <p:spPr>
          <a:xfrm>
            <a:off x="9323331" y="4761560"/>
            <a:ext cx="0" cy="1003605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72" name="稿定-9">
            <a:extLst>
              <a:ext uri="{FF2B5EF4-FFF2-40B4-BE49-F238E27FC236}">
                <a16:creationId xmlns:a16="http://schemas.microsoft.com/office/drawing/2014/main" id="{5DBA6A9A-9D73-DD78-227A-FDAB868D9072}"/>
              </a:ext>
            </a:extLst>
          </p:cNvPr>
          <p:cNvSpPr/>
          <p:nvPr/>
        </p:nvSpPr>
        <p:spPr>
          <a:xfrm flipH="1">
            <a:off x="9323330" y="517535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3" name="稿定-31">
            <a:extLst>
              <a:ext uri="{FF2B5EF4-FFF2-40B4-BE49-F238E27FC236}">
                <a16:creationId xmlns:a16="http://schemas.microsoft.com/office/drawing/2014/main" id="{1B2DA586-B416-8DB7-14E2-9E8A649B5B74}"/>
              </a:ext>
            </a:extLst>
          </p:cNvPr>
          <p:cNvSpPr/>
          <p:nvPr/>
        </p:nvSpPr>
        <p:spPr>
          <a:xfrm flipH="1">
            <a:off x="9399956" y="5441085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5" name="Line">
            <a:extLst>
              <a:ext uri="{FF2B5EF4-FFF2-40B4-BE49-F238E27FC236}">
                <a16:creationId xmlns:a16="http://schemas.microsoft.com/office/drawing/2014/main" id="{BB3FEF3F-D16E-A375-C9BD-FB729156C199}"/>
              </a:ext>
            </a:extLst>
          </p:cNvPr>
          <p:cNvSpPr/>
          <p:nvPr/>
        </p:nvSpPr>
        <p:spPr>
          <a:xfrm>
            <a:off x="4565391" y="4761560"/>
            <a:ext cx="0" cy="1003605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70E552D-4EC4-0BA5-35C4-9E0DC2599855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0A5FE29-E213-1F78-869D-617425D8751D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2A13743-D818-5C76-B97D-E902AF9A3AB3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弧形 4">
            <a:extLst>
              <a:ext uri="{FF2B5EF4-FFF2-40B4-BE49-F238E27FC236}">
                <a16:creationId xmlns:a16="http://schemas.microsoft.com/office/drawing/2014/main" id="{728BDD71-5400-14D2-63F4-DDFC2CA6039C}"/>
              </a:ext>
            </a:extLst>
          </p:cNvPr>
          <p:cNvSpPr/>
          <p:nvPr/>
        </p:nvSpPr>
        <p:spPr>
          <a:xfrm>
            <a:off x="9986105" y="3314725"/>
            <a:ext cx="1329596" cy="1329596"/>
          </a:xfrm>
          <a:prstGeom prst="arc">
            <a:avLst>
              <a:gd name="adj1" fmla="val 16200000"/>
              <a:gd name="adj2" fmla="val 5502652"/>
            </a:avLst>
          </a:prstGeom>
          <a:noFill/>
          <a:ln w="190500" cap="rnd">
            <a:solidFill>
              <a:srgbClr val="3361F5"/>
            </a:solidFill>
            <a:round/>
          </a:ln>
          <a:effectLst>
            <a:outerShdw blurRad="381000" sx="103000" sy="103000" algn="ctr" rotWithShape="0">
              <a:srgbClr val="3361F5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Arial" panose="020F0502020204030204"/>
              <a:ea typeface="微软雅黑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6D948A27-760A-6B19-B896-159A658E15F3}"/>
              </a:ext>
            </a:extLst>
          </p:cNvPr>
          <p:cNvCxnSpPr>
            <a:cxnSpLocks/>
          </p:cNvCxnSpPr>
          <p:nvPr/>
        </p:nvCxnSpPr>
        <p:spPr>
          <a:xfrm flipV="1">
            <a:off x="874714" y="3314725"/>
            <a:ext cx="9776189" cy="1023"/>
          </a:xfrm>
          <a:prstGeom prst="line">
            <a:avLst/>
          </a:prstGeom>
          <a:noFill/>
          <a:ln w="190500" cap="rnd">
            <a:solidFill>
              <a:srgbClr val="3361F5"/>
            </a:solidFill>
            <a:round/>
          </a:ln>
          <a:effectLst>
            <a:outerShdw blurRad="381000" sx="103000" sy="103000" algn="ctr" rotWithShape="0">
              <a:srgbClr val="3361F5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D14DA5F-CE34-F3C8-160E-22ED194AFE8C}"/>
              </a:ext>
            </a:extLst>
          </p:cNvPr>
          <p:cNvCxnSpPr>
            <a:cxnSpLocks/>
          </p:cNvCxnSpPr>
          <p:nvPr/>
        </p:nvCxnSpPr>
        <p:spPr>
          <a:xfrm>
            <a:off x="874714" y="4642306"/>
            <a:ext cx="9776189" cy="1023"/>
          </a:xfrm>
          <a:prstGeom prst="line">
            <a:avLst/>
          </a:prstGeom>
          <a:noFill/>
          <a:ln w="190500" cap="rnd">
            <a:solidFill>
              <a:srgbClr val="3361F5"/>
            </a:solidFill>
            <a:round/>
            <a:headEnd type="stealth"/>
          </a:ln>
          <a:effectLst>
            <a:outerShdw blurRad="381000" sx="103000" sy="103000" algn="ctr" rotWithShape="0">
              <a:srgbClr val="3361F5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Line">
            <a:extLst>
              <a:ext uri="{FF2B5EF4-FFF2-40B4-BE49-F238E27FC236}">
                <a16:creationId xmlns:a16="http://schemas.microsoft.com/office/drawing/2014/main" id="{4F23DAD3-52FF-0E64-0305-6625D09798BF}"/>
              </a:ext>
            </a:extLst>
          </p:cNvPr>
          <p:cNvSpPr/>
          <p:nvPr/>
        </p:nvSpPr>
        <p:spPr>
          <a:xfrm>
            <a:off x="2168058" y="2311121"/>
            <a:ext cx="0" cy="1003605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5" name="稿定-9">
            <a:extLst>
              <a:ext uri="{FF2B5EF4-FFF2-40B4-BE49-F238E27FC236}">
                <a16:creationId xmlns:a16="http://schemas.microsoft.com/office/drawing/2014/main" id="{F84A7D5D-8896-16CB-9DF9-D9A9A69BF7F6}"/>
              </a:ext>
            </a:extLst>
          </p:cNvPr>
          <p:cNvSpPr/>
          <p:nvPr/>
        </p:nvSpPr>
        <p:spPr>
          <a:xfrm flipH="1">
            <a:off x="2168057" y="220557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6" name="稿定-31">
            <a:extLst>
              <a:ext uri="{FF2B5EF4-FFF2-40B4-BE49-F238E27FC236}">
                <a16:creationId xmlns:a16="http://schemas.microsoft.com/office/drawing/2014/main" id="{2FA0D781-B1C4-B720-4CF8-7661A3BC9FC8}"/>
              </a:ext>
            </a:extLst>
          </p:cNvPr>
          <p:cNvSpPr/>
          <p:nvPr/>
        </p:nvSpPr>
        <p:spPr>
          <a:xfrm flipH="1">
            <a:off x="2244683" y="247131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2EEFEB2D-FB2A-405A-3764-75934B7CA426}"/>
              </a:ext>
            </a:extLst>
          </p:cNvPr>
          <p:cNvGrpSpPr/>
          <p:nvPr/>
        </p:nvGrpSpPr>
        <p:grpSpPr>
          <a:xfrm>
            <a:off x="1821693" y="2995982"/>
            <a:ext cx="692728" cy="692728"/>
            <a:chOff x="1475328" y="2934014"/>
            <a:chExt cx="819164" cy="819164"/>
          </a:xfrm>
        </p:grpSpPr>
        <p:sp>
          <p:nvSpPr>
            <p:cNvPr id="29" name="gaoding-5-1">
              <a:extLst>
                <a:ext uri="{FF2B5EF4-FFF2-40B4-BE49-F238E27FC236}">
                  <a16:creationId xmlns:a16="http://schemas.microsoft.com/office/drawing/2014/main" id="{A55E7558-B5A7-C499-DAFB-43B76EF76F8E}"/>
                </a:ext>
              </a:extLst>
            </p:cNvPr>
            <p:cNvSpPr/>
            <p:nvPr/>
          </p:nvSpPr>
          <p:spPr>
            <a:xfrm>
              <a:off x="1475328" y="2934014"/>
              <a:ext cx="819164" cy="819164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accent1">
                <a:alpha val="8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30" name="gaoding-5-7">
              <a:extLst>
                <a:ext uri="{FF2B5EF4-FFF2-40B4-BE49-F238E27FC236}">
                  <a16:creationId xmlns:a16="http://schemas.microsoft.com/office/drawing/2014/main" id="{5F391969-6A58-C665-277A-58CD62D4639D}"/>
                </a:ext>
              </a:extLst>
            </p:cNvPr>
            <p:cNvSpPr/>
            <p:nvPr/>
          </p:nvSpPr>
          <p:spPr>
            <a:xfrm>
              <a:off x="1558716" y="3017402"/>
              <a:ext cx="652388" cy="652387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35" name="Line">
            <a:extLst>
              <a:ext uri="{FF2B5EF4-FFF2-40B4-BE49-F238E27FC236}">
                <a16:creationId xmlns:a16="http://schemas.microsoft.com/office/drawing/2014/main" id="{E15C138F-E6AA-66A7-DEF0-AB0C02EEC4A7}"/>
              </a:ext>
            </a:extLst>
          </p:cNvPr>
          <p:cNvSpPr/>
          <p:nvPr/>
        </p:nvSpPr>
        <p:spPr>
          <a:xfrm>
            <a:off x="4565391" y="2311121"/>
            <a:ext cx="0" cy="1003605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6" name="稿定-9">
            <a:extLst>
              <a:ext uri="{FF2B5EF4-FFF2-40B4-BE49-F238E27FC236}">
                <a16:creationId xmlns:a16="http://schemas.microsoft.com/office/drawing/2014/main" id="{C9FFE466-55D6-D16E-CDE9-02A9787650F9}"/>
              </a:ext>
            </a:extLst>
          </p:cNvPr>
          <p:cNvSpPr/>
          <p:nvPr/>
        </p:nvSpPr>
        <p:spPr>
          <a:xfrm flipH="1">
            <a:off x="4565390" y="220557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7" name="稿定-31">
            <a:extLst>
              <a:ext uri="{FF2B5EF4-FFF2-40B4-BE49-F238E27FC236}">
                <a16:creationId xmlns:a16="http://schemas.microsoft.com/office/drawing/2014/main" id="{0E27388C-3538-57BB-587D-718A90EFA61B}"/>
              </a:ext>
            </a:extLst>
          </p:cNvPr>
          <p:cNvSpPr/>
          <p:nvPr/>
        </p:nvSpPr>
        <p:spPr>
          <a:xfrm flipH="1">
            <a:off x="4642016" y="247131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2109AD57-181F-DE65-3530-C76DC5A6200C}"/>
              </a:ext>
            </a:extLst>
          </p:cNvPr>
          <p:cNvGrpSpPr/>
          <p:nvPr/>
        </p:nvGrpSpPr>
        <p:grpSpPr>
          <a:xfrm>
            <a:off x="4206784" y="2995982"/>
            <a:ext cx="692728" cy="692728"/>
            <a:chOff x="1475328" y="2934014"/>
            <a:chExt cx="819164" cy="819164"/>
          </a:xfrm>
        </p:grpSpPr>
        <p:sp>
          <p:nvSpPr>
            <p:cNvPr id="39" name="gaoding-5-1">
              <a:extLst>
                <a:ext uri="{FF2B5EF4-FFF2-40B4-BE49-F238E27FC236}">
                  <a16:creationId xmlns:a16="http://schemas.microsoft.com/office/drawing/2014/main" id="{F3CC797D-C2FD-C2F7-3DE0-0A424E74869A}"/>
                </a:ext>
              </a:extLst>
            </p:cNvPr>
            <p:cNvSpPr/>
            <p:nvPr/>
          </p:nvSpPr>
          <p:spPr>
            <a:xfrm>
              <a:off x="1475328" y="2934014"/>
              <a:ext cx="819164" cy="819164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accent1">
                <a:alpha val="8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0" name="gaoding-5-7">
              <a:extLst>
                <a:ext uri="{FF2B5EF4-FFF2-40B4-BE49-F238E27FC236}">
                  <a16:creationId xmlns:a16="http://schemas.microsoft.com/office/drawing/2014/main" id="{25B6AD2D-7E99-9738-942E-5B3C05B06995}"/>
                </a:ext>
              </a:extLst>
            </p:cNvPr>
            <p:cNvSpPr/>
            <p:nvPr/>
          </p:nvSpPr>
          <p:spPr>
            <a:xfrm>
              <a:off x="1558716" y="3017402"/>
              <a:ext cx="652388" cy="652387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1" name="Line">
            <a:extLst>
              <a:ext uri="{FF2B5EF4-FFF2-40B4-BE49-F238E27FC236}">
                <a16:creationId xmlns:a16="http://schemas.microsoft.com/office/drawing/2014/main" id="{C7BBAC58-A3E4-180E-74A9-BE21D6CEA8DE}"/>
              </a:ext>
            </a:extLst>
          </p:cNvPr>
          <p:cNvSpPr/>
          <p:nvPr/>
        </p:nvSpPr>
        <p:spPr>
          <a:xfrm>
            <a:off x="6941800" y="2311121"/>
            <a:ext cx="0" cy="1003605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2" name="稿定-9">
            <a:extLst>
              <a:ext uri="{FF2B5EF4-FFF2-40B4-BE49-F238E27FC236}">
                <a16:creationId xmlns:a16="http://schemas.microsoft.com/office/drawing/2014/main" id="{19282045-9FF6-CAAB-DAEE-6B71D2CD3780}"/>
              </a:ext>
            </a:extLst>
          </p:cNvPr>
          <p:cNvSpPr/>
          <p:nvPr/>
        </p:nvSpPr>
        <p:spPr>
          <a:xfrm flipH="1">
            <a:off x="6941799" y="220557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3" name="稿定-31">
            <a:extLst>
              <a:ext uri="{FF2B5EF4-FFF2-40B4-BE49-F238E27FC236}">
                <a16:creationId xmlns:a16="http://schemas.microsoft.com/office/drawing/2014/main" id="{68E1A02A-0FD2-7DCD-251B-D8FBE17FFA58}"/>
              </a:ext>
            </a:extLst>
          </p:cNvPr>
          <p:cNvSpPr/>
          <p:nvPr/>
        </p:nvSpPr>
        <p:spPr>
          <a:xfrm flipH="1">
            <a:off x="7018425" y="247131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49088C04-0314-73EC-126A-E2B44E6D52ED}"/>
              </a:ext>
            </a:extLst>
          </p:cNvPr>
          <p:cNvGrpSpPr/>
          <p:nvPr/>
        </p:nvGrpSpPr>
        <p:grpSpPr>
          <a:xfrm>
            <a:off x="6591875" y="2995982"/>
            <a:ext cx="692728" cy="692728"/>
            <a:chOff x="1475328" y="2934014"/>
            <a:chExt cx="819164" cy="819164"/>
          </a:xfrm>
        </p:grpSpPr>
        <p:sp>
          <p:nvSpPr>
            <p:cNvPr id="45" name="gaoding-5-1">
              <a:extLst>
                <a:ext uri="{FF2B5EF4-FFF2-40B4-BE49-F238E27FC236}">
                  <a16:creationId xmlns:a16="http://schemas.microsoft.com/office/drawing/2014/main" id="{71669576-470D-2DB7-0DAF-65D4FDFD5329}"/>
                </a:ext>
              </a:extLst>
            </p:cNvPr>
            <p:cNvSpPr/>
            <p:nvPr/>
          </p:nvSpPr>
          <p:spPr>
            <a:xfrm>
              <a:off x="1475328" y="2934014"/>
              <a:ext cx="819164" cy="819164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accent1">
                <a:alpha val="8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46" name="gaoding-5-7">
              <a:extLst>
                <a:ext uri="{FF2B5EF4-FFF2-40B4-BE49-F238E27FC236}">
                  <a16:creationId xmlns:a16="http://schemas.microsoft.com/office/drawing/2014/main" id="{210C8BF6-A47F-E857-3EB5-6A9E1636E0C4}"/>
                </a:ext>
              </a:extLst>
            </p:cNvPr>
            <p:cNvSpPr/>
            <p:nvPr/>
          </p:nvSpPr>
          <p:spPr>
            <a:xfrm>
              <a:off x="1558716" y="3017402"/>
              <a:ext cx="652388" cy="652387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7" name="Line">
            <a:extLst>
              <a:ext uri="{FF2B5EF4-FFF2-40B4-BE49-F238E27FC236}">
                <a16:creationId xmlns:a16="http://schemas.microsoft.com/office/drawing/2014/main" id="{2C6148A0-B235-58AC-E164-A7B2FB39220C}"/>
              </a:ext>
            </a:extLst>
          </p:cNvPr>
          <p:cNvSpPr/>
          <p:nvPr/>
        </p:nvSpPr>
        <p:spPr>
          <a:xfrm>
            <a:off x="9323331" y="2311121"/>
            <a:ext cx="0" cy="1003605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8" name="稿定-9">
            <a:extLst>
              <a:ext uri="{FF2B5EF4-FFF2-40B4-BE49-F238E27FC236}">
                <a16:creationId xmlns:a16="http://schemas.microsoft.com/office/drawing/2014/main" id="{13D7356F-B950-91A7-BAAE-32C9E58E69B1}"/>
              </a:ext>
            </a:extLst>
          </p:cNvPr>
          <p:cNvSpPr/>
          <p:nvPr/>
        </p:nvSpPr>
        <p:spPr>
          <a:xfrm flipH="1">
            <a:off x="9323330" y="220557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9" name="稿定-31">
            <a:extLst>
              <a:ext uri="{FF2B5EF4-FFF2-40B4-BE49-F238E27FC236}">
                <a16:creationId xmlns:a16="http://schemas.microsoft.com/office/drawing/2014/main" id="{4F356344-A2BC-FC75-9873-D8C1B51629A3}"/>
              </a:ext>
            </a:extLst>
          </p:cNvPr>
          <p:cNvSpPr/>
          <p:nvPr/>
        </p:nvSpPr>
        <p:spPr>
          <a:xfrm flipH="1">
            <a:off x="9399956" y="247131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8867A06F-130A-8DAA-8AAA-6C1A1DB915E3}"/>
              </a:ext>
            </a:extLst>
          </p:cNvPr>
          <p:cNvGrpSpPr/>
          <p:nvPr/>
        </p:nvGrpSpPr>
        <p:grpSpPr>
          <a:xfrm>
            <a:off x="8976966" y="2995982"/>
            <a:ext cx="692728" cy="692728"/>
            <a:chOff x="1475328" y="2934014"/>
            <a:chExt cx="819164" cy="819164"/>
          </a:xfrm>
        </p:grpSpPr>
        <p:sp>
          <p:nvSpPr>
            <p:cNvPr id="51" name="gaoding-5-1">
              <a:extLst>
                <a:ext uri="{FF2B5EF4-FFF2-40B4-BE49-F238E27FC236}">
                  <a16:creationId xmlns:a16="http://schemas.microsoft.com/office/drawing/2014/main" id="{6345B1AE-5E87-FDB1-99CB-DD42D1F6D955}"/>
                </a:ext>
              </a:extLst>
            </p:cNvPr>
            <p:cNvSpPr/>
            <p:nvPr/>
          </p:nvSpPr>
          <p:spPr>
            <a:xfrm>
              <a:off x="1475328" y="2934014"/>
              <a:ext cx="819164" cy="819164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accent1">
                <a:alpha val="8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2" name="gaoding-5-7">
              <a:extLst>
                <a:ext uri="{FF2B5EF4-FFF2-40B4-BE49-F238E27FC236}">
                  <a16:creationId xmlns:a16="http://schemas.microsoft.com/office/drawing/2014/main" id="{37ED61DB-15AC-531A-B858-16B441D37110}"/>
                </a:ext>
              </a:extLst>
            </p:cNvPr>
            <p:cNvSpPr/>
            <p:nvPr/>
          </p:nvSpPr>
          <p:spPr>
            <a:xfrm>
              <a:off x="1558716" y="3017402"/>
              <a:ext cx="652388" cy="652387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5806EB7F-9C4B-9181-CB55-F03B812D5FCE}"/>
              </a:ext>
            </a:extLst>
          </p:cNvPr>
          <p:cNvGrpSpPr/>
          <p:nvPr/>
        </p:nvGrpSpPr>
        <p:grpSpPr>
          <a:xfrm>
            <a:off x="4206784" y="4306763"/>
            <a:ext cx="692728" cy="692728"/>
            <a:chOff x="1475328" y="2934014"/>
            <a:chExt cx="819164" cy="819164"/>
          </a:xfrm>
        </p:grpSpPr>
        <p:sp>
          <p:nvSpPr>
            <p:cNvPr id="57" name="gaoding-5-1">
              <a:extLst>
                <a:ext uri="{FF2B5EF4-FFF2-40B4-BE49-F238E27FC236}">
                  <a16:creationId xmlns:a16="http://schemas.microsoft.com/office/drawing/2014/main" id="{3168DCC6-4693-B9C0-B2BF-51F3AF6B7363}"/>
                </a:ext>
              </a:extLst>
            </p:cNvPr>
            <p:cNvSpPr/>
            <p:nvPr/>
          </p:nvSpPr>
          <p:spPr>
            <a:xfrm>
              <a:off x="1475328" y="2934014"/>
              <a:ext cx="819164" cy="819164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accent1">
                <a:alpha val="8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58" name="gaoding-5-7">
              <a:extLst>
                <a:ext uri="{FF2B5EF4-FFF2-40B4-BE49-F238E27FC236}">
                  <a16:creationId xmlns:a16="http://schemas.microsoft.com/office/drawing/2014/main" id="{4066D8CB-5D74-9A57-3110-2F86556C90D1}"/>
                </a:ext>
              </a:extLst>
            </p:cNvPr>
            <p:cNvSpPr/>
            <p:nvPr/>
          </p:nvSpPr>
          <p:spPr>
            <a:xfrm>
              <a:off x="1558716" y="3017402"/>
              <a:ext cx="652388" cy="652387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6F7C7911-60BE-DF2B-C5F4-6A1F1920445F}"/>
              </a:ext>
            </a:extLst>
          </p:cNvPr>
          <p:cNvGrpSpPr/>
          <p:nvPr/>
        </p:nvGrpSpPr>
        <p:grpSpPr>
          <a:xfrm>
            <a:off x="6591875" y="4306763"/>
            <a:ext cx="692728" cy="692728"/>
            <a:chOff x="1475328" y="2934014"/>
            <a:chExt cx="819164" cy="819164"/>
          </a:xfrm>
        </p:grpSpPr>
        <p:sp>
          <p:nvSpPr>
            <p:cNvPr id="60" name="gaoding-5-1">
              <a:extLst>
                <a:ext uri="{FF2B5EF4-FFF2-40B4-BE49-F238E27FC236}">
                  <a16:creationId xmlns:a16="http://schemas.microsoft.com/office/drawing/2014/main" id="{421ECD5E-DDA4-E5F2-034E-9D31C98EC41E}"/>
                </a:ext>
              </a:extLst>
            </p:cNvPr>
            <p:cNvSpPr/>
            <p:nvPr/>
          </p:nvSpPr>
          <p:spPr>
            <a:xfrm>
              <a:off x="1475328" y="2934014"/>
              <a:ext cx="819164" cy="819164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accent1">
                <a:alpha val="8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1" name="gaoding-5-7">
              <a:extLst>
                <a:ext uri="{FF2B5EF4-FFF2-40B4-BE49-F238E27FC236}">
                  <a16:creationId xmlns:a16="http://schemas.microsoft.com/office/drawing/2014/main" id="{39F44604-4D5B-D06F-50C4-4597E65CAC7D}"/>
                </a:ext>
              </a:extLst>
            </p:cNvPr>
            <p:cNvSpPr/>
            <p:nvPr/>
          </p:nvSpPr>
          <p:spPr>
            <a:xfrm>
              <a:off x="1558716" y="3017402"/>
              <a:ext cx="652388" cy="652387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F4B6E8D8-F732-B844-2FAF-E034978C66BB}"/>
              </a:ext>
            </a:extLst>
          </p:cNvPr>
          <p:cNvGrpSpPr/>
          <p:nvPr/>
        </p:nvGrpSpPr>
        <p:grpSpPr>
          <a:xfrm>
            <a:off x="8976966" y="4306763"/>
            <a:ext cx="692728" cy="692728"/>
            <a:chOff x="1475328" y="2934014"/>
            <a:chExt cx="819164" cy="819164"/>
          </a:xfrm>
        </p:grpSpPr>
        <p:sp>
          <p:nvSpPr>
            <p:cNvPr id="63" name="gaoding-5-1">
              <a:extLst>
                <a:ext uri="{FF2B5EF4-FFF2-40B4-BE49-F238E27FC236}">
                  <a16:creationId xmlns:a16="http://schemas.microsoft.com/office/drawing/2014/main" id="{0A80F647-71BB-B7AD-AA9A-17F2023BF6FC}"/>
                </a:ext>
              </a:extLst>
            </p:cNvPr>
            <p:cNvSpPr/>
            <p:nvPr/>
          </p:nvSpPr>
          <p:spPr>
            <a:xfrm>
              <a:off x="1475328" y="2934014"/>
              <a:ext cx="819164" cy="819164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accent1">
                <a:alpha val="8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4" name="gaoding-5-7">
              <a:extLst>
                <a:ext uri="{FF2B5EF4-FFF2-40B4-BE49-F238E27FC236}">
                  <a16:creationId xmlns:a16="http://schemas.microsoft.com/office/drawing/2014/main" id="{2CE5ED65-AED4-4FD8-E7BF-49EC1F10C683}"/>
                </a:ext>
              </a:extLst>
            </p:cNvPr>
            <p:cNvSpPr/>
            <p:nvPr/>
          </p:nvSpPr>
          <p:spPr>
            <a:xfrm>
              <a:off x="1558716" y="3017402"/>
              <a:ext cx="652388" cy="652387"/>
            </a:xfrm>
            <a:custGeom>
              <a:avLst/>
              <a:gdLst>
                <a:gd name="connsiteX0" fmla="*/ 723900 w 723900"/>
                <a:gd name="connsiteY0" fmla="*/ 361950 h 723900"/>
                <a:gd name="connsiteX1" fmla="*/ 361950 w 723900"/>
                <a:gd name="connsiteY1" fmla="*/ 723900 h 723900"/>
                <a:gd name="connsiteX2" fmla="*/ 0 w 723900"/>
                <a:gd name="connsiteY2" fmla="*/ 361950 h 723900"/>
                <a:gd name="connsiteX3" fmla="*/ 361950 w 723900"/>
                <a:gd name="connsiteY3" fmla="*/ 0 h 723900"/>
                <a:gd name="connsiteX4" fmla="*/ 723900 w 723900"/>
                <a:gd name="connsiteY4" fmla="*/ 36195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0" h="723900">
                  <a:moveTo>
                    <a:pt x="723900" y="361950"/>
                  </a:moveTo>
                  <a:cubicBezTo>
                    <a:pt x="723900" y="561849"/>
                    <a:pt x="561849" y="723900"/>
                    <a:pt x="361950" y="723900"/>
                  </a:cubicBezTo>
                  <a:cubicBezTo>
                    <a:pt x="162051" y="723900"/>
                    <a:pt x="0" y="561849"/>
                    <a:pt x="0" y="361950"/>
                  </a:cubicBezTo>
                  <a:cubicBezTo>
                    <a:pt x="0" y="162051"/>
                    <a:pt x="162051" y="0"/>
                    <a:pt x="361950" y="0"/>
                  </a:cubicBezTo>
                  <a:cubicBezTo>
                    <a:pt x="561849" y="0"/>
                    <a:pt x="723900" y="162051"/>
                    <a:pt x="723900" y="36195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tx1">
                  <a:lumMod val="95000"/>
                  <a:lumOff val="5000"/>
                </a:schemeClr>
              </a:solidFill>
              <a:prstDash val="sysDash"/>
            </a:ln>
            <a:effectLst>
              <a:outerShdw blurRad="381000" sx="103000" sy="103000" algn="ctr" rotWithShape="0">
                <a:srgbClr val="7A98F8"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00">
                <a:gradFill flip="none" rotWithShape="1">
                  <a:gsLst>
                    <a:gs pos="0">
                      <a:srgbClr val="2254F4"/>
                    </a:gs>
                    <a:gs pos="100000">
                      <a:srgbClr val="2254F4">
                        <a:lumMod val="60000"/>
                        <a:lumOff val="40000"/>
                      </a:srgbClr>
                    </a:gs>
                  </a:gsLst>
                  <a:lin ang="16200000" scaled="1"/>
                  <a:tileRect/>
                </a:gradFill>
                <a:latin typeface="阿里巴巴普惠体 Heavy" panose="00020600040101010101" pitchFamily="18" charset="-122"/>
                <a:ea typeface="阿里巴巴普惠体 Heavy" panose="00020600040101010101" pitchFamily="18" charset="-122"/>
                <a:cs typeface="阿里巴巴普惠体 Heavy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66" name="稿定-9">
            <a:extLst>
              <a:ext uri="{FF2B5EF4-FFF2-40B4-BE49-F238E27FC236}">
                <a16:creationId xmlns:a16="http://schemas.microsoft.com/office/drawing/2014/main" id="{61A15A91-8C25-31B1-2949-20EBE1EE322B}"/>
              </a:ext>
            </a:extLst>
          </p:cNvPr>
          <p:cNvSpPr/>
          <p:nvPr/>
        </p:nvSpPr>
        <p:spPr>
          <a:xfrm flipH="1">
            <a:off x="4565390" y="517535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7" name="稿定-31">
            <a:extLst>
              <a:ext uri="{FF2B5EF4-FFF2-40B4-BE49-F238E27FC236}">
                <a16:creationId xmlns:a16="http://schemas.microsoft.com/office/drawing/2014/main" id="{A6A868E3-E095-5602-FBB0-862E1A870FA8}"/>
              </a:ext>
            </a:extLst>
          </p:cNvPr>
          <p:cNvSpPr/>
          <p:nvPr/>
        </p:nvSpPr>
        <p:spPr>
          <a:xfrm flipH="1">
            <a:off x="4642016" y="5441085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4" name="gaoding-18">
            <a:extLst>
              <a:ext uri="{FF2B5EF4-FFF2-40B4-BE49-F238E27FC236}">
                <a16:creationId xmlns:a16="http://schemas.microsoft.com/office/drawing/2014/main" id="{EA68874B-A700-87F6-90C5-D94196EBF808}"/>
              </a:ext>
            </a:extLst>
          </p:cNvPr>
          <p:cNvSpPr txBox="1"/>
          <p:nvPr/>
        </p:nvSpPr>
        <p:spPr>
          <a:xfrm>
            <a:off x="2030999" y="3211486"/>
            <a:ext cx="2741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1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5" name="gaoding-18">
            <a:extLst>
              <a:ext uri="{FF2B5EF4-FFF2-40B4-BE49-F238E27FC236}">
                <a16:creationId xmlns:a16="http://schemas.microsoft.com/office/drawing/2014/main" id="{592D9081-DE8B-2DC7-1DF9-9321AE7B7066}"/>
              </a:ext>
            </a:extLst>
          </p:cNvPr>
          <p:cNvSpPr txBox="1"/>
          <p:nvPr/>
        </p:nvSpPr>
        <p:spPr>
          <a:xfrm>
            <a:off x="4396052" y="3211486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2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6" name="gaoding-18">
            <a:extLst>
              <a:ext uri="{FF2B5EF4-FFF2-40B4-BE49-F238E27FC236}">
                <a16:creationId xmlns:a16="http://schemas.microsoft.com/office/drawing/2014/main" id="{BEF9A6A8-D12E-8710-302F-11239BF5A347}"/>
              </a:ext>
            </a:extLst>
          </p:cNvPr>
          <p:cNvSpPr txBox="1"/>
          <p:nvPr/>
        </p:nvSpPr>
        <p:spPr>
          <a:xfrm>
            <a:off x="6772294" y="3211486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3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7" name="gaoding-18">
            <a:extLst>
              <a:ext uri="{FF2B5EF4-FFF2-40B4-BE49-F238E27FC236}">
                <a16:creationId xmlns:a16="http://schemas.microsoft.com/office/drawing/2014/main" id="{507701DC-DBE4-4B2B-CC75-771EC9BCF1B3}"/>
              </a:ext>
            </a:extLst>
          </p:cNvPr>
          <p:cNvSpPr txBox="1"/>
          <p:nvPr/>
        </p:nvSpPr>
        <p:spPr>
          <a:xfrm>
            <a:off x="9169796" y="3211486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4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8" name="gaoding-18">
            <a:extLst>
              <a:ext uri="{FF2B5EF4-FFF2-40B4-BE49-F238E27FC236}">
                <a16:creationId xmlns:a16="http://schemas.microsoft.com/office/drawing/2014/main" id="{43021CCC-3332-F549-72C6-11CB0E1BF33E}"/>
              </a:ext>
            </a:extLst>
          </p:cNvPr>
          <p:cNvSpPr txBox="1"/>
          <p:nvPr/>
        </p:nvSpPr>
        <p:spPr>
          <a:xfrm>
            <a:off x="4396052" y="4530637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7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9" name="gaoding-18">
            <a:extLst>
              <a:ext uri="{FF2B5EF4-FFF2-40B4-BE49-F238E27FC236}">
                <a16:creationId xmlns:a16="http://schemas.microsoft.com/office/drawing/2014/main" id="{203A5A2B-F197-455D-0776-7364C7ABDB58}"/>
              </a:ext>
            </a:extLst>
          </p:cNvPr>
          <p:cNvSpPr txBox="1"/>
          <p:nvPr/>
        </p:nvSpPr>
        <p:spPr>
          <a:xfrm>
            <a:off x="6772294" y="4530637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6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0" name="gaoding-18">
            <a:extLst>
              <a:ext uri="{FF2B5EF4-FFF2-40B4-BE49-F238E27FC236}">
                <a16:creationId xmlns:a16="http://schemas.microsoft.com/office/drawing/2014/main" id="{3DF333D2-FE36-F3F3-6E92-ED1F8E218732}"/>
              </a:ext>
            </a:extLst>
          </p:cNvPr>
          <p:cNvSpPr txBox="1"/>
          <p:nvPr/>
        </p:nvSpPr>
        <p:spPr>
          <a:xfrm>
            <a:off x="9169796" y="4530637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5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88435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Line">
            <a:extLst>
              <a:ext uri="{FF2B5EF4-FFF2-40B4-BE49-F238E27FC236}">
                <a16:creationId xmlns:a16="http://schemas.microsoft.com/office/drawing/2014/main" id="{C30A1EE0-8A8E-FF98-5F7A-5C9F32D526B6}"/>
              </a:ext>
            </a:extLst>
          </p:cNvPr>
          <p:cNvSpPr/>
          <p:nvPr/>
        </p:nvSpPr>
        <p:spPr>
          <a:xfrm>
            <a:off x="1075238" y="3264203"/>
            <a:ext cx="0" cy="2178106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18" name="稿定-9">
            <a:extLst>
              <a:ext uri="{FF2B5EF4-FFF2-40B4-BE49-F238E27FC236}">
                <a16:creationId xmlns:a16="http://schemas.microsoft.com/office/drawing/2014/main" id="{1E3EF249-54F8-B331-4F0D-D70FE95C9791}"/>
              </a:ext>
            </a:extLst>
          </p:cNvPr>
          <p:cNvSpPr/>
          <p:nvPr/>
        </p:nvSpPr>
        <p:spPr>
          <a:xfrm flipH="1">
            <a:off x="1075237" y="315866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9" name="稿定-31">
            <a:extLst>
              <a:ext uri="{FF2B5EF4-FFF2-40B4-BE49-F238E27FC236}">
                <a16:creationId xmlns:a16="http://schemas.microsoft.com/office/drawing/2014/main" id="{920A6DE4-4C6F-0305-913B-14FA146A4D22}"/>
              </a:ext>
            </a:extLst>
          </p:cNvPr>
          <p:cNvSpPr/>
          <p:nvPr/>
        </p:nvSpPr>
        <p:spPr>
          <a:xfrm flipH="1">
            <a:off x="1151863" y="3424395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903985E9-1178-DA9C-A2CD-AD26DF8D9250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1E65AB6-AD1B-59CD-6D86-3C4B5CDDE615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04629A2E-A3B2-A6FD-D5F7-BC951FD92746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5">
            <a:extLst>
              <a:ext uri="{FF2B5EF4-FFF2-40B4-BE49-F238E27FC236}">
                <a16:creationId xmlns:a16="http://schemas.microsoft.com/office/drawing/2014/main" id="{6815CFFE-BCF7-24C4-C98E-87B5097E87DC}"/>
              </a:ext>
            </a:extLst>
          </p:cNvPr>
          <p:cNvSpPr/>
          <p:nvPr/>
        </p:nvSpPr>
        <p:spPr>
          <a:xfrm>
            <a:off x="-12067" y="3885263"/>
            <a:ext cx="12236962" cy="1864672"/>
          </a:xfrm>
          <a:custGeom>
            <a:avLst/>
            <a:gdLst>
              <a:gd name="connsiteX0" fmla="*/ 10363878 w 13269304"/>
              <a:gd name="connsiteY0" fmla="*/ 104 h 3930087"/>
              <a:gd name="connsiteX1" fmla="*/ 12782300 w 13269304"/>
              <a:gd name="connsiteY1" fmla="*/ 1338550 h 3930087"/>
              <a:gd name="connsiteX2" fmla="*/ 13192203 w 13269304"/>
              <a:gd name="connsiteY2" fmla="*/ 1306803 h 3930087"/>
              <a:gd name="connsiteX3" fmla="*/ 13269304 w 13269304"/>
              <a:gd name="connsiteY3" fmla="*/ 1282683 h 3930087"/>
              <a:gd name="connsiteX4" fmla="*/ 13269304 w 13269304"/>
              <a:gd name="connsiteY4" fmla="*/ 3930087 h 3930087"/>
              <a:gd name="connsiteX5" fmla="*/ 0 w 13269304"/>
              <a:gd name="connsiteY5" fmla="*/ 3930087 h 3930087"/>
              <a:gd name="connsiteX6" fmla="*/ 0 w 13269304"/>
              <a:gd name="connsiteY6" fmla="*/ 1743114 h 3930087"/>
              <a:gd name="connsiteX7" fmla="*/ 235991 w 13269304"/>
              <a:gd name="connsiteY7" fmla="*/ 1783857 h 3930087"/>
              <a:gd name="connsiteX8" fmla="*/ 1031297 w 13269304"/>
              <a:gd name="connsiteY8" fmla="*/ 1819278 h 3930087"/>
              <a:gd name="connsiteX9" fmla="*/ 2928580 w 13269304"/>
              <a:gd name="connsiteY9" fmla="*/ 1101728 h 3930087"/>
              <a:gd name="connsiteX10" fmla="*/ 4774814 w 13269304"/>
              <a:gd name="connsiteY10" fmla="*/ 1730378 h 3930087"/>
              <a:gd name="connsiteX11" fmla="*/ 6609447 w 13269304"/>
              <a:gd name="connsiteY11" fmla="*/ 391130 h 3930087"/>
              <a:gd name="connsiteX12" fmla="*/ 8450268 w 13269304"/>
              <a:gd name="connsiteY12" fmla="*/ 1260478 h 3930087"/>
              <a:gd name="connsiteX13" fmla="*/ 10363878 w 13269304"/>
              <a:gd name="connsiteY13" fmla="*/ 104 h 3930087"/>
              <a:gd name="connsiteX0" fmla="*/ 13269304 w 13360744"/>
              <a:gd name="connsiteY0" fmla="*/ 3930087 h 4021527"/>
              <a:gd name="connsiteX1" fmla="*/ 0 w 13360744"/>
              <a:gd name="connsiteY1" fmla="*/ 3930087 h 4021527"/>
              <a:gd name="connsiteX2" fmla="*/ 0 w 13360744"/>
              <a:gd name="connsiteY2" fmla="*/ 1743114 h 4021527"/>
              <a:gd name="connsiteX3" fmla="*/ 235991 w 13360744"/>
              <a:gd name="connsiteY3" fmla="*/ 1783857 h 4021527"/>
              <a:gd name="connsiteX4" fmla="*/ 1031297 w 13360744"/>
              <a:gd name="connsiteY4" fmla="*/ 1819278 h 4021527"/>
              <a:gd name="connsiteX5" fmla="*/ 2928580 w 13360744"/>
              <a:gd name="connsiteY5" fmla="*/ 1101728 h 4021527"/>
              <a:gd name="connsiteX6" fmla="*/ 4774814 w 13360744"/>
              <a:gd name="connsiteY6" fmla="*/ 1730378 h 4021527"/>
              <a:gd name="connsiteX7" fmla="*/ 6609447 w 13360744"/>
              <a:gd name="connsiteY7" fmla="*/ 391130 h 4021527"/>
              <a:gd name="connsiteX8" fmla="*/ 8450268 w 13360744"/>
              <a:gd name="connsiteY8" fmla="*/ 1260478 h 4021527"/>
              <a:gd name="connsiteX9" fmla="*/ 10363878 w 13360744"/>
              <a:gd name="connsiteY9" fmla="*/ 104 h 4021527"/>
              <a:gd name="connsiteX10" fmla="*/ 12782300 w 13360744"/>
              <a:gd name="connsiteY10" fmla="*/ 1338550 h 4021527"/>
              <a:gd name="connsiteX11" fmla="*/ 13192203 w 13360744"/>
              <a:gd name="connsiteY11" fmla="*/ 1306803 h 4021527"/>
              <a:gd name="connsiteX12" fmla="*/ 13269304 w 13360744"/>
              <a:gd name="connsiteY12" fmla="*/ 1282683 h 4021527"/>
              <a:gd name="connsiteX13" fmla="*/ 13360744 w 13360744"/>
              <a:gd name="connsiteY13" fmla="*/ 4021527 h 4021527"/>
              <a:gd name="connsiteX0" fmla="*/ 13269304 w 13269304"/>
              <a:gd name="connsiteY0" fmla="*/ 3930087 h 3930087"/>
              <a:gd name="connsiteX1" fmla="*/ 0 w 13269304"/>
              <a:gd name="connsiteY1" fmla="*/ 3930087 h 3930087"/>
              <a:gd name="connsiteX2" fmla="*/ 0 w 13269304"/>
              <a:gd name="connsiteY2" fmla="*/ 1743114 h 3930087"/>
              <a:gd name="connsiteX3" fmla="*/ 235991 w 13269304"/>
              <a:gd name="connsiteY3" fmla="*/ 1783857 h 3930087"/>
              <a:gd name="connsiteX4" fmla="*/ 1031297 w 13269304"/>
              <a:gd name="connsiteY4" fmla="*/ 1819278 h 3930087"/>
              <a:gd name="connsiteX5" fmla="*/ 2928580 w 13269304"/>
              <a:gd name="connsiteY5" fmla="*/ 1101728 h 3930087"/>
              <a:gd name="connsiteX6" fmla="*/ 4774814 w 13269304"/>
              <a:gd name="connsiteY6" fmla="*/ 1730378 h 3930087"/>
              <a:gd name="connsiteX7" fmla="*/ 6609447 w 13269304"/>
              <a:gd name="connsiteY7" fmla="*/ 391130 h 3930087"/>
              <a:gd name="connsiteX8" fmla="*/ 8450268 w 13269304"/>
              <a:gd name="connsiteY8" fmla="*/ 1260478 h 3930087"/>
              <a:gd name="connsiteX9" fmla="*/ 10363878 w 13269304"/>
              <a:gd name="connsiteY9" fmla="*/ 104 h 3930087"/>
              <a:gd name="connsiteX10" fmla="*/ 12782300 w 13269304"/>
              <a:gd name="connsiteY10" fmla="*/ 1338550 h 3930087"/>
              <a:gd name="connsiteX11" fmla="*/ 13192203 w 13269304"/>
              <a:gd name="connsiteY11" fmla="*/ 1306803 h 3930087"/>
              <a:gd name="connsiteX12" fmla="*/ 13269304 w 13269304"/>
              <a:gd name="connsiteY12" fmla="*/ 1282683 h 3930087"/>
              <a:gd name="connsiteX0" fmla="*/ 0 w 13269304"/>
              <a:gd name="connsiteY0" fmla="*/ 3930087 h 3930087"/>
              <a:gd name="connsiteX1" fmla="*/ 0 w 13269304"/>
              <a:gd name="connsiteY1" fmla="*/ 1743114 h 3930087"/>
              <a:gd name="connsiteX2" fmla="*/ 235991 w 13269304"/>
              <a:gd name="connsiteY2" fmla="*/ 1783857 h 3930087"/>
              <a:gd name="connsiteX3" fmla="*/ 1031297 w 13269304"/>
              <a:gd name="connsiteY3" fmla="*/ 1819278 h 3930087"/>
              <a:gd name="connsiteX4" fmla="*/ 2928580 w 13269304"/>
              <a:gd name="connsiteY4" fmla="*/ 1101728 h 3930087"/>
              <a:gd name="connsiteX5" fmla="*/ 4774814 w 13269304"/>
              <a:gd name="connsiteY5" fmla="*/ 1730378 h 3930087"/>
              <a:gd name="connsiteX6" fmla="*/ 6609447 w 13269304"/>
              <a:gd name="connsiteY6" fmla="*/ 391130 h 3930087"/>
              <a:gd name="connsiteX7" fmla="*/ 8450268 w 13269304"/>
              <a:gd name="connsiteY7" fmla="*/ 1260478 h 3930087"/>
              <a:gd name="connsiteX8" fmla="*/ 10363878 w 13269304"/>
              <a:gd name="connsiteY8" fmla="*/ 104 h 3930087"/>
              <a:gd name="connsiteX9" fmla="*/ 12782300 w 13269304"/>
              <a:gd name="connsiteY9" fmla="*/ 1338550 h 3930087"/>
              <a:gd name="connsiteX10" fmla="*/ 13192203 w 13269304"/>
              <a:gd name="connsiteY10" fmla="*/ 1306803 h 3930087"/>
              <a:gd name="connsiteX11" fmla="*/ 13269304 w 13269304"/>
              <a:gd name="connsiteY11" fmla="*/ 1282683 h 3930087"/>
              <a:gd name="connsiteX0" fmla="*/ 0 w 13269304"/>
              <a:gd name="connsiteY0" fmla="*/ 1743114 h 1831747"/>
              <a:gd name="connsiteX1" fmla="*/ 235991 w 13269304"/>
              <a:gd name="connsiteY1" fmla="*/ 1783857 h 1831747"/>
              <a:gd name="connsiteX2" fmla="*/ 1031297 w 13269304"/>
              <a:gd name="connsiteY2" fmla="*/ 1819278 h 1831747"/>
              <a:gd name="connsiteX3" fmla="*/ 2928580 w 13269304"/>
              <a:gd name="connsiteY3" fmla="*/ 1101728 h 1831747"/>
              <a:gd name="connsiteX4" fmla="*/ 4774814 w 13269304"/>
              <a:gd name="connsiteY4" fmla="*/ 1730378 h 1831747"/>
              <a:gd name="connsiteX5" fmla="*/ 6609447 w 13269304"/>
              <a:gd name="connsiteY5" fmla="*/ 391130 h 1831747"/>
              <a:gd name="connsiteX6" fmla="*/ 8450268 w 13269304"/>
              <a:gd name="connsiteY6" fmla="*/ 1260478 h 1831747"/>
              <a:gd name="connsiteX7" fmla="*/ 10363878 w 13269304"/>
              <a:gd name="connsiteY7" fmla="*/ 104 h 1831747"/>
              <a:gd name="connsiteX8" fmla="*/ 12782300 w 13269304"/>
              <a:gd name="connsiteY8" fmla="*/ 1338550 h 1831747"/>
              <a:gd name="connsiteX9" fmla="*/ 13192203 w 13269304"/>
              <a:gd name="connsiteY9" fmla="*/ 1306803 h 1831747"/>
              <a:gd name="connsiteX10" fmla="*/ 13269304 w 13269304"/>
              <a:gd name="connsiteY10" fmla="*/ 1282683 h 1831747"/>
              <a:gd name="connsiteX0" fmla="*/ 0 w 13192203"/>
              <a:gd name="connsiteY0" fmla="*/ 1743114 h 1831747"/>
              <a:gd name="connsiteX1" fmla="*/ 235991 w 13192203"/>
              <a:gd name="connsiteY1" fmla="*/ 1783857 h 1831747"/>
              <a:gd name="connsiteX2" fmla="*/ 1031297 w 13192203"/>
              <a:gd name="connsiteY2" fmla="*/ 1819278 h 1831747"/>
              <a:gd name="connsiteX3" fmla="*/ 2928580 w 13192203"/>
              <a:gd name="connsiteY3" fmla="*/ 1101728 h 1831747"/>
              <a:gd name="connsiteX4" fmla="*/ 4774814 w 13192203"/>
              <a:gd name="connsiteY4" fmla="*/ 1730378 h 1831747"/>
              <a:gd name="connsiteX5" fmla="*/ 6609447 w 13192203"/>
              <a:gd name="connsiteY5" fmla="*/ 391130 h 1831747"/>
              <a:gd name="connsiteX6" fmla="*/ 8450268 w 13192203"/>
              <a:gd name="connsiteY6" fmla="*/ 1260478 h 1831747"/>
              <a:gd name="connsiteX7" fmla="*/ 10363878 w 13192203"/>
              <a:gd name="connsiteY7" fmla="*/ 104 h 1831747"/>
              <a:gd name="connsiteX8" fmla="*/ 12782300 w 13192203"/>
              <a:gd name="connsiteY8" fmla="*/ 1338550 h 1831747"/>
              <a:gd name="connsiteX9" fmla="*/ 13192203 w 13192203"/>
              <a:gd name="connsiteY9" fmla="*/ 1306803 h 1831747"/>
              <a:gd name="connsiteX0" fmla="*/ 0 w 12782300"/>
              <a:gd name="connsiteY0" fmla="*/ 1743114 h 1831747"/>
              <a:gd name="connsiteX1" fmla="*/ 235991 w 12782300"/>
              <a:gd name="connsiteY1" fmla="*/ 1783857 h 1831747"/>
              <a:gd name="connsiteX2" fmla="*/ 1031297 w 12782300"/>
              <a:gd name="connsiteY2" fmla="*/ 1819278 h 1831747"/>
              <a:gd name="connsiteX3" fmla="*/ 2928580 w 12782300"/>
              <a:gd name="connsiteY3" fmla="*/ 1101728 h 1831747"/>
              <a:gd name="connsiteX4" fmla="*/ 4774814 w 12782300"/>
              <a:gd name="connsiteY4" fmla="*/ 1730378 h 1831747"/>
              <a:gd name="connsiteX5" fmla="*/ 6609447 w 12782300"/>
              <a:gd name="connsiteY5" fmla="*/ 391130 h 1831747"/>
              <a:gd name="connsiteX6" fmla="*/ 8450268 w 12782300"/>
              <a:gd name="connsiteY6" fmla="*/ 1260478 h 1831747"/>
              <a:gd name="connsiteX7" fmla="*/ 10363878 w 12782300"/>
              <a:gd name="connsiteY7" fmla="*/ 104 h 1831747"/>
              <a:gd name="connsiteX8" fmla="*/ 12782300 w 12782300"/>
              <a:gd name="connsiteY8" fmla="*/ 1338550 h 1831747"/>
              <a:gd name="connsiteX0" fmla="*/ 0 w 10363878"/>
              <a:gd name="connsiteY0" fmla="*/ 1743114 h 1831747"/>
              <a:gd name="connsiteX1" fmla="*/ 235991 w 10363878"/>
              <a:gd name="connsiteY1" fmla="*/ 1783857 h 1831747"/>
              <a:gd name="connsiteX2" fmla="*/ 1031297 w 10363878"/>
              <a:gd name="connsiteY2" fmla="*/ 1819278 h 1831747"/>
              <a:gd name="connsiteX3" fmla="*/ 2928580 w 10363878"/>
              <a:gd name="connsiteY3" fmla="*/ 1101728 h 1831747"/>
              <a:gd name="connsiteX4" fmla="*/ 4774814 w 10363878"/>
              <a:gd name="connsiteY4" fmla="*/ 1730378 h 1831747"/>
              <a:gd name="connsiteX5" fmla="*/ 6609447 w 10363878"/>
              <a:gd name="connsiteY5" fmla="*/ 391130 h 1831747"/>
              <a:gd name="connsiteX6" fmla="*/ 8450268 w 10363878"/>
              <a:gd name="connsiteY6" fmla="*/ 1260478 h 1831747"/>
              <a:gd name="connsiteX7" fmla="*/ 10363878 w 10363878"/>
              <a:gd name="connsiteY7" fmla="*/ 104 h 1831747"/>
              <a:gd name="connsiteX0" fmla="*/ 0 w 10127887"/>
              <a:gd name="connsiteY0" fmla="*/ 1783857 h 1831747"/>
              <a:gd name="connsiteX1" fmla="*/ 795306 w 10127887"/>
              <a:gd name="connsiteY1" fmla="*/ 1819278 h 1831747"/>
              <a:gd name="connsiteX2" fmla="*/ 2692589 w 10127887"/>
              <a:gd name="connsiteY2" fmla="*/ 1101728 h 1831747"/>
              <a:gd name="connsiteX3" fmla="*/ 4538823 w 10127887"/>
              <a:gd name="connsiteY3" fmla="*/ 1730378 h 1831747"/>
              <a:gd name="connsiteX4" fmla="*/ 6373456 w 10127887"/>
              <a:gd name="connsiteY4" fmla="*/ 391130 h 1831747"/>
              <a:gd name="connsiteX5" fmla="*/ 8214277 w 10127887"/>
              <a:gd name="connsiteY5" fmla="*/ 1260478 h 1831747"/>
              <a:gd name="connsiteX6" fmla="*/ 10127887 w 10127887"/>
              <a:gd name="connsiteY6" fmla="*/ 104 h 1831747"/>
              <a:gd name="connsiteX0" fmla="*/ 0 w 9916804"/>
              <a:gd name="connsiteY0" fmla="*/ 1816130 h 1881624"/>
              <a:gd name="connsiteX1" fmla="*/ 584223 w 9916804"/>
              <a:gd name="connsiteY1" fmla="*/ 1819278 h 1881624"/>
              <a:gd name="connsiteX2" fmla="*/ 2481506 w 9916804"/>
              <a:gd name="connsiteY2" fmla="*/ 1101728 h 1881624"/>
              <a:gd name="connsiteX3" fmla="*/ 4327740 w 9916804"/>
              <a:gd name="connsiteY3" fmla="*/ 1730378 h 1881624"/>
              <a:gd name="connsiteX4" fmla="*/ 6162373 w 9916804"/>
              <a:gd name="connsiteY4" fmla="*/ 391130 h 1881624"/>
              <a:gd name="connsiteX5" fmla="*/ 8003194 w 9916804"/>
              <a:gd name="connsiteY5" fmla="*/ 1260478 h 1881624"/>
              <a:gd name="connsiteX6" fmla="*/ 9916804 w 9916804"/>
              <a:gd name="connsiteY6" fmla="*/ 104 h 1881624"/>
              <a:gd name="connsiteX0" fmla="*/ 0 w 9570628"/>
              <a:gd name="connsiteY0" fmla="*/ 1794618 h 1860112"/>
              <a:gd name="connsiteX1" fmla="*/ 584223 w 9570628"/>
              <a:gd name="connsiteY1" fmla="*/ 1797766 h 1860112"/>
              <a:gd name="connsiteX2" fmla="*/ 2481506 w 9570628"/>
              <a:gd name="connsiteY2" fmla="*/ 1080216 h 1860112"/>
              <a:gd name="connsiteX3" fmla="*/ 4327740 w 9570628"/>
              <a:gd name="connsiteY3" fmla="*/ 1708866 h 1860112"/>
              <a:gd name="connsiteX4" fmla="*/ 6162373 w 9570628"/>
              <a:gd name="connsiteY4" fmla="*/ 369618 h 1860112"/>
              <a:gd name="connsiteX5" fmla="*/ 8003194 w 9570628"/>
              <a:gd name="connsiteY5" fmla="*/ 1238966 h 1860112"/>
              <a:gd name="connsiteX6" fmla="*/ 9570628 w 9570628"/>
              <a:gd name="connsiteY6" fmla="*/ 107 h 1860112"/>
              <a:gd name="connsiteX0" fmla="*/ 0 w 9604402"/>
              <a:gd name="connsiteY0" fmla="*/ 1805375 h 1864672"/>
              <a:gd name="connsiteX1" fmla="*/ 617997 w 9604402"/>
              <a:gd name="connsiteY1" fmla="*/ 1797766 h 1864672"/>
              <a:gd name="connsiteX2" fmla="*/ 2515280 w 9604402"/>
              <a:gd name="connsiteY2" fmla="*/ 1080216 h 1864672"/>
              <a:gd name="connsiteX3" fmla="*/ 4361514 w 9604402"/>
              <a:gd name="connsiteY3" fmla="*/ 1708866 h 1864672"/>
              <a:gd name="connsiteX4" fmla="*/ 6196147 w 9604402"/>
              <a:gd name="connsiteY4" fmla="*/ 369618 h 1864672"/>
              <a:gd name="connsiteX5" fmla="*/ 8036968 w 9604402"/>
              <a:gd name="connsiteY5" fmla="*/ 1238966 h 1864672"/>
              <a:gd name="connsiteX6" fmla="*/ 9604402 w 9604402"/>
              <a:gd name="connsiteY6" fmla="*/ 107 h 1864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04402" h="1864672">
                <a:moveTo>
                  <a:pt x="0" y="1805375"/>
                </a:moveTo>
                <a:cubicBezTo>
                  <a:pt x="275721" y="1846948"/>
                  <a:pt x="198784" y="1918626"/>
                  <a:pt x="617997" y="1797766"/>
                </a:cubicBezTo>
                <a:cubicBezTo>
                  <a:pt x="1037210" y="1676906"/>
                  <a:pt x="1891361" y="1095033"/>
                  <a:pt x="2515280" y="1080216"/>
                </a:cubicBezTo>
                <a:cubicBezTo>
                  <a:pt x="3139200" y="1065399"/>
                  <a:pt x="3748037" y="1827299"/>
                  <a:pt x="4361514" y="1708866"/>
                </a:cubicBezTo>
                <a:cubicBezTo>
                  <a:pt x="4974992" y="1590433"/>
                  <a:pt x="5583571" y="447935"/>
                  <a:pt x="6196147" y="369618"/>
                </a:cubicBezTo>
                <a:cubicBezTo>
                  <a:pt x="6808722" y="291301"/>
                  <a:pt x="7411230" y="1304137"/>
                  <a:pt x="8036968" y="1238966"/>
                </a:cubicBezTo>
                <a:cubicBezTo>
                  <a:pt x="8662706" y="1173795"/>
                  <a:pt x="8882396" y="-12904"/>
                  <a:pt x="9604402" y="107"/>
                </a:cubicBezTo>
              </a:path>
            </a:pathLst>
          </a:custGeom>
          <a:noFill/>
          <a:ln w="190500" cap="rnd">
            <a:solidFill>
              <a:srgbClr val="3361F5"/>
            </a:solidFill>
            <a:round/>
          </a:ln>
          <a:effectLst>
            <a:outerShdw blurRad="381000" sx="103000" sy="103000" algn="ctr" rotWithShape="0">
              <a:srgbClr val="3361F5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rona one"/>
              <a:ea typeface="OPPOSans R"/>
              <a:cs typeface="+mn-cs"/>
            </a:endParaRP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8696278C-A33D-29AA-82CA-AEC14A496D85}"/>
              </a:ext>
            </a:extLst>
          </p:cNvPr>
          <p:cNvGrpSpPr/>
          <p:nvPr/>
        </p:nvGrpSpPr>
        <p:grpSpPr>
          <a:xfrm>
            <a:off x="816947" y="5351643"/>
            <a:ext cx="506243" cy="506243"/>
            <a:chOff x="1053615" y="5394673"/>
            <a:chExt cx="334978" cy="334978"/>
          </a:xfrm>
        </p:grpSpPr>
        <p:sp>
          <p:nvSpPr>
            <p:cNvPr id="6" name="gaoding-7">
              <a:extLst>
                <a:ext uri="{FF2B5EF4-FFF2-40B4-BE49-F238E27FC236}">
                  <a16:creationId xmlns:a16="http://schemas.microsoft.com/office/drawing/2014/main" id="{630058CB-F7E7-1606-2F55-E18AFC1FB804}"/>
                </a:ext>
              </a:extLst>
            </p:cNvPr>
            <p:cNvSpPr/>
            <p:nvPr/>
          </p:nvSpPr>
          <p:spPr>
            <a:xfrm>
              <a:off x="1053615" y="5394673"/>
              <a:ext cx="334978" cy="3349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  <p:sp>
          <p:nvSpPr>
            <p:cNvPr id="7" name="gaoding-8">
              <a:extLst>
                <a:ext uri="{FF2B5EF4-FFF2-40B4-BE49-F238E27FC236}">
                  <a16:creationId xmlns:a16="http://schemas.microsoft.com/office/drawing/2014/main" id="{3711BE19-89F4-D053-9036-C069A95C9EE3}"/>
                </a:ext>
              </a:extLst>
            </p:cNvPr>
            <p:cNvSpPr/>
            <p:nvPr/>
          </p:nvSpPr>
          <p:spPr>
            <a:xfrm>
              <a:off x="1139673" y="5480731"/>
              <a:ext cx="162862" cy="162862"/>
            </a:xfrm>
            <a:prstGeom prst="ellipse">
              <a:avLst/>
            </a:prstGeom>
            <a:solidFill>
              <a:schemeClr val="tx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</p:grpSp>
      <p:sp>
        <p:nvSpPr>
          <p:cNvPr id="20" name="Line">
            <a:extLst>
              <a:ext uri="{FF2B5EF4-FFF2-40B4-BE49-F238E27FC236}">
                <a16:creationId xmlns:a16="http://schemas.microsoft.com/office/drawing/2014/main" id="{96B44138-CA14-94F3-12C8-53171818CD1A}"/>
              </a:ext>
            </a:extLst>
          </p:cNvPr>
          <p:cNvSpPr/>
          <p:nvPr/>
        </p:nvSpPr>
        <p:spPr>
          <a:xfrm>
            <a:off x="3139568" y="2594471"/>
            <a:ext cx="0" cy="2178106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1" name="稿定-9">
            <a:extLst>
              <a:ext uri="{FF2B5EF4-FFF2-40B4-BE49-F238E27FC236}">
                <a16:creationId xmlns:a16="http://schemas.microsoft.com/office/drawing/2014/main" id="{B5D6E7E6-B7E0-12F0-F2CD-ACF735CC80CF}"/>
              </a:ext>
            </a:extLst>
          </p:cNvPr>
          <p:cNvSpPr/>
          <p:nvPr/>
        </p:nvSpPr>
        <p:spPr>
          <a:xfrm flipH="1">
            <a:off x="3139567" y="248892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2" name="稿定-31">
            <a:extLst>
              <a:ext uri="{FF2B5EF4-FFF2-40B4-BE49-F238E27FC236}">
                <a16:creationId xmlns:a16="http://schemas.microsoft.com/office/drawing/2014/main" id="{6035E390-63A0-BB04-AC0E-61D7BD21BEA0}"/>
              </a:ext>
            </a:extLst>
          </p:cNvPr>
          <p:cNvSpPr/>
          <p:nvPr/>
        </p:nvSpPr>
        <p:spPr>
          <a:xfrm flipH="1">
            <a:off x="3216193" y="2754663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239A2D5F-D0D4-7F37-52BA-3768E18DBAA3}"/>
              </a:ext>
            </a:extLst>
          </p:cNvPr>
          <p:cNvGrpSpPr/>
          <p:nvPr/>
        </p:nvGrpSpPr>
        <p:grpSpPr>
          <a:xfrm>
            <a:off x="2881277" y="4681911"/>
            <a:ext cx="506243" cy="506243"/>
            <a:chOff x="1053615" y="5394673"/>
            <a:chExt cx="334978" cy="334978"/>
          </a:xfrm>
        </p:grpSpPr>
        <p:sp>
          <p:nvSpPr>
            <p:cNvPr id="24" name="gaoding-7">
              <a:extLst>
                <a:ext uri="{FF2B5EF4-FFF2-40B4-BE49-F238E27FC236}">
                  <a16:creationId xmlns:a16="http://schemas.microsoft.com/office/drawing/2014/main" id="{56B30FA1-D5F6-08A1-EFEB-40F3A3E73ECB}"/>
                </a:ext>
              </a:extLst>
            </p:cNvPr>
            <p:cNvSpPr/>
            <p:nvPr/>
          </p:nvSpPr>
          <p:spPr>
            <a:xfrm>
              <a:off x="1053615" y="5394673"/>
              <a:ext cx="334978" cy="3349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  <p:sp>
          <p:nvSpPr>
            <p:cNvPr id="25" name="gaoding-8">
              <a:extLst>
                <a:ext uri="{FF2B5EF4-FFF2-40B4-BE49-F238E27FC236}">
                  <a16:creationId xmlns:a16="http://schemas.microsoft.com/office/drawing/2014/main" id="{E05337C7-7FD4-14FE-7B94-C1DB2B6DA3F9}"/>
                </a:ext>
              </a:extLst>
            </p:cNvPr>
            <p:cNvSpPr/>
            <p:nvPr/>
          </p:nvSpPr>
          <p:spPr>
            <a:xfrm>
              <a:off x="1139673" y="5480731"/>
              <a:ext cx="162862" cy="162862"/>
            </a:xfrm>
            <a:prstGeom prst="ellipse">
              <a:avLst/>
            </a:prstGeom>
            <a:solidFill>
              <a:schemeClr val="tx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</p:grpSp>
      <p:sp>
        <p:nvSpPr>
          <p:cNvPr id="26" name="Line">
            <a:extLst>
              <a:ext uri="{FF2B5EF4-FFF2-40B4-BE49-F238E27FC236}">
                <a16:creationId xmlns:a16="http://schemas.microsoft.com/office/drawing/2014/main" id="{51CF568C-C9BA-6117-50AE-BAC5B7A27AD7}"/>
              </a:ext>
            </a:extLst>
          </p:cNvPr>
          <p:cNvSpPr/>
          <p:nvPr/>
        </p:nvSpPr>
        <p:spPr>
          <a:xfrm>
            <a:off x="5388122" y="3264203"/>
            <a:ext cx="0" cy="2178106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7" name="稿定-9">
            <a:extLst>
              <a:ext uri="{FF2B5EF4-FFF2-40B4-BE49-F238E27FC236}">
                <a16:creationId xmlns:a16="http://schemas.microsoft.com/office/drawing/2014/main" id="{996AF2E9-D578-FFDF-62CD-1999AD8CFCAF}"/>
              </a:ext>
            </a:extLst>
          </p:cNvPr>
          <p:cNvSpPr/>
          <p:nvPr/>
        </p:nvSpPr>
        <p:spPr>
          <a:xfrm flipH="1">
            <a:off x="5388121" y="315866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8" name="稿定-31">
            <a:extLst>
              <a:ext uri="{FF2B5EF4-FFF2-40B4-BE49-F238E27FC236}">
                <a16:creationId xmlns:a16="http://schemas.microsoft.com/office/drawing/2014/main" id="{64C40BEC-96C0-923D-521A-28FC481D9D31}"/>
              </a:ext>
            </a:extLst>
          </p:cNvPr>
          <p:cNvSpPr/>
          <p:nvPr/>
        </p:nvSpPr>
        <p:spPr>
          <a:xfrm flipH="1">
            <a:off x="5464747" y="3424395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92CAD3F6-7187-C457-CE15-F030DE2A0DFB}"/>
              </a:ext>
            </a:extLst>
          </p:cNvPr>
          <p:cNvGrpSpPr/>
          <p:nvPr/>
        </p:nvGrpSpPr>
        <p:grpSpPr>
          <a:xfrm>
            <a:off x="5129831" y="5351643"/>
            <a:ext cx="506243" cy="506243"/>
            <a:chOff x="1053615" y="5394673"/>
            <a:chExt cx="334978" cy="334978"/>
          </a:xfrm>
        </p:grpSpPr>
        <p:sp>
          <p:nvSpPr>
            <p:cNvPr id="30" name="gaoding-7">
              <a:extLst>
                <a:ext uri="{FF2B5EF4-FFF2-40B4-BE49-F238E27FC236}">
                  <a16:creationId xmlns:a16="http://schemas.microsoft.com/office/drawing/2014/main" id="{905EF258-5E84-9D4B-10AE-87536C0FD8A4}"/>
                </a:ext>
              </a:extLst>
            </p:cNvPr>
            <p:cNvSpPr/>
            <p:nvPr/>
          </p:nvSpPr>
          <p:spPr>
            <a:xfrm>
              <a:off x="1053615" y="5394673"/>
              <a:ext cx="334978" cy="3349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  <p:sp>
          <p:nvSpPr>
            <p:cNvPr id="31" name="gaoding-8">
              <a:extLst>
                <a:ext uri="{FF2B5EF4-FFF2-40B4-BE49-F238E27FC236}">
                  <a16:creationId xmlns:a16="http://schemas.microsoft.com/office/drawing/2014/main" id="{12C6C0F9-7B22-D99B-2B03-79371F51297F}"/>
                </a:ext>
              </a:extLst>
            </p:cNvPr>
            <p:cNvSpPr/>
            <p:nvPr/>
          </p:nvSpPr>
          <p:spPr>
            <a:xfrm>
              <a:off x="1139673" y="5480731"/>
              <a:ext cx="162862" cy="162862"/>
            </a:xfrm>
            <a:prstGeom prst="ellipse">
              <a:avLst/>
            </a:prstGeom>
            <a:solidFill>
              <a:schemeClr val="tx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</p:grpSp>
      <p:sp>
        <p:nvSpPr>
          <p:cNvPr id="32" name="Line">
            <a:extLst>
              <a:ext uri="{FF2B5EF4-FFF2-40B4-BE49-F238E27FC236}">
                <a16:creationId xmlns:a16="http://schemas.microsoft.com/office/drawing/2014/main" id="{39B6919E-B955-9AE4-75C9-BF2DF387835E}"/>
              </a:ext>
            </a:extLst>
          </p:cNvPr>
          <p:cNvSpPr/>
          <p:nvPr/>
        </p:nvSpPr>
        <p:spPr>
          <a:xfrm>
            <a:off x="7894967" y="1867672"/>
            <a:ext cx="0" cy="2178106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3" name="稿定-9">
            <a:extLst>
              <a:ext uri="{FF2B5EF4-FFF2-40B4-BE49-F238E27FC236}">
                <a16:creationId xmlns:a16="http://schemas.microsoft.com/office/drawing/2014/main" id="{A3948486-4567-1B5B-4CE9-04226E10670F}"/>
              </a:ext>
            </a:extLst>
          </p:cNvPr>
          <p:cNvSpPr/>
          <p:nvPr/>
        </p:nvSpPr>
        <p:spPr>
          <a:xfrm flipH="1">
            <a:off x="7894966" y="176212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4" name="稿定-31">
            <a:extLst>
              <a:ext uri="{FF2B5EF4-FFF2-40B4-BE49-F238E27FC236}">
                <a16:creationId xmlns:a16="http://schemas.microsoft.com/office/drawing/2014/main" id="{65800BBE-27E0-A06E-160C-EAEE4F558A6F}"/>
              </a:ext>
            </a:extLst>
          </p:cNvPr>
          <p:cNvSpPr/>
          <p:nvPr/>
        </p:nvSpPr>
        <p:spPr>
          <a:xfrm flipH="1">
            <a:off x="7971592" y="2027864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23D7EB2D-C4F6-6519-CFFC-8946CB5F95D3}"/>
              </a:ext>
            </a:extLst>
          </p:cNvPr>
          <p:cNvGrpSpPr/>
          <p:nvPr/>
        </p:nvGrpSpPr>
        <p:grpSpPr>
          <a:xfrm>
            <a:off x="7636676" y="3955112"/>
            <a:ext cx="506243" cy="506243"/>
            <a:chOff x="1053615" y="5394673"/>
            <a:chExt cx="334978" cy="334978"/>
          </a:xfrm>
        </p:grpSpPr>
        <p:sp>
          <p:nvSpPr>
            <p:cNvPr id="36" name="gaoding-7">
              <a:extLst>
                <a:ext uri="{FF2B5EF4-FFF2-40B4-BE49-F238E27FC236}">
                  <a16:creationId xmlns:a16="http://schemas.microsoft.com/office/drawing/2014/main" id="{30694929-66E8-126B-7B35-CE19EF852F8F}"/>
                </a:ext>
              </a:extLst>
            </p:cNvPr>
            <p:cNvSpPr/>
            <p:nvPr/>
          </p:nvSpPr>
          <p:spPr>
            <a:xfrm>
              <a:off x="1053615" y="5394673"/>
              <a:ext cx="334978" cy="3349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  <p:sp>
          <p:nvSpPr>
            <p:cNvPr id="37" name="gaoding-8">
              <a:extLst>
                <a:ext uri="{FF2B5EF4-FFF2-40B4-BE49-F238E27FC236}">
                  <a16:creationId xmlns:a16="http://schemas.microsoft.com/office/drawing/2014/main" id="{AA955AB2-4C1D-4F49-6BF6-73EE392238F2}"/>
                </a:ext>
              </a:extLst>
            </p:cNvPr>
            <p:cNvSpPr/>
            <p:nvPr/>
          </p:nvSpPr>
          <p:spPr>
            <a:xfrm>
              <a:off x="1139673" y="5480731"/>
              <a:ext cx="162862" cy="162862"/>
            </a:xfrm>
            <a:prstGeom prst="ellipse">
              <a:avLst/>
            </a:prstGeom>
            <a:solidFill>
              <a:schemeClr val="tx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</p:grpSp>
      <p:sp>
        <p:nvSpPr>
          <p:cNvPr id="38" name="Line">
            <a:extLst>
              <a:ext uri="{FF2B5EF4-FFF2-40B4-BE49-F238E27FC236}">
                <a16:creationId xmlns:a16="http://schemas.microsoft.com/office/drawing/2014/main" id="{4B5FCFE0-324C-312F-A066-66312238761C}"/>
              </a:ext>
            </a:extLst>
          </p:cNvPr>
          <p:cNvSpPr/>
          <p:nvPr/>
        </p:nvSpPr>
        <p:spPr>
          <a:xfrm>
            <a:off x="10148690" y="2757960"/>
            <a:ext cx="0" cy="2178106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9" name="稿定-9">
            <a:extLst>
              <a:ext uri="{FF2B5EF4-FFF2-40B4-BE49-F238E27FC236}">
                <a16:creationId xmlns:a16="http://schemas.microsoft.com/office/drawing/2014/main" id="{E5B83642-227A-5F99-9134-76B5A879CB8D}"/>
              </a:ext>
            </a:extLst>
          </p:cNvPr>
          <p:cNvSpPr/>
          <p:nvPr/>
        </p:nvSpPr>
        <p:spPr>
          <a:xfrm flipH="1">
            <a:off x="10148689" y="265241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0" name="稿定-31">
            <a:extLst>
              <a:ext uri="{FF2B5EF4-FFF2-40B4-BE49-F238E27FC236}">
                <a16:creationId xmlns:a16="http://schemas.microsoft.com/office/drawing/2014/main" id="{0904E38B-6699-FE34-027A-AC807F51E13C}"/>
              </a:ext>
            </a:extLst>
          </p:cNvPr>
          <p:cNvSpPr/>
          <p:nvPr/>
        </p:nvSpPr>
        <p:spPr>
          <a:xfrm flipH="1">
            <a:off x="10225315" y="291815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239A935E-FB6C-BCAB-AEE7-C63BE73D5E15}"/>
              </a:ext>
            </a:extLst>
          </p:cNvPr>
          <p:cNvGrpSpPr/>
          <p:nvPr/>
        </p:nvGrpSpPr>
        <p:grpSpPr>
          <a:xfrm>
            <a:off x="9890399" y="4845400"/>
            <a:ext cx="506243" cy="506243"/>
            <a:chOff x="1053615" y="5394673"/>
            <a:chExt cx="334978" cy="334978"/>
          </a:xfrm>
        </p:grpSpPr>
        <p:sp>
          <p:nvSpPr>
            <p:cNvPr id="42" name="gaoding-7">
              <a:extLst>
                <a:ext uri="{FF2B5EF4-FFF2-40B4-BE49-F238E27FC236}">
                  <a16:creationId xmlns:a16="http://schemas.microsoft.com/office/drawing/2014/main" id="{19E8C7EB-4029-E719-7F5E-B33CFE4918C3}"/>
                </a:ext>
              </a:extLst>
            </p:cNvPr>
            <p:cNvSpPr/>
            <p:nvPr/>
          </p:nvSpPr>
          <p:spPr>
            <a:xfrm>
              <a:off x="1053615" y="5394673"/>
              <a:ext cx="334978" cy="3349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  <p:sp>
          <p:nvSpPr>
            <p:cNvPr id="43" name="gaoding-8">
              <a:extLst>
                <a:ext uri="{FF2B5EF4-FFF2-40B4-BE49-F238E27FC236}">
                  <a16:creationId xmlns:a16="http://schemas.microsoft.com/office/drawing/2014/main" id="{2EA84F01-62C8-77F7-A8A5-FDAE6E303A68}"/>
                </a:ext>
              </a:extLst>
            </p:cNvPr>
            <p:cNvSpPr/>
            <p:nvPr/>
          </p:nvSpPr>
          <p:spPr>
            <a:xfrm>
              <a:off x="1139673" y="5480731"/>
              <a:ext cx="162862" cy="162862"/>
            </a:xfrm>
            <a:prstGeom prst="ellipse">
              <a:avLst/>
            </a:prstGeom>
            <a:solidFill>
              <a:schemeClr val="tx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rona one"/>
                <a:ea typeface="OPPOSans R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88755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202B623-A471-9D95-E21F-496D594F9DD7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0FB389F6-5873-9FD0-CFC5-83BE650AA7A9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36E575B-35C8-A198-483E-B30244EC64C6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矩形: 圆角 1">
            <a:extLst>
              <a:ext uri="{FF2B5EF4-FFF2-40B4-BE49-F238E27FC236}">
                <a16:creationId xmlns:a16="http://schemas.microsoft.com/office/drawing/2014/main" id="{A3228E2B-D4FF-5603-8809-153BCCE97674}"/>
              </a:ext>
            </a:extLst>
          </p:cNvPr>
          <p:cNvSpPr/>
          <p:nvPr/>
        </p:nvSpPr>
        <p:spPr>
          <a:xfrm>
            <a:off x="935685" y="1680032"/>
            <a:ext cx="9874653" cy="4633176"/>
          </a:xfrm>
          <a:prstGeom prst="roundRect">
            <a:avLst>
              <a:gd name="adj" fmla="val 50000"/>
            </a:avLst>
          </a:prstGeom>
          <a:solidFill>
            <a:srgbClr val="3361F5">
              <a:alpha val="5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" name="矩形: 圆角 1">
            <a:extLst>
              <a:ext uri="{FF2B5EF4-FFF2-40B4-BE49-F238E27FC236}">
                <a16:creationId xmlns:a16="http://schemas.microsoft.com/office/drawing/2014/main" id="{214B6572-F357-B3A8-ABE9-1DCCF8777C50}"/>
              </a:ext>
            </a:extLst>
          </p:cNvPr>
          <p:cNvSpPr/>
          <p:nvPr/>
        </p:nvSpPr>
        <p:spPr>
          <a:xfrm>
            <a:off x="605551" y="1426858"/>
            <a:ext cx="10534921" cy="5139525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" name="任意多边形: 形状 1">
            <a:extLst>
              <a:ext uri="{FF2B5EF4-FFF2-40B4-BE49-F238E27FC236}">
                <a16:creationId xmlns:a16="http://schemas.microsoft.com/office/drawing/2014/main" id="{ACCDCA1E-5F50-2C20-97DF-06D17540142E}"/>
              </a:ext>
            </a:extLst>
          </p:cNvPr>
          <p:cNvSpPr/>
          <p:nvPr/>
        </p:nvSpPr>
        <p:spPr>
          <a:xfrm>
            <a:off x="2699530" y="2846292"/>
            <a:ext cx="6276764" cy="2328080"/>
          </a:xfrm>
          <a:custGeom>
            <a:avLst/>
            <a:gdLst>
              <a:gd name="connsiteX0" fmla="*/ 0 w 8813801"/>
              <a:gd name="connsiteY0" fmla="*/ 1634538 h 3269078"/>
              <a:gd name="connsiteX1" fmla="*/ 0 w 8813801"/>
              <a:gd name="connsiteY1" fmla="*/ 1634539 h 3269078"/>
              <a:gd name="connsiteX2" fmla="*/ 0 w 8813801"/>
              <a:gd name="connsiteY2" fmla="*/ 1634539 h 3269078"/>
              <a:gd name="connsiteX3" fmla="*/ 1858950 w 8813801"/>
              <a:gd name="connsiteY3" fmla="*/ 588388 h 3269078"/>
              <a:gd name="connsiteX4" fmla="*/ 812800 w 8813801"/>
              <a:gd name="connsiteY4" fmla="*/ 1634538 h 3269078"/>
              <a:gd name="connsiteX5" fmla="*/ 1858950 w 8813801"/>
              <a:gd name="connsiteY5" fmla="*/ 2680688 h 3269078"/>
              <a:gd name="connsiteX6" fmla="*/ 6954850 w 8813801"/>
              <a:gd name="connsiteY6" fmla="*/ 2680688 h 3269078"/>
              <a:gd name="connsiteX7" fmla="*/ 8001000 w 8813801"/>
              <a:gd name="connsiteY7" fmla="*/ 1634538 h 3269078"/>
              <a:gd name="connsiteX8" fmla="*/ 6954850 w 8813801"/>
              <a:gd name="connsiteY8" fmla="*/ 588388 h 3269078"/>
              <a:gd name="connsiteX9" fmla="*/ 1634539 w 8813801"/>
              <a:gd name="connsiteY9" fmla="*/ 0 h 3269078"/>
              <a:gd name="connsiteX10" fmla="*/ 7179262 w 8813801"/>
              <a:gd name="connsiteY10" fmla="*/ 0 h 3269078"/>
              <a:gd name="connsiteX11" fmla="*/ 8813801 w 8813801"/>
              <a:gd name="connsiteY11" fmla="*/ 1634539 h 3269078"/>
              <a:gd name="connsiteX12" fmla="*/ 8813800 w 8813801"/>
              <a:gd name="connsiteY12" fmla="*/ 1634539 h 3269078"/>
              <a:gd name="connsiteX13" fmla="*/ 7179261 w 8813801"/>
              <a:gd name="connsiteY13" fmla="*/ 3269078 h 3269078"/>
              <a:gd name="connsiteX14" fmla="*/ 1634539 w 8813801"/>
              <a:gd name="connsiteY14" fmla="*/ 3269077 h 3269078"/>
              <a:gd name="connsiteX15" fmla="*/ 33208 w 8813801"/>
              <a:gd name="connsiteY15" fmla="*/ 1963955 h 3269078"/>
              <a:gd name="connsiteX16" fmla="*/ 0 w 8813801"/>
              <a:gd name="connsiteY16" fmla="*/ 1634539 h 3269078"/>
              <a:gd name="connsiteX17" fmla="*/ 33208 w 8813801"/>
              <a:gd name="connsiteY17" fmla="*/ 1305123 h 3269078"/>
              <a:gd name="connsiteX18" fmla="*/ 1634539 w 8813801"/>
              <a:gd name="connsiteY18" fmla="*/ 0 h 3269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813801" h="3269078">
                <a:moveTo>
                  <a:pt x="0" y="1634538"/>
                </a:moveTo>
                <a:lnTo>
                  <a:pt x="0" y="1634539"/>
                </a:lnTo>
                <a:lnTo>
                  <a:pt x="0" y="1634539"/>
                </a:lnTo>
                <a:close/>
                <a:moveTo>
                  <a:pt x="1858950" y="588388"/>
                </a:moveTo>
                <a:cubicBezTo>
                  <a:pt x="1281177" y="588388"/>
                  <a:pt x="812800" y="1056765"/>
                  <a:pt x="812800" y="1634538"/>
                </a:cubicBezTo>
                <a:cubicBezTo>
                  <a:pt x="812800" y="2212311"/>
                  <a:pt x="1281177" y="2680688"/>
                  <a:pt x="1858950" y="2680688"/>
                </a:cubicBezTo>
                <a:lnTo>
                  <a:pt x="6954850" y="2680688"/>
                </a:lnTo>
                <a:cubicBezTo>
                  <a:pt x="7532623" y="2680688"/>
                  <a:pt x="8001000" y="2212311"/>
                  <a:pt x="8001000" y="1634538"/>
                </a:cubicBezTo>
                <a:cubicBezTo>
                  <a:pt x="8001000" y="1056765"/>
                  <a:pt x="7532623" y="588388"/>
                  <a:pt x="6954850" y="588388"/>
                </a:cubicBezTo>
                <a:close/>
                <a:moveTo>
                  <a:pt x="1634539" y="0"/>
                </a:moveTo>
                <a:lnTo>
                  <a:pt x="7179262" y="0"/>
                </a:lnTo>
                <a:cubicBezTo>
                  <a:pt x="8081993" y="0"/>
                  <a:pt x="8813801" y="731808"/>
                  <a:pt x="8813801" y="1634539"/>
                </a:cubicBezTo>
                <a:lnTo>
                  <a:pt x="8813800" y="1634539"/>
                </a:lnTo>
                <a:cubicBezTo>
                  <a:pt x="8813800" y="2537270"/>
                  <a:pt x="8081992" y="3269078"/>
                  <a:pt x="7179261" y="3269078"/>
                </a:cubicBezTo>
                <a:lnTo>
                  <a:pt x="1634539" y="3269077"/>
                </a:lnTo>
                <a:cubicBezTo>
                  <a:pt x="844650" y="3269077"/>
                  <a:pt x="185623" y="2708787"/>
                  <a:pt x="33208" y="1963955"/>
                </a:cubicBezTo>
                <a:lnTo>
                  <a:pt x="0" y="1634539"/>
                </a:lnTo>
                <a:lnTo>
                  <a:pt x="33208" y="1305123"/>
                </a:lnTo>
                <a:cubicBezTo>
                  <a:pt x="185623" y="560291"/>
                  <a:pt x="844650" y="0"/>
                  <a:pt x="1634539" y="0"/>
                </a:cubicBez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solidFill>
                <a:schemeClr val="bg1"/>
              </a:solidFill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</a:endParaRPr>
          </a:p>
        </p:txBody>
      </p:sp>
      <p:sp>
        <p:nvSpPr>
          <p:cNvPr id="8" name="弧形 7">
            <a:extLst>
              <a:ext uri="{FF2B5EF4-FFF2-40B4-BE49-F238E27FC236}">
                <a16:creationId xmlns:a16="http://schemas.microsoft.com/office/drawing/2014/main" id="{839A2A44-A698-BF14-BB82-FA13E071002F}"/>
              </a:ext>
            </a:extLst>
          </p:cNvPr>
          <p:cNvSpPr/>
          <p:nvPr/>
        </p:nvSpPr>
        <p:spPr>
          <a:xfrm>
            <a:off x="6937593" y="2717529"/>
            <a:ext cx="2227038" cy="2530756"/>
          </a:xfrm>
          <a:prstGeom prst="arc">
            <a:avLst>
              <a:gd name="adj1" fmla="val 16464579"/>
              <a:gd name="adj2" fmla="val 20642116"/>
            </a:avLst>
          </a:prstGeom>
          <a:ln w="28575">
            <a:gradFill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74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black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9" name="弧形 8">
            <a:extLst>
              <a:ext uri="{FF2B5EF4-FFF2-40B4-BE49-F238E27FC236}">
                <a16:creationId xmlns:a16="http://schemas.microsoft.com/office/drawing/2014/main" id="{285AED1D-4507-774D-FE09-6A35449C5B06}"/>
              </a:ext>
            </a:extLst>
          </p:cNvPr>
          <p:cNvSpPr/>
          <p:nvPr/>
        </p:nvSpPr>
        <p:spPr>
          <a:xfrm rot="5400000">
            <a:off x="6785734" y="2924238"/>
            <a:ext cx="2227038" cy="2530756"/>
          </a:xfrm>
          <a:prstGeom prst="arc">
            <a:avLst>
              <a:gd name="adj1" fmla="val 16464579"/>
              <a:gd name="adj2" fmla="val 20642116"/>
            </a:avLst>
          </a:prstGeom>
          <a:ln w="28575">
            <a:gradFill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74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black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10" name="弧形 9">
            <a:extLst>
              <a:ext uri="{FF2B5EF4-FFF2-40B4-BE49-F238E27FC236}">
                <a16:creationId xmlns:a16="http://schemas.microsoft.com/office/drawing/2014/main" id="{A753510C-4B7B-1174-1A41-F9E52583EDB6}"/>
              </a:ext>
            </a:extLst>
          </p:cNvPr>
          <p:cNvSpPr/>
          <p:nvPr/>
        </p:nvSpPr>
        <p:spPr>
          <a:xfrm flipH="1">
            <a:off x="2511193" y="2717529"/>
            <a:ext cx="2227038" cy="2530756"/>
          </a:xfrm>
          <a:prstGeom prst="arc">
            <a:avLst>
              <a:gd name="adj1" fmla="val 16464579"/>
              <a:gd name="adj2" fmla="val 20642116"/>
            </a:avLst>
          </a:prstGeom>
          <a:ln w="28575">
            <a:gradFill flip="none" rotWithShape="1"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74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10800000" scaled="1"/>
              <a:tileRect/>
            </a:gra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" name="弧形 10">
            <a:extLst>
              <a:ext uri="{FF2B5EF4-FFF2-40B4-BE49-F238E27FC236}">
                <a16:creationId xmlns:a16="http://schemas.microsoft.com/office/drawing/2014/main" id="{683F0426-6811-E19D-2EFD-1BA68A8A3D99}"/>
              </a:ext>
            </a:extLst>
          </p:cNvPr>
          <p:cNvSpPr/>
          <p:nvPr/>
        </p:nvSpPr>
        <p:spPr>
          <a:xfrm rot="16200000" flipH="1">
            <a:off x="2663052" y="2924238"/>
            <a:ext cx="2227038" cy="2530756"/>
          </a:xfrm>
          <a:prstGeom prst="arc">
            <a:avLst>
              <a:gd name="adj1" fmla="val 16464579"/>
              <a:gd name="adj2" fmla="val 20642116"/>
            </a:avLst>
          </a:prstGeom>
          <a:ln w="28575">
            <a:gradFill flip="none" rotWithShape="1"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74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10800000" scaled="1"/>
              <a:tileRect/>
            </a:gra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C1084B40-1F61-1CB6-C4B3-ED810806C82B}"/>
              </a:ext>
            </a:extLst>
          </p:cNvPr>
          <p:cNvSpPr/>
          <p:nvPr/>
        </p:nvSpPr>
        <p:spPr>
          <a:xfrm>
            <a:off x="8401805" y="3723088"/>
            <a:ext cx="574489" cy="57448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4E74F36F-16A2-C7EF-0AA3-8FA1519419C8}"/>
              </a:ext>
            </a:extLst>
          </p:cNvPr>
          <p:cNvSpPr/>
          <p:nvPr/>
        </p:nvSpPr>
        <p:spPr>
          <a:xfrm>
            <a:off x="8463086" y="3784369"/>
            <a:ext cx="451927" cy="45192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F6E91145-8F26-595E-C89C-323AF8A1776C}"/>
              </a:ext>
            </a:extLst>
          </p:cNvPr>
          <p:cNvSpPr/>
          <p:nvPr/>
        </p:nvSpPr>
        <p:spPr>
          <a:xfrm>
            <a:off x="2706626" y="3723088"/>
            <a:ext cx="574489" cy="57448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02AE6327-D010-2D79-6B23-24CC42B79BE9}"/>
              </a:ext>
            </a:extLst>
          </p:cNvPr>
          <p:cNvSpPr/>
          <p:nvPr/>
        </p:nvSpPr>
        <p:spPr>
          <a:xfrm>
            <a:off x="2767907" y="3784369"/>
            <a:ext cx="451927" cy="45192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39737115-1757-7B90-49F0-42B2B621368B}"/>
              </a:ext>
            </a:extLst>
          </p:cNvPr>
          <p:cNvSpPr/>
          <p:nvPr/>
        </p:nvSpPr>
        <p:spPr>
          <a:xfrm>
            <a:off x="7403008" y="2772380"/>
            <a:ext cx="574489" cy="57448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7BC24CC5-B530-F4DA-B2C9-F2171DB4F2A7}"/>
              </a:ext>
            </a:extLst>
          </p:cNvPr>
          <p:cNvSpPr/>
          <p:nvPr/>
        </p:nvSpPr>
        <p:spPr>
          <a:xfrm>
            <a:off x="7464289" y="2833661"/>
            <a:ext cx="451927" cy="45192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70903C23-0ACA-6ACF-0E3B-D564212CD68C}"/>
              </a:ext>
            </a:extLst>
          </p:cNvPr>
          <p:cNvSpPr/>
          <p:nvPr/>
        </p:nvSpPr>
        <p:spPr>
          <a:xfrm>
            <a:off x="7403008" y="4672065"/>
            <a:ext cx="574489" cy="57448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B125D718-DA96-4E56-5318-51BE1B2A2146}"/>
              </a:ext>
            </a:extLst>
          </p:cNvPr>
          <p:cNvSpPr/>
          <p:nvPr/>
        </p:nvSpPr>
        <p:spPr>
          <a:xfrm>
            <a:off x="7464289" y="4733346"/>
            <a:ext cx="451927" cy="45192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E8395870-7256-C9AE-D3B0-640BFCA11025}"/>
              </a:ext>
            </a:extLst>
          </p:cNvPr>
          <p:cNvSpPr/>
          <p:nvPr/>
        </p:nvSpPr>
        <p:spPr>
          <a:xfrm>
            <a:off x="5585766" y="2772380"/>
            <a:ext cx="574489" cy="57448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9DB6E732-DD5B-9E56-6DE9-113AD07B0C4A}"/>
              </a:ext>
            </a:extLst>
          </p:cNvPr>
          <p:cNvSpPr/>
          <p:nvPr/>
        </p:nvSpPr>
        <p:spPr>
          <a:xfrm>
            <a:off x="5647047" y="2833661"/>
            <a:ext cx="451927" cy="45192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BD17CEF2-29AE-69B6-577D-3C2A01B2852D}"/>
              </a:ext>
            </a:extLst>
          </p:cNvPr>
          <p:cNvSpPr/>
          <p:nvPr/>
        </p:nvSpPr>
        <p:spPr>
          <a:xfrm>
            <a:off x="5585766" y="4672065"/>
            <a:ext cx="574489" cy="57448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ED213889-163D-3407-9AD2-1230F34174AA}"/>
              </a:ext>
            </a:extLst>
          </p:cNvPr>
          <p:cNvSpPr/>
          <p:nvPr/>
        </p:nvSpPr>
        <p:spPr>
          <a:xfrm>
            <a:off x="5647047" y="4733346"/>
            <a:ext cx="451927" cy="45192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06ED9603-C69F-6EDD-8D62-1D389C4E1844}"/>
              </a:ext>
            </a:extLst>
          </p:cNvPr>
          <p:cNvSpPr/>
          <p:nvPr/>
        </p:nvSpPr>
        <p:spPr>
          <a:xfrm>
            <a:off x="3767097" y="2772380"/>
            <a:ext cx="574489" cy="57448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53CF3A88-2B6E-AC2D-89F2-E6AD0F032BB7}"/>
              </a:ext>
            </a:extLst>
          </p:cNvPr>
          <p:cNvSpPr/>
          <p:nvPr/>
        </p:nvSpPr>
        <p:spPr>
          <a:xfrm>
            <a:off x="3828379" y="2833661"/>
            <a:ext cx="451927" cy="45192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A05B3E50-A957-772C-F667-DDF1FB1A4F3E}"/>
              </a:ext>
            </a:extLst>
          </p:cNvPr>
          <p:cNvSpPr/>
          <p:nvPr/>
        </p:nvSpPr>
        <p:spPr>
          <a:xfrm>
            <a:off x="3767097" y="4672065"/>
            <a:ext cx="574489" cy="57448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OPPOSans M"/>
              <a:ea typeface="OPPOSans L" panose="00020600040101010101" pitchFamily="18" charset="-122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0095E117-DC6C-CBCA-9E7C-E08222F7F78B}"/>
              </a:ext>
            </a:extLst>
          </p:cNvPr>
          <p:cNvSpPr/>
          <p:nvPr/>
        </p:nvSpPr>
        <p:spPr>
          <a:xfrm>
            <a:off x="3828379" y="4733346"/>
            <a:ext cx="451927" cy="451927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8" name="gaoding-18">
            <a:extLst>
              <a:ext uri="{FF2B5EF4-FFF2-40B4-BE49-F238E27FC236}">
                <a16:creationId xmlns:a16="http://schemas.microsoft.com/office/drawing/2014/main" id="{2FD0115F-F4E0-F167-5E33-F5454E029B8A}"/>
              </a:ext>
            </a:extLst>
          </p:cNvPr>
          <p:cNvSpPr txBox="1"/>
          <p:nvPr/>
        </p:nvSpPr>
        <p:spPr>
          <a:xfrm>
            <a:off x="3897246" y="2921124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2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1" name="gaoding-18">
            <a:extLst>
              <a:ext uri="{FF2B5EF4-FFF2-40B4-BE49-F238E27FC236}">
                <a16:creationId xmlns:a16="http://schemas.microsoft.com/office/drawing/2014/main" id="{3F965DEF-64B0-2915-5288-B3F0F2FA6C40}"/>
              </a:ext>
            </a:extLst>
          </p:cNvPr>
          <p:cNvSpPr txBox="1"/>
          <p:nvPr/>
        </p:nvSpPr>
        <p:spPr>
          <a:xfrm>
            <a:off x="5732389" y="2921124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3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2" name="gaoding-18">
            <a:extLst>
              <a:ext uri="{FF2B5EF4-FFF2-40B4-BE49-F238E27FC236}">
                <a16:creationId xmlns:a16="http://schemas.microsoft.com/office/drawing/2014/main" id="{8E15E9AC-5847-0266-A529-0B5B19DE06F6}"/>
              </a:ext>
            </a:extLst>
          </p:cNvPr>
          <p:cNvSpPr txBox="1"/>
          <p:nvPr/>
        </p:nvSpPr>
        <p:spPr>
          <a:xfrm>
            <a:off x="7533157" y="2921124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4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3" name="gaoding-18">
            <a:extLst>
              <a:ext uri="{FF2B5EF4-FFF2-40B4-BE49-F238E27FC236}">
                <a16:creationId xmlns:a16="http://schemas.microsoft.com/office/drawing/2014/main" id="{BE10985D-AB8F-3E31-C79A-A37C377AADD1}"/>
              </a:ext>
            </a:extLst>
          </p:cNvPr>
          <p:cNvSpPr txBox="1"/>
          <p:nvPr/>
        </p:nvSpPr>
        <p:spPr>
          <a:xfrm>
            <a:off x="3897246" y="4823255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8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4" name="gaoding-18">
            <a:extLst>
              <a:ext uri="{FF2B5EF4-FFF2-40B4-BE49-F238E27FC236}">
                <a16:creationId xmlns:a16="http://schemas.microsoft.com/office/drawing/2014/main" id="{4C8C4C1D-2A7E-29DE-7A7D-A44C0B2B1ECD}"/>
              </a:ext>
            </a:extLst>
          </p:cNvPr>
          <p:cNvSpPr txBox="1"/>
          <p:nvPr/>
        </p:nvSpPr>
        <p:spPr>
          <a:xfrm>
            <a:off x="5732389" y="4823255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7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5" name="gaoding-18">
            <a:extLst>
              <a:ext uri="{FF2B5EF4-FFF2-40B4-BE49-F238E27FC236}">
                <a16:creationId xmlns:a16="http://schemas.microsoft.com/office/drawing/2014/main" id="{30AD559F-80A7-BB82-6E9F-1220A9FED543}"/>
              </a:ext>
            </a:extLst>
          </p:cNvPr>
          <p:cNvSpPr txBox="1"/>
          <p:nvPr/>
        </p:nvSpPr>
        <p:spPr>
          <a:xfrm>
            <a:off x="7533157" y="4823255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6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6" name="gaoding-18">
            <a:extLst>
              <a:ext uri="{FF2B5EF4-FFF2-40B4-BE49-F238E27FC236}">
                <a16:creationId xmlns:a16="http://schemas.microsoft.com/office/drawing/2014/main" id="{24ABE574-4F99-16D1-275D-2A85E619C840}"/>
              </a:ext>
            </a:extLst>
          </p:cNvPr>
          <p:cNvSpPr txBox="1"/>
          <p:nvPr/>
        </p:nvSpPr>
        <p:spPr>
          <a:xfrm>
            <a:off x="2856813" y="3877251"/>
            <a:ext cx="2741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1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7" name="gaoding-18">
            <a:extLst>
              <a:ext uri="{FF2B5EF4-FFF2-40B4-BE49-F238E27FC236}">
                <a16:creationId xmlns:a16="http://schemas.microsoft.com/office/drawing/2014/main" id="{F9BAF46E-43C4-D1CD-B33C-119F089E89FF}"/>
              </a:ext>
            </a:extLst>
          </p:cNvPr>
          <p:cNvSpPr txBox="1"/>
          <p:nvPr/>
        </p:nvSpPr>
        <p:spPr>
          <a:xfrm>
            <a:off x="8528959" y="3877251"/>
            <a:ext cx="31419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05</a:t>
            </a:r>
            <a:endParaRPr kumimoji="1" lang="zh-CN" alt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8" name="稿定-9">
            <a:extLst>
              <a:ext uri="{FF2B5EF4-FFF2-40B4-BE49-F238E27FC236}">
                <a16:creationId xmlns:a16="http://schemas.microsoft.com/office/drawing/2014/main" id="{CD499700-98C7-82ED-7E9E-42BD9DACEA46}"/>
              </a:ext>
            </a:extLst>
          </p:cNvPr>
          <p:cNvSpPr/>
          <p:nvPr/>
        </p:nvSpPr>
        <p:spPr>
          <a:xfrm flipH="1">
            <a:off x="3624823" y="190554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9" name="稿定-31">
            <a:extLst>
              <a:ext uri="{FF2B5EF4-FFF2-40B4-BE49-F238E27FC236}">
                <a16:creationId xmlns:a16="http://schemas.microsoft.com/office/drawing/2014/main" id="{70780944-FE19-E9DE-5AA3-65E66F23392C}"/>
              </a:ext>
            </a:extLst>
          </p:cNvPr>
          <p:cNvSpPr/>
          <p:nvPr/>
        </p:nvSpPr>
        <p:spPr>
          <a:xfrm flipH="1">
            <a:off x="3427409" y="2171281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0" name="稿定-9">
            <a:extLst>
              <a:ext uri="{FF2B5EF4-FFF2-40B4-BE49-F238E27FC236}">
                <a16:creationId xmlns:a16="http://schemas.microsoft.com/office/drawing/2014/main" id="{414F1774-3603-1909-8FBA-58B73170A0F5}"/>
              </a:ext>
            </a:extLst>
          </p:cNvPr>
          <p:cNvSpPr/>
          <p:nvPr/>
        </p:nvSpPr>
        <p:spPr>
          <a:xfrm flipH="1">
            <a:off x="5350306" y="190554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1" name="稿定-31">
            <a:extLst>
              <a:ext uri="{FF2B5EF4-FFF2-40B4-BE49-F238E27FC236}">
                <a16:creationId xmlns:a16="http://schemas.microsoft.com/office/drawing/2014/main" id="{F2A003EE-C5A7-FDC7-6988-4A18A448E647}"/>
              </a:ext>
            </a:extLst>
          </p:cNvPr>
          <p:cNvSpPr/>
          <p:nvPr/>
        </p:nvSpPr>
        <p:spPr>
          <a:xfrm flipH="1">
            <a:off x="5152892" y="2171281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2" name="稿定-9">
            <a:extLst>
              <a:ext uri="{FF2B5EF4-FFF2-40B4-BE49-F238E27FC236}">
                <a16:creationId xmlns:a16="http://schemas.microsoft.com/office/drawing/2014/main" id="{3307322B-7B65-C042-DBB9-60E585BDD7FA}"/>
              </a:ext>
            </a:extLst>
          </p:cNvPr>
          <p:cNvSpPr/>
          <p:nvPr/>
        </p:nvSpPr>
        <p:spPr>
          <a:xfrm flipH="1">
            <a:off x="7141204" y="190554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3" name="稿定-31">
            <a:extLst>
              <a:ext uri="{FF2B5EF4-FFF2-40B4-BE49-F238E27FC236}">
                <a16:creationId xmlns:a16="http://schemas.microsoft.com/office/drawing/2014/main" id="{76132043-3064-CAEB-C69A-5B2964C56081}"/>
              </a:ext>
            </a:extLst>
          </p:cNvPr>
          <p:cNvSpPr/>
          <p:nvPr/>
        </p:nvSpPr>
        <p:spPr>
          <a:xfrm flipH="1">
            <a:off x="6943790" y="2171281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4" name="稿定-9">
            <a:extLst>
              <a:ext uri="{FF2B5EF4-FFF2-40B4-BE49-F238E27FC236}">
                <a16:creationId xmlns:a16="http://schemas.microsoft.com/office/drawing/2014/main" id="{E1A580DF-1F2C-BCB3-7F32-9708DBAFBE88}"/>
              </a:ext>
            </a:extLst>
          </p:cNvPr>
          <p:cNvSpPr/>
          <p:nvPr/>
        </p:nvSpPr>
        <p:spPr>
          <a:xfrm flipH="1">
            <a:off x="3624823" y="541667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5" name="稿定-31">
            <a:extLst>
              <a:ext uri="{FF2B5EF4-FFF2-40B4-BE49-F238E27FC236}">
                <a16:creationId xmlns:a16="http://schemas.microsoft.com/office/drawing/2014/main" id="{6368F255-E793-6023-851A-CB70E292E349}"/>
              </a:ext>
            </a:extLst>
          </p:cNvPr>
          <p:cNvSpPr/>
          <p:nvPr/>
        </p:nvSpPr>
        <p:spPr>
          <a:xfrm flipH="1">
            <a:off x="3427409" y="5682411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6" name="稿定-9">
            <a:extLst>
              <a:ext uri="{FF2B5EF4-FFF2-40B4-BE49-F238E27FC236}">
                <a16:creationId xmlns:a16="http://schemas.microsoft.com/office/drawing/2014/main" id="{BC8364E1-69F3-E6A1-9BC5-229D80F3700C}"/>
              </a:ext>
            </a:extLst>
          </p:cNvPr>
          <p:cNvSpPr/>
          <p:nvPr/>
        </p:nvSpPr>
        <p:spPr>
          <a:xfrm flipH="1">
            <a:off x="5350306" y="541667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7" name="稿定-31">
            <a:extLst>
              <a:ext uri="{FF2B5EF4-FFF2-40B4-BE49-F238E27FC236}">
                <a16:creationId xmlns:a16="http://schemas.microsoft.com/office/drawing/2014/main" id="{DD4F3E20-D749-123E-8492-D3905048ECAE}"/>
              </a:ext>
            </a:extLst>
          </p:cNvPr>
          <p:cNvSpPr/>
          <p:nvPr/>
        </p:nvSpPr>
        <p:spPr>
          <a:xfrm flipH="1">
            <a:off x="5152892" y="5682411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8" name="稿定-9">
            <a:extLst>
              <a:ext uri="{FF2B5EF4-FFF2-40B4-BE49-F238E27FC236}">
                <a16:creationId xmlns:a16="http://schemas.microsoft.com/office/drawing/2014/main" id="{D48ACD86-57D5-9D73-766B-169A4B26DA6B}"/>
              </a:ext>
            </a:extLst>
          </p:cNvPr>
          <p:cNvSpPr/>
          <p:nvPr/>
        </p:nvSpPr>
        <p:spPr>
          <a:xfrm flipH="1">
            <a:off x="7141204" y="541667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9" name="稿定-31">
            <a:extLst>
              <a:ext uri="{FF2B5EF4-FFF2-40B4-BE49-F238E27FC236}">
                <a16:creationId xmlns:a16="http://schemas.microsoft.com/office/drawing/2014/main" id="{4EEF610B-963B-3F99-0571-BC653D9490E0}"/>
              </a:ext>
            </a:extLst>
          </p:cNvPr>
          <p:cNvSpPr/>
          <p:nvPr/>
        </p:nvSpPr>
        <p:spPr>
          <a:xfrm flipH="1">
            <a:off x="6943790" y="5682411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0" name="稿定-9">
            <a:extLst>
              <a:ext uri="{FF2B5EF4-FFF2-40B4-BE49-F238E27FC236}">
                <a16:creationId xmlns:a16="http://schemas.microsoft.com/office/drawing/2014/main" id="{5002A740-D5E3-90C7-F979-EE72499372FA}"/>
              </a:ext>
            </a:extLst>
          </p:cNvPr>
          <p:cNvSpPr/>
          <p:nvPr/>
        </p:nvSpPr>
        <p:spPr>
          <a:xfrm flipH="1">
            <a:off x="9318493" y="372032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1" name="稿定-31">
            <a:extLst>
              <a:ext uri="{FF2B5EF4-FFF2-40B4-BE49-F238E27FC236}">
                <a16:creationId xmlns:a16="http://schemas.microsoft.com/office/drawing/2014/main" id="{235126AA-5EFF-3215-197F-EECC7065AB1E}"/>
              </a:ext>
            </a:extLst>
          </p:cNvPr>
          <p:cNvSpPr/>
          <p:nvPr/>
        </p:nvSpPr>
        <p:spPr>
          <a:xfrm flipH="1">
            <a:off x="9318493" y="3986061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2" name="稿定-9">
            <a:extLst>
              <a:ext uri="{FF2B5EF4-FFF2-40B4-BE49-F238E27FC236}">
                <a16:creationId xmlns:a16="http://schemas.microsoft.com/office/drawing/2014/main" id="{11383EEB-BD1F-0AB6-F467-27291DDCD8EE}"/>
              </a:ext>
            </a:extLst>
          </p:cNvPr>
          <p:cNvSpPr/>
          <p:nvPr/>
        </p:nvSpPr>
        <p:spPr>
          <a:xfrm flipH="1">
            <a:off x="1410515" y="372032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3" name="稿定-31">
            <a:extLst>
              <a:ext uri="{FF2B5EF4-FFF2-40B4-BE49-F238E27FC236}">
                <a16:creationId xmlns:a16="http://schemas.microsoft.com/office/drawing/2014/main" id="{8D0E7D7E-0C03-FD46-7814-9A00BFDA1FA8}"/>
              </a:ext>
            </a:extLst>
          </p:cNvPr>
          <p:cNvSpPr/>
          <p:nvPr/>
        </p:nvSpPr>
        <p:spPr>
          <a:xfrm flipH="1">
            <a:off x="1015687" y="3986061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291102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aoding-1">
            <a:extLst>
              <a:ext uri="{FF2B5EF4-FFF2-40B4-BE49-F238E27FC236}">
                <a16:creationId xmlns:a16="http://schemas.microsoft.com/office/drawing/2014/main" id="{E0034BDB-AD0A-4339-ACAF-B98711ABAD0E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1205160" y="0"/>
            <a:chExt cx="12192000" cy="6858000"/>
          </a:xfrm>
        </p:grpSpPr>
        <p:sp>
          <p:nvSpPr>
            <p:cNvPr id="71" name="gaoding-1-1">
              <a:extLst>
                <a:ext uri="{FF2B5EF4-FFF2-40B4-BE49-F238E27FC236}">
                  <a16:creationId xmlns:a16="http://schemas.microsoft.com/office/drawing/2014/main" id="{0E052861-A24A-4B72-9E02-952C6CCAC4F7}"/>
                </a:ext>
              </a:extLst>
            </p:cNvPr>
            <p:cNvSpPr/>
            <p:nvPr/>
          </p:nvSpPr>
          <p:spPr>
            <a:xfrm>
              <a:off x="1205160" y="0"/>
              <a:ext cx="12192000" cy="6858000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endParaRPr>
            </a:p>
          </p:txBody>
        </p:sp>
        <p:pic>
          <p:nvPicPr>
            <p:cNvPr id="72" name="gaoding-1-2">
              <a:extLst>
                <a:ext uri="{FF2B5EF4-FFF2-40B4-BE49-F238E27FC236}">
                  <a16:creationId xmlns:a16="http://schemas.microsoft.com/office/drawing/2014/main" id="{C87D93BF-44F4-4CAA-8293-CE3023045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5134" y="0"/>
              <a:ext cx="12172053" cy="6858000"/>
            </a:xfrm>
            <a:prstGeom prst="rect">
              <a:avLst/>
            </a:prstGeom>
          </p:spPr>
        </p:pic>
      </p:grpSp>
      <p:cxnSp>
        <p:nvCxnSpPr>
          <p:cNvPr id="48" name="gaoding-3">
            <a:extLst>
              <a:ext uri="{FF2B5EF4-FFF2-40B4-BE49-F238E27FC236}">
                <a16:creationId xmlns:a16="http://schemas.microsoft.com/office/drawing/2014/main" id="{ACCE2512-2B9D-47FD-AEFD-1DE440E9AA83}"/>
              </a:ext>
            </a:extLst>
          </p:cNvPr>
          <p:cNvCxnSpPr>
            <a:cxnSpLocks/>
          </p:cNvCxnSpPr>
          <p:nvPr/>
        </p:nvCxnSpPr>
        <p:spPr>
          <a:xfrm>
            <a:off x="1192910" y="519080"/>
            <a:ext cx="96190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aoding-6">
            <a:extLst>
              <a:ext uri="{FF2B5EF4-FFF2-40B4-BE49-F238E27FC236}">
                <a16:creationId xmlns:a16="http://schemas.microsoft.com/office/drawing/2014/main" id="{F5BB6ECC-674B-4BE8-A523-B1C82D41D1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0897861" y="409575"/>
            <a:ext cx="223480" cy="219010"/>
          </a:xfrm>
          <a:prstGeom prst="rect">
            <a:avLst/>
          </a:prstGeom>
        </p:spPr>
      </p:pic>
      <p:pic>
        <p:nvPicPr>
          <p:cNvPr id="58" name="gaoding-7">
            <a:extLst>
              <a:ext uri="{FF2B5EF4-FFF2-40B4-BE49-F238E27FC236}">
                <a16:creationId xmlns:a16="http://schemas.microsoft.com/office/drawing/2014/main" id="{82CB3083-B910-4442-B59C-C321462DD5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1171935" y="409575"/>
            <a:ext cx="223480" cy="219010"/>
          </a:xfrm>
          <a:prstGeom prst="rect">
            <a:avLst/>
          </a:prstGeom>
        </p:spPr>
      </p:pic>
      <p:pic>
        <p:nvPicPr>
          <p:cNvPr id="59" name="gaoding-8">
            <a:extLst>
              <a:ext uri="{FF2B5EF4-FFF2-40B4-BE49-F238E27FC236}">
                <a16:creationId xmlns:a16="http://schemas.microsoft.com/office/drawing/2014/main" id="{9DC27AE4-2DD7-414D-9AAB-44294C492C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446008" y="409575"/>
            <a:ext cx="223480" cy="219010"/>
          </a:xfrm>
          <a:prstGeom prst="rect">
            <a:avLst/>
          </a:prstGeom>
        </p:spPr>
      </p:pic>
      <p:sp>
        <p:nvSpPr>
          <p:cNvPr id="26" name="gaoding-9">
            <a:extLst>
              <a:ext uri="{FF2B5EF4-FFF2-40B4-BE49-F238E27FC236}">
                <a16:creationId xmlns:a16="http://schemas.microsoft.com/office/drawing/2014/main" id="{0C1A1F81-C0BF-4178-A0D7-38FE0B6159DF}"/>
              </a:ext>
            </a:extLst>
          </p:cNvPr>
          <p:cNvSpPr/>
          <p:nvPr/>
        </p:nvSpPr>
        <p:spPr>
          <a:xfrm>
            <a:off x="912083" y="1823356"/>
            <a:ext cx="2311596" cy="2265687"/>
          </a:xfrm>
          <a:custGeom>
            <a:avLst/>
            <a:gdLst>
              <a:gd name="connsiteX0" fmla="*/ 1484673 w 2311596"/>
              <a:gd name="connsiteY0" fmla="*/ -260 h 2265687"/>
              <a:gd name="connsiteX1" fmla="*/ 1821473 w 2311596"/>
              <a:gd name="connsiteY1" fmla="*/ 168140 h 2265687"/>
              <a:gd name="connsiteX2" fmla="*/ 1499976 w 2311596"/>
              <a:gd name="connsiteY2" fmla="*/ 857019 h 2265687"/>
              <a:gd name="connsiteX3" fmla="*/ 2234809 w 2311596"/>
              <a:gd name="connsiteY3" fmla="*/ 688758 h 2265687"/>
              <a:gd name="connsiteX4" fmla="*/ 2311346 w 2311596"/>
              <a:gd name="connsiteY4" fmla="*/ 1056047 h 2265687"/>
              <a:gd name="connsiteX5" fmla="*/ 1576536 w 2311596"/>
              <a:gd name="connsiteY5" fmla="*/ 1224424 h 2265687"/>
              <a:gd name="connsiteX6" fmla="*/ 2173575 w 2311596"/>
              <a:gd name="connsiteY6" fmla="*/ 1698925 h 2265687"/>
              <a:gd name="connsiteX7" fmla="*/ 1943941 w 2311596"/>
              <a:gd name="connsiteY7" fmla="*/ 1989793 h 2265687"/>
              <a:gd name="connsiteX8" fmla="*/ 1346902 w 2311596"/>
              <a:gd name="connsiteY8" fmla="*/ 1515292 h 2265687"/>
              <a:gd name="connsiteX9" fmla="*/ 1346902 w 2311596"/>
              <a:gd name="connsiteY9" fmla="*/ 2265428 h 2265687"/>
              <a:gd name="connsiteX10" fmla="*/ 964194 w 2311596"/>
              <a:gd name="connsiteY10" fmla="*/ 2265428 h 2265687"/>
              <a:gd name="connsiteX11" fmla="*/ 964194 w 2311596"/>
              <a:gd name="connsiteY11" fmla="*/ 1515292 h 2265687"/>
              <a:gd name="connsiteX12" fmla="*/ 367155 w 2311596"/>
              <a:gd name="connsiteY12" fmla="*/ 1989862 h 2265687"/>
              <a:gd name="connsiteX13" fmla="*/ 137521 w 2311596"/>
              <a:gd name="connsiteY13" fmla="*/ 1698925 h 2265687"/>
              <a:gd name="connsiteX14" fmla="*/ 734560 w 2311596"/>
              <a:gd name="connsiteY14" fmla="*/ 1224354 h 2265687"/>
              <a:gd name="connsiteX15" fmla="*/ -250 w 2311596"/>
              <a:gd name="connsiteY15" fmla="*/ 1056047 h 2265687"/>
              <a:gd name="connsiteX16" fmla="*/ 76287 w 2311596"/>
              <a:gd name="connsiteY16" fmla="*/ 688758 h 2265687"/>
              <a:gd name="connsiteX17" fmla="*/ 811120 w 2311596"/>
              <a:gd name="connsiteY17" fmla="*/ 857019 h 2265687"/>
              <a:gd name="connsiteX18" fmla="*/ 489647 w 2311596"/>
              <a:gd name="connsiteY18" fmla="*/ 168163 h 2265687"/>
              <a:gd name="connsiteX19" fmla="*/ 826446 w 2311596"/>
              <a:gd name="connsiteY19" fmla="*/ -237 h 2265687"/>
              <a:gd name="connsiteX20" fmla="*/ 1147897 w 2311596"/>
              <a:gd name="connsiteY20" fmla="*/ 688758 h 22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11596" h="2265687">
                <a:moveTo>
                  <a:pt x="1484673" y="-260"/>
                </a:moveTo>
                <a:lnTo>
                  <a:pt x="1821473" y="168140"/>
                </a:lnTo>
                <a:lnTo>
                  <a:pt x="1499976" y="857019"/>
                </a:lnTo>
                <a:lnTo>
                  <a:pt x="2234809" y="688758"/>
                </a:lnTo>
                <a:lnTo>
                  <a:pt x="2311346" y="1056047"/>
                </a:lnTo>
                <a:lnTo>
                  <a:pt x="1576536" y="1224424"/>
                </a:lnTo>
                <a:lnTo>
                  <a:pt x="2173575" y="1698925"/>
                </a:lnTo>
                <a:lnTo>
                  <a:pt x="1943941" y="1989793"/>
                </a:lnTo>
                <a:lnTo>
                  <a:pt x="1346902" y="1515292"/>
                </a:lnTo>
                <a:lnTo>
                  <a:pt x="1346902" y="2265428"/>
                </a:lnTo>
                <a:lnTo>
                  <a:pt x="964194" y="2265428"/>
                </a:lnTo>
                <a:lnTo>
                  <a:pt x="964194" y="1515292"/>
                </a:lnTo>
                <a:lnTo>
                  <a:pt x="367155" y="1989862"/>
                </a:lnTo>
                <a:lnTo>
                  <a:pt x="137521" y="1698925"/>
                </a:lnTo>
                <a:lnTo>
                  <a:pt x="734560" y="1224354"/>
                </a:lnTo>
                <a:lnTo>
                  <a:pt x="-250" y="1056047"/>
                </a:lnTo>
                <a:lnTo>
                  <a:pt x="76287" y="688758"/>
                </a:lnTo>
                <a:lnTo>
                  <a:pt x="811120" y="857019"/>
                </a:lnTo>
                <a:lnTo>
                  <a:pt x="489647" y="168163"/>
                </a:lnTo>
                <a:lnTo>
                  <a:pt x="826446" y="-237"/>
                </a:lnTo>
                <a:lnTo>
                  <a:pt x="1147897" y="688758"/>
                </a:lnTo>
                <a:close/>
              </a:path>
            </a:pathLst>
          </a:custGeom>
          <a:solidFill>
            <a:schemeClr val="bg1"/>
          </a:solidFill>
          <a:ln w="230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5" name="gaoding-10">
            <a:extLst>
              <a:ext uri="{FF2B5EF4-FFF2-40B4-BE49-F238E27FC236}">
                <a16:creationId xmlns:a16="http://schemas.microsoft.com/office/drawing/2014/main" id="{19F021BD-DFDE-466D-8517-CB38B3FC0802}"/>
              </a:ext>
            </a:extLst>
          </p:cNvPr>
          <p:cNvSpPr/>
          <p:nvPr/>
        </p:nvSpPr>
        <p:spPr>
          <a:xfrm>
            <a:off x="1401879" y="2290037"/>
            <a:ext cx="1332004" cy="1332004"/>
          </a:xfrm>
          <a:prstGeom prst="ellipse">
            <a:avLst/>
          </a:prstGeom>
          <a:solidFill>
            <a:schemeClr val="tx1"/>
          </a:solidFill>
          <a:ln w="254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37" name="gaoding-11">
            <a:extLst>
              <a:ext uri="{FF2B5EF4-FFF2-40B4-BE49-F238E27FC236}">
                <a16:creationId xmlns:a16="http://schemas.microsoft.com/office/drawing/2014/main" id="{6AE8F489-0066-465B-A8AD-603CE2ADEDB0}"/>
              </a:ext>
            </a:extLst>
          </p:cNvPr>
          <p:cNvCxnSpPr>
            <a:cxnSpLocks/>
          </p:cNvCxnSpPr>
          <p:nvPr/>
        </p:nvCxnSpPr>
        <p:spPr>
          <a:xfrm>
            <a:off x="3619987" y="2956115"/>
            <a:ext cx="1141493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aoding-12">
            <a:extLst>
              <a:ext uri="{FF2B5EF4-FFF2-40B4-BE49-F238E27FC236}">
                <a16:creationId xmlns:a16="http://schemas.microsoft.com/office/drawing/2014/main" id="{62F3C5AA-F303-4ECB-A6F5-A4781D524A51}"/>
              </a:ext>
            </a:extLst>
          </p:cNvPr>
          <p:cNvSpPr/>
          <p:nvPr/>
        </p:nvSpPr>
        <p:spPr>
          <a:xfrm flipH="1" flipV="1">
            <a:off x="4605865" y="2635933"/>
            <a:ext cx="320106" cy="320106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9" name="gaoding-13">
            <a:extLst>
              <a:ext uri="{FF2B5EF4-FFF2-40B4-BE49-F238E27FC236}">
                <a16:creationId xmlns:a16="http://schemas.microsoft.com/office/drawing/2014/main" id="{C4E6E719-B8E9-4515-800A-6AC055DF6AFC}"/>
              </a:ext>
            </a:extLst>
          </p:cNvPr>
          <p:cNvSpPr/>
          <p:nvPr/>
        </p:nvSpPr>
        <p:spPr>
          <a:xfrm flipH="1">
            <a:off x="4605865" y="2956039"/>
            <a:ext cx="320106" cy="320106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1" name="gaoding-14">
            <a:extLst>
              <a:ext uri="{FF2B5EF4-FFF2-40B4-BE49-F238E27FC236}">
                <a16:creationId xmlns:a16="http://schemas.microsoft.com/office/drawing/2014/main" id="{B4D5F6CE-1B3C-4A57-B9DB-C10B38D2B487}"/>
              </a:ext>
            </a:extLst>
          </p:cNvPr>
          <p:cNvSpPr/>
          <p:nvPr/>
        </p:nvSpPr>
        <p:spPr>
          <a:xfrm>
            <a:off x="1294139" y="4285477"/>
            <a:ext cx="1547484" cy="338554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更快更轻松</a:t>
            </a:r>
          </a:p>
        </p:txBody>
      </p:sp>
      <p:sp>
        <p:nvSpPr>
          <p:cNvPr id="43" name="gaoding-15">
            <a:extLst>
              <a:ext uri="{FF2B5EF4-FFF2-40B4-BE49-F238E27FC236}">
                <a16:creationId xmlns:a16="http://schemas.microsoft.com/office/drawing/2014/main" id="{DE37A901-B20F-4E8B-8A7E-B05DB2FD848C}"/>
              </a:ext>
            </a:extLst>
          </p:cNvPr>
          <p:cNvSpPr txBox="1"/>
          <p:nvPr/>
        </p:nvSpPr>
        <p:spPr>
          <a:xfrm>
            <a:off x="824237" y="4654809"/>
            <a:ext cx="2487288" cy="80643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拥有千余款模板线上到插件同步上新，覆盖商务、教育、金融等多用途场景</a:t>
            </a:r>
          </a:p>
        </p:txBody>
      </p:sp>
      <p:sp>
        <p:nvSpPr>
          <p:cNvPr id="45" name="gaoding-16">
            <a:extLst>
              <a:ext uri="{FF2B5EF4-FFF2-40B4-BE49-F238E27FC236}">
                <a16:creationId xmlns:a16="http://schemas.microsoft.com/office/drawing/2014/main" id="{D242DAD7-DC35-435B-A257-CBD404927B43}"/>
              </a:ext>
            </a:extLst>
          </p:cNvPr>
          <p:cNvSpPr/>
          <p:nvPr/>
        </p:nvSpPr>
        <p:spPr>
          <a:xfrm>
            <a:off x="1424311" y="2771373"/>
            <a:ext cx="1287140" cy="36933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20XX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EB372">
                      <a:lumMod val="5000"/>
                      <a:lumOff val="95000"/>
                    </a:srgbClr>
                  </a:gs>
                  <a:gs pos="100000">
                    <a:srgbClr val="FEB372">
                      <a:lumMod val="40000"/>
                      <a:lumOff val="60000"/>
                    </a:srgbClr>
                  </a:gs>
                </a:gsLst>
                <a:lin ang="0" scaled="0"/>
              </a:gra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+mn-lt"/>
            </a:endParaRPr>
          </a:p>
        </p:txBody>
      </p:sp>
      <p:sp>
        <p:nvSpPr>
          <p:cNvPr id="49" name="gaoding-17">
            <a:extLst>
              <a:ext uri="{FF2B5EF4-FFF2-40B4-BE49-F238E27FC236}">
                <a16:creationId xmlns:a16="http://schemas.microsoft.com/office/drawing/2014/main" id="{CF60930F-29B9-4457-8563-FE47698F8B21}"/>
              </a:ext>
            </a:extLst>
          </p:cNvPr>
          <p:cNvSpPr/>
          <p:nvPr/>
        </p:nvSpPr>
        <p:spPr>
          <a:xfrm>
            <a:off x="4940202" y="1823356"/>
            <a:ext cx="2311596" cy="2265687"/>
          </a:xfrm>
          <a:custGeom>
            <a:avLst/>
            <a:gdLst>
              <a:gd name="connsiteX0" fmla="*/ 1484673 w 2311596"/>
              <a:gd name="connsiteY0" fmla="*/ -260 h 2265687"/>
              <a:gd name="connsiteX1" fmla="*/ 1821473 w 2311596"/>
              <a:gd name="connsiteY1" fmla="*/ 168140 h 2265687"/>
              <a:gd name="connsiteX2" fmla="*/ 1499976 w 2311596"/>
              <a:gd name="connsiteY2" fmla="*/ 857019 h 2265687"/>
              <a:gd name="connsiteX3" fmla="*/ 2234809 w 2311596"/>
              <a:gd name="connsiteY3" fmla="*/ 688758 h 2265687"/>
              <a:gd name="connsiteX4" fmla="*/ 2311346 w 2311596"/>
              <a:gd name="connsiteY4" fmla="*/ 1056047 h 2265687"/>
              <a:gd name="connsiteX5" fmla="*/ 1576536 w 2311596"/>
              <a:gd name="connsiteY5" fmla="*/ 1224424 h 2265687"/>
              <a:gd name="connsiteX6" fmla="*/ 2173575 w 2311596"/>
              <a:gd name="connsiteY6" fmla="*/ 1698925 h 2265687"/>
              <a:gd name="connsiteX7" fmla="*/ 1943941 w 2311596"/>
              <a:gd name="connsiteY7" fmla="*/ 1989793 h 2265687"/>
              <a:gd name="connsiteX8" fmla="*/ 1346902 w 2311596"/>
              <a:gd name="connsiteY8" fmla="*/ 1515292 h 2265687"/>
              <a:gd name="connsiteX9" fmla="*/ 1346902 w 2311596"/>
              <a:gd name="connsiteY9" fmla="*/ 2265428 h 2265687"/>
              <a:gd name="connsiteX10" fmla="*/ 964194 w 2311596"/>
              <a:gd name="connsiteY10" fmla="*/ 2265428 h 2265687"/>
              <a:gd name="connsiteX11" fmla="*/ 964194 w 2311596"/>
              <a:gd name="connsiteY11" fmla="*/ 1515292 h 2265687"/>
              <a:gd name="connsiteX12" fmla="*/ 367155 w 2311596"/>
              <a:gd name="connsiteY12" fmla="*/ 1989862 h 2265687"/>
              <a:gd name="connsiteX13" fmla="*/ 137521 w 2311596"/>
              <a:gd name="connsiteY13" fmla="*/ 1698925 h 2265687"/>
              <a:gd name="connsiteX14" fmla="*/ 734560 w 2311596"/>
              <a:gd name="connsiteY14" fmla="*/ 1224354 h 2265687"/>
              <a:gd name="connsiteX15" fmla="*/ -250 w 2311596"/>
              <a:gd name="connsiteY15" fmla="*/ 1056047 h 2265687"/>
              <a:gd name="connsiteX16" fmla="*/ 76287 w 2311596"/>
              <a:gd name="connsiteY16" fmla="*/ 688758 h 2265687"/>
              <a:gd name="connsiteX17" fmla="*/ 811120 w 2311596"/>
              <a:gd name="connsiteY17" fmla="*/ 857019 h 2265687"/>
              <a:gd name="connsiteX18" fmla="*/ 489647 w 2311596"/>
              <a:gd name="connsiteY18" fmla="*/ 168163 h 2265687"/>
              <a:gd name="connsiteX19" fmla="*/ 826446 w 2311596"/>
              <a:gd name="connsiteY19" fmla="*/ -237 h 2265687"/>
              <a:gd name="connsiteX20" fmla="*/ 1147897 w 2311596"/>
              <a:gd name="connsiteY20" fmla="*/ 688758 h 22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11596" h="2265687">
                <a:moveTo>
                  <a:pt x="1484673" y="-260"/>
                </a:moveTo>
                <a:lnTo>
                  <a:pt x="1821473" y="168140"/>
                </a:lnTo>
                <a:lnTo>
                  <a:pt x="1499976" y="857019"/>
                </a:lnTo>
                <a:lnTo>
                  <a:pt x="2234809" y="688758"/>
                </a:lnTo>
                <a:lnTo>
                  <a:pt x="2311346" y="1056047"/>
                </a:lnTo>
                <a:lnTo>
                  <a:pt x="1576536" y="1224424"/>
                </a:lnTo>
                <a:lnTo>
                  <a:pt x="2173575" y="1698925"/>
                </a:lnTo>
                <a:lnTo>
                  <a:pt x="1943941" y="1989793"/>
                </a:lnTo>
                <a:lnTo>
                  <a:pt x="1346902" y="1515292"/>
                </a:lnTo>
                <a:lnTo>
                  <a:pt x="1346902" y="2265428"/>
                </a:lnTo>
                <a:lnTo>
                  <a:pt x="964194" y="2265428"/>
                </a:lnTo>
                <a:lnTo>
                  <a:pt x="964194" y="1515292"/>
                </a:lnTo>
                <a:lnTo>
                  <a:pt x="367155" y="1989862"/>
                </a:lnTo>
                <a:lnTo>
                  <a:pt x="137521" y="1698925"/>
                </a:lnTo>
                <a:lnTo>
                  <a:pt x="734560" y="1224354"/>
                </a:lnTo>
                <a:lnTo>
                  <a:pt x="-250" y="1056047"/>
                </a:lnTo>
                <a:lnTo>
                  <a:pt x="76287" y="688758"/>
                </a:lnTo>
                <a:lnTo>
                  <a:pt x="811120" y="857019"/>
                </a:lnTo>
                <a:lnTo>
                  <a:pt x="489647" y="168163"/>
                </a:lnTo>
                <a:lnTo>
                  <a:pt x="826446" y="-237"/>
                </a:lnTo>
                <a:lnTo>
                  <a:pt x="1147897" y="688758"/>
                </a:lnTo>
                <a:close/>
              </a:path>
            </a:pathLst>
          </a:custGeom>
          <a:solidFill>
            <a:schemeClr val="tx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0" name="gaoding-18">
            <a:extLst>
              <a:ext uri="{FF2B5EF4-FFF2-40B4-BE49-F238E27FC236}">
                <a16:creationId xmlns:a16="http://schemas.microsoft.com/office/drawing/2014/main" id="{C562761E-2A09-46F4-B6E2-FC71D56F5859}"/>
              </a:ext>
            </a:extLst>
          </p:cNvPr>
          <p:cNvSpPr/>
          <p:nvPr/>
        </p:nvSpPr>
        <p:spPr>
          <a:xfrm>
            <a:off x="5429998" y="2290037"/>
            <a:ext cx="1332004" cy="133200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51" name="gaoding-19">
            <a:extLst>
              <a:ext uri="{FF2B5EF4-FFF2-40B4-BE49-F238E27FC236}">
                <a16:creationId xmlns:a16="http://schemas.microsoft.com/office/drawing/2014/main" id="{7E1343F7-0E66-4A2C-BC88-D41CCE12577C}"/>
              </a:ext>
            </a:extLst>
          </p:cNvPr>
          <p:cNvCxnSpPr>
            <a:cxnSpLocks/>
          </p:cNvCxnSpPr>
          <p:nvPr/>
        </p:nvCxnSpPr>
        <p:spPr>
          <a:xfrm>
            <a:off x="7648106" y="2956115"/>
            <a:ext cx="1141493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gaoding-20">
            <a:extLst>
              <a:ext uri="{FF2B5EF4-FFF2-40B4-BE49-F238E27FC236}">
                <a16:creationId xmlns:a16="http://schemas.microsoft.com/office/drawing/2014/main" id="{D38DAFEC-129D-439D-BA56-C7C091A4C4EA}"/>
              </a:ext>
            </a:extLst>
          </p:cNvPr>
          <p:cNvSpPr/>
          <p:nvPr/>
        </p:nvSpPr>
        <p:spPr>
          <a:xfrm flipH="1" flipV="1">
            <a:off x="8633984" y="2635933"/>
            <a:ext cx="320106" cy="320106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5" name="gaoding-21">
            <a:extLst>
              <a:ext uri="{FF2B5EF4-FFF2-40B4-BE49-F238E27FC236}">
                <a16:creationId xmlns:a16="http://schemas.microsoft.com/office/drawing/2014/main" id="{BA6C0FEC-49F4-42F4-8757-C6DE6E71B049}"/>
              </a:ext>
            </a:extLst>
          </p:cNvPr>
          <p:cNvSpPr/>
          <p:nvPr/>
        </p:nvSpPr>
        <p:spPr>
          <a:xfrm flipH="1">
            <a:off x="8633984" y="2956039"/>
            <a:ext cx="320106" cy="320106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6" name="gaoding-22">
            <a:extLst>
              <a:ext uri="{FF2B5EF4-FFF2-40B4-BE49-F238E27FC236}">
                <a16:creationId xmlns:a16="http://schemas.microsoft.com/office/drawing/2014/main" id="{4CB7E865-2286-43A6-9F33-F6643841B61B}"/>
              </a:ext>
            </a:extLst>
          </p:cNvPr>
          <p:cNvSpPr/>
          <p:nvPr/>
        </p:nvSpPr>
        <p:spPr>
          <a:xfrm>
            <a:off x="5322258" y="4285477"/>
            <a:ext cx="1547484" cy="338554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多用途场景</a:t>
            </a:r>
          </a:p>
        </p:txBody>
      </p:sp>
      <p:sp>
        <p:nvSpPr>
          <p:cNvPr id="57" name="gaoding-23">
            <a:extLst>
              <a:ext uri="{FF2B5EF4-FFF2-40B4-BE49-F238E27FC236}">
                <a16:creationId xmlns:a16="http://schemas.microsoft.com/office/drawing/2014/main" id="{F2B7DB9F-AAA8-4235-BD46-E5950598F662}"/>
              </a:ext>
            </a:extLst>
          </p:cNvPr>
          <p:cNvSpPr txBox="1"/>
          <p:nvPr/>
        </p:nvSpPr>
        <p:spPr>
          <a:xfrm>
            <a:off x="4852356" y="4654809"/>
            <a:ext cx="2487288" cy="80643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丰富的信息图表覆盖并列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流程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层级等多种逻辑关系，帮助有效梳理页面内容</a:t>
            </a:r>
          </a:p>
        </p:txBody>
      </p:sp>
      <p:sp>
        <p:nvSpPr>
          <p:cNvPr id="60" name="gaoding-24">
            <a:extLst>
              <a:ext uri="{FF2B5EF4-FFF2-40B4-BE49-F238E27FC236}">
                <a16:creationId xmlns:a16="http://schemas.microsoft.com/office/drawing/2014/main" id="{2431ADE1-BC70-45B5-B594-6C0A12818ABE}"/>
              </a:ext>
            </a:extLst>
          </p:cNvPr>
          <p:cNvSpPr/>
          <p:nvPr/>
        </p:nvSpPr>
        <p:spPr>
          <a:xfrm>
            <a:off x="5452430" y="2771373"/>
            <a:ext cx="1287140" cy="36933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20XX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+mn-lt"/>
            </a:endParaRPr>
          </a:p>
        </p:txBody>
      </p:sp>
      <p:sp>
        <p:nvSpPr>
          <p:cNvPr id="62" name="gaoding-25">
            <a:extLst>
              <a:ext uri="{FF2B5EF4-FFF2-40B4-BE49-F238E27FC236}">
                <a16:creationId xmlns:a16="http://schemas.microsoft.com/office/drawing/2014/main" id="{977F90FF-AF0E-4915-B2AB-98FA364E21EF}"/>
              </a:ext>
            </a:extLst>
          </p:cNvPr>
          <p:cNvSpPr/>
          <p:nvPr/>
        </p:nvSpPr>
        <p:spPr>
          <a:xfrm>
            <a:off x="8968321" y="1823356"/>
            <a:ext cx="2311596" cy="2265687"/>
          </a:xfrm>
          <a:custGeom>
            <a:avLst/>
            <a:gdLst>
              <a:gd name="connsiteX0" fmla="*/ 1484673 w 2311596"/>
              <a:gd name="connsiteY0" fmla="*/ -260 h 2265687"/>
              <a:gd name="connsiteX1" fmla="*/ 1821473 w 2311596"/>
              <a:gd name="connsiteY1" fmla="*/ 168140 h 2265687"/>
              <a:gd name="connsiteX2" fmla="*/ 1499976 w 2311596"/>
              <a:gd name="connsiteY2" fmla="*/ 857019 h 2265687"/>
              <a:gd name="connsiteX3" fmla="*/ 2234809 w 2311596"/>
              <a:gd name="connsiteY3" fmla="*/ 688758 h 2265687"/>
              <a:gd name="connsiteX4" fmla="*/ 2311346 w 2311596"/>
              <a:gd name="connsiteY4" fmla="*/ 1056047 h 2265687"/>
              <a:gd name="connsiteX5" fmla="*/ 1576536 w 2311596"/>
              <a:gd name="connsiteY5" fmla="*/ 1224424 h 2265687"/>
              <a:gd name="connsiteX6" fmla="*/ 2173575 w 2311596"/>
              <a:gd name="connsiteY6" fmla="*/ 1698925 h 2265687"/>
              <a:gd name="connsiteX7" fmla="*/ 1943941 w 2311596"/>
              <a:gd name="connsiteY7" fmla="*/ 1989793 h 2265687"/>
              <a:gd name="connsiteX8" fmla="*/ 1346902 w 2311596"/>
              <a:gd name="connsiteY8" fmla="*/ 1515292 h 2265687"/>
              <a:gd name="connsiteX9" fmla="*/ 1346902 w 2311596"/>
              <a:gd name="connsiteY9" fmla="*/ 2265428 h 2265687"/>
              <a:gd name="connsiteX10" fmla="*/ 964194 w 2311596"/>
              <a:gd name="connsiteY10" fmla="*/ 2265428 h 2265687"/>
              <a:gd name="connsiteX11" fmla="*/ 964194 w 2311596"/>
              <a:gd name="connsiteY11" fmla="*/ 1515292 h 2265687"/>
              <a:gd name="connsiteX12" fmla="*/ 367155 w 2311596"/>
              <a:gd name="connsiteY12" fmla="*/ 1989862 h 2265687"/>
              <a:gd name="connsiteX13" fmla="*/ 137521 w 2311596"/>
              <a:gd name="connsiteY13" fmla="*/ 1698925 h 2265687"/>
              <a:gd name="connsiteX14" fmla="*/ 734560 w 2311596"/>
              <a:gd name="connsiteY14" fmla="*/ 1224354 h 2265687"/>
              <a:gd name="connsiteX15" fmla="*/ -250 w 2311596"/>
              <a:gd name="connsiteY15" fmla="*/ 1056047 h 2265687"/>
              <a:gd name="connsiteX16" fmla="*/ 76287 w 2311596"/>
              <a:gd name="connsiteY16" fmla="*/ 688758 h 2265687"/>
              <a:gd name="connsiteX17" fmla="*/ 811120 w 2311596"/>
              <a:gd name="connsiteY17" fmla="*/ 857019 h 2265687"/>
              <a:gd name="connsiteX18" fmla="*/ 489647 w 2311596"/>
              <a:gd name="connsiteY18" fmla="*/ 168163 h 2265687"/>
              <a:gd name="connsiteX19" fmla="*/ 826446 w 2311596"/>
              <a:gd name="connsiteY19" fmla="*/ -237 h 2265687"/>
              <a:gd name="connsiteX20" fmla="*/ 1147897 w 2311596"/>
              <a:gd name="connsiteY20" fmla="*/ 688758 h 22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11596" h="2265687">
                <a:moveTo>
                  <a:pt x="1484673" y="-260"/>
                </a:moveTo>
                <a:lnTo>
                  <a:pt x="1821473" y="168140"/>
                </a:lnTo>
                <a:lnTo>
                  <a:pt x="1499976" y="857019"/>
                </a:lnTo>
                <a:lnTo>
                  <a:pt x="2234809" y="688758"/>
                </a:lnTo>
                <a:lnTo>
                  <a:pt x="2311346" y="1056047"/>
                </a:lnTo>
                <a:lnTo>
                  <a:pt x="1576536" y="1224424"/>
                </a:lnTo>
                <a:lnTo>
                  <a:pt x="2173575" y="1698925"/>
                </a:lnTo>
                <a:lnTo>
                  <a:pt x="1943941" y="1989793"/>
                </a:lnTo>
                <a:lnTo>
                  <a:pt x="1346902" y="1515292"/>
                </a:lnTo>
                <a:lnTo>
                  <a:pt x="1346902" y="2265428"/>
                </a:lnTo>
                <a:lnTo>
                  <a:pt x="964194" y="2265428"/>
                </a:lnTo>
                <a:lnTo>
                  <a:pt x="964194" y="1515292"/>
                </a:lnTo>
                <a:lnTo>
                  <a:pt x="367155" y="1989862"/>
                </a:lnTo>
                <a:lnTo>
                  <a:pt x="137521" y="1698925"/>
                </a:lnTo>
                <a:lnTo>
                  <a:pt x="734560" y="1224354"/>
                </a:lnTo>
                <a:lnTo>
                  <a:pt x="-250" y="1056047"/>
                </a:lnTo>
                <a:lnTo>
                  <a:pt x="76287" y="688758"/>
                </a:lnTo>
                <a:lnTo>
                  <a:pt x="811120" y="857019"/>
                </a:lnTo>
                <a:lnTo>
                  <a:pt x="489647" y="168163"/>
                </a:lnTo>
                <a:lnTo>
                  <a:pt x="826446" y="-237"/>
                </a:lnTo>
                <a:lnTo>
                  <a:pt x="1147897" y="688758"/>
                </a:lnTo>
                <a:close/>
              </a:path>
            </a:pathLst>
          </a:custGeom>
          <a:solidFill>
            <a:schemeClr val="bg1"/>
          </a:solidFill>
          <a:ln w="230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3" name="gaoding-26">
            <a:extLst>
              <a:ext uri="{FF2B5EF4-FFF2-40B4-BE49-F238E27FC236}">
                <a16:creationId xmlns:a16="http://schemas.microsoft.com/office/drawing/2014/main" id="{55FD9E98-FBC9-4FF0-8A63-773E0E9B50A2}"/>
              </a:ext>
            </a:extLst>
          </p:cNvPr>
          <p:cNvSpPr/>
          <p:nvPr/>
        </p:nvSpPr>
        <p:spPr>
          <a:xfrm>
            <a:off x="9458117" y="2290037"/>
            <a:ext cx="1332004" cy="1332004"/>
          </a:xfrm>
          <a:prstGeom prst="ellipse">
            <a:avLst/>
          </a:prstGeom>
          <a:solidFill>
            <a:schemeClr val="tx1"/>
          </a:solidFill>
          <a:ln w="254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7" name="gaoding-27">
            <a:extLst>
              <a:ext uri="{FF2B5EF4-FFF2-40B4-BE49-F238E27FC236}">
                <a16:creationId xmlns:a16="http://schemas.microsoft.com/office/drawing/2014/main" id="{E51F3A29-F6F7-46E3-B6CF-B1352443735B}"/>
              </a:ext>
            </a:extLst>
          </p:cNvPr>
          <p:cNvSpPr/>
          <p:nvPr/>
        </p:nvSpPr>
        <p:spPr>
          <a:xfrm>
            <a:off x="9350377" y="4285477"/>
            <a:ext cx="1547484" cy="338554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强大表现力</a:t>
            </a:r>
          </a:p>
        </p:txBody>
      </p:sp>
      <p:sp>
        <p:nvSpPr>
          <p:cNvPr id="68" name="gaoding-28">
            <a:extLst>
              <a:ext uri="{FF2B5EF4-FFF2-40B4-BE49-F238E27FC236}">
                <a16:creationId xmlns:a16="http://schemas.microsoft.com/office/drawing/2014/main" id="{0FBE5D52-FFC6-4E7E-91F7-8E4EFC93C8AB}"/>
              </a:ext>
            </a:extLst>
          </p:cNvPr>
          <p:cNvSpPr txBox="1"/>
          <p:nvPr/>
        </p:nvSpPr>
        <p:spPr>
          <a:xfrm>
            <a:off x="8880475" y="4654809"/>
            <a:ext cx="2487288" cy="80643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借助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插件，通过添加图片等素材，用强大的视觉表现力打动听众，讲述生动的演示故事</a:t>
            </a:r>
          </a:p>
        </p:txBody>
      </p:sp>
      <p:sp>
        <p:nvSpPr>
          <p:cNvPr id="69" name="gaoding-29">
            <a:extLst>
              <a:ext uri="{FF2B5EF4-FFF2-40B4-BE49-F238E27FC236}">
                <a16:creationId xmlns:a16="http://schemas.microsoft.com/office/drawing/2014/main" id="{C72B365F-8B5C-4701-9B87-D8F82A98B662}"/>
              </a:ext>
            </a:extLst>
          </p:cNvPr>
          <p:cNvSpPr/>
          <p:nvPr/>
        </p:nvSpPr>
        <p:spPr>
          <a:xfrm>
            <a:off x="9480549" y="2771373"/>
            <a:ext cx="1287140" cy="36933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20XX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EB372">
                      <a:lumMod val="5000"/>
                      <a:lumOff val="95000"/>
                    </a:srgbClr>
                  </a:gs>
                  <a:gs pos="100000">
                    <a:srgbClr val="FEB372">
                      <a:lumMod val="40000"/>
                      <a:lumOff val="60000"/>
                    </a:srgbClr>
                  </a:gs>
                </a:gsLst>
                <a:lin ang="0" scaled="0"/>
              </a:gra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+mn-lt"/>
            </a:endParaRPr>
          </a:p>
        </p:txBody>
      </p:sp>
      <p:sp>
        <p:nvSpPr>
          <p:cNvPr id="61" name="gaoding-4">
            <a:extLst>
              <a:ext uri="{FF2B5EF4-FFF2-40B4-BE49-F238E27FC236}">
                <a16:creationId xmlns:a16="http://schemas.microsoft.com/office/drawing/2014/main" id="{D1031BF4-4864-4AF3-ABF4-0B514ECE59F6}"/>
              </a:ext>
            </a:extLst>
          </p:cNvPr>
          <p:cNvSpPr txBox="1"/>
          <p:nvPr/>
        </p:nvSpPr>
        <p:spPr>
          <a:xfrm>
            <a:off x="282221" y="257445"/>
            <a:ext cx="2957541" cy="492443"/>
          </a:xfrm>
          <a:prstGeom prst="rect">
            <a:avLst/>
          </a:prstGeom>
          <a:solidFill>
            <a:srgbClr val="000000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FEB372"/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YUMU Design</a:t>
            </a:r>
          </a:p>
        </p:txBody>
      </p:sp>
      <p:sp>
        <p:nvSpPr>
          <p:cNvPr id="64" name="gaoding-5">
            <a:extLst>
              <a:ext uri="{FF2B5EF4-FFF2-40B4-BE49-F238E27FC236}">
                <a16:creationId xmlns:a16="http://schemas.microsoft.com/office/drawing/2014/main" id="{C10F1091-10C4-40BA-A028-D17675555656}"/>
              </a:ext>
            </a:extLst>
          </p:cNvPr>
          <p:cNvSpPr txBox="1"/>
          <p:nvPr/>
        </p:nvSpPr>
        <p:spPr>
          <a:xfrm>
            <a:off x="307621" y="810139"/>
            <a:ext cx="300390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300" normalizeH="0" baseline="0" noProof="0" dirty="0">
                <a:ln>
                  <a:noFill/>
                </a:ln>
                <a:solidFill>
                  <a:prstClr val="white">
                    <a:alpha val="80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设计师</a:t>
            </a:r>
            <a:r>
              <a:rPr kumimoji="0" lang="en-US" altLang="zh-CN" sz="1050" b="0" i="0" u="none" strike="noStrike" kern="1200" cap="none" spc="300" normalizeH="0" baseline="0" noProof="0" dirty="0">
                <a:ln>
                  <a:noFill/>
                </a:ln>
                <a:solidFill>
                  <a:prstClr val="white">
                    <a:alpha val="80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PPT</a:t>
            </a:r>
            <a:r>
              <a:rPr kumimoji="0" lang="zh-CN" altLang="en-US" sz="1050" b="0" i="0" u="none" strike="noStrike" kern="1200" cap="none" spc="300" normalizeH="0" baseline="0" noProof="0" dirty="0">
                <a:ln>
                  <a:noFill/>
                </a:ln>
                <a:solidFill>
                  <a:prstClr val="white">
                    <a:alpha val="80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更快更轻松</a:t>
            </a:r>
          </a:p>
        </p:txBody>
      </p:sp>
    </p:spTree>
    <p:extLst>
      <p:ext uri="{BB962C8B-B14F-4D97-AF65-F5344CB8AC3E}">
        <p14:creationId xmlns:p14="http://schemas.microsoft.com/office/powerpoint/2010/main" val="26085295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aoding-1">
            <a:extLst>
              <a:ext uri="{FF2B5EF4-FFF2-40B4-BE49-F238E27FC236}">
                <a16:creationId xmlns:a16="http://schemas.microsoft.com/office/drawing/2014/main" id="{E0034BDB-AD0A-4339-ACAF-B98711ABAD0E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1205160" y="0"/>
            <a:chExt cx="12192000" cy="6858000"/>
          </a:xfrm>
        </p:grpSpPr>
        <p:sp>
          <p:nvSpPr>
            <p:cNvPr id="71" name="gaoding-1-1">
              <a:extLst>
                <a:ext uri="{FF2B5EF4-FFF2-40B4-BE49-F238E27FC236}">
                  <a16:creationId xmlns:a16="http://schemas.microsoft.com/office/drawing/2014/main" id="{0E052861-A24A-4B72-9E02-952C6CCAC4F7}"/>
                </a:ext>
              </a:extLst>
            </p:cNvPr>
            <p:cNvSpPr/>
            <p:nvPr/>
          </p:nvSpPr>
          <p:spPr>
            <a:xfrm>
              <a:off x="1205160" y="0"/>
              <a:ext cx="12192000" cy="6858000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endParaRPr>
            </a:p>
          </p:txBody>
        </p:sp>
        <p:pic>
          <p:nvPicPr>
            <p:cNvPr id="72" name="gaoding-1-2">
              <a:extLst>
                <a:ext uri="{FF2B5EF4-FFF2-40B4-BE49-F238E27FC236}">
                  <a16:creationId xmlns:a16="http://schemas.microsoft.com/office/drawing/2014/main" id="{C87D93BF-44F4-4CAA-8293-CE3023045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5134" y="0"/>
              <a:ext cx="12172053" cy="6858000"/>
            </a:xfrm>
            <a:prstGeom prst="rect">
              <a:avLst/>
            </a:prstGeom>
          </p:spPr>
        </p:pic>
      </p:grpSp>
      <p:cxnSp>
        <p:nvCxnSpPr>
          <p:cNvPr id="48" name="gaoding-3">
            <a:extLst>
              <a:ext uri="{FF2B5EF4-FFF2-40B4-BE49-F238E27FC236}">
                <a16:creationId xmlns:a16="http://schemas.microsoft.com/office/drawing/2014/main" id="{ACCE2512-2B9D-47FD-AEFD-1DE440E9AA83}"/>
              </a:ext>
            </a:extLst>
          </p:cNvPr>
          <p:cNvCxnSpPr>
            <a:cxnSpLocks/>
          </p:cNvCxnSpPr>
          <p:nvPr/>
        </p:nvCxnSpPr>
        <p:spPr>
          <a:xfrm>
            <a:off x="1192910" y="519080"/>
            <a:ext cx="96190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aoding-6">
            <a:extLst>
              <a:ext uri="{FF2B5EF4-FFF2-40B4-BE49-F238E27FC236}">
                <a16:creationId xmlns:a16="http://schemas.microsoft.com/office/drawing/2014/main" id="{F5BB6ECC-674B-4BE8-A523-B1C82D41D1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0897861" y="409575"/>
            <a:ext cx="223480" cy="219010"/>
          </a:xfrm>
          <a:prstGeom prst="rect">
            <a:avLst/>
          </a:prstGeom>
        </p:spPr>
      </p:pic>
      <p:pic>
        <p:nvPicPr>
          <p:cNvPr id="58" name="gaoding-7">
            <a:extLst>
              <a:ext uri="{FF2B5EF4-FFF2-40B4-BE49-F238E27FC236}">
                <a16:creationId xmlns:a16="http://schemas.microsoft.com/office/drawing/2014/main" id="{82CB3083-B910-4442-B59C-C321462DD5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1171935" y="409575"/>
            <a:ext cx="223480" cy="219010"/>
          </a:xfrm>
          <a:prstGeom prst="rect">
            <a:avLst/>
          </a:prstGeom>
        </p:spPr>
      </p:pic>
      <p:pic>
        <p:nvPicPr>
          <p:cNvPr id="59" name="gaoding-8">
            <a:extLst>
              <a:ext uri="{FF2B5EF4-FFF2-40B4-BE49-F238E27FC236}">
                <a16:creationId xmlns:a16="http://schemas.microsoft.com/office/drawing/2014/main" id="{9DC27AE4-2DD7-414D-9AAB-44294C492C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446008" y="409575"/>
            <a:ext cx="223480" cy="219010"/>
          </a:xfrm>
          <a:prstGeom prst="rect">
            <a:avLst/>
          </a:prstGeom>
        </p:spPr>
      </p:pic>
      <p:sp>
        <p:nvSpPr>
          <p:cNvPr id="61" name="gaoding-4">
            <a:extLst>
              <a:ext uri="{FF2B5EF4-FFF2-40B4-BE49-F238E27FC236}">
                <a16:creationId xmlns:a16="http://schemas.microsoft.com/office/drawing/2014/main" id="{D1031BF4-4864-4AF3-ABF4-0B514ECE59F6}"/>
              </a:ext>
            </a:extLst>
          </p:cNvPr>
          <p:cNvSpPr txBox="1"/>
          <p:nvPr/>
        </p:nvSpPr>
        <p:spPr>
          <a:xfrm>
            <a:off x="282221" y="257445"/>
            <a:ext cx="2957541" cy="492443"/>
          </a:xfrm>
          <a:prstGeom prst="rect">
            <a:avLst/>
          </a:prstGeom>
          <a:solidFill>
            <a:srgbClr val="000000"/>
          </a:solidFill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FEB372"/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YUMU Design</a:t>
            </a:r>
          </a:p>
        </p:txBody>
      </p:sp>
      <p:sp>
        <p:nvSpPr>
          <p:cNvPr id="64" name="gaoding-5">
            <a:extLst>
              <a:ext uri="{FF2B5EF4-FFF2-40B4-BE49-F238E27FC236}">
                <a16:creationId xmlns:a16="http://schemas.microsoft.com/office/drawing/2014/main" id="{C10F1091-10C4-40BA-A028-D17675555656}"/>
              </a:ext>
            </a:extLst>
          </p:cNvPr>
          <p:cNvSpPr txBox="1"/>
          <p:nvPr/>
        </p:nvSpPr>
        <p:spPr>
          <a:xfrm>
            <a:off x="307621" y="810139"/>
            <a:ext cx="300390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300" normalizeH="0" baseline="0" noProof="0" dirty="0">
                <a:ln>
                  <a:noFill/>
                </a:ln>
                <a:solidFill>
                  <a:prstClr val="white">
                    <a:alpha val="80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设计师</a:t>
            </a:r>
            <a:r>
              <a:rPr kumimoji="0" lang="en-US" altLang="zh-CN" sz="1050" b="0" i="0" u="none" strike="noStrike" kern="1200" cap="none" spc="300" normalizeH="0" baseline="0" noProof="0" dirty="0">
                <a:ln>
                  <a:noFill/>
                </a:ln>
                <a:solidFill>
                  <a:prstClr val="white">
                    <a:alpha val="80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PPT</a:t>
            </a:r>
            <a:r>
              <a:rPr kumimoji="0" lang="zh-CN" altLang="en-US" sz="1050" b="0" i="0" u="none" strike="noStrike" kern="1200" cap="none" spc="300" normalizeH="0" baseline="0" noProof="0" dirty="0">
                <a:ln>
                  <a:noFill/>
                </a:ln>
                <a:solidFill>
                  <a:prstClr val="white">
                    <a:alpha val="80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更快更轻松</a:t>
            </a:r>
          </a:p>
        </p:txBody>
      </p:sp>
      <p:sp>
        <p:nvSpPr>
          <p:cNvPr id="26" name="gaoding-9">
            <a:extLst>
              <a:ext uri="{FF2B5EF4-FFF2-40B4-BE49-F238E27FC236}">
                <a16:creationId xmlns:a16="http://schemas.microsoft.com/office/drawing/2014/main" id="{0C1A1F81-C0BF-4178-A0D7-38FE0B6159DF}"/>
              </a:ext>
            </a:extLst>
          </p:cNvPr>
          <p:cNvSpPr/>
          <p:nvPr/>
        </p:nvSpPr>
        <p:spPr>
          <a:xfrm>
            <a:off x="849329" y="1997569"/>
            <a:ext cx="1689736" cy="1656177"/>
          </a:xfrm>
          <a:custGeom>
            <a:avLst/>
            <a:gdLst>
              <a:gd name="connsiteX0" fmla="*/ 1484673 w 2311596"/>
              <a:gd name="connsiteY0" fmla="*/ -260 h 2265687"/>
              <a:gd name="connsiteX1" fmla="*/ 1821473 w 2311596"/>
              <a:gd name="connsiteY1" fmla="*/ 168140 h 2265687"/>
              <a:gd name="connsiteX2" fmla="*/ 1499976 w 2311596"/>
              <a:gd name="connsiteY2" fmla="*/ 857019 h 2265687"/>
              <a:gd name="connsiteX3" fmla="*/ 2234809 w 2311596"/>
              <a:gd name="connsiteY3" fmla="*/ 688758 h 2265687"/>
              <a:gd name="connsiteX4" fmla="*/ 2311346 w 2311596"/>
              <a:gd name="connsiteY4" fmla="*/ 1056047 h 2265687"/>
              <a:gd name="connsiteX5" fmla="*/ 1576536 w 2311596"/>
              <a:gd name="connsiteY5" fmla="*/ 1224424 h 2265687"/>
              <a:gd name="connsiteX6" fmla="*/ 2173575 w 2311596"/>
              <a:gd name="connsiteY6" fmla="*/ 1698925 h 2265687"/>
              <a:gd name="connsiteX7" fmla="*/ 1943941 w 2311596"/>
              <a:gd name="connsiteY7" fmla="*/ 1989793 h 2265687"/>
              <a:gd name="connsiteX8" fmla="*/ 1346902 w 2311596"/>
              <a:gd name="connsiteY8" fmla="*/ 1515292 h 2265687"/>
              <a:gd name="connsiteX9" fmla="*/ 1346902 w 2311596"/>
              <a:gd name="connsiteY9" fmla="*/ 2265428 h 2265687"/>
              <a:gd name="connsiteX10" fmla="*/ 964194 w 2311596"/>
              <a:gd name="connsiteY10" fmla="*/ 2265428 h 2265687"/>
              <a:gd name="connsiteX11" fmla="*/ 964194 w 2311596"/>
              <a:gd name="connsiteY11" fmla="*/ 1515292 h 2265687"/>
              <a:gd name="connsiteX12" fmla="*/ 367155 w 2311596"/>
              <a:gd name="connsiteY12" fmla="*/ 1989862 h 2265687"/>
              <a:gd name="connsiteX13" fmla="*/ 137521 w 2311596"/>
              <a:gd name="connsiteY13" fmla="*/ 1698925 h 2265687"/>
              <a:gd name="connsiteX14" fmla="*/ 734560 w 2311596"/>
              <a:gd name="connsiteY14" fmla="*/ 1224354 h 2265687"/>
              <a:gd name="connsiteX15" fmla="*/ -250 w 2311596"/>
              <a:gd name="connsiteY15" fmla="*/ 1056047 h 2265687"/>
              <a:gd name="connsiteX16" fmla="*/ 76287 w 2311596"/>
              <a:gd name="connsiteY16" fmla="*/ 688758 h 2265687"/>
              <a:gd name="connsiteX17" fmla="*/ 811120 w 2311596"/>
              <a:gd name="connsiteY17" fmla="*/ 857019 h 2265687"/>
              <a:gd name="connsiteX18" fmla="*/ 489647 w 2311596"/>
              <a:gd name="connsiteY18" fmla="*/ 168163 h 2265687"/>
              <a:gd name="connsiteX19" fmla="*/ 826446 w 2311596"/>
              <a:gd name="connsiteY19" fmla="*/ -237 h 2265687"/>
              <a:gd name="connsiteX20" fmla="*/ 1147897 w 2311596"/>
              <a:gd name="connsiteY20" fmla="*/ 688758 h 22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11596" h="2265687">
                <a:moveTo>
                  <a:pt x="1484673" y="-260"/>
                </a:moveTo>
                <a:lnTo>
                  <a:pt x="1821473" y="168140"/>
                </a:lnTo>
                <a:lnTo>
                  <a:pt x="1499976" y="857019"/>
                </a:lnTo>
                <a:lnTo>
                  <a:pt x="2234809" y="688758"/>
                </a:lnTo>
                <a:lnTo>
                  <a:pt x="2311346" y="1056047"/>
                </a:lnTo>
                <a:lnTo>
                  <a:pt x="1576536" y="1224424"/>
                </a:lnTo>
                <a:lnTo>
                  <a:pt x="2173575" y="1698925"/>
                </a:lnTo>
                <a:lnTo>
                  <a:pt x="1943941" y="1989793"/>
                </a:lnTo>
                <a:lnTo>
                  <a:pt x="1346902" y="1515292"/>
                </a:lnTo>
                <a:lnTo>
                  <a:pt x="1346902" y="2265428"/>
                </a:lnTo>
                <a:lnTo>
                  <a:pt x="964194" y="2265428"/>
                </a:lnTo>
                <a:lnTo>
                  <a:pt x="964194" y="1515292"/>
                </a:lnTo>
                <a:lnTo>
                  <a:pt x="367155" y="1989862"/>
                </a:lnTo>
                <a:lnTo>
                  <a:pt x="137521" y="1698925"/>
                </a:lnTo>
                <a:lnTo>
                  <a:pt x="734560" y="1224354"/>
                </a:lnTo>
                <a:lnTo>
                  <a:pt x="-250" y="1056047"/>
                </a:lnTo>
                <a:lnTo>
                  <a:pt x="76287" y="688758"/>
                </a:lnTo>
                <a:lnTo>
                  <a:pt x="811120" y="857019"/>
                </a:lnTo>
                <a:lnTo>
                  <a:pt x="489647" y="168163"/>
                </a:lnTo>
                <a:lnTo>
                  <a:pt x="826446" y="-237"/>
                </a:lnTo>
                <a:lnTo>
                  <a:pt x="1147897" y="688758"/>
                </a:lnTo>
                <a:close/>
              </a:path>
            </a:pathLst>
          </a:custGeom>
          <a:solidFill>
            <a:schemeClr val="bg1"/>
          </a:solidFill>
          <a:ln w="230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5" name="gaoding-10">
            <a:extLst>
              <a:ext uri="{FF2B5EF4-FFF2-40B4-BE49-F238E27FC236}">
                <a16:creationId xmlns:a16="http://schemas.microsoft.com/office/drawing/2014/main" id="{19F021BD-DFDE-466D-8517-CB38B3FC0802}"/>
              </a:ext>
            </a:extLst>
          </p:cNvPr>
          <p:cNvSpPr/>
          <p:nvPr/>
        </p:nvSpPr>
        <p:spPr>
          <a:xfrm>
            <a:off x="1207361" y="2338705"/>
            <a:ext cx="973671" cy="973671"/>
          </a:xfrm>
          <a:prstGeom prst="ellipse">
            <a:avLst/>
          </a:prstGeom>
          <a:solidFill>
            <a:schemeClr val="tx1"/>
          </a:solidFill>
          <a:ln w="254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37" name="gaoding-11">
            <a:extLst>
              <a:ext uri="{FF2B5EF4-FFF2-40B4-BE49-F238E27FC236}">
                <a16:creationId xmlns:a16="http://schemas.microsoft.com/office/drawing/2014/main" id="{6AE8F489-0066-465B-A8AD-603CE2ADEDB0}"/>
              </a:ext>
            </a:extLst>
          </p:cNvPr>
          <p:cNvCxnSpPr>
            <a:cxnSpLocks/>
          </p:cNvCxnSpPr>
          <p:nvPr/>
        </p:nvCxnSpPr>
        <p:spPr>
          <a:xfrm>
            <a:off x="2828759" y="2825596"/>
            <a:ext cx="83441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gaoding-12">
            <a:extLst>
              <a:ext uri="{FF2B5EF4-FFF2-40B4-BE49-F238E27FC236}">
                <a16:creationId xmlns:a16="http://schemas.microsoft.com/office/drawing/2014/main" id="{62F3C5AA-F303-4ECB-A6F5-A4781D524A51}"/>
              </a:ext>
            </a:extLst>
          </p:cNvPr>
          <p:cNvSpPr/>
          <p:nvPr/>
        </p:nvSpPr>
        <p:spPr>
          <a:xfrm flipH="1" flipV="1">
            <a:off x="3549418" y="2591548"/>
            <a:ext cx="233992" cy="233992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9" name="gaoding-13">
            <a:extLst>
              <a:ext uri="{FF2B5EF4-FFF2-40B4-BE49-F238E27FC236}">
                <a16:creationId xmlns:a16="http://schemas.microsoft.com/office/drawing/2014/main" id="{C4E6E719-B8E9-4515-800A-6AC055DF6AFC}"/>
              </a:ext>
            </a:extLst>
          </p:cNvPr>
          <p:cNvSpPr/>
          <p:nvPr/>
        </p:nvSpPr>
        <p:spPr>
          <a:xfrm flipH="1">
            <a:off x="3549418" y="2825540"/>
            <a:ext cx="233992" cy="233992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1" name="gaoding-14">
            <a:extLst>
              <a:ext uri="{FF2B5EF4-FFF2-40B4-BE49-F238E27FC236}">
                <a16:creationId xmlns:a16="http://schemas.microsoft.com/office/drawing/2014/main" id="{B4D5F6CE-1B3C-4A57-B9DB-C10B38D2B487}"/>
              </a:ext>
            </a:extLst>
          </p:cNvPr>
          <p:cNvSpPr/>
          <p:nvPr/>
        </p:nvSpPr>
        <p:spPr>
          <a:xfrm>
            <a:off x="965009" y="3850550"/>
            <a:ext cx="1458376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更快更轻松</a:t>
            </a:r>
          </a:p>
        </p:txBody>
      </p:sp>
      <p:sp>
        <p:nvSpPr>
          <p:cNvPr id="43" name="gaoding-15">
            <a:extLst>
              <a:ext uri="{FF2B5EF4-FFF2-40B4-BE49-F238E27FC236}">
                <a16:creationId xmlns:a16="http://schemas.microsoft.com/office/drawing/2014/main" id="{DE37A901-B20F-4E8B-8A7E-B05DB2FD848C}"/>
              </a:ext>
            </a:extLst>
          </p:cNvPr>
          <p:cNvSpPr txBox="1"/>
          <p:nvPr/>
        </p:nvSpPr>
        <p:spPr>
          <a:xfrm>
            <a:off x="559634" y="4189075"/>
            <a:ext cx="2269126" cy="80643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拥有千余款模板线上到插件同步上新，覆盖商务、教育、金融等多用途场景</a:t>
            </a:r>
          </a:p>
        </p:txBody>
      </p:sp>
      <p:sp>
        <p:nvSpPr>
          <p:cNvPr id="45" name="gaoding-16">
            <a:extLst>
              <a:ext uri="{FF2B5EF4-FFF2-40B4-BE49-F238E27FC236}">
                <a16:creationId xmlns:a16="http://schemas.microsoft.com/office/drawing/2014/main" id="{D242DAD7-DC35-435B-A257-CBD404927B43}"/>
              </a:ext>
            </a:extLst>
          </p:cNvPr>
          <p:cNvSpPr/>
          <p:nvPr/>
        </p:nvSpPr>
        <p:spPr>
          <a:xfrm>
            <a:off x="1223758" y="2690553"/>
            <a:ext cx="940876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20XX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EB372">
                      <a:lumMod val="5000"/>
                      <a:lumOff val="95000"/>
                    </a:srgbClr>
                  </a:gs>
                  <a:gs pos="100000">
                    <a:srgbClr val="FEB372">
                      <a:lumMod val="40000"/>
                      <a:lumOff val="60000"/>
                    </a:srgbClr>
                  </a:gs>
                </a:gsLst>
                <a:lin ang="0" scaled="0"/>
              </a:gra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+mn-lt"/>
            </a:endParaRPr>
          </a:p>
        </p:txBody>
      </p:sp>
      <p:sp>
        <p:nvSpPr>
          <p:cNvPr id="49" name="gaoding-17">
            <a:extLst>
              <a:ext uri="{FF2B5EF4-FFF2-40B4-BE49-F238E27FC236}">
                <a16:creationId xmlns:a16="http://schemas.microsoft.com/office/drawing/2014/main" id="{CF60930F-29B9-4457-8563-FE47698F8B21}"/>
              </a:ext>
            </a:extLst>
          </p:cNvPr>
          <p:cNvSpPr/>
          <p:nvPr/>
        </p:nvSpPr>
        <p:spPr>
          <a:xfrm>
            <a:off x="3793812" y="1997569"/>
            <a:ext cx="1689736" cy="1656177"/>
          </a:xfrm>
          <a:custGeom>
            <a:avLst/>
            <a:gdLst>
              <a:gd name="connsiteX0" fmla="*/ 1484673 w 2311596"/>
              <a:gd name="connsiteY0" fmla="*/ -260 h 2265687"/>
              <a:gd name="connsiteX1" fmla="*/ 1821473 w 2311596"/>
              <a:gd name="connsiteY1" fmla="*/ 168140 h 2265687"/>
              <a:gd name="connsiteX2" fmla="*/ 1499976 w 2311596"/>
              <a:gd name="connsiteY2" fmla="*/ 857019 h 2265687"/>
              <a:gd name="connsiteX3" fmla="*/ 2234809 w 2311596"/>
              <a:gd name="connsiteY3" fmla="*/ 688758 h 2265687"/>
              <a:gd name="connsiteX4" fmla="*/ 2311346 w 2311596"/>
              <a:gd name="connsiteY4" fmla="*/ 1056047 h 2265687"/>
              <a:gd name="connsiteX5" fmla="*/ 1576536 w 2311596"/>
              <a:gd name="connsiteY5" fmla="*/ 1224424 h 2265687"/>
              <a:gd name="connsiteX6" fmla="*/ 2173575 w 2311596"/>
              <a:gd name="connsiteY6" fmla="*/ 1698925 h 2265687"/>
              <a:gd name="connsiteX7" fmla="*/ 1943941 w 2311596"/>
              <a:gd name="connsiteY7" fmla="*/ 1989793 h 2265687"/>
              <a:gd name="connsiteX8" fmla="*/ 1346902 w 2311596"/>
              <a:gd name="connsiteY8" fmla="*/ 1515292 h 2265687"/>
              <a:gd name="connsiteX9" fmla="*/ 1346902 w 2311596"/>
              <a:gd name="connsiteY9" fmla="*/ 2265428 h 2265687"/>
              <a:gd name="connsiteX10" fmla="*/ 964194 w 2311596"/>
              <a:gd name="connsiteY10" fmla="*/ 2265428 h 2265687"/>
              <a:gd name="connsiteX11" fmla="*/ 964194 w 2311596"/>
              <a:gd name="connsiteY11" fmla="*/ 1515292 h 2265687"/>
              <a:gd name="connsiteX12" fmla="*/ 367155 w 2311596"/>
              <a:gd name="connsiteY12" fmla="*/ 1989862 h 2265687"/>
              <a:gd name="connsiteX13" fmla="*/ 137521 w 2311596"/>
              <a:gd name="connsiteY13" fmla="*/ 1698925 h 2265687"/>
              <a:gd name="connsiteX14" fmla="*/ 734560 w 2311596"/>
              <a:gd name="connsiteY14" fmla="*/ 1224354 h 2265687"/>
              <a:gd name="connsiteX15" fmla="*/ -250 w 2311596"/>
              <a:gd name="connsiteY15" fmla="*/ 1056047 h 2265687"/>
              <a:gd name="connsiteX16" fmla="*/ 76287 w 2311596"/>
              <a:gd name="connsiteY16" fmla="*/ 688758 h 2265687"/>
              <a:gd name="connsiteX17" fmla="*/ 811120 w 2311596"/>
              <a:gd name="connsiteY17" fmla="*/ 857019 h 2265687"/>
              <a:gd name="connsiteX18" fmla="*/ 489647 w 2311596"/>
              <a:gd name="connsiteY18" fmla="*/ 168163 h 2265687"/>
              <a:gd name="connsiteX19" fmla="*/ 826446 w 2311596"/>
              <a:gd name="connsiteY19" fmla="*/ -237 h 2265687"/>
              <a:gd name="connsiteX20" fmla="*/ 1147897 w 2311596"/>
              <a:gd name="connsiteY20" fmla="*/ 688758 h 22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11596" h="2265687">
                <a:moveTo>
                  <a:pt x="1484673" y="-260"/>
                </a:moveTo>
                <a:lnTo>
                  <a:pt x="1821473" y="168140"/>
                </a:lnTo>
                <a:lnTo>
                  <a:pt x="1499976" y="857019"/>
                </a:lnTo>
                <a:lnTo>
                  <a:pt x="2234809" y="688758"/>
                </a:lnTo>
                <a:lnTo>
                  <a:pt x="2311346" y="1056047"/>
                </a:lnTo>
                <a:lnTo>
                  <a:pt x="1576536" y="1224424"/>
                </a:lnTo>
                <a:lnTo>
                  <a:pt x="2173575" y="1698925"/>
                </a:lnTo>
                <a:lnTo>
                  <a:pt x="1943941" y="1989793"/>
                </a:lnTo>
                <a:lnTo>
                  <a:pt x="1346902" y="1515292"/>
                </a:lnTo>
                <a:lnTo>
                  <a:pt x="1346902" y="2265428"/>
                </a:lnTo>
                <a:lnTo>
                  <a:pt x="964194" y="2265428"/>
                </a:lnTo>
                <a:lnTo>
                  <a:pt x="964194" y="1515292"/>
                </a:lnTo>
                <a:lnTo>
                  <a:pt x="367155" y="1989862"/>
                </a:lnTo>
                <a:lnTo>
                  <a:pt x="137521" y="1698925"/>
                </a:lnTo>
                <a:lnTo>
                  <a:pt x="734560" y="1224354"/>
                </a:lnTo>
                <a:lnTo>
                  <a:pt x="-250" y="1056047"/>
                </a:lnTo>
                <a:lnTo>
                  <a:pt x="76287" y="688758"/>
                </a:lnTo>
                <a:lnTo>
                  <a:pt x="811120" y="857019"/>
                </a:lnTo>
                <a:lnTo>
                  <a:pt x="489647" y="168163"/>
                </a:lnTo>
                <a:lnTo>
                  <a:pt x="826446" y="-237"/>
                </a:lnTo>
                <a:lnTo>
                  <a:pt x="1147897" y="688758"/>
                </a:lnTo>
                <a:close/>
              </a:path>
            </a:pathLst>
          </a:custGeom>
          <a:solidFill>
            <a:schemeClr val="tx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0" name="gaoding-18">
            <a:extLst>
              <a:ext uri="{FF2B5EF4-FFF2-40B4-BE49-F238E27FC236}">
                <a16:creationId xmlns:a16="http://schemas.microsoft.com/office/drawing/2014/main" id="{C562761E-2A09-46F4-B6E2-FC71D56F5859}"/>
              </a:ext>
            </a:extLst>
          </p:cNvPr>
          <p:cNvSpPr/>
          <p:nvPr/>
        </p:nvSpPr>
        <p:spPr>
          <a:xfrm>
            <a:off x="4151844" y="2338705"/>
            <a:ext cx="973671" cy="973671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51" name="gaoding-19">
            <a:extLst>
              <a:ext uri="{FF2B5EF4-FFF2-40B4-BE49-F238E27FC236}">
                <a16:creationId xmlns:a16="http://schemas.microsoft.com/office/drawing/2014/main" id="{7E1343F7-0E66-4A2C-BC88-D41CCE12577C}"/>
              </a:ext>
            </a:extLst>
          </p:cNvPr>
          <p:cNvCxnSpPr>
            <a:cxnSpLocks/>
          </p:cNvCxnSpPr>
          <p:nvPr/>
        </p:nvCxnSpPr>
        <p:spPr>
          <a:xfrm>
            <a:off x="5773242" y="2825596"/>
            <a:ext cx="83441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gaoding-20">
            <a:extLst>
              <a:ext uri="{FF2B5EF4-FFF2-40B4-BE49-F238E27FC236}">
                <a16:creationId xmlns:a16="http://schemas.microsoft.com/office/drawing/2014/main" id="{D38DAFEC-129D-439D-BA56-C7C091A4C4EA}"/>
              </a:ext>
            </a:extLst>
          </p:cNvPr>
          <p:cNvSpPr/>
          <p:nvPr/>
        </p:nvSpPr>
        <p:spPr>
          <a:xfrm flipH="1" flipV="1">
            <a:off x="6493901" y="2591548"/>
            <a:ext cx="233992" cy="233992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5" name="gaoding-21">
            <a:extLst>
              <a:ext uri="{FF2B5EF4-FFF2-40B4-BE49-F238E27FC236}">
                <a16:creationId xmlns:a16="http://schemas.microsoft.com/office/drawing/2014/main" id="{BA6C0FEC-49F4-42F4-8757-C6DE6E71B049}"/>
              </a:ext>
            </a:extLst>
          </p:cNvPr>
          <p:cNvSpPr/>
          <p:nvPr/>
        </p:nvSpPr>
        <p:spPr>
          <a:xfrm flipH="1">
            <a:off x="6493901" y="2825540"/>
            <a:ext cx="233992" cy="233992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6" name="gaoding-22">
            <a:extLst>
              <a:ext uri="{FF2B5EF4-FFF2-40B4-BE49-F238E27FC236}">
                <a16:creationId xmlns:a16="http://schemas.microsoft.com/office/drawing/2014/main" id="{4CB7E865-2286-43A6-9F33-F6643841B61B}"/>
              </a:ext>
            </a:extLst>
          </p:cNvPr>
          <p:cNvSpPr/>
          <p:nvPr/>
        </p:nvSpPr>
        <p:spPr>
          <a:xfrm>
            <a:off x="3909492" y="3850550"/>
            <a:ext cx="1458376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多用途场景</a:t>
            </a:r>
          </a:p>
        </p:txBody>
      </p:sp>
      <p:sp>
        <p:nvSpPr>
          <p:cNvPr id="57" name="gaoding-23">
            <a:extLst>
              <a:ext uri="{FF2B5EF4-FFF2-40B4-BE49-F238E27FC236}">
                <a16:creationId xmlns:a16="http://schemas.microsoft.com/office/drawing/2014/main" id="{F2B7DB9F-AAA8-4235-BD46-E5950598F662}"/>
              </a:ext>
            </a:extLst>
          </p:cNvPr>
          <p:cNvSpPr txBox="1"/>
          <p:nvPr/>
        </p:nvSpPr>
        <p:spPr>
          <a:xfrm>
            <a:off x="3504117" y="4189075"/>
            <a:ext cx="2269126" cy="80643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丰富的信息图表覆盖并列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流程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层级等多种逻辑关系，帮助有效梳理页面内容</a:t>
            </a:r>
          </a:p>
        </p:txBody>
      </p:sp>
      <p:sp>
        <p:nvSpPr>
          <p:cNvPr id="60" name="gaoding-24">
            <a:extLst>
              <a:ext uri="{FF2B5EF4-FFF2-40B4-BE49-F238E27FC236}">
                <a16:creationId xmlns:a16="http://schemas.microsoft.com/office/drawing/2014/main" id="{2431ADE1-BC70-45B5-B594-6C0A12818ABE}"/>
              </a:ext>
            </a:extLst>
          </p:cNvPr>
          <p:cNvSpPr/>
          <p:nvPr/>
        </p:nvSpPr>
        <p:spPr>
          <a:xfrm>
            <a:off x="4168242" y="2690553"/>
            <a:ext cx="940876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20XX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+mn-lt"/>
            </a:endParaRPr>
          </a:p>
        </p:txBody>
      </p:sp>
      <p:sp>
        <p:nvSpPr>
          <p:cNvPr id="62" name="gaoding-25">
            <a:extLst>
              <a:ext uri="{FF2B5EF4-FFF2-40B4-BE49-F238E27FC236}">
                <a16:creationId xmlns:a16="http://schemas.microsoft.com/office/drawing/2014/main" id="{977F90FF-AF0E-4915-B2AB-98FA364E21EF}"/>
              </a:ext>
            </a:extLst>
          </p:cNvPr>
          <p:cNvSpPr/>
          <p:nvPr/>
        </p:nvSpPr>
        <p:spPr>
          <a:xfrm>
            <a:off x="6738296" y="1997569"/>
            <a:ext cx="1689736" cy="1656177"/>
          </a:xfrm>
          <a:custGeom>
            <a:avLst/>
            <a:gdLst>
              <a:gd name="connsiteX0" fmla="*/ 1484673 w 2311596"/>
              <a:gd name="connsiteY0" fmla="*/ -260 h 2265687"/>
              <a:gd name="connsiteX1" fmla="*/ 1821473 w 2311596"/>
              <a:gd name="connsiteY1" fmla="*/ 168140 h 2265687"/>
              <a:gd name="connsiteX2" fmla="*/ 1499976 w 2311596"/>
              <a:gd name="connsiteY2" fmla="*/ 857019 h 2265687"/>
              <a:gd name="connsiteX3" fmla="*/ 2234809 w 2311596"/>
              <a:gd name="connsiteY3" fmla="*/ 688758 h 2265687"/>
              <a:gd name="connsiteX4" fmla="*/ 2311346 w 2311596"/>
              <a:gd name="connsiteY4" fmla="*/ 1056047 h 2265687"/>
              <a:gd name="connsiteX5" fmla="*/ 1576536 w 2311596"/>
              <a:gd name="connsiteY5" fmla="*/ 1224424 h 2265687"/>
              <a:gd name="connsiteX6" fmla="*/ 2173575 w 2311596"/>
              <a:gd name="connsiteY6" fmla="*/ 1698925 h 2265687"/>
              <a:gd name="connsiteX7" fmla="*/ 1943941 w 2311596"/>
              <a:gd name="connsiteY7" fmla="*/ 1989793 h 2265687"/>
              <a:gd name="connsiteX8" fmla="*/ 1346902 w 2311596"/>
              <a:gd name="connsiteY8" fmla="*/ 1515292 h 2265687"/>
              <a:gd name="connsiteX9" fmla="*/ 1346902 w 2311596"/>
              <a:gd name="connsiteY9" fmla="*/ 2265428 h 2265687"/>
              <a:gd name="connsiteX10" fmla="*/ 964194 w 2311596"/>
              <a:gd name="connsiteY10" fmla="*/ 2265428 h 2265687"/>
              <a:gd name="connsiteX11" fmla="*/ 964194 w 2311596"/>
              <a:gd name="connsiteY11" fmla="*/ 1515292 h 2265687"/>
              <a:gd name="connsiteX12" fmla="*/ 367155 w 2311596"/>
              <a:gd name="connsiteY12" fmla="*/ 1989862 h 2265687"/>
              <a:gd name="connsiteX13" fmla="*/ 137521 w 2311596"/>
              <a:gd name="connsiteY13" fmla="*/ 1698925 h 2265687"/>
              <a:gd name="connsiteX14" fmla="*/ 734560 w 2311596"/>
              <a:gd name="connsiteY14" fmla="*/ 1224354 h 2265687"/>
              <a:gd name="connsiteX15" fmla="*/ -250 w 2311596"/>
              <a:gd name="connsiteY15" fmla="*/ 1056047 h 2265687"/>
              <a:gd name="connsiteX16" fmla="*/ 76287 w 2311596"/>
              <a:gd name="connsiteY16" fmla="*/ 688758 h 2265687"/>
              <a:gd name="connsiteX17" fmla="*/ 811120 w 2311596"/>
              <a:gd name="connsiteY17" fmla="*/ 857019 h 2265687"/>
              <a:gd name="connsiteX18" fmla="*/ 489647 w 2311596"/>
              <a:gd name="connsiteY18" fmla="*/ 168163 h 2265687"/>
              <a:gd name="connsiteX19" fmla="*/ 826446 w 2311596"/>
              <a:gd name="connsiteY19" fmla="*/ -237 h 2265687"/>
              <a:gd name="connsiteX20" fmla="*/ 1147897 w 2311596"/>
              <a:gd name="connsiteY20" fmla="*/ 688758 h 22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11596" h="2265687">
                <a:moveTo>
                  <a:pt x="1484673" y="-260"/>
                </a:moveTo>
                <a:lnTo>
                  <a:pt x="1821473" y="168140"/>
                </a:lnTo>
                <a:lnTo>
                  <a:pt x="1499976" y="857019"/>
                </a:lnTo>
                <a:lnTo>
                  <a:pt x="2234809" y="688758"/>
                </a:lnTo>
                <a:lnTo>
                  <a:pt x="2311346" y="1056047"/>
                </a:lnTo>
                <a:lnTo>
                  <a:pt x="1576536" y="1224424"/>
                </a:lnTo>
                <a:lnTo>
                  <a:pt x="2173575" y="1698925"/>
                </a:lnTo>
                <a:lnTo>
                  <a:pt x="1943941" y="1989793"/>
                </a:lnTo>
                <a:lnTo>
                  <a:pt x="1346902" y="1515292"/>
                </a:lnTo>
                <a:lnTo>
                  <a:pt x="1346902" y="2265428"/>
                </a:lnTo>
                <a:lnTo>
                  <a:pt x="964194" y="2265428"/>
                </a:lnTo>
                <a:lnTo>
                  <a:pt x="964194" y="1515292"/>
                </a:lnTo>
                <a:lnTo>
                  <a:pt x="367155" y="1989862"/>
                </a:lnTo>
                <a:lnTo>
                  <a:pt x="137521" y="1698925"/>
                </a:lnTo>
                <a:lnTo>
                  <a:pt x="734560" y="1224354"/>
                </a:lnTo>
                <a:lnTo>
                  <a:pt x="-250" y="1056047"/>
                </a:lnTo>
                <a:lnTo>
                  <a:pt x="76287" y="688758"/>
                </a:lnTo>
                <a:lnTo>
                  <a:pt x="811120" y="857019"/>
                </a:lnTo>
                <a:lnTo>
                  <a:pt x="489647" y="168163"/>
                </a:lnTo>
                <a:lnTo>
                  <a:pt x="826446" y="-237"/>
                </a:lnTo>
                <a:lnTo>
                  <a:pt x="1147897" y="688758"/>
                </a:lnTo>
                <a:close/>
              </a:path>
            </a:pathLst>
          </a:custGeom>
          <a:solidFill>
            <a:schemeClr val="bg1"/>
          </a:solidFill>
          <a:ln w="230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3" name="gaoding-26">
            <a:extLst>
              <a:ext uri="{FF2B5EF4-FFF2-40B4-BE49-F238E27FC236}">
                <a16:creationId xmlns:a16="http://schemas.microsoft.com/office/drawing/2014/main" id="{55FD9E98-FBC9-4FF0-8A63-773E0E9B50A2}"/>
              </a:ext>
            </a:extLst>
          </p:cNvPr>
          <p:cNvSpPr/>
          <p:nvPr/>
        </p:nvSpPr>
        <p:spPr>
          <a:xfrm>
            <a:off x="7096328" y="2338705"/>
            <a:ext cx="973671" cy="973671"/>
          </a:xfrm>
          <a:prstGeom prst="ellipse">
            <a:avLst/>
          </a:prstGeom>
          <a:solidFill>
            <a:schemeClr val="tx1"/>
          </a:solidFill>
          <a:ln w="254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7" name="gaoding-27">
            <a:extLst>
              <a:ext uri="{FF2B5EF4-FFF2-40B4-BE49-F238E27FC236}">
                <a16:creationId xmlns:a16="http://schemas.microsoft.com/office/drawing/2014/main" id="{E51F3A29-F6F7-46E3-B6CF-B1352443735B}"/>
              </a:ext>
            </a:extLst>
          </p:cNvPr>
          <p:cNvSpPr/>
          <p:nvPr/>
        </p:nvSpPr>
        <p:spPr>
          <a:xfrm>
            <a:off x="6853976" y="3850550"/>
            <a:ext cx="1458376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强大表现力</a:t>
            </a:r>
          </a:p>
        </p:txBody>
      </p:sp>
      <p:sp>
        <p:nvSpPr>
          <p:cNvPr id="68" name="gaoding-28">
            <a:extLst>
              <a:ext uri="{FF2B5EF4-FFF2-40B4-BE49-F238E27FC236}">
                <a16:creationId xmlns:a16="http://schemas.microsoft.com/office/drawing/2014/main" id="{0FBE5D52-FFC6-4E7E-91F7-8E4EFC93C8AB}"/>
              </a:ext>
            </a:extLst>
          </p:cNvPr>
          <p:cNvSpPr txBox="1"/>
          <p:nvPr/>
        </p:nvSpPr>
        <p:spPr>
          <a:xfrm>
            <a:off x="6448601" y="4189075"/>
            <a:ext cx="2269126" cy="80643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借助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插件，通过添加图片等素材，用强大的视觉表现力打动听众，讲述生动的演示故事</a:t>
            </a:r>
          </a:p>
        </p:txBody>
      </p:sp>
      <p:sp>
        <p:nvSpPr>
          <p:cNvPr id="69" name="gaoding-29">
            <a:extLst>
              <a:ext uri="{FF2B5EF4-FFF2-40B4-BE49-F238E27FC236}">
                <a16:creationId xmlns:a16="http://schemas.microsoft.com/office/drawing/2014/main" id="{C72B365F-8B5C-4701-9B87-D8F82A98B662}"/>
              </a:ext>
            </a:extLst>
          </p:cNvPr>
          <p:cNvSpPr/>
          <p:nvPr/>
        </p:nvSpPr>
        <p:spPr>
          <a:xfrm>
            <a:off x="7112725" y="2690553"/>
            <a:ext cx="940876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20XX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EB372">
                      <a:lumMod val="5000"/>
                      <a:lumOff val="95000"/>
                    </a:srgbClr>
                  </a:gs>
                  <a:gs pos="100000">
                    <a:srgbClr val="FEB372">
                      <a:lumMod val="40000"/>
                      <a:lumOff val="60000"/>
                    </a:srgbClr>
                  </a:gs>
                </a:gsLst>
                <a:lin ang="0" scaled="0"/>
              </a:gra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+mn-lt"/>
            </a:endParaRPr>
          </a:p>
        </p:txBody>
      </p:sp>
      <p:cxnSp>
        <p:nvCxnSpPr>
          <p:cNvPr id="52" name="gaoding-11">
            <a:extLst>
              <a:ext uri="{FF2B5EF4-FFF2-40B4-BE49-F238E27FC236}">
                <a16:creationId xmlns:a16="http://schemas.microsoft.com/office/drawing/2014/main" id="{02BCF7AA-32D8-4244-8DDE-8937C60C7D7D}"/>
              </a:ext>
            </a:extLst>
          </p:cNvPr>
          <p:cNvCxnSpPr>
            <a:cxnSpLocks/>
          </p:cNvCxnSpPr>
          <p:nvPr/>
        </p:nvCxnSpPr>
        <p:spPr>
          <a:xfrm>
            <a:off x="8687884" y="2825596"/>
            <a:ext cx="83441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gaoding-12">
            <a:extLst>
              <a:ext uri="{FF2B5EF4-FFF2-40B4-BE49-F238E27FC236}">
                <a16:creationId xmlns:a16="http://schemas.microsoft.com/office/drawing/2014/main" id="{97DFB464-6ABC-4224-9FE5-24A97BC4E028}"/>
              </a:ext>
            </a:extLst>
          </p:cNvPr>
          <p:cNvSpPr/>
          <p:nvPr/>
        </p:nvSpPr>
        <p:spPr>
          <a:xfrm flipH="1" flipV="1">
            <a:off x="9408543" y="2591548"/>
            <a:ext cx="233992" cy="233992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5" name="gaoding-13">
            <a:extLst>
              <a:ext uri="{FF2B5EF4-FFF2-40B4-BE49-F238E27FC236}">
                <a16:creationId xmlns:a16="http://schemas.microsoft.com/office/drawing/2014/main" id="{E2E8E8CE-763B-4B09-9240-789DE1ABE36E}"/>
              </a:ext>
            </a:extLst>
          </p:cNvPr>
          <p:cNvSpPr/>
          <p:nvPr/>
        </p:nvSpPr>
        <p:spPr>
          <a:xfrm flipH="1">
            <a:off x="9408543" y="2825540"/>
            <a:ext cx="233992" cy="233992"/>
          </a:xfrm>
          <a:prstGeom prst="arc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6" name="gaoding-17">
            <a:extLst>
              <a:ext uri="{FF2B5EF4-FFF2-40B4-BE49-F238E27FC236}">
                <a16:creationId xmlns:a16="http://schemas.microsoft.com/office/drawing/2014/main" id="{DB622E31-1D6A-4CCB-9DCB-A97ACC98DB6B}"/>
              </a:ext>
            </a:extLst>
          </p:cNvPr>
          <p:cNvSpPr/>
          <p:nvPr/>
        </p:nvSpPr>
        <p:spPr>
          <a:xfrm>
            <a:off x="9652937" y="1997569"/>
            <a:ext cx="1689736" cy="1656177"/>
          </a:xfrm>
          <a:custGeom>
            <a:avLst/>
            <a:gdLst>
              <a:gd name="connsiteX0" fmla="*/ 1484673 w 2311596"/>
              <a:gd name="connsiteY0" fmla="*/ -260 h 2265687"/>
              <a:gd name="connsiteX1" fmla="*/ 1821473 w 2311596"/>
              <a:gd name="connsiteY1" fmla="*/ 168140 h 2265687"/>
              <a:gd name="connsiteX2" fmla="*/ 1499976 w 2311596"/>
              <a:gd name="connsiteY2" fmla="*/ 857019 h 2265687"/>
              <a:gd name="connsiteX3" fmla="*/ 2234809 w 2311596"/>
              <a:gd name="connsiteY3" fmla="*/ 688758 h 2265687"/>
              <a:gd name="connsiteX4" fmla="*/ 2311346 w 2311596"/>
              <a:gd name="connsiteY4" fmla="*/ 1056047 h 2265687"/>
              <a:gd name="connsiteX5" fmla="*/ 1576536 w 2311596"/>
              <a:gd name="connsiteY5" fmla="*/ 1224424 h 2265687"/>
              <a:gd name="connsiteX6" fmla="*/ 2173575 w 2311596"/>
              <a:gd name="connsiteY6" fmla="*/ 1698925 h 2265687"/>
              <a:gd name="connsiteX7" fmla="*/ 1943941 w 2311596"/>
              <a:gd name="connsiteY7" fmla="*/ 1989793 h 2265687"/>
              <a:gd name="connsiteX8" fmla="*/ 1346902 w 2311596"/>
              <a:gd name="connsiteY8" fmla="*/ 1515292 h 2265687"/>
              <a:gd name="connsiteX9" fmla="*/ 1346902 w 2311596"/>
              <a:gd name="connsiteY9" fmla="*/ 2265428 h 2265687"/>
              <a:gd name="connsiteX10" fmla="*/ 964194 w 2311596"/>
              <a:gd name="connsiteY10" fmla="*/ 2265428 h 2265687"/>
              <a:gd name="connsiteX11" fmla="*/ 964194 w 2311596"/>
              <a:gd name="connsiteY11" fmla="*/ 1515292 h 2265687"/>
              <a:gd name="connsiteX12" fmla="*/ 367155 w 2311596"/>
              <a:gd name="connsiteY12" fmla="*/ 1989862 h 2265687"/>
              <a:gd name="connsiteX13" fmla="*/ 137521 w 2311596"/>
              <a:gd name="connsiteY13" fmla="*/ 1698925 h 2265687"/>
              <a:gd name="connsiteX14" fmla="*/ 734560 w 2311596"/>
              <a:gd name="connsiteY14" fmla="*/ 1224354 h 2265687"/>
              <a:gd name="connsiteX15" fmla="*/ -250 w 2311596"/>
              <a:gd name="connsiteY15" fmla="*/ 1056047 h 2265687"/>
              <a:gd name="connsiteX16" fmla="*/ 76287 w 2311596"/>
              <a:gd name="connsiteY16" fmla="*/ 688758 h 2265687"/>
              <a:gd name="connsiteX17" fmla="*/ 811120 w 2311596"/>
              <a:gd name="connsiteY17" fmla="*/ 857019 h 2265687"/>
              <a:gd name="connsiteX18" fmla="*/ 489647 w 2311596"/>
              <a:gd name="connsiteY18" fmla="*/ 168163 h 2265687"/>
              <a:gd name="connsiteX19" fmla="*/ 826446 w 2311596"/>
              <a:gd name="connsiteY19" fmla="*/ -237 h 2265687"/>
              <a:gd name="connsiteX20" fmla="*/ 1147897 w 2311596"/>
              <a:gd name="connsiteY20" fmla="*/ 688758 h 22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311596" h="2265687">
                <a:moveTo>
                  <a:pt x="1484673" y="-260"/>
                </a:moveTo>
                <a:lnTo>
                  <a:pt x="1821473" y="168140"/>
                </a:lnTo>
                <a:lnTo>
                  <a:pt x="1499976" y="857019"/>
                </a:lnTo>
                <a:lnTo>
                  <a:pt x="2234809" y="688758"/>
                </a:lnTo>
                <a:lnTo>
                  <a:pt x="2311346" y="1056047"/>
                </a:lnTo>
                <a:lnTo>
                  <a:pt x="1576536" y="1224424"/>
                </a:lnTo>
                <a:lnTo>
                  <a:pt x="2173575" y="1698925"/>
                </a:lnTo>
                <a:lnTo>
                  <a:pt x="1943941" y="1989793"/>
                </a:lnTo>
                <a:lnTo>
                  <a:pt x="1346902" y="1515292"/>
                </a:lnTo>
                <a:lnTo>
                  <a:pt x="1346902" y="2265428"/>
                </a:lnTo>
                <a:lnTo>
                  <a:pt x="964194" y="2265428"/>
                </a:lnTo>
                <a:lnTo>
                  <a:pt x="964194" y="1515292"/>
                </a:lnTo>
                <a:lnTo>
                  <a:pt x="367155" y="1989862"/>
                </a:lnTo>
                <a:lnTo>
                  <a:pt x="137521" y="1698925"/>
                </a:lnTo>
                <a:lnTo>
                  <a:pt x="734560" y="1224354"/>
                </a:lnTo>
                <a:lnTo>
                  <a:pt x="-250" y="1056047"/>
                </a:lnTo>
                <a:lnTo>
                  <a:pt x="76287" y="688758"/>
                </a:lnTo>
                <a:lnTo>
                  <a:pt x="811120" y="857019"/>
                </a:lnTo>
                <a:lnTo>
                  <a:pt x="489647" y="168163"/>
                </a:lnTo>
                <a:lnTo>
                  <a:pt x="826446" y="-237"/>
                </a:lnTo>
                <a:lnTo>
                  <a:pt x="1147897" y="688758"/>
                </a:lnTo>
                <a:close/>
              </a:path>
            </a:pathLst>
          </a:custGeom>
          <a:solidFill>
            <a:schemeClr val="tx1"/>
          </a:solidFill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73" name="gaoding-18">
            <a:extLst>
              <a:ext uri="{FF2B5EF4-FFF2-40B4-BE49-F238E27FC236}">
                <a16:creationId xmlns:a16="http://schemas.microsoft.com/office/drawing/2014/main" id="{7AAAAEE9-3E56-47A7-B7F0-4628479A50B9}"/>
              </a:ext>
            </a:extLst>
          </p:cNvPr>
          <p:cNvSpPr/>
          <p:nvPr/>
        </p:nvSpPr>
        <p:spPr>
          <a:xfrm>
            <a:off x="10010969" y="2338705"/>
            <a:ext cx="973671" cy="973671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74" name="gaoding-22">
            <a:extLst>
              <a:ext uri="{FF2B5EF4-FFF2-40B4-BE49-F238E27FC236}">
                <a16:creationId xmlns:a16="http://schemas.microsoft.com/office/drawing/2014/main" id="{982EA989-AD0A-4B1E-8B08-D906E3544D42}"/>
              </a:ext>
            </a:extLst>
          </p:cNvPr>
          <p:cNvSpPr/>
          <p:nvPr/>
        </p:nvSpPr>
        <p:spPr>
          <a:xfrm>
            <a:off x="9768617" y="3850550"/>
            <a:ext cx="1458376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EB372">
                        <a:lumMod val="5000"/>
                        <a:lumOff val="95000"/>
                      </a:srgbClr>
                    </a:gs>
                    <a:gs pos="100000">
                      <a:srgbClr val="FEB372">
                        <a:lumMod val="40000"/>
                        <a:lumOff val="6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千余款模板</a:t>
            </a:r>
          </a:p>
        </p:txBody>
      </p:sp>
      <p:sp>
        <p:nvSpPr>
          <p:cNvPr id="75" name="gaoding-23">
            <a:extLst>
              <a:ext uri="{FF2B5EF4-FFF2-40B4-BE49-F238E27FC236}">
                <a16:creationId xmlns:a16="http://schemas.microsoft.com/office/drawing/2014/main" id="{FB3DF506-EF8C-4255-B785-53730C1A8EDF}"/>
              </a:ext>
            </a:extLst>
          </p:cNvPr>
          <p:cNvSpPr txBox="1"/>
          <p:nvPr/>
        </p:nvSpPr>
        <p:spPr>
          <a:xfrm>
            <a:off x="9363242" y="4189075"/>
            <a:ext cx="2269126" cy="80643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OPPOSans R"/>
                <a:sym typeface="+mn-lt"/>
              </a:rPr>
              <a:t>，科技为创作赋能，无需重复劳动，只要会打字，就能制作专业的演示效果</a:t>
            </a:r>
          </a:p>
        </p:txBody>
      </p:sp>
      <p:sp>
        <p:nvSpPr>
          <p:cNvPr id="76" name="gaoding-24">
            <a:extLst>
              <a:ext uri="{FF2B5EF4-FFF2-40B4-BE49-F238E27FC236}">
                <a16:creationId xmlns:a16="http://schemas.microsoft.com/office/drawing/2014/main" id="{A2A448F5-C1FA-4175-8DBE-2C9643DE94CB}"/>
              </a:ext>
            </a:extLst>
          </p:cNvPr>
          <p:cNvSpPr/>
          <p:nvPr/>
        </p:nvSpPr>
        <p:spPr>
          <a:xfrm>
            <a:off x="10027367" y="2690553"/>
            <a:ext cx="940876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20XX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535713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aoding-1">
            <a:extLst>
              <a:ext uri="{FF2B5EF4-FFF2-40B4-BE49-F238E27FC236}">
                <a16:creationId xmlns:a16="http://schemas.microsoft.com/office/drawing/2014/main" id="{35B69CE8-7188-4E27-8864-D3B3247314C1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-1866900" y="0"/>
            <a:chExt cx="12192000" cy="6858000"/>
          </a:xfrm>
        </p:grpSpPr>
        <p:sp>
          <p:nvSpPr>
            <p:cNvPr id="22" name="gaoding-1-1">
              <a:extLst>
                <a:ext uri="{FF2B5EF4-FFF2-40B4-BE49-F238E27FC236}">
                  <a16:creationId xmlns:a16="http://schemas.microsoft.com/office/drawing/2014/main" id="{12A7273C-9568-4510-A025-2F4FBE8D29D7}"/>
                </a:ext>
              </a:extLst>
            </p:cNvPr>
            <p:cNvSpPr/>
            <p:nvPr/>
          </p:nvSpPr>
          <p:spPr>
            <a:xfrm>
              <a:off x="-1866900" y="0"/>
              <a:ext cx="12192000" cy="6858000"/>
            </a:xfrm>
            <a:prstGeom prst="rect">
              <a:avLst/>
            </a:prstGeom>
            <a:solidFill>
              <a:schemeClr val="tx1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23" name="gaoding-1-2">
              <a:extLst>
                <a:ext uri="{FF2B5EF4-FFF2-40B4-BE49-F238E27FC236}">
                  <a16:creationId xmlns:a16="http://schemas.microsoft.com/office/drawing/2014/main" id="{FF56BE8D-CA9F-48D7-AEC6-B428E66283B3}"/>
                </a:ext>
              </a:extLst>
            </p:cNvPr>
            <p:cNvSpPr/>
            <p:nvPr/>
          </p:nvSpPr>
          <p:spPr>
            <a:xfrm>
              <a:off x="-1866900" y="0"/>
              <a:ext cx="12192000" cy="6858000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50000"/>
              </a:schemeClr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pic>
          <p:nvPicPr>
            <p:cNvPr id="24" name="gaoding-1-3">
              <a:extLst>
                <a:ext uri="{FF2B5EF4-FFF2-40B4-BE49-F238E27FC236}">
                  <a16:creationId xmlns:a16="http://schemas.microsoft.com/office/drawing/2014/main" id="{F3F84B27-DBE5-41F1-90C1-BF6D5FF0E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-1866900" y="1"/>
              <a:ext cx="12192000" cy="6857999"/>
            </a:xfrm>
            <a:prstGeom prst="rect">
              <a:avLst/>
            </a:prstGeom>
          </p:spPr>
        </p:pic>
      </p:grpSp>
      <p:sp>
        <p:nvSpPr>
          <p:cNvPr id="48" name="gaoding-2">
            <a:extLst>
              <a:ext uri="{FF2B5EF4-FFF2-40B4-BE49-F238E27FC236}">
                <a16:creationId xmlns:a16="http://schemas.microsoft.com/office/drawing/2014/main" id="{DA442872-B9D0-4E00-B13F-75D88636D5C8}"/>
              </a:ext>
            </a:extLst>
          </p:cNvPr>
          <p:cNvSpPr/>
          <p:nvPr/>
        </p:nvSpPr>
        <p:spPr>
          <a:xfrm>
            <a:off x="660400" y="674649"/>
            <a:ext cx="3959441" cy="605761"/>
          </a:xfrm>
          <a:prstGeom prst="rect">
            <a:avLst/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>
                  <a:alpha val="15000"/>
                </a:schemeClr>
              </a:gs>
            </a:gsLst>
            <a:lin ang="0" scaled="0"/>
          </a:gradFill>
          <a:ln w="12700">
            <a:gradFill>
              <a:gsLst>
                <a:gs pos="0">
                  <a:schemeClr val="bg1">
                    <a:alpha val="7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 w="12700">
                <a:gradFill>
                  <a:gsLst>
                    <a:gs pos="50000">
                      <a:srgbClr val="795FE5">
                        <a:lumMod val="60000"/>
                        <a:lumOff val="40000"/>
                      </a:srgbClr>
                    </a:gs>
                    <a:gs pos="100000">
                      <a:srgbClr val="795FE5">
                        <a:lumMod val="75000"/>
                        <a:alpha val="0"/>
                      </a:srgbClr>
                    </a:gs>
                  </a:gsLst>
                  <a:lin ang="0" scaled="0"/>
                </a:gradFill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9" name="gaoding-3">
            <a:extLst>
              <a:ext uri="{FF2B5EF4-FFF2-40B4-BE49-F238E27FC236}">
                <a16:creationId xmlns:a16="http://schemas.microsoft.com/office/drawing/2014/main" id="{05A1EC11-83F2-45D5-ADE5-1A6B83B6A100}"/>
              </a:ext>
            </a:extLst>
          </p:cNvPr>
          <p:cNvSpPr txBox="1"/>
          <p:nvPr/>
        </p:nvSpPr>
        <p:spPr>
          <a:xfrm>
            <a:off x="787101" y="727954"/>
            <a:ext cx="295754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000000">
                        <a:lumMod val="50000"/>
                        <a:lumOff val="50000"/>
                      </a:srgbClr>
                    </a:gs>
                  </a:gsLst>
                  <a:lin ang="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YUMU Design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000000">
                      <a:lumMod val="50000"/>
                      <a:lumOff val="50000"/>
                    </a:srgbClr>
                  </a:gs>
                </a:gsLst>
                <a:lin ang="0" scaled="0"/>
              </a:gra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+mn-lt"/>
            </a:endParaRPr>
          </a:p>
        </p:txBody>
      </p:sp>
      <p:sp>
        <p:nvSpPr>
          <p:cNvPr id="50" name="gaoding-4">
            <a:extLst>
              <a:ext uri="{FF2B5EF4-FFF2-40B4-BE49-F238E27FC236}">
                <a16:creationId xmlns:a16="http://schemas.microsoft.com/office/drawing/2014/main" id="{D4C6E40C-5642-431D-B956-F5229C5534E6}"/>
              </a:ext>
            </a:extLst>
          </p:cNvPr>
          <p:cNvSpPr txBox="1"/>
          <p:nvPr/>
        </p:nvSpPr>
        <p:spPr>
          <a:xfrm>
            <a:off x="812063" y="1348517"/>
            <a:ext cx="22618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PT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更快更轻松</a:t>
            </a:r>
          </a:p>
        </p:txBody>
      </p:sp>
      <p:sp>
        <p:nvSpPr>
          <p:cNvPr id="35" name="gaoding-5">
            <a:extLst>
              <a:ext uri="{FF2B5EF4-FFF2-40B4-BE49-F238E27FC236}">
                <a16:creationId xmlns:a16="http://schemas.microsoft.com/office/drawing/2014/main" id="{C5680D3A-E780-4617-9FFB-3802E0532A37}"/>
              </a:ext>
            </a:extLst>
          </p:cNvPr>
          <p:cNvSpPr/>
          <p:nvPr/>
        </p:nvSpPr>
        <p:spPr>
          <a:xfrm>
            <a:off x="1147002" y="2372355"/>
            <a:ext cx="11239438" cy="358033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  <a:alpha val="0"/>
                </a:schemeClr>
              </a:gs>
            </a:gsLst>
            <a:lin ang="0" scaled="0"/>
          </a:gradFill>
          <a:ln w="17780" cap="flat">
            <a:gradFill>
              <a:gsLst>
                <a:gs pos="0">
                  <a:schemeClr val="bg1">
                    <a:alpha val="7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37" name="gaoding-6">
            <a:extLst>
              <a:ext uri="{FF2B5EF4-FFF2-40B4-BE49-F238E27FC236}">
                <a16:creationId xmlns:a16="http://schemas.microsoft.com/office/drawing/2014/main" id="{E256877A-836E-4DFD-B568-FA2C7744A6E9}"/>
              </a:ext>
            </a:extLst>
          </p:cNvPr>
          <p:cNvSpPr/>
          <p:nvPr/>
        </p:nvSpPr>
        <p:spPr>
          <a:xfrm>
            <a:off x="2435648" y="2997009"/>
            <a:ext cx="1997783" cy="2757618"/>
          </a:xfrm>
          <a:prstGeom prst="roundRect">
            <a:avLst>
              <a:gd name="adj" fmla="val 5659"/>
            </a:avLst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85000"/>
                  <a:lumOff val="15000"/>
                  <a:alpha val="0"/>
                </a:schemeClr>
              </a:gs>
            </a:gsLst>
            <a:lin ang="0" scaled="0"/>
          </a:gradFill>
          <a:ln w="15875" cap="flat">
            <a:gradFill>
              <a:gsLst>
                <a:gs pos="0">
                  <a:schemeClr val="bg1">
                    <a:lumMod val="75000"/>
                    <a:alpha val="70000"/>
                  </a:schemeClr>
                </a:gs>
                <a:gs pos="100000">
                  <a:schemeClr val="bg1">
                    <a:lumMod val="75000"/>
                    <a:alpha val="0"/>
                  </a:schemeClr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38" name="gaoding-7">
            <a:extLst>
              <a:ext uri="{FF2B5EF4-FFF2-40B4-BE49-F238E27FC236}">
                <a16:creationId xmlns:a16="http://schemas.microsoft.com/office/drawing/2014/main" id="{94DB58B0-7BDF-4689-B074-64A8E2FDC19C}"/>
              </a:ext>
            </a:extLst>
          </p:cNvPr>
          <p:cNvSpPr/>
          <p:nvPr/>
        </p:nvSpPr>
        <p:spPr>
          <a:xfrm>
            <a:off x="6873473" y="2997008"/>
            <a:ext cx="1997783" cy="2971991"/>
          </a:xfrm>
          <a:prstGeom prst="roundRect">
            <a:avLst>
              <a:gd name="adj" fmla="val 6238"/>
            </a:avLst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85000"/>
                  <a:lumOff val="15000"/>
                  <a:alpha val="0"/>
                </a:schemeClr>
              </a:gs>
            </a:gsLst>
            <a:lin ang="0" scaled="0"/>
          </a:gradFill>
          <a:ln w="15875" cap="flat">
            <a:gradFill>
              <a:gsLst>
                <a:gs pos="0">
                  <a:schemeClr val="bg1">
                    <a:lumMod val="75000"/>
                    <a:alpha val="70000"/>
                  </a:schemeClr>
                </a:gs>
                <a:gs pos="100000">
                  <a:schemeClr val="bg1">
                    <a:lumMod val="75000"/>
                    <a:alpha val="0"/>
                  </a:schemeClr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39" name="gaoding-8">
            <a:extLst>
              <a:ext uri="{FF2B5EF4-FFF2-40B4-BE49-F238E27FC236}">
                <a16:creationId xmlns:a16="http://schemas.microsoft.com/office/drawing/2014/main" id="{D7548588-F75F-4DC0-BF0B-766195D0EEC2}"/>
              </a:ext>
            </a:extLst>
          </p:cNvPr>
          <p:cNvSpPr/>
          <p:nvPr/>
        </p:nvSpPr>
        <p:spPr>
          <a:xfrm>
            <a:off x="4654561" y="2997009"/>
            <a:ext cx="1997783" cy="1919667"/>
          </a:xfrm>
          <a:prstGeom prst="roundRect">
            <a:avLst>
              <a:gd name="adj" fmla="val 6417"/>
            </a:avLst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85000"/>
                  <a:lumOff val="15000"/>
                  <a:alpha val="0"/>
                </a:schemeClr>
              </a:gs>
            </a:gsLst>
            <a:lin ang="0" scaled="0"/>
          </a:gradFill>
          <a:ln w="15875" cap="flat">
            <a:gradFill>
              <a:gsLst>
                <a:gs pos="0">
                  <a:schemeClr val="bg1">
                    <a:lumMod val="75000"/>
                    <a:alpha val="70000"/>
                  </a:schemeClr>
                </a:gs>
                <a:gs pos="100000">
                  <a:schemeClr val="bg1">
                    <a:lumMod val="75000"/>
                    <a:alpha val="0"/>
                  </a:schemeClr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0" name="gaoding-9">
            <a:extLst>
              <a:ext uri="{FF2B5EF4-FFF2-40B4-BE49-F238E27FC236}">
                <a16:creationId xmlns:a16="http://schemas.microsoft.com/office/drawing/2014/main" id="{07BB463A-4D95-4A46-B956-09D4F98467A8}"/>
              </a:ext>
            </a:extLst>
          </p:cNvPr>
          <p:cNvSpPr/>
          <p:nvPr/>
        </p:nvSpPr>
        <p:spPr>
          <a:xfrm>
            <a:off x="9183887" y="2997009"/>
            <a:ext cx="1997783" cy="2201523"/>
          </a:xfrm>
          <a:prstGeom prst="roundRect">
            <a:avLst>
              <a:gd name="adj" fmla="val 7976"/>
            </a:avLst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85000"/>
                  <a:lumOff val="15000"/>
                  <a:alpha val="0"/>
                </a:schemeClr>
              </a:gs>
            </a:gsLst>
            <a:lin ang="0" scaled="0"/>
          </a:gradFill>
          <a:ln w="15875" cap="flat">
            <a:gradFill>
              <a:gsLst>
                <a:gs pos="0">
                  <a:schemeClr val="bg1">
                    <a:lumMod val="75000"/>
                    <a:alpha val="70000"/>
                  </a:schemeClr>
                </a:gs>
                <a:gs pos="100000">
                  <a:schemeClr val="bg1">
                    <a:lumMod val="75000"/>
                    <a:alpha val="0"/>
                  </a:schemeClr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2" name="gaoding-10">
            <a:extLst>
              <a:ext uri="{FF2B5EF4-FFF2-40B4-BE49-F238E27FC236}">
                <a16:creationId xmlns:a16="http://schemas.microsoft.com/office/drawing/2014/main" id="{8E4601DD-4D2A-4CCF-BB44-2A7159BB4A0B}"/>
              </a:ext>
            </a:extLst>
          </p:cNvPr>
          <p:cNvSpPr txBox="1"/>
          <p:nvPr/>
        </p:nvSpPr>
        <p:spPr>
          <a:xfrm>
            <a:off x="2657434" y="3219372"/>
            <a:ext cx="10259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更快更轻松</a:t>
            </a:r>
          </a:p>
        </p:txBody>
      </p:sp>
      <p:sp>
        <p:nvSpPr>
          <p:cNvPr id="43" name="gaoding-11">
            <a:extLst>
              <a:ext uri="{FF2B5EF4-FFF2-40B4-BE49-F238E27FC236}">
                <a16:creationId xmlns:a16="http://schemas.microsoft.com/office/drawing/2014/main" id="{56F27ACB-7420-4C1C-A9B5-25317DEC4AA3}"/>
              </a:ext>
            </a:extLst>
          </p:cNvPr>
          <p:cNvSpPr txBox="1"/>
          <p:nvPr/>
        </p:nvSpPr>
        <p:spPr>
          <a:xfrm>
            <a:off x="2665076" y="3526115"/>
            <a:ext cx="1681405" cy="16751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</a:t>
            </a:r>
            <a:r>
              <a:rPr kumimoji="0" lang="en-US" altLang="zh-CN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PT</a:t>
            </a: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拥有千余款模板线上到插件同步上新，覆盖商务、教育、金融等多用途场景。</a:t>
            </a:r>
            <a:endParaRPr kumimoji="0" lang="en-US" altLang="zh-CN" sz="1050" b="0" i="0" u="none" strike="noStrike" kern="600" cap="none" spc="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P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丰富的信息图表覆盖多种逻辑关系，帮助梳理内容</a:t>
            </a: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。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4" name="gaoding-12">
            <a:extLst>
              <a:ext uri="{FF2B5EF4-FFF2-40B4-BE49-F238E27FC236}">
                <a16:creationId xmlns:a16="http://schemas.microsoft.com/office/drawing/2014/main" id="{11B718B7-70E7-4FDE-B779-439055BA8A1A}"/>
              </a:ext>
            </a:extLst>
          </p:cNvPr>
          <p:cNvSpPr txBox="1"/>
          <p:nvPr/>
        </p:nvSpPr>
        <p:spPr>
          <a:xfrm>
            <a:off x="4874953" y="3219372"/>
            <a:ext cx="10259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多用途场景</a:t>
            </a:r>
          </a:p>
        </p:txBody>
      </p:sp>
      <p:sp>
        <p:nvSpPr>
          <p:cNvPr id="45" name="gaoding-13">
            <a:extLst>
              <a:ext uri="{FF2B5EF4-FFF2-40B4-BE49-F238E27FC236}">
                <a16:creationId xmlns:a16="http://schemas.microsoft.com/office/drawing/2014/main" id="{4A72162D-CFC8-460A-8DE9-D4AC7EEF3331}"/>
              </a:ext>
            </a:extLst>
          </p:cNvPr>
          <p:cNvSpPr txBox="1"/>
          <p:nvPr/>
        </p:nvSpPr>
        <p:spPr>
          <a:xfrm>
            <a:off x="4882595" y="3526115"/>
            <a:ext cx="1681405" cy="9480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</a:t>
            </a:r>
            <a:r>
              <a:rPr kumimoji="0" lang="en-US" altLang="zh-CN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PT</a:t>
            </a: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丰富的信息图表覆盖并列</a:t>
            </a:r>
            <a:r>
              <a:rPr kumimoji="0" lang="en-US" altLang="zh-CN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/</a:t>
            </a: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流程</a:t>
            </a:r>
            <a:r>
              <a:rPr kumimoji="0" lang="en-US" altLang="zh-CN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/</a:t>
            </a: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层级等多种逻辑关系，帮助有效梳理页面内容。</a:t>
            </a:r>
          </a:p>
        </p:txBody>
      </p:sp>
      <p:sp>
        <p:nvSpPr>
          <p:cNvPr id="46" name="gaoding-14">
            <a:extLst>
              <a:ext uri="{FF2B5EF4-FFF2-40B4-BE49-F238E27FC236}">
                <a16:creationId xmlns:a16="http://schemas.microsoft.com/office/drawing/2014/main" id="{3485FDF2-88CA-419E-8B35-197940A535F4}"/>
              </a:ext>
            </a:extLst>
          </p:cNvPr>
          <p:cNvSpPr txBox="1"/>
          <p:nvPr/>
        </p:nvSpPr>
        <p:spPr>
          <a:xfrm>
            <a:off x="7070408" y="3219372"/>
            <a:ext cx="10259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强大表现力</a:t>
            </a:r>
          </a:p>
        </p:txBody>
      </p:sp>
      <p:sp>
        <p:nvSpPr>
          <p:cNvPr id="47" name="gaoding-15">
            <a:extLst>
              <a:ext uri="{FF2B5EF4-FFF2-40B4-BE49-F238E27FC236}">
                <a16:creationId xmlns:a16="http://schemas.microsoft.com/office/drawing/2014/main" id="{A9277410-4606-41CE-B749-FCB75FAF4ABA}"/>
              </a:ext>
            </a:extLst>
          </p:cNvPr>
          <p:cNvSpPr txBox="1"/>
          <p:nvPr/>
        </p:nvSpPr>
        <p:spPr>
          <a:xfrm>
            <a:off x="7078050" y="3526115"/>
            <a:ext cx="1681405" cy="21528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借助设计师</a:t>
            </a:r>
            <a:r>
              <a:rPr kumimoji="0" lang="en-US" altLang="zh-CN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PT</a:t>
            </a: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插件，通过添加图片等素材，用强大的视觉表现力打动听众，讲述生动的演示故事；</a:t>
            </a:r>
            <a:endParaRPr kumimoji="0" lang="en-US" altLang="zh-CN" sz="1050" b="0" i="0" u="none" strike="noStrike" kern="600" cap="none" spc="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P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，科技为创作赋能，无需重复劳动，只要会打字，就能制作专业的演示效果。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50" b="0" i="0" u="none" strike="noStrike" kern="600" cap="none" spc="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2" name="gaoding-16">
            <a:extLst>
              <a:ext uri="{FF2B5EF4-FFF2-40B4-BE49-F238E27FC236}">
                <a16:creationId xmlns:a16="http://schemas.microsoft.com/office/drawing/2014/main" id="{D6A955A9-75F4-4E03-80E2-10FC1EDE3856}"/>
              </a:ext>
            </a:extLst>
          </p:cNvPr>
          <p:cNvSpPr txBox="1"/>
          <p:nvPr/>
        </p:nvSpPr>
        <p:spPr>
          <a:xfrm>
            <a:off x="9416042" y="3219372"/>
            <a:ext cx="10259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+mn-lt"/>
              </a:rPr>
              <a:t>千余款模板</a:t>
            </a:r>
          </a:p>
        </p:txBody>
      </p:sp>
      <p:sp>
        <p:nvSpPr>
          <p:cNvPr id="53" name="gaoding-17">
            <a:extLst>
              <a:ext uri="{FF2B5EF4-FFF2-40B4-BE49-F238E27FC236}">
                <a16:creationId xmlns:a16="http://schemas.microsoft.com/office/drawing/2014/main" id="{60B7705A-A668-470C-8F2A-AD4304F743BF}"/>
              </a:ext>
            </a:extLst>
          </p:cNvPr>
          <p:cNvSpPr txBox="1"/>
          <p:nvPr/>
        </p:nvSpPr>
        <p:spPr>
          <a:xfrm>
            <a:off x="9423684" y="3526115"/>
            <a:ext cx="1681405" cy="9409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</a:t>
            </a:r>
            <a:r>
              <a:rPr kumimoji="0" lang="en-US" altLang="zh-CN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PT</a:t>
            </a:r>
            <a:r>
              <a:rPr kumimoji="0" lang="zh-CN" altLang="en-US" sz="1050" b="0" i="0" u="none" strike="noStrike" kern="600" cap="none" spc="5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，科技为创作赋能，无需重复劳动，只要会打字，就能制作专业的演示效果。</a:t>
            </a:r>
          </a:p>
        </p:txBody>
      </p:sp>
      <p:sp>
        <p:nvSpPr>
          <p:cNvPr id="54" name="gaoding-18">
            <a:extLst>
              <a:ext uri="{FF2B5EF4-FFF2-40B4-BE49-F238E27FC236}">
                <a16:creationId xmlns:a16="http://schemas.microsoft.com/office/drawing/2014/main" id="{A35CCA3A-A19C-4B6F-828F-4FFED9917DBC}"/>
              </a:ext>
            </a:extLst>
          </p:cNvPr>
          <p:cNvSpPr txBox="1"/>
          <p:nvPr/>
        </p:nvSpPr>
        <p:spPr>
          <a:xfrm>
            <a:off x="2508156" y="2439225"/>
            <a:ext cx="57547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2010.09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7" name="gaoding-19">
            <a:extLst>
              <a:ext uri="{FF2B5EF4-FFF2-40B4-BE49-F238E27FC236}">
                <a16:creationId xmlns:a16="http://schemas.microsoft.com/office/drawing/2014/main" id="{E6C5551A-898D-470D-8367-AF02D502AFD9}"/>
              </a:ext>
            </a:extLst>
          </p:cNvPr>
          <p:cNvSpPr txBox="1"/>
          <p:nvPr/>
        </p:nvSpPr>
        <p:spPr>
          <a:xfrm>
            <a:off x="4761026" y="2439225"/>
            <a:ext cx="51135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2012.11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0" name="gaoding-20">
            <a:extLst>
              <a:ext uri="{FF2B5EF4-FFF2-40B4-BE49-F238E27FC236}">
                <a16:creationId xmlns:a16="http://schemas.microsoft.com/office/drawing/2014/main" id="{2E9AEFCE-F2E3-4C2A-B912-178F290D74A4}"/>
              </a:ext>
            </a:extLst>
          </p:cNvPr>
          <p:cNvSpPr txBox="1"/>
          <p:nvPr/>
        </p:nvSpPr>
        <p:spPr>
          <a:xfrm>
            <a:off x="6929661" y="2447218"/>
            <a:ext cx="57547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2015.04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4" name="gaoding-21">
            <a:extLst>
              <a:ext uri="{FF2B5EF4-FFF2-40B4-BE49-F238E27FC236}">
                <a16:creationId xmlns:a16="http://schemas.microsoft.com/office/drawing/2014/main" id="{8D62B038-C470-45B4-AEC5-80FAB5D6EA32}"/>
              </a:ext>
            </a:extLst>
          </p:cNvPr>
          <p:cNvSpPr txBox="1"/>
          <p:nvPr/>
        </p:nvSpPr>
        <p:spPr>
          <a:xfrm>
            <a:off x="9184124" y="2455211"/>
            <a:ext cx="5434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2017.12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8" name="gaoding-22">
            <a:extLst>
              <a:ext uri="{FF2B5EF4-FFF2-40B4-BE49-F238E27FC236}">
                <a16:creationId xmlns:a16="http://schemas.microsoft.com/office/drawing/2014/main" id="{6981358E-EF8F-4127-A99F-6B7C3FEF15C9}"/>
              </a:ext>
            </a:extLst>
          </p:cNvPr>
          <p:cNvSpPr/>
          <p:nvPr/>
        </p:nvSpPr>
        <p:spPr>
          <a:xfrm>
            <a:off x="1135564" y="2360927"/>
            <a:ext cx="1029392" cy="3808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5276" cap="flat">
            <a:noFill/>
            <a:prstDash val="solid"/>
            <a:miter/>
          </a:ln>
          <a:effectLst>
            <a:outerShdw blurRad="635000" dist="254000" dir="5400000" sx="92000" sy="92000" algn="t" rotWithShape="0">
              <a:schemeClr val="bg1">
                <a:alpha val="66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pic>
        <p:nvPicPr>
          <p:cNvPr id="72" name="gaoding-23">
            <a:extLst>
              <a:ext uri="{FF2B5EF4-FFF2-40B4-BE49-F238E27FC236}">
                <a16:creationId xmlns:a16="http://schemas.microsoft.com/office/drawing/2014/main" id="{FD77497A-42D5-42B8-8F2D-64E5D10AD5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1862" y="1908395"/>
            <a:ext cx="1474266" cy="1474266"/>
          </a:xfrm>
          <a:prstGeom prst="rect">
            <a:avLst/>
          </a:prstGeom>
          <a:effectLst>
            <a:outerShdw blurRad="190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76" name="gaoding-24">
            <a:extLst>
              <a:ext uri="{FF2B5EF4-FFF2-40B4-BE49-F238E27FC236}">
                <a16:creationId xmlns:a16="http://schemas.microsoft.com/office/drawing/2014/main" id="{ABC04CC2-5BF7-4126-90E5-322FB3B1FAAB}"/>
              </a:ext>
            </a:extLst>
          </p:cNvPr>
          <p:cNvGrpSpPr/>
          <p:nvPr/>
        </p:nvGrpSpPr>
        <p:grpSpPr>
          <a:xfrm>
            <a:off x="2679931" y="5274001"/>
            <a:ext cx="850670" cy="231988"/>
            <a:chOff x="835020" y="3454509"/>
            <a:chExt cx="941295" cy="256703"/>
          </a:xfrm>
        </p:grpSpPr>
        <p:sp>
          <p:nvSpPr>
            <p:cNvPr id="79" name="gaoding-24-1">
              <a:extLst>
                <a:ext uri="{FF2B5EF4-FFF2-40B4-BE49-F238E27FC236}">
                  <a16:creationId xmlns:a16="http://schemas.microsoft.com/office/drawing/2014/main" id="{6FAB54CD-418E-4001-BAC3-C5CA0532DA72}"/>
                </a:ext>
              </a:extLst>
            </p:cNvPr>
            <p:cNvSpPr/>
            <p:nvPr/>
          </p:nvSpPr>
          <p:spPr>
            <a:xfrm>
              <a:off x="835020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87" name="gaoding-24-2">
              <a:extLst>
                <a:ext uri="{FF2B5EF4-FFF2-40B4-BE49-F238E27FC236}">
                  <a16:creationId xmlns:a16="http://schemas.microsoft.com/office/drawing/2014/main" id="{AB498C74-3E4D-46A8-AA9E-1EB670DD9ADE}"/>
                </a:ext>
              </a:extLst>
            </p:cNvPr>
            <p:cNvSpPr/>
            <p:nvPr/>
          </p:nvSpPr>
          <p:spPr>
            <a:xfrm>
              <a:off x="890968" y="3514425"/>
              <a:ext cx="144806" cy="136872"/>
            </a:xfrm>
            <a:custGeom>
              <a:avLst/>
              <a:gdLst>
                <a:gd name="connsiteX0" fmla="*/ 220878 w 364537"/>
                <a:gd name="connsiteY0" fmla="*/ 144018 h 344565"/>
                <a:gd name="connsiteX1" fmla="*/ 209314 w 364537"/>
                <a:gd name="connsiteY1" fmla="*/ 155870 h 344565"/>
                <a:gd name="connsiteX2" fmla="*/ 220878 w 364537"/>
                <a:gd name="connsiteY2" fmla="*/ 167793 h 344565"/>
                <a:gd name="connsiteX3" fmla="*/ 232515 w 364537"/>
                <a:gd name="connsiteY3" fmla="*/ 155870 h 344565"/>
                <a:gd name="connsiteX4" fmla="*/ 220878 w 364537"/>
                <a:gd name="connsiteY4" fmla="*/ 144018 h 344565"/>
                <a:gd name="connsiteX5" fmla="*/ 153573 w 364537"/>
                <a:gd name="connsiteY5" fmla="*/ 144018 h 344565"/>
                <a:gd name="connsiteX6" fmla="*/ 142009 w 364537"/>
                <a:gd name="connsiteY6" fmla="*/ 155870 h 344565"/>
                <a:gd name="connsiteX7" fmla="*/ 153573 w 364537"/>
                <a:gd name="connsiteY7" fmla="*/ 167793 h 344565"/>
                <a:gd name="connsiteX8" fmla="*/ 165138 w 364537"/>
                <a:gd name="connsiteY8" fmla="*/ 155870 h 344565"/>
                <a:gd name="connsiteX9" fmla="*/ 153573 w 364537"/>
                <a:gd name="connsiteY9" fmla="*/ 144018 h 344565"/>
                <a:gd name="connsiteX10" fmla="*/ 85981 w 364537"/>
                <a:gd name="connsiteY10" fmla="*/ 144018 h 344565"/>
                <a:gd name="connsiteX11" fmla="*/ 74417 w 364537"/>
                <a:gd name="connsiteY11" fmla="*/ 155870 h 344565"/>
                <a:gd name="connsiteX12" fmla="*/ 85981 w 364537"/>
                <a:gd name="connsiteY12" fmla="*/ 167793 h 344565"/>
                <a:gd name="connsiteX13" fmla="*/ 97618 w 364537"/>
                <a:gd name="connsiteY13" fmla="*/ 155870 h 344565"/>
                <a:gd name="connsiteX14" fmla="*/ 85981 w 364537"/>
                <a:gd name="connsiteY14" fmla="*/ 144018 h 344565"/>
                <a:gd name="connsiteX15" fmla="*/ 220878 w 364537"/>
                <a:gd name="connsiteY15" fmla="*/ 129652 h 344565"/>
                <a:gd name="connsiteX16" fmla="*/ 246881 w 364537"/>
                <a:gd name="connsiteY16" fmla="*/ 155870 h 344565"/>
                <a:gd name="connsiteX17" fmla="*/ 220878 w 364537"/>
                <a:gd name="connsiteY17" fmla="*/ 182159 h 344565"/>
                <a:gd name="connsiteX18" fmla="*/ 194948 w 364537"/>
                <a:gd name="connsiteY18" fmla="*/ 155870 h 344565"/>
                <a:gd name="connsiteX19" fmla="*/ 220878 w 364537"/>
                <a:gd name="connsiteY19" fmla="*/ 129652 h 344565"/>
                <a:gd name="connsiteX20" fmla="*/ 153573 w 364537"/>
                <a:gd name="connsiteY20" fmla="*/ 129652 h 344565"/>
                <a:gd name="connsiteX21" fmla="*/ 179504 w 364537"/>
                <a:gd name="connsiteY21" fmla="*/ 155870 h 344565"/>
                <a:gd name="connsiteX22" fmla="*/ 153573 w 364537"/>
                <a:gd name="connsiteY22" fmla="*/ 182159 h 344565"/>
                <a:gd name="connsiteX23" fmla="*/ 127643 w 364537"/>
                <a:gd name="connsiteY23" fmla="*/ 155870 h 344565"/>
                <a:gd name="connsiteX24" fmla="*/ 153573 w 364537"/>
                <a:gd name="connsiteY24" fmla="*/ 129652 h 344565"/>
                <a:gd name="connsiteX25" fmla="*/ 85981 w 364537"/>
                <a:gd name="connsiteY25" fmla="*/ 129652 h 344565"/>
                <a:gd name="connsiteX26" fmla="*/ 111984 w 364537"/>
                <a:gd name="connsiteY26" fmla="*/ 155870 h 344565"/>
                <a:gd name="connsiteX27" fmla="*/ 85981 w 364537"/>
                <a:gd name="connsiteY27" fmla="*/ 182159 h 344565"/>
                <a:gd name="connsiteX28" fmla="*/ 60051 w 364537"/>
                <a:gd name="connsiteY28" fmla="*/ 155870 h 344565"/>
                <a:gd name="connsiteX29" fmla="*/ 85981 w 364537"/>
                <a:gd name="connsiteY29" fmla="*/ 129652 h 344565"/>
                <a:gd name="connsiteX30" fmla="*/ 277911 w 364537"/>
                <a:gd name="connsiteY30" fmla="*/ 64717 h 344565"/>
                <a:gd name="connsiteX31" fmla="*/ 287420 w 364537"/>
                <a:gd name="connsiteY31" fmla="*/ 83716 h 344565"/>
                <a:gd name="connsiteX32" fmla="*/ 295313 w 364537"/>
                <a:gd name="connsiteY32" fmla="*/ 95609 h 344565"/>
                <a:gd name="connsiteX33" fmla="*/ 296553 w 364537"/>
                <a:gd name="connsiteY33" fmla="*/ 101966 h 344565"/>
                <a:gd name="connsiteX34" fmla="*/ 299585 w 364537"/>
                <a:gd name="connsiteY34" fmla="*/ 108023 h 344565"/>
                <a:gd name="connsiteX35" fmla="*/ 307073 w 364537"/>
                <a:gd name="connsiteY35" fmla="*/ 155869 h 344565"/>
                <a:gd name="connsiteX36" fmla="*/ 307073 w 364537"/>
                <a:gd name="connsiteY36" fmla="*/ 155870 h 344565"/>
                <a:gd name="connsiteX37" fmla="*/ 307073 w 364537"/>
                <a:gd name="connsiteY37" fmla="*/ 155870 h 344565"/>
                <a:gd name="connsiteX38" fmla="*/ 295334 w 364537"/>
                <a:gd name="connsiteY38" fmla="*/ 216143 h 344565"/>
                <a:gd name="connsiteX39" fmla="*/ 295329 w 364537"/>
                <a:gd name="connsiteY39" fmla="*/ 216151 h 344565"/>
                <a:gd name="connsiteX40" fmla="*/ 295327 w 364537"/>
                <a:gd name="connsiteY40" fmla="*/ 216161 h 344565"/>
                <a:gd name="connsiteX41" fmla="*/ 282553 w 364537"/>
                <a:gd name="connsiteY41" fmla="*/ 235405 h 344565"/>
                <a:gd name="connsiteX42" fmla="*/ 262555 w 364537"/>
                <a:gd name="connsiteY42" fmla="*/ 265544 h 344565"/>
                <a:gd name="connsiteX43" fmla="*/ 262542 w 364537"/>
                <a:gd name="connsiteY43" fmla="*/ 265553 h 344565"/>
                <a:gd name="connsiteX44" fmla="*/ 262531 w 364537"/>
                <a:gd name="connsiteY44" fmla="*/ 265571 h 344565"/>
                <a:gd name="connsiteX45" fmla="*/ 239939 w 364537"/>
                <a:gd name="connsiteY45" fmla="*/ 281054 h 344565"/>
                <a:gd name="connsiteX46" fmla="*/ 213661 w 364537"/>
                <a:gd name="connsiteY46" fmla="*/ 299076 h 344565"/>
                <a:gd name="connsiteX47" fmla="*/ 213638 w 364537"/>
                <a:gd name="connsiteY47" fmla="*/ 299081 h 344565"/>
                <a:gd name="connsiteX48" fmla="*/ 213613 w 364537"/>
                <a:gd name="connsiteY48" fmla="*/ 299098 h 344565"/>
                <a:gd name="connsiteX49" fmla="*/ 188327 w 364537"/>
                <a:gd name="connsiteY49" fmla="*/ 304416 h 344565"/>
                <a:gd name="connsiteX50" fmla="*/ 153573 w 364537"/>
                <a:gd name="connsiteY50" fmla="*/ 311741 h 344565"/>
                <a:gd name="connsiteX51" fmla="*/ 153529 w 364537"/>
                <a:gd name="connsiteY51" fmla="*/ 311735 h 344565"/>
                <a:gd name="connsiteX52" fmla="*/ 153502 w 364537"/>
                <a:gd name="connsiteY52" fmla="*/ 311740 h 344565"/>
                <a:gd name="connsiteX53" fmla="*/ 141865 w 364537"/>
                <a:gd name="connsiteY53" fmla="*/ 311309 h 344565"/>
                <a:gd name="connsiteX54" fmla="*/ 141650 w 364537"/>
                <a:gd name="connsiteY54" fmla="*/ 311309 h 344565"/>
                <a:gd name="connsiteX55" fmla="*/ 210965 w 364537"/>
                <a:gd name="connsiteY55" fmla="*/ 330200 h 344565"/>
                <a:gd name="connsiteX56" fmla="*/ 288613 w 364537"/>
                <a:gd name="connsiteY56" fmla="*/ 306209 h 344565"/>
                <a:gd name="connsiteX57" fmla="*/ 290625 w 364537"/>
                <a:gd name="connsiteY57" fmla="*/ 304772 h 344565"/>
                <a:gd name="connsiteX58" fmla="*/ 331639 w 364537"/>
                <a:gd name="connsiteY58" fmla="*/ 307502 h 344565"/>
                <a:gd name="connsiteX59" fmla="*/ 323019 w 364537"/>
                <a:gd name="connsiteY59" fmla="*/ 272592 h 344565"/>
                <a:gd name="connsiteX60" fmla="*/ 324815 w 364537"/>
                <a:gd name="connsiteY60" fmla="*/ 269935 h 344565"/>
                <a:gd name="connsiteX61" fmla="*/ 350171 w 364537"/>
                <a:gd name="connsiteY61" fmla="*/ 188696 h 344565"/>
                <a:gd name="connsiteX62" fmla="*/ 277911 w 364537"/>
                <a:gd name="connsiteY62" fmla="*/ 64717 h 344565"/>
                <a:gd name="connsiteX63" fmla="*/ 153501 w 364537"/>
                <a:gd name="connsiteY63" fmla="*/ 14366 h 344565"/>
                <a:gd name="connsiteX64" fmla="*/ 14296 w 364537"/>
                <a:gd name="connsiteY64" fmla="*/ 155870 h 344565"/>
                <a:gd name="connsiteX65" fmla="*/ 39652 w 364537"/>
                <a:gd name="connsiteY65" fmla="*/ 237109 h 344565"/>
                <a:gd name="connsiteX66" fmla="*/ 41447 w 364537"/>
                <a:gd name="connsiteY66" fmla="*/ 239767 h 344565"/>
                <a:gd name="connsiteX67" fmla="*/ 32828 w 364537"/>
                <a:gd name="connsiteY67" fmla="*/ 274676 h 344565"/>
                <a:gd name="connsiteX68" fmla="*/ 73914 w 364537"/>
                <a:gd name="connsiteY68" fmla="*/ 271947 h 344565"/>
                <a:gd name="connsiteX69" fmla="*/ 75926 w 364537"/>
                <a:gd name="connsiteY69" fmla="*/ 273383 h 344565"/>
                <a:gd name="connsiteX70" fmla="*/ 112506 w 364537"/>
                <a:gd name="connsiteY70" fmla="*/ 291069 h 344565"/>
                <a:gd name="connsiteX71" fmla="*/ 113477 w 364537"/>
                <a:gd name="connsiteY71" fmla="*/ 291356 h 344565"/>
                <a:gd name="connsiteX72" fmla="*/ 153311 w 364537"/>
                <a:gd name="connsiteY72" fmla="*/ 297336 h 344565"/>
                <a:gd name="connsiteX73" fmla="*/ 153574 w 364537"/>
                <a:gd name="connsiteY73" fmla="*/ 297374 h 344565"/>
                <a:gd name="connsiteX74" fmla="*/ 252375 w 364537"/>
                <a:gd name="connsiteY74" fmla="*/ 255365 h 344565"/>
                <a:gd name="connsiteX75" fmla="*/ 282076 w 364537"/>
                <a:gd name="connsiteY75" fmla="*/ 210539 h 344565"/>
                <a:gd name="connsiteX76" fmla="*/ 292707 w 364537"/>
                <a:gd name="connsiteY76" fmla="*/ 155870 h 344565"/>
                <a:gd name="connsiteX77" fmla="*/ 292691 w 364537"/>
                <a:gd name="connsiteY77" fmla="*/ 155788 h 344565"/>
                <a:gd name="connsiteX78" fmla="*/ 280886 w 364537"/>
                <a:gd name="connsiteY78" fmla="*/ 99399 h 344565"/>
                <a:gd name="connsiteX79" fmla="*/ 276780 w 364537"/>
                <a:gd name="connsiteY79" fmla="*/ 93204 h 344565"/>
                <a:gd name="connsiteX80" fmla="*/ 248971 w 364537"/>
                <a:gd name="connsiteY80" fmla="*/ 54028 h 344565"/>
                <a:gd name="connsiteX81" fmla="*/ 208007 w 364537"/>
                <a:gd name="connsiteY81" fmla="*/ 25897 h 344565"/>
                <a:gd name="connsiteX82" fmla="*/ 153501 w 364537"/>
                <a:gd name="connsiteY82" fmla="*/ 14366 h 344565"/>
                <a:gd name="connsiteX83" fmla="*/ 153573 w 364537"/>
                <a:gd name="connsiteY83" fmla="*/ 0 h 344565"/>
                <a:gd name="connsiteX84" fmla="*/ 213646 w 364537"/>
                <a:gd name="connsiteY84" fmla="*/ 12682 h 344565"/>
                <a:gd name="connsiteX85" fmla="*/ 250934 w 364537"/>
                <a:gd name="connsiteY85" fmla="*/ 38260 h 344565"/>
                <a:gd name="connsiteX86" fmla="*/ 253919 w 364537"/>
                <a:gd name="connsiteY86" fmla="*/ 39146 h 344565"/>
                <a:gd name="connsiteX87" fmla="*/ 364537 w 364537"/>
                <a:gd name="connsiteY87" fmla="*/ 188696 h 344565"/>
                <a:gd name="connsiteX88" fmla="*/ 338463 w 364537"/>
                <a:gd name="connsiteY88" fmla="*/ 275394 h 344565"/>
                <a:gd name="connsiteX89" fmla="*/ 350243 w 364537"/>
                <a:gd name="connsiteY89" fmla="*/ 323088 h 344565"/>
                <a:gd name="connsiteX90" fmla="*/ 294647 w 364537"/>
                <a:gd name="connsiteY90" fmla="*/ 319425 h 344565"/>
                <a:gd name="connsiteX91" fmla="*/ 210965 w 364537"/>
                <a:gd name="connsiteY91" fmla="*/ 344565 h 344565"/>
                <a:gd name="connsiteX92" fmla="*/ 155515 w 364537"/>
                <a:gd name="connsiteY92" fmla="*/ 333991 h 344565"/>
                <a:gd name="connsiteX93" fmla="*/ 110061 w 364537"/>
                <a:gd name="connsiteY93" fmla="*/ 305368 h 344565"/>
                <a:gd name="connsiteX94" fmla="*/ 109880 w 364537"/>
                <a:gd name="connsiteY94" fmla="*/ 305341 h 344565"/>
                <a:gd name="connsiteX95" fmla="*/ 69892 w 364537"/>
                <a:gd name="connsiteY95" fmla="*/ 286600 h 344565"/>
                <a:gd name="connsiteX96" fmla="*/ 14296 w 364537"/>
                <a:gd name="connsiteY96" fmla="*/ 290263 h 344565"/>
                <a:gd name="connsiteX97" fmla="*/ 26076 w 364537"/>
                <a:gd name="connsiteY97" fmla="*/ 242569 h 344565"/>
                <a:gd name="connsiteX98" fmla="*/ 2 w 364537"/>
                <a:gd name="connsiteY98" fmla="*/ 155870 h 344565"/>
                <a:gd name="connsiteX99" fmla="*/ 153573 w 364537"/>
                <a:gd name="connsiteY99" fmla="*/ 0 h 3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364537" h="344565">
                  <a:moveTo>
                    <a:pt x="220878" y="144018"/>
                  </a:moveTo>
                  <a:cubicBezTo>
                    <a:pt x="214414" y="144097"/>
                    <a:pt x="209235" y="149405"/>
                    <a:pt x="209314" y="155870"/>
                  </a:cubicBezTo>
                  <a:cubicBezTo>
                    <a:pt x="209235" y="162349"/>
                    <a:pt x="214400" y="167678"/>
                    <a:pt x="220878" y="167793"/>
                  </a:cubicBezTo>
                  <a:cubicBezTo>
                    <a:pt x="227365" y="167678"/>
                    <a:pt x="232558" y="162363"/>
                    <a:pt x="232515" y="155870"/>
                  </a:cubicBezTo>
                  <a:cubicBezTo>
                    <a:pt x="232558" y="149390"/>
                    <a:pt x="227357" y="144097"/>
                    <a:pt x="220878" y="144018"/>
                  </a:cubicBezTo>
                  <a:close/>
                  <a:moveTo>
                    <a:pt x="153573" y="144018"/>
                  </a:moveTo>
                  <a:cubicBezTo>
                    <a:pt x="147109" y="144097"/>
                    <a:pt x="141930" y="149405"/>
                    <a:pt x="142009" y="155870"/>
                  </a:cubicBezTo>
                  <a:cubicBezTo>
                    <a:pt x="141930" y="162349"/>
                    <a:pt x="147095" y="167678"/>
                    <a:pt x="153573" y="167793"/>
                  </a:cubicBezTo>
                  <a:cubicBezTo>
                    <a:pt x="160052" y="167678"/>
                    <a:pt x="165217" y="162349"/>
                    <a:pt x="165138" y="155870"/>
                  </a:cubicBezTo>
                  <a:cubicBezTo>
                    <a:pt x="165217" y="149405"/>
                    <a:pt x="160038" y="144097"/>
                    <a:pt x="153573" y="144018"/>
                  </a:cubicBezTo>
                  <a:close/>
                  <a:moveTo>
                    <a:pt x="85981" y="144018"/>
                  </a:moveTo>
                  <a:cubicBezTo>
                    <a:pt x="79517" y="144097"/>
                    <a:pt x="74338" y="149405"/>
                    <a:pt x="74417" y="155870"/>
                  </a:cubicBezTo>
                  <a:cubicBezTo>
                    <a:pt x="74338" y="162349"/>
                    <a:pt x="79503" y="167678"/>
                    <a:pt x="85981" y="167793"/>
                  </a:cubicBezTo>
                  <a:cubicBezTo>
                    <a:pt x="92468" y="167678"/>
                    <a:pt x="97661" y="162363"/>
                    <a:pt x="97618" y="155870"/>
                  </a:cubicBezTo>
                  <a:cubicBezTo>
                    <a:pt x="97661" y="149390"/>
                    <a:pt x="92461" y="144097"/>
                    <a:pt x="85981" y="144018"/>
                  </a:cubicBezTo>
                  <a:close/>
                  <a:moveTo>
                    <a:pt x="220878" y="129652"/>
                  </a:moveTo>
                  <a:cubicBezTo>
                    <a:pt x="235287" y="129731"/>
                    <a:pt x="246924" y="141460"/>
                    <a:pt x="246881" y="155870"/>
                  </a:cubicBezTo>
                  <a:cubicBezTo>
                    <a:pt x="246960" y="170308"/>
                    <a:pt x="235316" y="182080"/>
                    <a:pt x="220878" y="182159"/>
                  </a:cubicBezTo>
                  <a:cubicBezTo>
                    <a:pt x="206470" y="182044"/>
                    <a:pt x="194869" y="170279"/>
                    <a:pt x="194948" y="155870"/>
                  </a:cubicBezTo>
                  <a:cubicBezTo>
                    <a:pt x="194905" y="141482"/>
                    <a:pt x="206491" y="129774"/>
                    <a:pt x="220878" y="129652"/>
                  </a:cubicBezTo>
                  <a:close/>
                  <a:moveTo>
                    <a:pt x="153573" y="129652"/>
                  </a:moveTo>
                  <a:cubicBezTo>
                    <a:pt x="167961" y="129767"/>
                    <a:pt x="179547" y="141482"/>
                    <a:pt x="179504" y="155870"/>
                  </a:cubicBezTo>
                  <a:cubicBezTo>
                    <a:pt x="179583" y="170279"/>
                    <a:pt x="167982" y="182044"/>
                    <a:pt x="153573" y="182159"/>
                  </a:cubicBezTo>
                  <a:cubicBezTo>
                    <a:pt x="139165" y="182044"/>
                    <a:pt x="127564" y="170279"/>
                    <a:pt x="127643" y="155870"/>
                  </a:cubicBezTo>
                  <a:cubicBezTo>
                    <a:pt x="127600" y="141482"/>
                    <a:pt x="139193" y="129774"/>
                    <a:pt x="153573" y="129652"/>
                  </a:cubicBezTo>
                  <a:close/>
                  <a:moveTo>
                    <a:pt x="85981" y="129652"/>
                  </a:moveTo>
                  <a:cubicBezTo>
                    <a:pt x="100391" y="129731"/>
                    <a:pt x="112027" y="141460"/>
                    <a:pt x="111984" y="155870"/>
                  </a:cubicBezTo>
                  <a:cubicBezTo>
                    <a:pt x="112027" y="170293"/>
                    <a:pt x="100405" y="182044"/>
                    <a:pt x="85981" y="182159"/>
                  </a:cubicBezTo>
                  <a:cubicBezTo>
                    <a:pt x="71573" y="182044"/>
                    <a:pt x="59972" y="170279"/>
                    <a:pt x="60051" y="155870"/>
                  </a:cubicBezTo>
                  <a:cubicBezTo>
                    <a:pt x="60008" y="141482"/>
                    <a:pt x="71594" y="129774"/>
                    <a:pt x="85981" y="129652"/>
                  </a:cubicBezTo>
                  <a:close/>
                  <a:moveTo>
                    <a:pt x="277911" y="64717"/>
                  </a:moveTo>
                  <a:lnTo>
                    <a:pt x="287420" y="83716"/>
                  </a:lnTo>
                  <a:lnTo>
                    <a:pt x="295313" y="95609"/>
                  </a:lnTo>
                  <a:lnTo>
                    <a:pt x="296553" y="101966"/>
                  </a:lnTo>
                  <a:lnTo>
                    <a:pt x="299585" y="108023"/>
                  </a:lnTo>
                  <a:cubicBezTo>
                    <a:pt x="304504" y="123399"/>
                    <a:pt x="307059" y="139532"/>
                    <a:pt x="307073" y="155869"/>
                  </a:cubicBezTo>
                  <a:lnTo>
                    <a:pt x="307073" y="155870"/>
                  </a:lnTo>
                  <a:lnTo>
                    <a:pt x="307073" y="155870"/>
                  </a:lnTo>
                  <a:cubicBezTo>
                    <a:pt x="307214" y="177218"/>
                    <a:pt x="303027" y="197587"/>
                    <a:pt x="295334" y="216143"/>
                  </a:cubicBezTo>
                  <a:lnTo>
                    <a:pt x="295329" y="216151"/>
                  </a:lnTo>
                  <a:lnTo>
                    <a:pt x="295327" y="216161"/>
                  </a:lnTo>
                  <a:lnTo>
                    <a:pt x="282553" y="235405"/>
                  </a:lnTo>
                  <a:lnTo>
                    <a:pt x="262555" y="265544"/>
                  </a:lnTo>
                  <a:lnTo>
                    <a:pt x="262542" y="265553"/>
                  </a:lnTo>
                  <a:lnTo>
                    <a:pt x="262531" y="265571"/>
                  </a:lnTo>
                  <a:lnTo>
                    <a:pt x="239939" y="281054"/>
                  </a:lnTo>
                  <a:lnTo>
                    <a:pt x="213661" y="299076"/>
                  </a:lnTo>
                  <a:lnTo>
                    <a:pt x="213638" y="299081"/>
                  </a:lnTo>
                  <a:lnTo>
                    <a:pt x="213613" y="299098"/>
                  </a:lnTo>
                  <a:lnTo>
                    <a:pt x="188327" y="304416"/>
                  </a:lnTo>
                  <a:lnTo>
                    <a:pt x="153573" y="311741"/>
                  </a:lnTo>
                  <a:lnTo>
                    <a:pt x="153529" y="311735"/>
                  </a:lnTo>
                  <a:lnTo>
                    <a:pt x="153502" y="311740"/>
                  </a:lnTo>
                  <a:cubicBezTo>
                    <a:pt x="149623" y="311740"/>
                    <a:pt x="145673" y="311596"/>
                    <a:pt x="141865" y="311309"/>
                  </a:cubicBezTo>
                  <a:lnTo>
                    <a:pt x="141650" y="311309"/>
                  </a:lnTo>
                  <a:cubicBezTo>
                    <a:pt x="162667" y="323656"/>
                    <a:pt x="186594" y="330178"/>
                    <a:pt x="210965" y="330200"/>
                  </a:cubicBezTo>
                  <a:cubicBezTo>
                    <a:pt x="238678" y="330207"/>
                    <a:pt x="265743" y="321846"/>
                    <a:pt x="288613" y="306209"/>
                  </a:cubicBezTo>
                  <a:lnTo>
                    <a:pt x="290625" y="304772"/>
                  </a:lnTo>
                  <a:lnTo>
                    <a:pt x="331639" y="307502"/>
                  </a:lnTo>
                  <a:lnTo>
                    <a:pt x="323019" y="272592"/>
                  </a:lnTo>
                  <a:lnTo>
                    <a:pt x="324815" y="269935"/>
                  </a:lnTo>
                  <a:cubicBezTo>
                    <a:pt x="341365" y="246080"/>
                    <a:pt x="350214" y="217729"/>
                    <a:pt x="350171" y="188696"/>
                  </a:cubicBezTo>
                  <a:cubicBezTo>
                    <a:pt x="350107" y="137388"/>
                    <a:pt x="322524" y="90059"/>
                    <a:pt x="277911" y="64717"/>
                  </a:cubicBezTo>
                  <a:close/>
                  <a:moveTo>
                    <a:pt x="153501" y="14366"/>
                  </a:moveTo>
                  <a:cubicBezTo>
                    <a:pt x="76019" y="15077"/>
                    <a:pt x="13735" y="78388"/>
                    <a:pt x="14296" y="155870"/>
                  </a:cubicBezTo>
                  <a:cubicBezTo>
                    <a:pt x="14231" y="184904"/>
                    <a:pt x="23088" y="213262"/>
                    <a:pt x="39652" y="237109"/>
                  </a:cubicBezTo>
                  <a:lnTo>
                    <a:pt x="41447" y="239767"/>
                  </a:lnTo>
                  <a:lnTo>
                    <a:pt x="32828" y="274676"/>
                  </a:lnTo>
                  <a:lnTo>
                    <a:pt x="73914" y="271947"/>
                  </a:lnTo>
                  <a:lnTo>
                    <a:pt x="75926" y="273383"/>
                  </a:lnTo>
                  <a:lnTo>
                    <a:pt x="112506" y="291069"/>
                  </a:lnTo>
                  <a:lnTo>
                    <a:pt x="113477" y="291356"/>
                  </a:lnTo>
                  <a:lnTo>
                    <a:pt x="153311" y="297336"/>
                  </a:lnTo>
                  <a:lnTo>
                    <a:pt x="153574" y="297374"/>
                  </a:lnTo>
                  <a:cubicBezTo>
                    <a:pt x="192294" y="296979"/>
                    <a:pt x="227207" y="280963"/>
                    <a:pt x="252375" y="255365"/>
                  </a:cubicBezTo>
                  <a:lnTo>
                    <a:pt x="282076" y="210539"/>
                  </a:lnTo>
                  <a:lnTo>
                    <a:pt x="292707" y="155870"/>
                  </a:lnTo>
                  <a:lnTo>
                    <a:pt x="292691" y="155788"/>
                  </a:lnTo>
                  <a:lnTo>
                    <a:pt x="280886" y="99399"/>
                  </a:lnTo>
                  <a:lnTo>
                    <a:pt x="276780" y="93204"/>
                  </a:lnTo>
                  <a:lnTo>
                    <a:pt x="248971" y="54028"/>
                  </a:lnTo>
                  <a:lnTo>
                    <a:pt x="208007" y="25897"/>
                  </a:lnTo>
                  <a:cubicBezTo>
                    <a:pt x="191285" y="18648"/>
                    <a:pt x="172869" y="14553"/>
                    <a:pt x="153501" y="14366"/>
                  </a:cubicBezTo>
                  <a:close/>
                  <a:moveTo>
                    <a:pt x="153573" y="0"/>
                  </a:moveTo>
                  <a:cubicBezTo>
                    <a:pt x="174916" y="197"/>
                    <a:pt x="195213" y="4702"/>
                    <a:pt x="213646" y="12682"/>
                  </a:cubicBezTo>
                  <a:lnTo>
                    <a:pt x="250934" y="38260"/>
                  </a:lnTo>
                  <a:lnTo>
                    <a:pt x="253919" y="39146"/>
                  </a:lnTo>
                  <a:cubicBezTo>
                    <a:pt x="319673" y="59244"/>
                    <a:pt x="364566" y="119940"/>
                    <a:pt x="364537" y="188696"/>
                  </a:cubicBezTo>
                  <a:cubicBezTo>
                    <a:pt x="364595" y="219539"/>
                    <a:pt x="355523" y="249700"/>
                    <a:pt x="338463" y="275394"/>
                  </a:cubicBezTo>
                  <a:lnTo>
                    <a:pt x="350243" y="323088"/>
                  </a:lnTo>
                  <a:lnTo>
                    <a:pt x="294647" y="319425"/>
                  </a:lnTo>
                  <a:cubicBezTo>
                    <a:pt x="269830" y="335853"/>
                    <a:pt x="240724" y="344594"/>
                    <a:pt x="210965" y="344565"/>
                  </a:cubicBezTo>
                  <a:cubicBezTo>
                    <a:pt x="191816" y="344533"/>
                    <a:pt x="173025" y="340888"/>
                    <a:pt x="155515" y="333991"/>
                  </a:cubicBezTo>
                  <a:lnTo>
                    <a:pt x="110061" y="305368"/>
                  </a:lnTo>
                  <a:lnTo>
                    <a:pt x="109880" y="305341"/>
                  </a:lnTo>
                  <a:cubicBezTo>
                    <a:pt x="95781" y="301106"/>
                    <a:pt x="82300" y="294814"/>
                    <a:pt x="69892" y="286600"/>
                  </a:cubicBezTo>
                  <a:lnTo>
                    <a:pt x="14296" y="290263"/>
                  </a:lnTo>
                  <a:lnTo>
                    <a:pt x="26076" y="242569"/>
                  </a:lnTo>
                  <a:cubicBezTo>
                    <a:pt x="9016" y="216875"/>
                    <a:pt x="-56" y="186714"/>
                    <a:pt x="2" y="155870"/>
                  </a:cubicBezTo>
                  <a:cubicBezTo>
                    <a:pt x="-516" y="70465"/>
                    <a:pt x="68175" y="754"/>
                    <a:pt x="15357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88" name="gaoding-24-3">
              <a:extLst>
                <a:ext uri="{FF2B5EF4-FFF2-40B4-BE49-F238E27FC236}">
                  <a16:creationId xmlns:a16="http://schemas.microsoft.com/office/drawing/2014/main" id="{51016253-C75B-4C0E-A0BB-3383F090B860}"/>
                </a:ext>
              </a:extLst>
            </p:cNvPr>
            <p:cNvSpPr/>
            <p:nvPr/>
          </p:nvSpPr>
          <p:spPr>
            <a:xfrm>
              <a:off x="1177316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89" name="gaoding-24-4">
              <a:extLst>
                <a:ext uri="{FF2B5EF4-FFF2-40B4-BE49-F238E27FC236}">
                  <a16:creationId xmlns:a16="http://schemas.microsoft.com/office/drawing/2014/main" id="{3061029B-FDEA-4DBE-8C91-A965B8E95B05}"/>
                </a:ext>
              </a:extLst>
            </p:cNvPr>
            <p:cNvSpPr/>
            <p:nvPr/>
          </p:nvSpPr>
          <p:spPr>
            <a:xfrm>
              <a:off x="1233264" y="3515990"/>
              <a:ext cx="144806" cy="133742"/>
            </a:xfrm>
            <a:custGeom>
              <a:avLst/>
              <a:gdLst>
                <a:gd name="connsiteX0" fmla="*/ 179574 w 359148"/>
                <a:gd name="connsiteY0" fmla="*/ 228777 h 331709"/>
                <a:gd name="connsiteX1" fmla="*/ 32970 w 359148"/>
                <a:gd name="connsiteY1" fmla="*/ 317343 h 331709"/>
                <a:gd name="connsiteX2" fmla="*/ 326178 w 359148"/>
                <a:gd name="connsiteY2" fmla="*/ 317343 h 331709"/>
                <a:gd name="connsiteX3" fmla="*/ 344782 w 359148"/>
                <a:gd name="connsiteY3" fmla="*/ 128934 h 331709"/>
                <a:gd name="connsiteX4" fmla="*/ 193437 w 359148"/>
                <a:gd name="connsiteY4" fmla="*/ 220373 h 331709"/>
                <a:gd name="connsiteX5" fmla="*/ 344782 w 359148"/>
                <a:gd name="connsiteY5" fmla="*/ 311812 h 331709"/>
                <a:gd name="connsiteX6" fmla="*/ 14366 w 359148"/>
                <a:gd name="connsiteY6" fmla="*/ 128934 h 331709"/>
                <a:gd name="connsiteX7" fmla="*/ 14366 w 359148"/>
                <a:gd name="connsiteY7" fmla="*/ 311812 h 331709"/>
                <a:gd name="connsiteX8" fmla="*/ 165711 w 359148"/>
                <a:gd name="connsiteY8" fmla="*/ 220373 h 331709"/>
                <a:gd name="connsiteX9" fmla="*/ 92235 w 359148"/>
                <a:gd name="connsiteY9" fmla="*/ 109534 h 331709"/>
                <a:gd name="connsiteX10" fmla="*/ 264626 w 359148"/>
                <a:gd name="connsiteY10" fmla="*/ 109534 h 331709"/>
                <a:gd name="connsiteX11" fmla="*/ 264626 w 359148"/>
                <a:gd name="connsiteY11" fmla="*/ 123900 h 331709"/>
                <a:gd name="connsiteX12" fmla="*/ 92235 w 359148"/>
                <a:gd name="connsiteY12" fmla="*/ 123900 h 331709"/>
                <a:gd name="connsiteX13" fmla="*/ 178640 w 359148"/>
                <a:gd name="connsiteY13" fmla="*/ 16951 h 331709"/>
                <a:gd name="connsiteX14" fmla="*/ 20902 w 359148"/>
                <a:gd name="connsiteY14" fmla="*/ 115789 h 331709"/>
                <a:gd name="connsiteX15" fmla="*/ 179574 w 359148"/>
                <a:gd name="connsiteY15" fmla="*/ 211969 h 331709"/>
                <a:gd name="connsiteX16" fmla="*/ 338246 w 359148"/>
                <a:gd name="connsiteY16" fmla="*/ 116148 h 331709"/>
                <a:gd name="connsiteX17" fmla="*/ 178640 w 359148"/>
                <a:gd name="connsiteY17" fmla="*/ 0 h 331709"/>
                <a:gd name="connsiteX18" fmla="*/ 359148 w 359148"/>
                <a:gd name="connsiteY18" fmla="*/ 112198 h 331709"/>
                <a:gd name="connsiteX19" fmla="*/ 359148 w 359148"/>
                <a:gd name="connsiteY19" fmla="*/ 331709 h 331709"/>
                <a:gd name="connsiteX20" fmla="*/ 0 w 359148"/>
                <a:gd name="connsiteY20" fmla="*/ 331709 h 331709"/>
                <a:gd name="connsiteX21" fmla="*/ 0 w 359148"/>
                <a:gd name="connsiteY21" fmla="*/ 112269 h 33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9148" h="331709">
                  <a:moveTo>
                    <a:pt x="179574" y="228777"/>
                  </a:moveTo>
                  <a:lnTo>
                    <a:pt x="32970" y="317343"/>
                  </a:lnTo>
                  <a:lnTo>
                    <a:pt x="326178" y="317343"/>
                  </a:lnTo>
                  <a:close/>
                  <a:moveTo>
                    <a:pt x="344782" y="128934"/>
                  </a:moveTo>
                  <a:lnTo>
                    <a:pt x="193437" y="220373"/>
                  </a:lnTo>
                  <a:lnTo>
                    <a:pt x="344782" y="311812"/>
                  </a:lnTo>
                  <a:close/>
                  <a:moveTo>
                    <a:pt x="14366" y="128934"/>
                  </a:moveTo>
                  <a:lnTo>
                    <a:pt x="14366" y="311812"/>
                  </a:lnTo>
                  <a:lnTo>
                    <a:pt x="165711" y="220373"/>
                  </a:lnTo>
                  <a:close/>
                  <a:moveTo>
                    <a:pt x="92235" y="109534"/>
                  </a:moveTo>
                  <a:lnTo>
                    <a:pt x="264626" y="109534"/>
                  </a:lnTo>
                  <a:lnTo>
                    <a:pt x="264626" y="123900"/>
                  </a:lnTo>
                  <a:lnTo>
                    <a:pt x="92235" y="123900"/>
                  </a:lnTo>
                  <a:close/>
                  <a:moveTo>
                    <a:pt x="178640" y="16951"/>
                  </a:moveTo>
                  <a:lnTo>
                    <a:pt x="20902" y="115789"/>
                  </a:lnTo>
                  <a:lnTo>
                    <a:pt x="179574" y="211969"/>
                  </a:lnTo>
                  <a:lnTo>
                    <a:pt x="338246" y="116148"/>
                  </a:lnTo>
                  <a:close/>
                  <a:moveTo>
                    <a:pt x="178640" y="0"/>
                  </a:moveTo>
                  <a:lnTo>
                    <a:pt x="359148" y="112198"/>
                  </a:lnTo>
                  <a:lnTo>
                    <a:pt x="359148" y="331709"/>
                  </a:lnTo>
                  <a:lnTo>
                    <a:pt x="0" y="331709"/>
                  </a:lnTo>
                  <a:lnTo>
                    <a:pt x="0" y="11226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90" name="gaoding-24-5">
              <a:extLst>
                <a:ext uri="{FF2B5EF4-FFF2-40B4-BE49-F238E27FC236}">
                  <a16:creationId xmlns:a16="http://schemas.microsoft.com/office/drawing/2014/main" id="{582838F0-82F1-4F04-802D-34CA6E2DB0BC}"/>
                </a:ext>
              </a:extLst>
            </p:cNvPr>
            <p:cNvSpPr/>
            <p:nvPr/>
          </p:nvSpPr>
          <p:spPr>
            <a:xfrm>
              <a:off x="1519612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91" name="gaoding-24-6">
              <a:extLst>
                <a:ext uri="{FF2B5EF4-FFF2-40B4-BE49-F238E27FC236}">
                  <a16:creationId xmlns:a16="http://schemas.microsoft.com/office/drawing/2014/main" id="{FE8724D3-3929-4468-92DE-4EAE3BFB4931}"/>
                </a:ext>
              </a:extLst>
            </p:cNvPr>
            <p:cNvSpPr/>
            <p:nvPr/>
          </p:nvSpPr>
          <p:spPr>
            <a:xfrm>
              <a:off x="1575560" y="3520594"/>
              <a:ext cx="144806" cy="124533"/>
            </a:xfrm>
            <a:custGeom>
              <a:avLst/>
              <a:gdLst>
                <a:gd name="connsiteX0" fmla="*/ 179574 w 359148"/>
                <a:gd name="connsiteY0" fmla="*/ 93378 h 308867"/>
                <a:gd name="connsiteX1" fmla="*/ 105878 w 359148"/>
                <a:gd name="connsiteY1" fmla="*/ 168799 h 308867"/>
                <a:gd name="connsiteX2" fmla="*/ 179574 w 359148"/>
                <a:gd name="connsiteY2" fmla="*/ 244220 h 308867"/>
                <a:gd name="connsiteX3" fmla="*/ 253344 w 359148"/>
                <a:gd name="connsiteY3" fmla="*/ 168799 h 308867"/>
                <a:gd name="connsiteX4" fmla="*/ 179574 w 359148"/>
                <a:gd name="connsiteY4" fmla="*/ 93378 h 308867"/>
                <a:gd name="connsiteX5" fmla="*/ 312537 w 359148"/>
                <a:gd name="connsiteY5" fmla="*/ 82454 h 308867"/>
                <a:gd name="connsiteX6" fmla="*/ 326903 w 359148"/>
                <a:gd name="connsiteY6" fmla="*/ 82454 h 308867"/>
                <a:gd name="connsiteX7" fmla="*/ 326903 w 359148"/>
                <a:gd name="connsiteY7" fmla="*/ 96820 h 308867"/>
                <a:gd name="connsiteX8" fmla="*/ 312537 w 359148"/>
                <a:gd name="connsiteY8" fmla="*/ 96820 h 308867"/>
                <a:gd name="connsiteX9" fmla="*/ 179574 w 359148"/>
                <a:gd name="connsiteY9" fmla="*/ 79012 h 308867"/>
                <a:gd name="connsiteX10" fmla="*/ 267710 w 359148"/>
                <a:gd name="connsiteY10" fmla="*/ 168799 h 308867"/>
                <a:gd name="connsiteX11" fmla="*/ 179574 w 359148"/>
                <a:gd name="connsiteY11" fmla="*/ 258586 h 308867"/>
                <a:gd name="connsiteX12" fmla="*/ 91512 w 359148"/>
                <a:gd name="connsiteY12" fmla="*/ 168799 h 308867"/>
                <a:gd name="connsiteX13" fmla="*/ 179574 w 359148"/>
                <a:gd name="connsiteY13" fmla="*/ 79012 h 308867"/>
                <a:gd name="connsiteX14" fmla="*/ 119596 w 359148"/>
                <a:gd name="connsiteY14" fmla="*/ 14366 h 308867"/>
                <a:gd name="connsiteX15" fmla="*/ 103434 w 359148"/>
                <a:gd name="connsiteY15" fmla="*/ 57463 h 308867"/>
                <a:gd name="connsiteX16" fmla="*/ 14007 w 359148"/>
                <a:gd name="connsiteY16" fmla="*/ 57463 h 308867"/>
                <a:gd name="connsiteX17" fmla="*/ 14007 w 359148"/>
                <a:gd name="connsiteY17" fmla="*/ 294501 h 308867"/>
                <a:gd name="connsiteX18" fmla="*/ 344423 w 359148"/>
                <a:gd name="connsiteY18" fmla="*/ 294501 h 308867"/>
                <a:gd name="connsiteX19" fmla="*/ 344423 w 359148"/>
                <a:gd name="connsiteY19" fmla="*/ 57463 h 308867"/>
                <a:gd name="connsiteX20" fmla="*/ 255067 w 359148"/>
                <a:gd name="connsiteY20" fmla="*/ 57463 h 308867"/>
                <a:gd name="connsiteX21" fmla="*/ 238905 w 359148"/>
                <a:gd name="connsiteY21" fmla="*/ 14366 h 308867"/>
                <a:gd name="connsiteX22" fmla="*/ 109971 w 359148"/>
                <a:gd name="connsiteY22" fmla="*/ 0 h 308867"/>
                <a:gd name="connsiteX23" fmla="*/ 249249 w 359148"/>
                <a:gd name="connsiteY23" fmla="*/ 0 h 308867"/>
                <a:gd name="connsiteX24" fmla="*/ 265411 w 359148"/>
                <a:gd name="connsiteY24" fmla="*/ 43097 h 308867"/>
                <a:gd name="connsiteX25" fmla="*/ 359148 w 359148"/>
                <a:gd name="connsiteY25" fmla="*/ 43097 h 308867"/>
                <a:gd name="connsiteX26" fmla="*/ 359148 w 359148"/>
                <a:gd name="connsiteY26" fmla="*/ 308867 h 308867"/>
                <a:gd name="connsiteX27" fmla="*/ 0 w 359148"/>
                <a:gd name="connsiteY27" fmla="*/ 308867 h 308867"/>
                <a:gd name="connsiteX28" fmla="*/ 0 w 359148"/>
                <a:gd name="connsiteY28" fmla="*/ 43097 h 308867"/>
                <a:gd name="connsiteX29" fmla="*/ 93810 w 359148"/>
                <a:gd name="connsiteY29" fmla="*/ 43097 h 308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9148" h="308867">
                  <a:moveTo>
                    <a:pt x="179574" y="93378"/>
                  </a:moveTo>
                  <a:cubicBezTo>
                    <a:pt x="138416" y="93888"/>
                    <a:pt x="105447" y="127633"/>
                    <a:pt x="105878" y="168799"/>
                  </a:cubicBezTo>
                  <a:cubicBezTo>
                    <a:pt x="105447" y="209964"/>
                    <a:pt x="138416" y="243710"/>
                    <a:pt x="179574" y="244220"/>
                  </a:cubicBezTo>
                  <a:cubicBezTo>
                    <a:pt x="220734" y="243710"/>
                    <a:pt x="253775" y="209971"/>
                    <a:pt x="253344" y="168799"/>
                  </a:cubicBezTo>
                  <a:cubicBezTo>
                    <a:pt x="253775" y="127626"/>
                    <a:pt x="220734" y="93888"/>
                    <a:pt x="179574" y="93378"/>
                  </a:cubicBezTo>
                  <a:close/>
                  <a:moveTo>
                    <a:pt x="312537" y="82454"/>
                  </a:moveTo>
                  <a:lnTo>
                    <a:pt x="326903" y="82454"/>
                  </a:lnTo>
                  <a:lnTo>
                    <a:pt x="326903" y="96820"/>
                  </a:lnTo>
                  <a:lnTo>
                    <a:pt x="312537" y="96820"/>
                  </a:lnTo>
                  <a:close/>
                  <a:moveTo>
                    <a:pt x="179574" y="79012"/>
                  </a:moveTo>
                  <a:cubicBezTo>
                    <a:pt x="228707" y="79522"/>
                    <a:pt x="268141" y="119689"/>
                    <a:pt x="267710" y="168799"/>
                  </a:cubicBezTo>
                  <a:cubicBezTo>
                    <a:pt x="268141" y="217909"/>
                    <a:pt x="228707" y="258076"/>
                    <a:pt x="179574" y="258586"/>
                  </a:cubicBezTo>
                  <a:cubicBezTo>
                    <a:pt x="130515" y="258033"/>
                    <a:pt x="91081" y="217880"/>
                    <a:pt x="91512" y="168799"/>
                  </a:cubicBezTo>
                  <a:cubicBezTo>
                    <a:pt x="91081" y="119718"/>
                    <a:pt x="130515" y="79565"/>
                    <a:pt x="179574" y="79012"/>
                  </a:cubicBezTo>
                  <a:close/>
                  <a:moveTo>
                    <a:pt x="119596" y="14366"/>
                  </a:moveTo>
                  <a:lnTo>
                    <a:pt x="103434" y="57463"/>
                  </a:lnTo>
                  <a:lnTo>
                    <a:pt x="14007" y="57463"/>
                  </a:lnTo>
                  <a:lnTo>
                    <a:pt x="14007" y="294501"/>
                  </a:lnTo>
                  <a:lnTo>
                    <a:pt x="344423" y="294501"/>
                  </a:lnTo>
                  <a:lnTo>
                    <a:pt x="344423" y="57463"/>
                  </a:lnTo>
                  <a:lnTo>
                    <a:pt x="255067" y="57463"/>
                  </a:lnTo>
                  <a:lnTo>
                    <a:pt x="238905" y="14366"/>
                  </a:lnTo>
                  <a:close/>
                  <a:moveTo>
                    <a:pt x="109971" y="0"/>
                  </a:moveTo>
                  <a:lnTo>
                    <a:pt x="249249" y="0"/>
                  </a:lnTo>
                  <a:lnTo>
                    <a:pt x="265411" y="43097"/>
                  </a:lnTo>
                  <a:lnTo>
                    <a:pt x="359148" y="43097"/>
                  </a:lnTo>
                  <a:lnTo>
                    <a:pt x="359148" y="308867"/>
                  </a:lnTo>
                  <a:lnTo>
                    <a:pt x="0" y="308867"/>
                  </a:lnTo>
                  <a:lnTo>
                    <a:pt x="0" y="43097"/>
                  </a:lnTo>
                  <a:lnTo>
                    <a:pt x="93810" y="4309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</p:grpSp>
      <p:grpSp>
        <p:nvGrpSpPr>
          <p:cNvPr id="92" name="gaoding-25">
            <a:extLst>
              <a:ext uri="{FF2B5EF4-FFF2-40B4-BE49-F238E27FC236}">
                <a16:creationId xmlns:a16="http://schemas.microsoft.com/office/drawing/2014/main" id="{AE73E1EF-A8D8-4B19-B38E-A69601DC1923}"/>
              </a:ext>
            </a:extLst>
          </p:cNvPr>
          <p:cNvGrpSpPr/>
          <p:nvPr/>
        </p:nvGrpSpPr>
        <p:grpSpPr>
          <a:xfrm>
            <a:off x="4889731" y="4528906"/>
            <a:ext cx="850670" cy="231988"/>
            <a:chOff x="835020" y="3454509"/>
            <a:chExt cx="941295" cy="256703"/>
          </a:xfrm>
        </p:grpSpPr>
        <p:sp>
          <p:nvSpPr>
            <p:cNvPr id="93" name="gaoding-25-1">
              <a:extLst>
                <a:ext uri="{FF2B5EF4-FFF2-40B4-BE49-F238E27FC236}">
                  <a16:creationId xmlns:a16="http://schemas.microsoft.com/office/drawing/2014/main" id="{0872EDE4-01AE-4C1B-B9E7-32E806642281}"/>
                </a:ext>
              </a:extLst>
            </p:cNvPr>
            <p:cNvSpPr/>
            <p:nvPr/>
          </p:nvSpPr>
          <p:spPr>
            <a:xfrm>
              <a:off x="835020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94" name="gaoding-25-2">
              <a:extLst>
                <a:ext uri="{FF2B5EF4-FFF2-40B4-BE49-F238E27FC236}">
                  <a16:creationId xmlns:a16="http://schemas.microsoft.com/office/drawing/2014/main" id="{F6FF2279-461F-4706-96D3-A3FFD5FC5551}"/>
                </a:ext>
              </a:extLst>
            </p:cNvPr>
            <p:cNvSpPr/>
            <p:nvPr/>
          </p:nvSpPr>
          <p:spPr>
            <a:xfrm>
              <a:off x="890968" y="3514425"/>
              <a:ext cx="144806" cy="136872"/>
            </a:xfrm>
            <a:custGeom>
              <a:avLst/>
              <a:gdLst>
                <a:gd name="connsiteX0" fmla="*/ 220878 w 364537"/>
                <a:gd name="connsiteY0" fmla="*/ 144018 h 344565"/>
                <a:gd name="connsiteX1" fmla="*/ 209314 w 364537"/>
                <a:gd name="connsiteY1" fmla="*/ 155870 h 344565"/>
                <a:gd name="connsiteX2" fmla="*/ 220878 w 364537"/>
                <a:gd name="connsiteY2" fmla="*/ 167793 h 344565"/>
                <a:gd name="connsiteX3" fmla="*/ 232515 w 364537"/>
                <a:gd name="connsiteY3" fmla="*/ 155870 h 344565"/>
                <a:gd name="connsiteX4" fmla="*/ 220878 w 364537"/>
                <a:gd name="connsiteY4" fmla="*/ 144018 h 344565"/>
                <a:gd name="connsiteX5" fmla="*/ 153573 w 364537"/>
                <a:gd name="connsiteY5" fmla="*/ 144018 h 344565"/>
                <a:gd name="connsiteX6" fmla="*/ 142009 w 364537"/>
                <a:gd name="connsiteY6" fmla="*/ 155870 h 344565"/>
                <a:gd name="connsiteX7" fmla="*/ 153573 w 364537"/>
                <a:gd name="connsiteY7" fmla="*/ 167793 h 344565"/>
                <a:gd name="connsiteX8" fmla="*/ 165138 w 364537"/>
                <a:gd name="connsiteY8" fmla="*/ 155870 h 344565"/>
                <a:gd name="connsiteX9" fmla="*/ 153573 w 364537"/>
                <a:gd name="connsiteY9" fmla="*/ 144018 h 344565"/>
                <a:gd name="connsiteX10" fmla="*/ 85981 w 364537"/>
                <a:gd name="connsiteY10" fmla="*/ 144018 h 344565"/>
                <a:gd name="connsiteX11" fmla="*/ 74417 w 364537"/>
                <a:gd name="connsiteY11" fmla="*/ 155870 h 344565"/>
                <a:gd name="connsiteX12" fmla="*/ 85981 w 364537"/>
                <a:gd name="connsiteY12" fmla="*/ 167793 h 344565"/>
                <a:gd name="connsiteX13" fmla="*/ 97618 w 364537"/>
                <a:gd name="connsiteY13" fmla="*/ 155870 h 344565"/>
                <a:gd name="connsiteX14" fmla="*/ 85981 w 364537"/>
                <a:gd name="connsiteY14" fmla="*/ 144018 h 344565"/>
                <a:gd name="connsiteX15" fmla="*/ 220878 w 364537"/>
                <a:gd name="connsiteY15" fmla="*/ 129652 h 344565"/>
                <a:gd name="connsiteX16" fmla="*/ 246881 w 364537"/>
                <a:gd name="connsiteY16" fmla="*/ 155870 h 344565"/>
                <a:gd name="connsiteX17" fmla="*/ 220878 w 364537"/>
                <a:gd name="connsiteY17" fmla="*/ 182159 h 344565"/>
                <a:gd name="connsiteX18" fmla="*/ 194948 w 364537"/>
                <a:gd name="connsiteY18" fmla="*/ 155870 h 344565"/>
                <a:gd name="connsiteX19" fmla="*/ 220878 w 364537"/>
                <a:gd name="connsiteY19" fmla="*/ 129652 h 344565"/>
                <a:gd name="connsiteX20" fmla="*/ 153573 w 364537"/>
                <a:gd name="connsiteY20" fmla="*/ 129652 h 344565"/>
                <a:gd name="connsiteX21" fmla="*/ 179504 w 364537"/>
                <a:gd name="connsiteY21" fmla="*/ 155870 h 344565"/>
                <a:gd name="connsiteX22" fmla="*/ 153573 w 364537"/>
                <a:gd name="connsiteY22" fmla="*/ 182159 h 344565"/>
                <a:gd name="connsiteX23" fmla="*/ 127643 w 364537"/>
                <a:gd name="connsiteY23" fmla="*/ 155870 h 344565"/>
                <a:gd name="connsiteX24" fmla="*/ 153573 w 364537"/>
                <a:gd name="connsiteY24" fmla="*/ 129652 h 344565"/>
                <a:gd name="connsiteX25" fmla="*/ 85981 w 364537"/>
                <a:gd name="connsiteY25" fmla="*/ 129652 h 344565"/>
                <a:gd name="connsiteX26" fmla="*/ 111984 w 364537"/>
                <a:gd name="connsiteY26" fmla="*/ 155870 h 344565"/>
                <a:gd name="connsiteX27" fmla="*/ 85981 w 364537"/>
                <a:gd name="connsiteY27" fmla="*/ 182159 h 344565"/>
                <a:gd name="connsiteX28" fmla="*/ 60051 w 364537"/>
                <a:gd name="connsiteY28" fmla="*/ 155870 h 344565"/>
                <a:gd name="connsiteX29" fmla="*/ 85981 w 364537"/>
                <a:gd name="connsiteY29" fmla="*/ 129652 h 344565"/>
                <a:gd name="connsiteX30" fmla="*/ 277911 w 364537"/>
                <a:gd name="connsiteY30" fmla="*/ 64717 h 344565"/>
                <a:gd name="connsiteX31" fmla="*/ 287420 w 364537"/>
                <a:gd name="connsiteY31" fmla="*/ 83716 h 344565"/>
                <a:gd name="connsiteX32" fmla="*/ 295313 w 364537"/>
                <a:gd name="connsiteY32" fmla="*/ 95609 h 344565"/>
                <a:gd name="connsiteX33" fmla="*/ 296553 w 364537"/>
                <a:gd name="connsiteY33" fmla="*/ 101966 h 344565"/>
                <a:gd name="connsiteX34" fmla="*/ 299585 w 364537"/>
                <a:gd name="connsiteY34" fmla="*/ 108023 h 344565"/>
                <a:gd name="connsiteX35" fmla="*/ 307073 w 364537"/>
                <a:gd name="connsiteY35" fmla="*/ 155869 h 344565"/>
                <a:gd name="connsiteX36" fmla="*/ 307073 w 364537"/>
                <a:gd name="connsiteY36" fmla="*/ 155870 h 344565"/>
                <a:gd name="connsiteX37" fmla="*/ 307073 w 364537"/>
                <a:gd name="connsiteY37" fmla="*/ 155870 h 344565"/>
                <a:gd name="connsiteX38" fmla="*/ 295334 w 364537"/>
                <a:gd name="connsiteY38" fmla="*/ 216143 h 344565"/>
                <a:gd name="connsiteX39" fmla="*/ 295329 w 364537"/>
                <a:gd name="connsiteY39" fmla="*/ 216151 h 344565"/>
                <a:gd name="connsiteX40" fmla="*/ 295327 w 364537"/>
                <a:gd name="connsiteY40" fmla="*/ 216161 h 344565"/>
                <a:gd name="connsiteX41" fmla="*/ 282553 w 364537"/>
                <a:gd name="connsiteY41" fmla="*/ 235405 h 344565"/>
                <a:gd name="connsiteX42" fmla="*/ 262555 w 364537"/>
                <a:gd name="connsiteY42" fmla="*/ 265544 h 344565"/>
                <a:gd name="connsiteX43" fmla="*/ 262542 w 364537"/>
                <a:gd name="connsiteY43" fmla="*/ 265553 h 344565"/>
                <a:gd name="connsiteX44" fmla="*/ 262531 w 364537"/>
                <a:gd name="connsiteY44" fmla="*/ 265571 h 344565"/>
                <a:gd name="connsiteX45" fmla="*/ 239939 w 364537"/>
                <a:gd name="connsiteY45" fmla="*/ 281054 h 344565"/>
                <a:gd name="connsiteX46" fmla="*/ 213661 w 364537"/>
                <a:gd name="connsiteY46" fmla="*/ 299076 h 344565"/>
                <a:gd name="connsiteX47" fmla="*/ 213638 w 364537"/>
                <a:gd name="connsiteY47" fmla="*/ 299081 h 344565"/>
                <a:gd name="connsiteX48" fmla="*/ 213613 w 364537"/>
                <a:gd name="connsiteY48" fmla="*/ 299098 h 344565"/>
                <a:gd name="connsiteX49" fmla="*/ 188327 w 364537"/>
                <a:gd name="connsiteY49" fmla="*/ 304416 h 344565"/>
                <a:gd name="connsiteX50" fmla="*/ 153573 w 364537"/>
                <a:gd name="connsiteY50" fmla="*/ 311741 h 344565"/>
                <a:gd name="connsiteX51" fmla="*/ 153529 w 364537"/>
                <a:gd name="connsiteY51" fmla="*/ 311735 h 344565"/>
                <a:gd name="connsiteX52" fmla="*/ 153502 w 364537"/>
                <a:gd name="connsiteY52" fmla="*/ 311740 h 344565"/>
                <a:gd name="connsiteX53" fmla="*/ 141865 w 364537"/>
                <a:gd name="connsiteY53" fmla="*/ 311309 h 344565"/>
                <a:gd name="connsiteX54" fmla="*/ 141650 w 364537"/>
                <a:gd name="connsiteY54" fmla="*/ 311309 h 344565"/>
                <a:gd name="connsiteX55" fmla="*/ 210965 w 364537"/>
                <a:gd name="connsiteY55" fmla="*/ 330200 h 344565"/>
                <a:gd name="connsiteX56" fmla="*/ 288613 w 364537"/>
                <a:gd name="connsiteY56" fmla="*/ 306209 h 344565"/>
                <a:gd name="connsiteX57" fmla="*/ 290625 w 364537"/>
                <a:gd name="connsiteY57" fmla="*/ 304772 h 344565"/>
                <a:gd name="connsiteX58" fmla="*/ 331639 w 364537"/>
                <a:gd name="connsiteY58" fmla="*/ 307502 h 344565"/>
                <a:gd name="connsiteX59" fmla="*/ 323019 w 364537"/>
                <a:gd name="connsiteY59" fmla="*/ 272592 h 344565"/>
                <a:gd name="connsiteX60" fmla="*/ 324815 w 364537"/>
                <a:gd name="connsiteY60" fmla="*/ 269935 h 344565"/>
                <a:gd name="connsiteX61" fmla="*/ 350171 w 364537"/>
                <a:gd name="connsiteY61" fmla="*/ 188696 h 344565"/>
                <a:gd name="connsiteX62" fmla="*/ 277911 w 364537"/>
                <a:gd name="connsiteY62" fmla="*/ 64717 h 344565"/>
                <a:gd name="connsiteX63" fmla="*/ 153501 w 364537"/>
                <a:gd name="connsiteY63" fmla="*/ 14366 h 344565"/>
                <a:gd name="connsiteX64" fmla="*/ 14296 w 364537"/>
                <a:gd name="connsiteY64" fmla="*/ 155870 h 344565"/>
                <a:gd name="connsiteX65" fmla="*/ 39652 w 364537"/>
                <a:gd name="connsiteY65" fmla="*/ 237109 h 344565"/>
                <a:gd name="connsiteX66" fmla="*/ 41447 w 364537"/>
                <a:gd name="connsiteY66" fmla="*/ 239767 h 344565"/>
                <a:gd name="connsiteX67" fmla="*/ 32828 w 364537"/>
                <a:gd name="connsiteY67" fmla="*/ 274676 h 344565"/>
                <a:gd name="connsiteX68" fmla="*/ 73914 w 364537"/>
                <a:gd name="connsiteY68" fmla="*/ 271947 h 344565"/>
                <a:gd name="connsiteX69" fmla="*/ 75926 w 364537"/>
                <a:gd name="connsiteY69" fmla="*/ 273383 h 344565"/>
                <a:gd name="connsiteX70" fmla="*/ 112506 w 364537"/>
                <a:gd name="connsiteY70" fmla="*/ 291069 h 344565"/>
                <a:gd name="connsiteX71" fmla="*/ 113477 w 364537"/>
                <a:gd name="connsiteY71" fmla="*/ 291356 h 344565"/>
                <a:gd name="connsiteX72" fmla="*/ 153311 w 364537"/>
                <a:gd name="connsiteY72" fmla="*/ 297336 h 344565"/>
                <a:gd name="connsiteX73" fmla="*/ 153574 w 364537"/>
                <a:gd name="connsiteY73" fmla="*/ 297374 h 344565"/>
                <a:gd name="connsiteX74" fmla="*/ 252375 w 364537"/>
                <a:gd name="connsiteY74" fmla="*/ 255365 h 344565"/>
                <a:gd name="connsiteX75" fmla="*/ 282076 w 364537"/>
                <a:gd name="connsiteY75" fmla="*/ 210539 h 344565"/>
                <a:gd name="connsiteX76" fmla="*/ 292707 w 364537"/>
                <a:gd name="connsiteY76" fmla="*/ 155870 h 344565"/>
                <a:gd name="connsiteX77" fmla="*/ 292691 w 364537"/>
                <a:gd name="connsiteY77" fmla="*/ 155788 h 344565"/>
                <a:gd name="connsiteX78" fmla="*/ 280886 w 364537"/>
                <a:gd name="connsiteY78" fmla="*/ 99399 h 344565"/>
                <a:gd name="connsiteX79" fmla="*/ 276780 w 364537"/>
                <a:gd name="connsiteY79" fmla="*/ 93204 h 344565"/>
                <a:gd name="connsiteX80" fmla="*/ 248971 w 364537"/>
                <a:gd name="connsiteY80" fmla="*/ 54028 h 344565"/>
                <a:gd name="connsiteX81" fmla="*/ 208007 w 364537"/>
                <a:gd name="connsiteY81" fmla="*/ 25897 h 344565"/>
                <a:gd name="connsiteX82" fmla="*/ 153501 w 364537"/>
                <a:gd name="connsiteY82" fmla="*/ 14366 h 344565"/>
                <a:gd name="connsiteX83" fmla="*/ 153573 w 364537"/>
                <a:gd name="connsiteY83" fmla="*/ 0 h 344565"/>
                <a:gd name="connsiteX84" fmla="*/ 213646 w 364537"/>
                <a:gd name="connsiteY84" fmla="*/ 12682 h 344565"/>
                <a:gd name="connsiteX85" fmla="*/ 250934 w 364537"/>
                <a:gd name="connsiteY85" fmla="*/ 38260 h 344565"/>
                <a:gd name="connsiteX86" fmla="*/ 253919 w 364537"/>
                <a:gd name="connsiteY86" fmla="*/ 39146 h 344565"/>
                <a:gd name="connsiteX87" fmla="*/ 364537 w 364537"/>
                <a:gd name="connsiteY87" fmla="*/ 188696 h 344565"/>
                <a:gd name="connsiteX88" fmla="*/ 338463 w 364537"/>
                <a:gd name="connsiteY88" fmla="*/ 275394 h 344565"/>
                <a:gd name="connsiteX89" fmla="*/ 350243 w 364537"/>
                <a:gd name="connsiteY89" fmla="*/ 323088 h 344565"/>
                <a:gd name="connsiteX90" fmla="*/ 294647 w 364537"/>
                <a:gd name="connsiteY90" fmla="*/ 319425 h 344565"/>
                <a:gd name="connsiteX91" fmla="*/ 210965 w 364537"/>
                <a:gd name="connsiteY91" fmla="*/ 344565 h 344565"/>
                <a:gd name="connsiteX92" fmla="*/ 155515 w 364537"/>
                <a:gd name="connsiteY92" fmla="*/ 333991 h 344565"/>
                <a:gd name="connsiteX93" fmla="*/ 110061 w 364537"/>
                <a:gd name="connsiteY93" fmla="*/ 305368 h 344565"/>
                <a:gd name="connsiteX94" fmla="*/ 109880 w 364537"/>
                <a:gd name="connsiteY94" fmla="*/ 305341 h 344565"/>
                <a:gd name="connsiteX95" fmla="*/ 69892 w 364537"/>
                <a:gd name="connsiteY95" fmla="*/ 286600 h 344565"/>
                <a:gd name="connsiteX96" fmla="*/ 14296 w 364537"/>
                <a:gd name="connsiteY96" fmla="*/ 290263 h 344565"/>
                <a:gd name="connsiteX97" fmla="*/ 26076 w 364537"/>
                <a:gd name="connsiteY97" fmla="*/ 242569 h 344565"/>
                <a:gd name="connsiteX98" fmla="*/ 2 w 364537"/>
                <a:gd name="connsiteY98" fmla="*/ 155870 h 344565"/>
                <a:gd name="connsiteX99" fmla="*/ 153573 w 364537"/>
                <a:gd name="connsiteY99" fmla="*/ 0 h 3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364537" h="344565">
                  <a:moveTo>
                    <a:pt x="220878" y="144018"/>
                  </a:moveTo>
                  <a:cubicBezTo>
                    <a:pt x="214414" y="144097"/>
                    <a:pt x="209235" y="149405"/>
                    <a:pt x="209314" y="155870"/>
                  </a:cubicBezTo>
                  <a:cubicBezTo>
                    <a:pt x="209235" y="162349"/>
                    <a:pt x="214400" y="167678"/>
                    <a:pt x="220878" y="167793"/>
                  </a:cubicBezTo>
                  <a:cubicBezTo>
                    <a:pt x="227365" y="167678"/>
                    <a:pt x="232558" y="162363"/>
                    <a:pt x="232515" y="155870"/>
                  </a:cubicBezTo>
                  <a:cubicBezTo>
                    <a:pt x="232558" y="149390"/>
                    <a:pt x="227357" y="144097"/>
                    <a:pt x="220878" y="144018"/>
                  </a:cubicBezTo>
                  <a:close/>
                  <a:moveTo>
                    <a:pt x="153573" y="144018"/>
                  </a:moveTo>
                  <a:cubicBezTo>
                    <a:pt x="147109" y="144097"/>
                    <a:pt x="141930" y="149405"/>
                    <a:pt x="142009" y="155870"/>
                  </a:cubicBezTo>
                  <a:cubicBezTo>
                    <a:pt x="141930" y="162349"/>
                    <a:pt x="147095" y="167678"/>
                    <a:pt x="153573" y="167793"/>
                  </a:cubicBezTo>
                  <a:cubicBezTo>
                    <a:pt x="160052" y="167678"/>
                    <a:pt x="165217" y="162349"/>
                    <a:pt x="165138" y="155870"/>
                  </a:cubicBezTo>
                  <a:cubicBezTo>
                    <a:pt x="165217" y="149405"/>
                    <a:pt x="160038" y="144097"/>
                    <a:pt x="153573" y="144018"/>
                  </a:cubicBezTo>
                  <a:close/>
                  <a:moveTo>
                    <a:pt x="85981" y="144018"/>
                  </a:moveTo>
                  <a:cubicBezTo>
                    <a:pt x="79517" y="144097"/>
                    <a:pt x="74338" y="149405"/>
                    <a:pt x="74417" y="155870"/>
                  </a:cubicBezTo>
                  <a:cubicBezTo>
                    <a:pt x="74338" y="162349"/>
                    <a:pt x="79503" y="167678"/>
                    <a:pt x="85981" y="167793"/>
                  </a:cubicBezTo>
                  <a:cubicBezTo>
                    <a:pt x="92468" y="167678"/>
                    <a:pt x="97661" y="162363"/>
                    <a:pt x="97618" y="155870"/>
                  </a:cubicBezTo>
                  <a:cubicBezTo>
                    <a:pt x="97661" y="149390"/>
                    <a:pt x="92461" y="144097"/>
                    <a:pt x="85981" y="144018"/>
                  </a:cubicBezTo>
                  <a:close/>
                  <a:moveTo>
                    <a:pt x="220878" y="129652"/>
                  </a:moveTo>
                  <a:cubicBezTo>
                    <a:pt x="235287" y="129731"/>
                    <a:pt x="246924" y="141460"/>
                    <a:pt x="246881" y="155870"/>
                  </a:cubicBezTo>
                  <a:cubicBezTo>
                    <a:pt x="246960" y="170308"/>
                    <a:pt x="235316" y="182080"/>
                    <a:pt x="220878" y="182159"/>
                  </a:cubicBezTo>
                  <a:cubicBezTo>
                    <a:pt x="206470" y="182044"/>
                    <a:pt x="194869" y="170279"/>
                    <a:pt x="194948" y="155870"/>
                  </a:cubicBezTo>
                  <a:cubicBezTo>
                    <a:pt x="194905" y="141482"/>
                    <a:pt x="206491" y="129774"/>
                    <a:pt x="220878" y="129652"/>
                  </a:cubicBezTo>
                  <a:close/>
                  <a:moveTo>
                    <a:pt x="153573" y="129652"/>
                  </a:moveTo>
                  <a:cubicBezTo>
                    <a:pt x="167961" y="129767"/>
                    <a:pt x="179547" y="141482"/>
                    <a:pt x="179504" y="155870"/>
                  </a:cubicBezTo>
                  <a:cubicBezTo>
                    <a:pt x="179583" y="170279"/>
                    <a:pt x="167982" y="182044"/>
                    <a:pt x="153573" y="182159"/>
                  </a:cubicBezTo>
                  <a:cubicBezTo>
                    <a:pt x="139165" y="182044"/>
                    <a:pt x="127564" y="170279"/>
                    <a:pt x="127643" y="155870"/>
                  </a:cubicBezTo>
                  <a:cubicBezTo>
                    <a:pt x="127600" y="141482"/>
                    <a:pt x="139193" y="129774"/>
                    <a:pt x="153573" y="129652"/>
                  </a:cubicBezTo>
                  <a:close/>
                  <a:moveTo>
                    <a:pt x="85981" y="129652"/>
                  </a:moveTo>
                  <a:cubicBezTo>
                    <a:pt x="100391" y="129731"/>
                    <a:pt x="112027" y="141460"/>
                    <a:pt x="111984" y="155870"/>
                  </a:cubicBezTo>
                  <a:cubicBezTo>
                    <a:pt x="112027" y="170293"/>
                    <a:pt x="100405" y="182044"/>
                    <a:pt x="85981" y="182159"/>
                  </a:cubicBezTo>
                  <a:cubicBezTo>
                    <a:pt x="71573" y="182044"/>
                    <a:pt x="59972" y="170279"/>
                    <a:pt x="60051" y="155870"/>
                  </a:cubicBezTo>
                  <a:cubicBezTo>
                    <a:pt x="60008" y="141482"/>
                    <a:pt x="71594" y="129774"/>
                    <a:pt x="85981" y="129652"/>
                  </a:cubicBezTo>
                  <a:close/>
                  <a:moveTo>
                    <a:pt x="277911" y="64717"/>
                  </a:moveTo>
                  <a:lnTo>
                    <a:pt x="287420" y="83716"/>
                  </a:lnTo>
                  <a:lnTo>
                    <a:pt x="295313" y="95609"/>
                  </a:lnTo>
                  <a:lnTo>
                    <a:pt x="296553" y="101966"/>
                  </a:lnTo>
                  <a:lnTo>
                    <a:pt x="299585" y="108023"/>
                  </a:lnTo>
                  <a:cubicBezTo>
                    <a:pt x="304504" y="123399"/>
                    <a:pt x="307059" y="139532"/>
                    <a:pt x="307073" y="155869"/>
                  </a:cubicBezTo>
                  <a:lnTo>
                    <a:pt x="307073" y="155870"/>
                  </a:lnTo>
                  <a:lnTo>
                    <a:pt x="307073" y="155870"/>
                  </a:lnTo>
                  <a:cubicBezTo>
                    <a:pt x="307214" y="177218"/>
                    <a:pt x="303027" y="197587"/>
                    <a:pt x="295334" y="216143"/>
                  </a:cubicBezTo>
                  <a:lnTo>
                    <a:pt x="295329" y="216151"/>
                  </a:lnTo>
                  <a:lnTo>
                    <a:pt x="295327" y="216161"/>
                  </a:lnTo>
                  <a:lnTo>
                    <a:pt x="282553" y="235405"/>
                  </a:lnTo>
                  <a:lnTo>
                    <a:pt x="262555" y="265544"/>
                  </a:lnTo>
                  <a:lnTo>
                    <a:pt x="262542" y="265553"/>
                  </a:lnTo>
                  <a:lnTo>
                    <a:pt x="262531" y="265571"/>
                  </a:lnTo>
                  <a:lnTo>
                    <a:pt x="239939" y="281054"/>
                  </a:lnTo>
                  <a:lnTo>
                    <a:pt x="213661" y="299076"/>
                  </a:lnTo>
                  <a:lnTo>
                    <a:pt x="213638" y="299081"/>
                  </a:lnTo>
                  <a:lnTo>
                    <a:pt x="213613" y="299098"/>
                  </a:lnTo>
                  <a:lnTo>
                    <a:pt x="188327" y="304416"/>
                  </a:lnTo>
                  <a:lnTo>
                    <a:pt x="153573" y="311741"/>
                  </a:lnTo>
                  <a:lnTo>
                    <a:pt x="153529" y="311735"/>
                  </a:lnTo>
                  <a:lnTo>
                    <a:pt x="153502" y="311740"/>
                  </a:lnTo>
                  <a:cubicBezTo>
                    <a:pt x="149623" y="311740"/>
                    <a:pt x="145673" y="311596"/>
                    <a:pt x="141865" y="311309"/>
                  </a:cubicBezTo>
                  <a:lnTo>
                    <a:pt x="141650" y="311309"/>
                  </a:lnTo>
                  <a:cubicBezTo>
                    <a:pt x="162667" y="323656"/>
                    <a:pt x="186594" y="330178"/>
                    <a:pt x="210965" y="330200"/>
                  </a:cubicBezTo>
                  <a:cubicBezTo>
                    <a:pt x="238678" y="330207"/>
                    <a:pt x="265743" y="321846"/>
                    <a:pt x="288613" y="306209"/>
                  </a:cubicBezTo>
                  <a:lnTo>
                    <a:pt x="290625" y="304772"/>
                  </a:lnTo>
                  <a:lnTo>
                    <a:pt x="331639" y="307502"/>
                  </a:lnTo>
                  <a:lnTo>
                    <a:pt x="323019" y="272592"/>
                  </a:lnTo>
                  <a:lnTo>
                    <a:pt x="324815" y="269935"/>
                  </a:lnTo>
                  <a:cubicBezTo>
                    <a:pt x="341365" y="246080"/>
                    <a:pt x="350214" y="217729"/>
                    <a:pt x="350171" y="188696"/>
                  </a:cubicBezTo>
                  <a:cubicBezTo>
                    <a:pt x="350107" y="137388"/>
                    <a:pt x="322524" y="90059"/>
                    <a:pt x="277911" y="64717"/>
                  </a:cubicBezTo>
                  <a:close/>
                  <a:moveTo>
                    <a:pt x="153501" y="14366"/>
                  </a:moveTo>
                  <a:cubicBezTo>
                    <a:pt x="76019" y="15077"/>
                    <a:pt x="13735" y="78388"/>
                    <a:pt x="14296" y="155870"/>
                  </a:cubicBezTo>
                  <a:cubicBezTo>
                    <a:pt x="14231" y="184904"/>
                    <a:pt x="23088" y="213262"/>
                    <a:pt x="39652" y="237109"/>
                  </a:cubicBezTo>
                  <a:lnTo>
                    <a:pt x="41447" y="239767"/>
                  </a:lnTo>
                  <a:lnTo>
                    <a:pt x="32828" y="274676"/>
                  </a:lnTo>
                  <a:lnTo>
                    <a:pt x="73914" y="271947"/>
                  </a:lnTo>
                  <a:lnTo>
                    <a:pt x="75926" y="273383"/>
                  </a:lnTo>
                  <a:lnTo>
                    <a:pt x="112506" y="291069"/>
                  </a:lnTo>
                  <a:lnTo>
                    <a:pt x="113477" y="291356"/>
                  </a:lnTo>
                  <a:lnTo>
                    <a:pt x="153311" y="297336"/>
                  </a:lnTo>
                  <a:lnTo>
                    <a:pt x="153574" y="297374"/>
                  </a:lnTo>
                  <a:cubicBezTo>
                    <a:pt x="192294" y="296979"/>
                    <a:pt x="227207" y="280963"/>
                    <a:pt x="252375" y="255365"/>
                  </a:cubicBezTo>
                  <a:lnTo>
                    <a:pt x="282076" y="210539"/>
                  </a:lnTo>
                  <a:lnTo>
                    <a:pt x="292707" y="155870"/>
                  </a:lnTo>
                  <a:lnTo>
                    <a:pt x="292691" y="155788"/>
                  </a:lnTo>
                  <a:lnTo>
                    <a:pt x="280886" y="99399"/>
                  </a:lnTo>
                  <a:lnTo>
                    <a:pt x="276780" y="93204"/>
                  </a:lnTo>
                  <a:lnTo>
                    <a:pt x="248971" y="54028"/>
                  </a:lnTo>
                  <a:lnTo>
                    <a:pt x="208007" y="25897"/>
                  </a:lnTo>
                  <a:cubicBezTo>
                    <a:pt x="191285" y="18648"/>
                    <a:pt x="172869" y="14553"/>
                    <a:pt x="153501" y="14366"/>
                  </a:cubicBezTo>
                  <a:close/>
                  <a:moveTo>
                    <a:pt x="153573" y="0"/>
                  </a:moveTo>
                  <a:cubicBezTo>
                    <a:pt x="174916" y="197"/>
                    <a:pt x="195213" y="4702"/>
                    <a:pt x="213646" y="12682"/>
                  </a:cubicBezTo>
                  <a:lnTo>
                    <a:pt x="250934" y="38260"/>
                  </a:lnTo>
                  <a:lnTo>
                    <a:pt x="253919" y="39146"/>
                  </a:lnTo>
                  <a:cubicBezTo>
                    <a:pt x="319673" y="59244"/>
                    <a:pt x="364566" y="119940"/>
                    <a:pt x="364537" y="188696"/>
                  </a:cubicBezTo>
                  <a:cubicBezTo>
                    <a:pt x="364595" y="219539"/>
                    <a:pt x="355523" y="249700"/>
                    <a:pt x="338463" y="275394"/>
                  </a:cubicBezTo>
                  <a:lnTo>
                    <a:pt x="350243" y="323088"/>
                  </a:lnTo>
                  <a:lnTo>
                    <a:pt x="294647" y="319425"/>
                  </a:lnTo>
                  <a:cubicBezTo>
                    <a:pt x="269830" y="335853"/>
                    <a:pt x="240724" y="344594"/>
                    <a:pt x="210965" y="344565"/>
                  </a:cubicBezTo>
                  <a:cubicBezTo>
                    <a:pt x="191816" y="344533"/>
                    <a:pt x="173025" y="340888"/>
                    <a:pt x="155515" y="333991"/>
                  </a:cubicBezTo>
                  <a:lnTo>
                    <a:pt x="110061" y="305368"/>
                  </a:lnTo>
                  <a:lnTo>
                    <a:pt x="109880" y="305341"/>
                  </a:lnTo>
                  <a:cubicBezTo>
                    <a:pt x="95781" y="301106"/>
                    <a:pt x="82300" y="294814"/>
                    <a:pt x="69892" y="286600"/>
                  </a:cubicBezTo>
                  <a:lnTo>
                    <a:pt x="14296" y="290263"/>
                  </a:lnTo>
                  <a:lnTo>
                    <a:pt x="26076" y="242569"/>
                  </a:lnTo>
                  <a:cubicBezTo>
                    <a:pt x="9016" y="216875"/>
                    <a:pt x="-56" y="186714"/>
                    <a:pt x="2" y="155870"/>
                  </a:cubicBezTo>
                  <a:cubicBezTo>
                    <a:pt x="-516" y="70465"/>
                    <a:pt x="68175" y="754"/>
                    <a:pt x="15357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95" name="gaoding-25-3">
              <a:extLst>
                <a:ext uri="{FF2B5EF4-FFF2-40B4-BE49-F238E27FC236}">
                  <a16:creationId xmlns:a16="http://schemas.microsoft.com/office/drawing/2014/main" id="{8D807740-C79B-45D2-B729-9F920D32730A}"/>
                </a:ext>
              </a:extLst>
            </p:cNvPr>
            <p:cNvSpPr/>
            <p:nvPr/>
          </p:nvSpPr>
          <p:spPr>
            <a:xfrm>
              <a:off x="1177316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96" name="gaoding-25-4">
              <a:extLst>
                <a:ext uri="{FF2B5EF4-FFF2-40B4-BE49-F238E27FC236}">
                  <a16:creationId xmlns:a16="http://schemas.microsoft.com/office/drawing/2014/main" id="{CF024912-9BE2-46AF-BFA3-A4AA62266EB8}"/>
                </a:ext>
              </a:extLst>
            </p:cNvPr>
            <p:cNvSpPr/>
            <p:nvPr/>
          </p:nvSpPr>
          <p:spPr>
            <a:xfrm>
              <a:off x="1233264" y="3515990"/>
              <a:ext cx="144806" cy="133742"/>
            </a:xfrm>
            <a:custGeom>
              <a:avLst/>
              <a:gdLst>
                <a:gd name="connsiteX0" fmla="*/ 179574 w 359148"/>
                <a:gd name="connsiteY0" fmla="*/ 228777 h 331709"/>
                <a:gd name="connsiteX1" fmla="*/ 32970 w 359148"/>
                <a:gd name="connsiteY1" fmla="*/ 317343 h 331709"/>
                <a:gd name="connsiteX2" fmla="*/ 326178 w 359148"/>
                <a:gd name="connsiteY2" fmla="*/ 317343 h 331709"/>
                <a:gd name="connsiteX3" fmla="*/ 344782 w 359148"/>
                <a:gd name="connsiteY3" fmla="*/ 128934 h 331709"/>
                <a:gd name="connsiteX4" fmla="*/ 193437 w 359148"/>
                <a:gd name="connsiteY4" fmla="*/ 220373 h 331709"/>
                <a:gd name="connsiteX5" fmla="*/ 344782 w 359148"/>
                <a:gd name="connsiteY5" fmla="*/ 311812 h 331709"/>
                <a:gd name="connsiteX6" fmla="*/ 14366 w 359148"/>
                <a:gd name="connsiteY6" fmla="*/ 128934 h 331709"/>
                <a:gd name="connsiteX7" fmla="*/ 14366 w 359148"/>
                <a:gd name="connsiteY7" fmla="*/ 311812 h 331709"/>
                <a:gd name="connsiteX8" fmla="*/ 165711 w 359148"/>
                <a:gd name="connsiteY8" fmla="*/ 220373 h 331709"/>
                <a:gd name="connsiteX9" fmla="*/ 92235 w 359148"/>
                <a:gd name="connsiteY9" fmla="*/ 109534 h 331709"/>
                <a:gd name="connsiteX10" fmla="*/ 264626 w 359148"/>
                <a:gd name="connsiteY10" fmla="*/ 109534 h 331709"/>
                <a:gd name="connsiteX11" fmla="*/ 264626 w 359148"/>
                <a:gd name="connsiteY11" fmla="*/ 123900 h 331709"/>
                <a:gd name="connsiteX12" fmla="*/ 92235 w 359148"/>
                <a:gd name="connsiteY12" fmla="*/ 123900 h 331709"/>
                <a:gd name="connsiteX13" fmla="*/ 178640 w 359148"/>
                <a:gd name="connsiteY13" fmla="*/ 16951 h 331709"/>
                <a:gd name="connsiteX14" fmla="*/ 20902 w 359148"/>
                <a:gd name="connsiteY14" fmla="*/ 115789 h 331709"/>
                <a:gd name="connsiteX15" fmla="*/ 179574 w 359148"/>
                <a:gd name="connsiteY15" fmla="*/ 211969 h 331709"/>
                <a:gd name="connsiteX16" fmla="*/ 338246 w 359148"/>
                <a:gd name="connsiteY16" fmla="*/ 116148 h 331709"/>
                <a:gd name="connsiteX17" fmla="*/ 178640 w 359148"/>
                <a:gd name="connsiteY17" fmla="*/ 0 h 331709"/>
                <a:gd name="connsiteX18" fmla="*/ 359148 w 359148"/>
                <a:gd name="connsiteY18" fmla="*/ 112198 h 331709"/>
                <a:gd name="connsiteX19" fmla="*/ 359148 w 359148"/>
                <a:gd name="connsiteY19" fmla="*/ 331709 h 331709"/>
                <a:gd name="connsiteX20" fmla="*/ 0 w 359148"/>
                <a:gd name="connsiteY20" fmla="*/ 331709 h 331709"/>
                <a:gd name="connsiteX21" fmla="*/ 0 w 359148"/>
                <a:gd name="connsiteY21" fmla="*/ 112269 h 33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9148" h="331709">
                  <a:moveTo>
                    <a:pt x="179574" y="228777"/>
                  </a:moveTo>
                  <a:lnTo>
                    <a:pt x="32970" y="317343"/>
                  </a:lnTo>
                  <a:lnTo>
                    <a:pt x="326178" y="317343"/>
                  </a:lnTo>
                  <a:close/>
                  <a:moveTo>
                    <a:pt x="344782" y="128934"/>
                  </a:moveTo>
                  <a:lnTo>
                    <a:pt x="193437" y="220373"/>
                  </a:lnTo>
                  <a:lnTo>
                    <a:pt x="344782" y="311812"/>
                  </a:lnTo>
                  <a:close/>
                  <a:moveTo>
                    <a:pt x="14366" y="128934"/>
                  </a:moveTo>
                  <a:lnTo>
                    <a:pt x="14366" y="311812"/>
                  </a:lnTo>
                  <a:lnTo>
                    <a:pt x="165711" y="220373"/>
                  </a:lnTo>
                  <a:close/>
                  <a:moveTo>
                    <a:pt x="92235" y="109534"/>
                  </a:moveTo>
                  <a:lnTo>
                    <a:pt x="264626" y="109534"/>
                  </a:lnTo>
                  <a:lnTo>
                    <a:pt x="264626" y="123900"/>
                  </a:lnTo>
                  <a:lnTo>
                    <a:pt x="92235" y="123900"/>
                  </a:lnTo>
                  <a:close/>
                  <a:moveTo>
                    <a:pt x="178640" y="16951"/>
                  </a:moveTo>
                  <a:lnTo>
                    <a:pt x="20902" y="115789"/>
                  </a:lnTo>
                  <a:lnTo>
                    <a:pt x="179574" y="211969"/>
                  </a:lnTo>
                  <a:lnTo>
                    <a:pt x="338246" y="116148"/>
                  </a:lnTo>
                  <a:close/>
                  <a:moveTo>
                    <a:pt x="178640" y="0"/>
                  </a:moveTo>
                  <a:lnTo>
                    <a:pt x="359148" y="112198"/>
                  </a:lnTo>
                  <a:lnTo>
                    <a:pt x="359148" y="331709"/>
                  </a:lnTo>
                  <a:lnTo>
                    <a:pt x="0" y="331709"/>
                  </a:lnTo>
                  <a:lnTo>
                    <a:pt x="0" y="11226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97" name="gaoding-25-5">
              <a:extLst>
                <a:ext uri="{FF2B5EF4-FFF2-40B4-BE49-F238E27FC236}">
                  <a16:creationId xmlns:a16="http://schemas.microsoft.com/office/drawing/2014/main" id="{4DC581E0-D272-4F17-8824-DEDCF5A7ED6A}"/>
                </a:ext>
              </a:extLst>
            </p:cNvPr>
            <p:cNvSpPr/>
            <p:nvPr/>
          </p:nvSpPr>
          <p:spPr>
            <a:xfrm>
              <a:off x="1519612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98" name="gaoding-25-6">
              <a:extLst>
                <a:ext uri="{FF2B5EF4-FFF2-40B4-BE49-F238E27FC236}">
                  <a16:creationId xmlns:a16="http://schemas.microsoft.com/office/drawing/2014/main" id="{8CDF66BC-68C6-4C61-BC0F-EBCF554E1836}"/>
                </a:ext>
              </a:extLst>
            </p:cNvPr>
            <p:cNvSpPr/>
            <p:nvPr/>
          </p:nvSpPr>
          <p:spPr>
            <a:xfrm>
              <a:off x="1575560" y="3520594"/>
              <a:ext cx="144806" cy="124533"/>
            </a:xfrm>
            <a:custGeom>
              <a:avLst/>
              <a:gdLst>
                <a:gd name="connsiteX0" fmla="*/ 179574 w 359148"/>
                <a:gd name="connsiteY0" fmla="*/ 93378 h 308867"/>
                <a:gd name="connsiteX1" fmla="*/ 105878 w 359148"/>
                <a:gd name="connsiteY1" fmla="*/ 168799 h 308867"/>
                <a:gd name="connsiteX2" fmla="*/ 179574 w 359148"/>
                <a:gd name="connsiteY2" fmla="*/ 244220 h 308867"/>
                <a:gd name="connsiteX3" fmla="*/ 253344 w 359148"/>
                <a:gd name="connsiteY3" fmla="*/ 168799 h 308867"/>
                <a:gd name="connsiteX4" fmla="*/ 179574 w 359148"/>
                <a:gd name="connsiteY4" fmla="*/ 93378 h 308867"/>
                <a:gd name="connsiteX5" fmla="*/ 312537 w 359148"/>
                <a:gd name="connsiteY5" fmla="*/ 82454 h 308867"/>
                <a:gd name="connsiteX6" fmla="*/ 326903 w 359148"/>
                <a:gd name="connsiteY6" fmla="*/ 82454 h 308867"/>
                <a:gd name="connsiteX7" fmla="*/ 326903 w 359148"/>
                <a:gd name="connsiteY7" fmla="*/ 96820 h 308867"/>
                <a:gd name="connsiteX8" fmla="*/ 312537 w 359148"/>
                <a:gd name="connsiteY8" fmla="*/ 96820 h 308867"/>
                <a:gd name="connsiteX9" fmla="*/ 179574 w 359148"/>
                <a:gd name="connsiteY9" fmla="*/ 79012 h 308867"/>
                <a:gd name="connsiteX10" fmla="*/ 267710 w 359148"/>
                <a:gd name="connsiteY10" fmla="*/ 168799 h 308867"/>
                <a:gd name="connsiteX11" fmla="*/ 179574 w 359148"/>
                <a:gd name="connsiteY11" fmla="*/ 258586 h 308867"/>
                <a:gd name="connsiteX12" fmla="*/ 91512 w 359148"/>
                <a:gd name="connsiteY12" fmla="*/ 168799 h 308867"/>
                <a:gd name="connsiteX13" fmla="*/ 179574 w 359148"/>
                <a:gd name="connsiteY13" fmla="*/ 79012 h 308867"/>
                <a:gd name="connsiteX14" fmla="*/ 119596 w 359148"/>
                <a:gd name="connsiteY14" fmla="*/ 14366 h 308867"/>
                <a:gd name="connsiteX15" fmla="*/ 103434 w 359148"/>
                <a:gd name="connsiteY15" fmla="*/ 57463 h 308867"/>
                <a:gd name="connsiteX16" fmla="*/ 14007 w 359148"/>
                <a:gd name="connsiteY16" fmla="*/ 57463 h 308867"/>
                <a:gd name="connsiteX17" fmla="*/ 14007 w 359148"/>
                <a:gd name="connsiteY17" fmla="*/ 294501 h 308867"/>
                <a:gd name="connsiteX18" fmla="*/ 344423 w 359148"/>
                <a:gd name="connsiteY18" fmla="*/ 294501 h 308867"/>
                <a:gd name="connsiteX19" fmla="*/ 344423 w 359148"/>
                <a:gd name="connsiteY19" fmla="*/ 57463 h 308867"/>
                <a:gd name="connsiteX20" fmla="*/ 255067 w 359148"/>
                <a:gd name="connsiteY20" fmla="*/ 57463 h 308867"/>
                <a:gd name="connsiteX21" fmla="*/ 238905 w 359148"/>
                <a:gd name="connsiteY21" fmla="*/ 14366 h 308867"/>
                <a:gd name="connsiteX22" fmla="*/ 109971 w 359148"/>
                <a:gd name="connsiteY22" fmla="*/ 0 h 308867"/>
                <a:gd name="connsiteX23" fmla="*/ 249249 w 359148"/>
                <a:gd name="connsiteY23" fmla="*/ 0 h 308867"/>
                <a:gd name="connsiteX24" fmla="*/ 265411 w 359148"/>
                <a:gd name="connsiteY24" fmla="*/ 43097 h 308867"/>
                <a:gd name="connsiteX25" fmla="*/ 359148 w 359148"/>
                <a:gd name="connsiteY25" fmla="*/ 43097 h 308867"/>
                <a:gd name="connsiteX26" fmla="*/ 359148 w 359148"/>
                <a:gd name="connsiteY26" fmla="*/ 308867 h 308867"/>
                <a:gd name="connsiteX27" fmla="*/ 0 w 359148"/>
                <a:gd name="connsiteY27" fmla="*/ 308867 h 308867"/>
                <a:gd name="connsiteX28" fmla="*/ 0 w 359148"/>
                <a:gd name="connsiteY28" fmla="*/ 43097 h 308867"/>
                <a:gd name="connsiteX29" fmla="*/ 93810 w 359148"/>
                <a:gd name="connsiteY29" fmla="*/ 43097 h 308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9148" h="308867">
                  <a:moveTo>
                    <a:pt x="179574" y="93378"/>
                  </a:moveTo>
                  <a:cubicBezTo>
                    <a:pt x="138416" y="93888"/>
                    <a:pt x="105447" y="127633"/>
                    <a:pt x="105878" y="168799"/>
                  </a:cubicBezTo>
                  <a:cubicBezTo>
                    <a:pt x="105447" y="209964"/>
                    <a:pt x="138416" y="243710"/>
                    <a:pt x="179574" y="244220"/>
                  </a:cubicBezTo>
                  <a:cubicBezTo>
                    <a:pt x="220734" y="243710"/>
                    <a:pt x="253775" y="209971"/>
                    <a:pt x="253344" y="168799"/>
                  </a:cubicBezTo>
                  <a:cubicBezTo>
                    <a:pt x="253775" y="127626"/>
                    <a:pt x="220734" y="93888"/>
                    <a:pt x="179574" y="93378"/>
                  </a:cubicBezTo>
                  <a:close/>
                  <a:moveTo>
                    <a:pt x="312537" y="82454"/>
                  </a:moveTo>
                  <a:lnTo>
                    <a:pt x="326903" y="82454"/>
                  </a:lnTo>
                  <a:lnTo>
                    <a:pt x="326903" y="96820"/>
                  </a:lnTo>
                  <a:lnTo>
                    <a:pt x="312537" y="96820"/>
                  </a:lnTo>
                  <a:close/>
                  <a:moveTo>
                    <a:pt x="179574" y="79012"/>
                  </a:moveTo>
                  <a:cubicBezTo>
                    <a:pt x="228707" y="79522"/>
                    <a:pt x="268141" y="119689"/>
                    <a:pt x="267710" y="168799"/>
                  </a:cubicBezTo>
                  <a:cubicBezTo>
                    <a:pt x="268141" y="217909"/>
                    <a:pt x="228707" y="258076"/>
                    <a:pt x="179574" y="258586"/>
                  </a:cubicBezTo>
                  <a:cubicBezTo>
                    <a:pt x="130515" y="258033"/>
                    <a:pt x="91081" y="217880"/>
                    <a:pt x="91512" y="168799"/>
                  </a:cubicBezTo>
                  <a:cubicBezTo>
                    <a:pt x="91081" y="119718"/>
                    <a:pt x="130515" y="79565"/>
                    <a:pt x="179574" y="79012"/>
                  </a:cubicBezTo>
                  <a:close/>
                  <a:moveTo>
                    <a:pt x="119596" y="14366"/>
                  </a:moveTo>
                  <a:lnTo>
                    <a:pt x="103434" y="57463"/>
                  </a:lnTo>
                  <a:lnTo>
                    <a:pt x="14007" y="57463"/>
                  </a:lnTo>
                  <a:lnTo>
                    <a:pt x="14007" y="294501"/>
                  </a:lnTo>
                  <a:lnTo>
                    <a:pt x="344423" y="294501"/>
                  </a:lnTo>
                  <a:lnTo>
                    <a:pt x="344423" y="57463"/>
                  </a:lnTo>
                  <a:lnTo>
                    <a:pt x="255067" y="57463"/>
                  </a:lnTo>
                  <a:lnTo>
                    <a:pt x="238905" y="14366"/>
                  </a:lnTo>
                  <a:close/>
                  <a:moveTo>
                    <a:pt x="109971" y="0"/>
                  </a:moveTo>
                  <a:lnTo>
                    <a:pt x="249249" y="0"/>
                  </a:lnTo>
                  <a:lnTo>
                    <a:pt x="265411" y="43097"/>
                  </a:lnTo>
                  <a:lnTo>
                    <a:pt x="359148" y="43097"/>
                  </a:lnTo>
                  <a:lnTo>
                    <a:pt x="359148" y="308867"/>
                  </a:lnTo>
                  <a:lnTo>
                    <a:pt x="0" y="308867"/>
                  </a:lnTo>
                  <a:lnTo>
                    <a:pt x="0" y="43097"/>
                  </a:lnTo>
                  <a:lnTo>
                    <a:pt x="93810" y="4309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</p:grpSp>
      <p:grpSp>
        <p:nvGrpSpPr>
          <p:cNvPr id="99" name="gaoding-26">
            <a:extLst>
              <a:ext uri="{FF2B5EF4-FFF2-40B4-BE49-F238E27FC236}">
                <a16:creationId xmlns:a16="http://schemas.microsoft.com/office/drawing/2014/main" id="{9CFF1DC2-1356-4A9D-AF50-6B9F05BE13BE}"/>
              </a:ext>
            </a:extLst>
          </p:cNvPr>
          <p:cNvGrpSpPr/>
          <p:nvPr/>
        </p:nvGrpSpPr>
        <p:grpSpPr>
          <a:xfrm>
            <a:off x="7069051" y="5489426"/>
            <a:ext cx="850670" cy="231988"/>
            <a:chOff x="835020" y="3454509"/>
            <a:chExt cx="941295" cy="256703"/>
          </a:xfrm>
        </p:grpSpPr>
        <p:sp>
          <p:nvSpPr>
            <p:cNvPr id="100" name="gaoding-26-1">
              <a:extLst>
                <a:ext uri="{FF2B5EF4-FFF2-40B4-BE49-F238E27FC236}">
                  <a16:creationId xmlns:a16="http://schemas.microsoft.com/office/drawing/2014/main" id="{987E261B-1A2D-4D53-8F23-202BFAB16C31}"/>
                </a:ext>
              </a:extLst>
            </p:cNvPr>
            <p:cNvSpPr/>
            <p:nvPr/>
          </p:nvSpPr>
          <p:spPr>
            <a:xfrm>
              <a:off x="835020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01" name="gaoding-26-2">
              <a:extLst>
                <a:ext uri="{FF2B5EF4-FFF2-40B4-BE49-F238E27FC236}">
                  <a16:creationId xmlns:a16="http://schemas.microsoft.com/office/drawing/2014/main" id="{2F4DA68A-B722-4FCD-B2DE-59CCF34E3658}"/>
                </a:ext>
              </a:extLst>
            </p:cNvPr>
            <p:cNvSpPr/>
            <p:nvPr/>
          </p:nvSpPr>
          <p:spPr>
            <a:xfrm>
              <a:off x="890968" y="3514425"/>
              <a:ext cx="144806" cy="136872"/>
            </a:xfrm>
            <a:custGeom>
              <a:avLst/>
              <a:gdLst>
                <a:gd name="connsiteX0" fmla="*/ 220878 w 364537"/>
                <a:gd name="connsiteY0" fmla="*/ 144018 h 344565"/>
                <a:gd name="connsiteX1" fmla="*/ 209314 w 364537"/>
                <a:gd name="connsiteY1" fmla="*/ 155870 h 344565"/>
                <a:gd name="connsiteX2" fmla="*/ 220878 w 364537"/>
                <a:gd name="connsiteY2" fmla="*/ 167793 h 344565"/>
                <a:gd name="connsiteX3" fmla="*/ 232515 w 364537"/>
                <a:gd name="connsiteY3" fmla="*/ 155870 h 344565"/>
                <a:gd name="connsiteX4" fmla="*/ 220878 w 364537"/>
                <a:gd name="connsiteY4" fmla="*/ 144018 h 344565"/>
                <a:gd name="connsiteX5" fmla="*/ 153573 w 364537"/>
                <a:gd name="connsiteY5" fmla="*/ 144018 h 344565"/>
                <a:gd name="connsiteX6" fmla="*/ 142009 w 364537"/>
                <a:gd name="connsiteY6" fmla="*/ 155870 h 344565"/>
                <a:gd name="connsiteX7" fmla="*/ 153573 w 364537"/>
                <a:gd name="connsiteY7" fmla="*/ 167793 h 344565"/>
                <a:gd name="connsiteX8" fmla="*/ 165138 w 364537"/>
                <a:gd name="connsiteY8" fmla="*/ 155870 h 344565"/>
                <a:gd name="connsiteX9" fmla="*/ 153573 w 364537"/>
                <a:gd name="connsiteY9" fmla="*/ 144018 h 344565"/>
                <a:gd name="connsiteX10" fmla="*/ 85981 w 364537"/>
                <a:gd name="connsiteY10" fmla="*/ 144018 h 344565"/>
                <a:gd name="connsiteX11" fmla="*/ 74417 w 364537"/>
                <a:gd name="connsiteY11" fmla="*/ 155870 h 344565"/>
                <a:gd name="connsiteX12" fmla="*/ 85981 w 364537"/>
                <a:gd name="connsiteY12" fmla="*/ 167793 h 344565"/>
                <a:gd name="connsiteX13" fmla="*/ 97618 w 364537"/>
                <a:gd name="connsiteY13" fmla="*/ 155870 h 344565"/>
                <a:gd name="connsiteX14" fmla="*/ 85981 w 364537"/>
                <a:gd name="connsiteY14" fmla="*/ 144018 h 344565"/>
                <a:gd name="connsiteX15" fmla="*/ 220878 w 364537"/>
                <a:gd name="connsiteY15" fmla="*/ 129652 h 344565"/>
                <a:gd name="connsiteX16" fmla="*/ 246881 w 364537"/>
                <a:gd name="connsiteY16" fmla="*/ 155870 h 344565"/>
                <a:gd name="connsiteX17" fmla="*/ 220878 w 364537"/>
                <a:gd name="connsiteY17" fmla="*/ 182159 h 344565"/>
                <a:gd name="connsiteX18" fmla="*/ 194948 w 364537"/>
                <a:gd name="connsiteY18" fmla="*/ 155870 h 344565"/>
                <a:gd name="connsiteX19" fmla="*/ 220878 w 364537"/>
                <a:gd name="connsiteY19" fmla="*/ 129652 h 344565"/>
                <a:gd name="connsiteX20" fmla="*/ 153573 w 364537"/>
                <a:gd name="connsiteY20" fmla="*/ 129652 h 344565"/>
                <a:gd name="connsiteX21" fmla="*/ 179504 w 364537"/>
                <a:gd name="connsiteY21" fmla="*/ 155870 h 344565"/>
                <a:gd name="connsiteX22" fmla="*/ 153573 w 364537"/>
                <a:gd name="connsiteY22" fmla="*/ 182159 h 344565"/>
                <a:gd name="connsiteX23" fmla="*/ 127643 w 364537"/>
                <a:gd name="connsiteY23" fmla="*/ 155870 h 344565"/>
                <a:gd name="connsiteX24" fmla="*/ 153573 w 364537"/>
                <a:gd name="connsiteY24" fmla="*/ 129652 h 344565"/>
                <a:gd name="connsiteX25" fmla="*/ 85981 w 364537"/>
                <a:gd name="connsiteY25" fmla="*/ 129652 h 344565"/>
                <a:gd name="connsiteX26" fmla="*/ 111984 w 364537"/>
                <a:gd name="connsiteY26" fmla="*/ 155870 h 344565"/>
                <a:gd name="connsiteX27" fmla="*/ 85981 w 364537"/>
                <a:gd name="connsiteY27" fmla="*/ 182159 h 344565"/>
                <a:gd name="connsiteX28" fmla="*/ 60051 w 364537"/>
                <a:gd name="connsiteY28" fmla="*/ 155870 h 344565"/>
                <a:gd name="connsiteX29" fmla="*/ 85981 w 364537"/>
                <a:gd name="connsiteY29" fmla="*/ 129652 h 344565"/>
                <a:gd name="connsiteX30" fmla="*/ 277911 w 364537"/>
                <a:gd name="connsiteY30" fmla="*/ 64717 h 344565"/>
                <a:gd name="connsiteX31" fmla="*/ 287420 w 364537"/>
                <a:gd name="connsiteY31" fmla="*/ 83716 h 344565"/>
                <a:gd name="connsiteX32" fmla="*/ 295313 w 364537"/>
                <a:gd name="connsiteY32" fmla="*/ 95609 h 344565"/>
                <a:gd name="connsiteX33" fmla="*/ 296553 w 364537"/>
                <a:gd name="connsiteY33" fmla="*/ 101966 h 344565"/>
                <a:gd name="connsiteX34" fmla="*/ 299585 w 364537"/>
                <a:gd name="connsiteY34" fmla="*/ 108023 h 344565"/>
                <a:gd name="connsiteX35" fmla="*/ 307073 w 364537"/>
                <a:gd name="connsiteY35" fmla="*/ 155869 h 344565"/>
                <a:gd name="connsiteX36" fmla="*/ 307073 w 364537"/>
                <a:gd name="connsiteY36" fmla="*/ 155870 h 344565"/>
                <a:gd name="connsiteX37" fmla="*/ 307073 w 364537"/>
                <a:gd name="connsiteY37" fmla="*/ 155870 h 344565"/>
                <a:gd name="connsiteX38" fmla="*/ 295334 w 364537"/>
                <a:gd name="connsiteY38" fmla="*/ 216143 h 344565"/>
                <a:gd name="connsiteX39" fmla="*/ 295329 w 364537"/>
                <a:gd name="connsiteY39" fmla="*/ 216151 h 344565"/>
                <a:gd name="connsiteX40" fmla="*/ 295327 w 364537"/>
                <a:gd name="connsiteY40" fmla="*/ 216161 h 344565"/>
                <a:gd name="connsiteX41" fmla="*/ 282553 w 364537"/>
                <a:gd name="connsiteY41" fmla="*/ 235405 h 344565"/>
                <a:gd name="connsiteX42" fmla="*/ 262555 w 364537"/>
                <a:gd name="connsiteY42" fmla="*/ 265544 h 344565"/>
                <a:gd name="connsiteX43" fmla="*/ 262542 w 364537"/>
                <a:gd name="connsiteY43" fmla="*/ 265553 h 344565"/>
                <a:gd name="connsiteX44" fmla="*/ 262531 w 364537"/>
                <a:gd name="connsiteY44" fmla="*/ 265571 h 344565"/>
                <a:gd name="connsiteX45" fmla="*/ 239939 w 364537"/>
                <a:gd name="connsiteY45" fmla="*/ 281054 h 344565"/>
                <a:gd name="connsiteX46" fmla="*/ 213661 w 364537"/>
                <a:gd name="connsiteY46" fmla="*/ 299076 h 344565"/>
                <a:gd name="connsiteX47" fmla="*/ 213638 w 364537"/>
                <a:gd name="connsiteY47" fmla="*/ 299081 h 344565"/>
                <a:gd name="connsiteX48" fmla="*/ 213613 w 364537"/>
                <a:gd name="connsiteY48" fmla="*/ 299098 h 344565"/>
                <a:gd name="connsiteX49" fmla="*/ 188327 w 364537"/>
                <a:gd name="connsiteY49" fmla="*/ 304416 h 344565"/>
                <a:gd name="connsiteX50" fmla="*/ 153573 w 364537"/>
                <a:gd name="connsiteY50" fmla="*/ 311741 h 344565"/>
                <a:gd name="connsiteX51" fmla="*/ 153529 w 364537"/>
                <a:gd name="connsiteY51" fmla="*/ 311735 h 344565"/>
                <a:gd name="connsiteX52" fmla="*/ 153502 w 364537"/>
                <a:gd name="connsiteY52" fmla="*/ 311740 h 344565"/>
                <a:gd name="connsiteX53" fmla="*/ 141865 w 364537"/>
                <a:gd name="connsiteY53" fmla="*/ 311309 h 344565"/>
                <a:gd name="connsiteX54" fmla="*/ 141650 w 364537"/>
                <a:gd name="connsiteY54" fmla="*/ 311309 h 344565"/>
                <a:gd name="connsiteX55" fmla="*/ 210965 w 364537"/>
                <a:gd name="connsiteY55" fmla="*/ 330200 h 344565"/>
                <a:gd name="connsiteX56" fmla="*/ 288613 w 364537"/>
                <a:gd name="connsiteY56" fmla="*/ 306209 h 344565"/>
                <a:gd name="connsiteX57" fmla="*/ 290625 w 364537"/>
                <a:gd name="connsiteY57" fmla="*/ 304772 h 344565"/>
                <a:gd name="connsiteX58" fmla="*/ 331639 w 364537"/>
                <a:gd name="connsiteY58" fmla="*/ 307502 h 344565"/>
                <a:gd name="connsiteX59" fmla="*/ 323019 w 364537"/>
                <a:gd name="connsiteY59" fmla="*/ 272592 h 344565"/>
                <a:gd name="connsiteX60" fmla="*/ 324815 w 364537"/>
                <a:gd name="connsiteY60" fmla="*/ 269935 h 344565"/>
                <a:gd name="connsiteX61" fmla="*/ 350171 w 364537"/>
                <a:gd name="connsiteY61" fmla="*/ 188696 h 344565"/>
                <a:gd name="connsiteX62" fmla="*/ 277911 w 364537"/>
                <a:gd name="connsiteY62" fmla="*/ 64717 h 344565"/>
                <a:gd name="connsiteX63" fmla="*/ 153501 w 364537"/>
                <a:gd name="connsiteY63" fmla="*/ 14366 h 344565"/>
                <a:gd name="connsiteX64" fmla="*/ 14296 w 364537"/>
                <a:gd name="connsiteY64" fmla="*/ 155870 h 344565"/>
                <a:gd name="connsiteX65" fmla="*/ 39652 w 364537"/>
                <a:gd name="connsiteY65" fmla="*/ 237109 h 344565"/>
                <a:gd name="connsiteX66" fmla="*/ 41447 w 364537"/>
                <a:gd name="connsiteY66" fmla="*/ 239767 h 344565"/>
                <a:gd name="connsiteX67" fmla="*/ 32828 w 364537"/>
                <a:gd name="connsiteY67" fmla="*/ 274676 h 344565"/>
                <a:gd name="connsiteX68" fmla="*/ 73914 w 364537"/>
                <a:gd name="connsiteY68" fmla="*/ 271947 h 344565"/>
                <a:gd name="connsiteX69" fmla="*/ 75926 w 364537"/>
                <a:gd name="connsiteY69" fmla="*/ 273383 h 344565"/>
                <a:gd name="connsiteX70" fmla="*/ 112506 w 364537"/>
                <a:gd name="connsiteY70" fmla="*/ 291069 h 344565"/>
                <a:gd name="connsiteX71" fmla="*/ 113477 w 364537"/>
                <a:gd name="connsiteY71" fmla="*/ 291356 h 344565"/>
                <a:gd name="connsiteX72" fmla="*/ 153311 w 364537"/>
                <a:gd name="connsiteY72" fmla="*/ 297336 h 344565"/>
                <a:gd name="connsiteX73" fmla="*/ 153574 w 364537"/>
                <a:gd name="connsiteY73" fmla="*/ 297374 h 344565"/>
                <a:gd name="connsiteX74" fmla="*/ 252375 w 364537"/>
                <a:gd name="connsiteY74" fmla="*/ 255365 h 344565"/>
                <a:gd name="connsiteX75" fmla="*/ 282076 w 364537"/>
                <a:gd name="connsiteY75" fmla="*/ 210539 h 344565"/>
                <a:gd name="connsiteX76" fmla="*/ 292707 w 364537"/>
                <a:gd name="connsiteY76" fmla="*/ 155870 h 344565"/>
                <a:gd name="connsiteX77" fmla="*/ 292691 w 364537"/>
                <a:gd name="connsiteY77" fmla="*/ 155788 h 344565"/>
                <a:gd name="connsiteX78" fmla="*/ 280886 w 364537"/>
                <a:gd name="connsiteY78" fmla="*/ 99399 h 344565"/>
                <a:gd name="connsiteX79" fmla="*/ 276780 w 364537"/>
                <a:gd name="connsiteY79" fmla="*/ 93204 h 344565"/>
                <a:gd name="connsiteX80" fmla="*/ 248971 w 364537"/>
                <a:gd name="connsiteY80" fmla="*/ 54028 h 344565"/>
                <a:gd name="connsiteX81" fmla="*/ 208007 w 364537"/>
                <a:gd name="connsiteY81" fmla="*/ 25897 h 344565"/>
                <a:gd name="connsiteX82" fmla="*/ 153501 w 364537"/>
                <a:gd name="connsiteY82" fmla="*/ 14366 h 344565"/>
                <a:gd name="connsiteX83" fmla="*/ 153573 w 364537"/>
                <a:gd name="connsiteY83" fmla="*/ 0 h 344565"/>
                <a:gd name="connsiteX84" fmla="*/ 213646 w 364537"/>
                <a:gd name="connsiteY84" fmla="*/ 12682 h 344565"/>
                <a:gd name="connsiteX85" fmla="*/ 250934 w 364537"/>
                <a:gd name="connsiteY85" fmla="*/ 38260 h 344565"/>
                <a:gd name="connsiteX86" fmla="*/ 253919 w 364537"/>
                <a:gd name="connsiteY86" fmla="*/ 39146 h 344565"/>
                <a:gd name="connsiteX87" fmla="*/ 364537 w 364537"/>
                <a:gd name="connsiteY87" fmla="*/ 188696 h 344565"/>
                <a:gd name="connsiteX88" fmla="*/ 338463 w 364537"/>
                <a:gd name="connsiteY88" fmla="*/ 275394 h 344565"/>
                <a:gd name="connsiteX89" fmla="*/ 350243 w 364537"/>
                <a:gd name="connsiteY89" fmla="*/ 323088 h 344565"/>
                <a:gd name="connsiteX90" fmla="*/ 294647 w 364537"/>
                <a:gd name="connsiteY90" fmla="*/ 319425 h 344565"/>
                <a:gd name="connsiteX91" fmla="*/ 210965 w 364537"/>
                <a:gd name="connsiteY91" fmla="*/ 344565 h 344565"/>
                <a:gd name="connsiteX92" fmla="*/ 155515 w 364537"/>
                <a:gd name="connsiteY92" fmla="*/ 333991 h 344565"/>
                <a:gd name="connsiteX93" fmla="*/ 110061 w 364537"/>
                <a:gd name="connsiteY93" fmla="*/ 305368 h 344565"/>
                <a:gd name="connsiteX94" fmla="*/ 109880 w 364537"/>
                <a:gd name="connsiteY94" fmla="*/ 305341 h 344565"/>
                <a:gd name="connsiteX95" fmla="*/ 69892 w 364537"/>
                <a:gd name="connsiteY95" fmla="*/ 286600 h 344565"/>
                <a:gd name="connsiteX96" fmla="*/ 14296 w 364537"/>
                <a:gd name="connsiteY96" fmla="*/ 290263 h 344565"/>
                <a:gd name="connsiteX97" fmla="*/ 26076 w 364537"/>
                <a:gd name="connsiteY97" fmla="*/ 242569 h 344565"/>
                <a:gd name="connsiteX98" fmla="*/ 2 w 364537"/>
                <a:gd name="connsiteY98" fmla="*/ 155870 h 344565"/>
                <a:gd name="connsiteX99" fmla="*/ 153573 w 364537"/>
                <a:gd name="connsiteY99" fmla="*/ 0 h 3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364537" h="344565">
                  <a:moveTo>
                    <a:pt x="220878" y="144018"/>
                  </a:moveTo>
                  <a:cubicBezTo>
                    <a:pt x="214414" y="144097"/>
                    <a:pt x="209235" y="149405"/>
                    <a:pt x="209314" y="155870"/>
                  </a:cubicBezTo>
                  <a:cubicBezTo>
                    <a:pt x="209235" y="162349"/>
                    <a:pt x="214400" y="167678"/>
                    <a:pt x="220878" y="167793"/>
                  </a:cubicBezTo>
                  <a:cubicBezTo>
                    <a:pt x="227365" y="167678"/>
                    <a:pt x="232558" y="162363"/>
                    <a:pt x="232515" y="155870"/>
                  </a:cubicBezTo>
                  <a:cubicBezTo>
                    <a:pt x="232558" y="149390"/>
                    <a:pt x="227357" y="144097"/>
                    <a:pt x="220878" y="144018"/>
                  </a:cubicBezTo>
                  <a:close/>
                  <a:moveTo>
                    <a:pt x="153573" y="144018"/>
                  </a:moveTo>
                  <a:cubicBezTo>
                    <a:pt x="147109" y="144097"/>
                    <a:pt x="141930" y="149405"/>
                    <a:pt x="142009" y="155870"/>
                  </a:cubicBezTo>
                  <a:cubicBezTo>
                    <a:pt x="141930" y="162349"/>
                    <a:pt x="147095" y="167678"/>
                    <a:pt x="153573" y="167793"/>
                  </a:cubicBezTo>
                  <a:cubicBezTo>
                    <a:pt x="160052" y="167678"/>
                    <a:pt x="165217" y="162349"/>
                    <a:pt x="165138" y="155870"/>
                  </a:cubicBezTo>
                  <a:cubicBezTo>
                    <a:pt x="165217" y="149405"/>
                    <a:pt x="160038" y="144097"/>
                    <a:pt x="153573" y="144018"/>
                  </a:cubicBezTo>
                  <a:close/>
                  <a:moveTo>
                    <a:pt x="85981" y="144018"/>
                  </a:moveTo>
                  <a:cubicBezTo>
                    <a:pt x="79517" y="144097"/>
                    <a:pt x="74338" y="149405"/>
                    <a:pt x="74417" y="155870"/>
                  </a:cubicBezTo>
                  <a:cubicBezTo>
                    <a:pt x="74338" y="162349"/>
                    <a:pt x="79503" y="167678"/>
                    <a:pt x="85981" y="167793"/>
                  </a:cubicBezTo>
                  <a:cubicBezTo>
                    <a:pt x="92468" y="167678"/>
                    <a:pt x="97661" y="162363"/>
                    <a:pt x="97618" y="155870"/>
                  </a:cubicBezTo>
                  <a:cubicBezTo>
                    <a:pt x="97661" y="149390"/>
                    <a:pt x="92461" y="144097"/>
                    <a:pt x="85981" y="144018"/>
                  </a:cubicBezTo>
                  <a:close/>
                  <a:moveTo>
                    <a:pt x="220878" y="129652"/>
                  </a:moveTo>
                  <a:cubicBezTo>
                    <a:pt x="235287" y="129731"/>
                    <a:pt x="246924" y="141460"/>
                    <a:pt x="246881" y="155870"/>
                  </a:cubicBezTo>
                  <a:cubicBezTo>
                    <a:pt x="246960" y="170308"/>
                    <a:pt x="235316" y="182080"/>
                    <a:pt x="220878" y="182159"/>
                  </a:cubicBezTo>
                  <a:cubicBezTo>
                    <a:pt x="206470" y="182044"/>
                    <a:pt x="194869" y="170279"/>
                    <a:pt x="194948" y="155870"/>
                  </a:cubicBezTo>
                  <a:cubicBezTo>
                    <a:pt x="194905" y="141482"/>
                    <a:pt x="206491" y="129774"/>
                    <a:pt x="220878" y="129652"/>
                  </a:cubicBezTo>
                  <a:close/>
                  <a:moveTo>
                    <a:pt x="153573" y="129652"/>
                  </a:moveTo>
                  <a:cubicBezTo>
                    <a:pt x="167961" y="129767"/>
                    <a:pt x="179547" y="141482"/>
                    <a:pt x="179504" y="155870"/>
                  </a:cubicBezTo>
                  <a:cubicBezTo>
                    <a:pt x="179583" y="170279"/>
                    <a:pt x="167982" y="182044"/>
                    <a:pt x="153573" y="182159"/>
                  </a:cubicBezTo>
                  <a:cubicBezTo>
                    <a:pt x="139165" y="182044"/>
                    <a:pt x="127564" y="170279"/>
                    <a:pt x="127643" y="155870"/>
                  </a:cubicBezTo>
                  <a:cubicBezTo>
                    <a:pt x="127600" y="141482"/>
                    <a:pt x="139193" y="129774"/>
                    <a:pt x="153573" y="129652"/>
                  </a:cubicBezTo>
                  <a:close/>
                  <a:moveTo>
                    <a:pt x="85981" y="129652"/>
                  </a:moveTo>
                  <a:cubicBezTo>
                    <a:pt x="100391" y="129731"/>
                    <a:pt x="112027" y="141460"/>
                    <a:pt x="111984" y="155870"/>
                  </a:cubicBezTo>
                  <a:cubicBezTo>
                    <a:pt x="112027" y="170293"/>
                    <a:pt x="100405" y="182044"/>
                    <a:pt x="85981" y="182159"/>
                  </a:cubicBezTo>
                  <a:cubicBezTo>
                    <a:pt x="71573" y="182044"/>
                    <a:pt x="59972" y="170279"/>
                    <a:pt x="60051" y="155870"/>
                  </a:cubicBezTo>
                  <a:cubicBezTo>
                    <a:pt x="60008" y="141482"/>
                    <a:pt x="71594" y="129774"/>
                    <a:pt x="85981" y="129652"/>
                  </a:cubicBezTo>
                  <a:close/>
                  <a:moveTo>
                    <a:pt x="277911" y="64717"/>
                  </a:moveTo>
                  <a:lnTo>
                    <a:pt x="287420" y="83716"/>
                  </a:lnTo>
                  <a:lnTo>
                    <a:pt x="295313" y="95609"/>
                  </a:lnTo>
                  <a:lnTo>
                    <a:pt x="296553" y="101966"/>
                  </a:lnTo>
                  <a:lnTo>
                    <a:pt x="299585" y="108023"/>
                  </a:lnTo>
                  <a:cubicBezTo>
                    <a:pt x="304504" y="123399"/>
                    <a:pt x="307059" y="139532"/>
                    <a:pt x="307073" y="155869"/>
                  </a:cubicBezTo>
                  <a:lnTo>
                    <a:pt x="307073" y="155870"/>
                  </a:lnTo>
                  <a:lnTo>
                    <a:pt x="307073" y="155870"/>
                  </a:lnTo>
                  <a:cubicBezTo>
                    <a:pt x="307214" y="177218"/>
                    <a:pt x="303027" y="197587"/>
                    <a:pt x="295334" y="216143"/>
                  </a:cubicBezTo>
                  <a:lnTo>
                    <a:pt x="295329" y="216151"/>
                  </a:lnTo>
                  <a:lnTo>
                    <a:pt x="295327" y="216161"/>
                  </a:lnTo>
                  <a:lnTo>
                    <a:pt x="282553" y="235405"/>
                  </a:lnTo>
                  <a:lnTo>
                    <a:pt x="262555" y="265544"/>
                  </a:lnTo>
                  <a:lnTo>
                    <a:pt x="262542" y="265553"/>
                  </a:lnTo>
                  <a:lnTo>
                    <a:pt x="262531" y="265571"/>
                  </a:lnTo>
                  <a:lnTo>
                    <a:pt x="239939" y="281054"/>
                  </a:lnTo>
                  <a:lnTo>
                    <a:pt x="213661" y="299076"/>
                  </a:lnTo>
                  <a:lnTo>
                    <a:pt x="213638" y="299081"/>
                  </a:lnTo>
                  <a:lnTo>
                    <a:pt x="213613" y="299098"/>
                  </a:lnTo>
                  <a:lnTo>
                    <a:pt x="188327" y="304416"/>
                  </a:lnTo>
                  <a:lnTo>
                    <a:pt x="153573" y="311741"/>
                  </a:lnTo>
                  <a:lnTo>
                    <a:pt x="153529" y="311735"/>
                  </a:lnTo>
                  <a:lnTo>
                    <a:pt x="153502" y="311740"/>
                  </a:lnTo>
                  <a:cubicBezTo>
                    <a:pt x="149623" y="311740"/>
                    <a:pt x="145673" y="311596"/>
                    <a:pt x="141865" y="311309"/>
                  </a:cubicBezTo>
                  <a:lnTo>
                    <a:pt x="141650" y="311309"/>
                  </a:lnTo>
                  <a:cubicBezTo>
                    <a:pt x="162667" y="323656"/>
                    <a:pt x="186594" y="330178"/>
                    <a:pt x="210965" y="330200"/>
                  </a:cubicBezTo>
                  <a:cubicBezTo>
                    <a:pt x="238678" y="330207"/>
                    <a:pt x="265743" y="321846"/>
                    <a:pt x="288613" y="306209"/>
                  </a:cubicBezTo>
                  <a:lnTo>
                    <a:pt x="290625" y="304772"/>
                  </a:lnTo>
                  <a:lnTo>
                    <a:pt x="331639" y="307502"/>
                  </a:lnTo>
                  <a:lnTo>
                    <a:pt x="323019" y="272592"/>
                  </a:lnTo>
                  <a:lnTo>
                    <a:pt x="324815" y="269935"/>
                  </a:lnTo>
                  <a:cubicBezTo>
                    <a:pt x="341365" y="246080"/>
                    <a:pt x="350214" y="217729"/>
                    <a:pt x="350171" y="188696"/>
                  </a:cubicBezTo>
                  <a:cubicBezTo>
                    <a:pt x="350107" y="137388"/>
                    <a:pt x="322524" y="90059"/>
                    <a:pt x="277911" y="64717"/>
                  </a:cubicBezTo>
                  <a:close/>
                  <a:moveTo>
                    <a:pt x="153501" y="14366"/>
                  </a:moveTo>
                  <a:cubicBezTo>
                    <a:pt x="76019" y="15077"/>
                    <a:pt x="13735" y="78388"/>
                    <a:pt x="14296" y="155870"/>
                  </a:cubicBezTo>
                  <a:cubicBezTo>
                    <a:pt x="14231" y="184904"/>
                    <a:pt x="23088" y="213262"/>
                    <a:pt x="39652" y="237109"/>
                  </a:cubicBezTo>
                  <a:lnTo>
                    <a:pt x="41447" y="239767"/>
                  </a:lnTo>
                  <a:lnTo>
                    <a:pt x="32828" y="274676"/>
                  </a:lnTo>
                  <a:lnTo>
                    <a:pt x="73914" y="271947"/>
                  </a:lnTo>
                  <a:lnTo>
                    <a:pt x="75926" y="273383"/>
                  </a:lnTo>
                  <a:lnTo>
                    <a:pt x="112506" y="291069"/>
                  </a:lnTo>
                  <a:lnTo>
                    <a:pt x="113477" y="291356"/>
                  </a:lnTo>
                  <a:lnTo>
                    <a:pt x="153311" y="297336"/>
                  </a:lnTo>
                  <a:lnTo>
                    <a:pt x="153574" y="297374"/>
                  </a:lnTo>
                  <a:cubicBezTo>
                    <a:pt x="192294" y="296979"/>
                    <a:pt x="227207" y="280963"/>
                    <a:pt x="252375" y="255365"/>
                  </a:cubicBezTo>
                  <a:lnTo>
                    <a:pt x="282076" y="210539"/>
                  </a:lnTo>
                  <a:lnTo>
                    <a:pt x="292707" y="155870"/>
                  </a:lnTo>
                  <a:lnTo>
                    <a:pt x="292691" y="155788"/>
                  </a:lnTo>
                  <a:lnTo>
                    <a:pt x="280886" y="99399"/>
                  </a:lnTo>
                  <a:lnTo>
                    <a:pt x="276780" y="93204"/>
                  </a:lnTo>
                  <a:lnTo>
                    <a:pt x="248971" y="54028"/>
                  </a:lnTo>
                  <a:lnTo>
                    <a:pt x="208007" y="25897"/>
                  </a:lnTo>
                  <a:cubicBezTo>
                    <a:pt x="191285" y="18648"/>
                    <a:pt x="172869" y="14553"/>
                    <a:pt x="153501" y="14366"/>
                  </a:cubicBezTo>
                  <a:close/>
                  <a:moveTo>
                    <a:pt x="153573" y="0"/>
                  </a:moveTo>
                  <a:cubicBezTo>
                    <a:pt x="174916" y="197"/>
                    <a:pt x="195213" y="4702"/>
                    <a:pt x="213646" y="12682"/>
                  </a:cubicBezTo>
                  <a:lnTo>
                    <a:pt x="250934" y="38260"/>
                  </a:lnTo>
                  <a:lnTo>
                    <a:pt x="253919" y="39146"/>
                  </a:lnTo>
                  <a:cubicBezTo>
                    <a:pt x="319673" y="59244"/>
                    <a:pt x="364566" y="119940"/>
                    <a:pt x="364537" y="188696"/>
                  </a:cubicBezTo>
                  <a:cubicBezTo>
                    <a:pt x="364595" y="219539"/>
                    <a:pt x="355523" y="249700"/>
                    <a:pt x="338463" y="275394"/>
                  </a:cubicBezTo>
                  <a:lnTo>
                    <a:pt x="350243" y="323088"/>
                  </a:lnTo>
                  <a:lnTo>
                    <a:pt x="294647" y="319425"/>
                  </a:lnTo>
                  <a:cubicBezTo>
                    <a:pt x="269830" y="335853"/>
                    <a:pt x="240724" y="344594"/>
                    <a:pt x="210965" y="344565"/>
                  </a:cubicBezTo>
                  <a:cubicBezTo>
                    <a:pt x="191816" y="344533"/>
                    <a:pt x="173025" y="340888"/>
                    <a:pt x="155515" y="333991"/>
                  </a:cubicBezTo>
                  <a:lnTo>
                    <a:pt x="110061" y="305368"/>
                  </a:lnTo>
                  <a:lnTo>
                    <a:pt x="109880" y="305341"/>
                  </a:lnTo>
                  <a:cubicBezTo>
                    <a:pt x="95781" y="301106"/>
                    <a:pt x="82300" y="294814"/>
                    <a:pt x="69892" y="286600"/>
                  </a:cubicBezTo>
                  <a:lnTo>
                    <a:pt x="14296" y="290263"/>
                  </a:lnTo>
                  <a:lnTo>
                    <a:pt x="26076" y="242569"/>
                  </a:lnTo>
                  <a:cubicBezTo>
                    <a:pt x="9016" y="216875"/>
                    <a:pt x="-56" y="186714"/>
                    <a:pt x="2" y="155870"/>
                  </a:cubicBezTo>
                  <a:cubicBezTo>
                    <a:pt x="-516" y="70465"/>
                    <a:pt x="68175" y="754"/>
                    <a:pt x="15357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02" name="gaoding-26-3">
              <a:extLst>
                <a:ext uri="{FF2B5EF4-FFF2-40B4-BE49-F238E27FC236}">
                  <a16:creationId xmlns:a16="http://schemas.microsoft.com/office/drawing/2014/main" id="{494FE364-CEB9-4619-B1BC-447BE05B7A43}"/>
                </a:ext>
              </a:extLst>
            </p:cNvPr>
            <p:cNvSpPr/>
            <p:nvPr/>
          </p:nvSpPr>
          <p:spPr>
            <a:xfrm>
              <a:off x="1177316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03" name="gaoding-26-4">
              <a:extLst>
                <a:ext uri="{FF2B5EF4-FFF2-40B4-BE49-F238E27FC236}">
                  <a16:creationId xmlns:a16="http://schemas.microsoft.com/office/drawing/2014/main" id="{CE82A7D8-8AA5-4087-9701-8E7C01535345}"/>
                </a:ext>
              </a:extLst>
            </p:cNvPr>
            <p:cNvSpPr/>
            <p:nvPr/>
          </p:nvSpPr>
          <p:spPr>
            <a:xfrm>
              <a:off x="1233264" y="3515990"/>
              <a:ext cx="144806" cy="133742"/>
            </a:xfrm>
            <a:custGeom>
              <a:avLst/>
              <a:gdLst>
                <a:gd name="connsiteX0" fmla="*/ 179574 w 359148"/>
                <a:gd name="connsiteY0" fmla="*/ 228777 h 331709"/>
                <a:gd name="connsiteX1" fmla="*/ 32970 w 359148"/>
                <a:gd name="connsiteY1" fmla="*/ 317343 h 331709"/>
                <a:gd name="connsiteX2" fmla="*/ 326178 w 359148"/>
                <a:gd name="connsiteY2" fmla="*/ 317343 h 331709"/>
                <a:gd name="connsiteX3" fmla="*/ 344782 w 359148"/>
                <a:gd name="connsiteY3" fmla="*/ 128934 h 331709"/>
                <a:gd name="connsiteX4" fmla="*/ 193437 w 359148"/>
                <a:gd name="connsiteY4" fmla="*/ 220373 h 331709"/>
                <a:gd name="connsiteX5" fmla="*/ 344782 w 359148"/>
                <a:gd name="connsiteY5" fmla="*/ 311812 h 331709"/>
                <a:gd name="connsiteX6" fmla="*/ 14366 w 359148"/>
                <a:gd name="connsiteY6" fmla="*/ 128934 h 331709"/>
                <a:gd name="connsiteX7" fmla="*/ 14366 w 359148"/>
                <a:gd name="connsiteY7" fmla="*/ 311812 h 331709"/>
                <a:gd name="connsiteX8" fmla="*/ 165711 w 359148"/>
                <a:gd name="connsiteY8" fmla="*/ 220373 h 331709"/>
                <a:gd name="connsiteX9" fmla="*/ 92235 w 359148"/>
                <a:gd name="connsiteY9" fmla="*/ 109534 h 331709"/>
                <a:gd name="connsiteX10" fmla="*/ 264626 w 359148"/>
                <a:gd name="connsiteY10" fmla="*/ 109534 h 331709"/>
                <a:gd name="connsiteX11" fmla="*/ 264626 w 359148"/>
                <a:gd name="connsiteY11" fmla="*/ 123900 h 331709"/>
                <a:gd name="connsiteX12" fmla="*/ 92235 w 359148"/>
                <a:gd name="connsiteY12" fmla="*/ 123900 h 331709"/>
                <a:gd name="connsiteX13" fmla="*/ 178640 w 359148"/>
                <a:gd name="connsiteY13" fmla="*/ 16951 h 331709"/>
                <a:gd name="connsiteX14" fmla="*/ 20902 w 359148"/>
                <a:gd name="connsiteY14" fmla="*/ 115789 h 331709"/>
                <a:gd name="connsiteX15" fmla="*/ 179574 w 359148"/>
                <a:gd name="connsiteY15" fmla="*/ 211969 h 331709"/>
                <a:gd name="connsiteX16" fmla="*/ 338246 w 359148"/>
                <a:gd name="connsiteY16" fmla="*/ 116148 h 331709"/>
                <a:gd name="connsiteX17" fmla="*/ 178640 w 359148"/>
                <a:gd name="connsiteY17" fmla="*/ 0 h 331709"/>
                <a:gd name="connsiteX18" fmla="*/ 359148 w 359148"/>
                <a:gd name="connsiteY18" fmla="*/ 112198 h 331709"/>
                <a:gd name="connsiteX19" fmla="*/ 359148 w 359148"/>
                <a:gd name="connsiteY19" fmla="*/ 331709 h 331709"/>
                <a:gd name="connsiteX20" fmla="*/ 0 w 359148"/>
                <a:gd name="connsiteY20" fmla="*/ 331709 h 331709"/>
                <a:gd name="connsiteX21" fmla="*/ 0 w 359148"/>
                <a:gd name="connsiteY21" fmla="*/ 112269 h 33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9148" h="331709">
                  <a:moveTo>
                    <a:pt x="179574" y="228777"/>
                  </a:moveTo>
                  <a:lnTo>
                    <a:pt x="32970" y="317343"/>
                  </a:lnTo>
                  <a:lnTo>
                    <a:pt x="326178" y="317343"/>
                  </a:lnTo>
                  <a:close/>
                  <a:moveTo>
                    <a:pt x="344782" y="128934"/>
                  </a:moveTo>
                  <a:lnTo>
                    <a:pt x="193437" y="220373"/>
                  </a:lnTo>
                  <a:lnTo>
                    <a:pt x="344782" y="311812"/>
                  </a:lnTo>
                  <a:close/>
                  <a:moveTo>
                    <a:pt x="14366" y="128934"/>
                  </a:moveTo>
                  <a:lnTo>
                    <a:pt x="14366" y="311812"/>
                  </a:lnTo>
                  <a:lnTo>
                    <a:pt x="165711" y="220373"/>
                  </a:lnTo>
                  <a:close/>
                  <a:moveTo>
                    <a:pt x="92235" y="109534"/>
                  </a:moveTo>
                  <a:lnTo>
                    <a:pt x="264626" y="109534"/>
                  </a:lnTo>
                  <a:lnTo>
                    <a:pt x="264626" y="123900"/>
                  </a:lnTo>
                  <a:lnTo>
                    <a:pt x="92235" y="123900"/>
                  </a:lnTo>
                  <a:close/>
                  <a:moveTo>
                    <a:pt x="178640" y="16951"/>
                  </a:moveTo>
                  <a:lnTo>
                    <a:pt x="20902" y="115789"/>
                  </a:lnTo>
                  <a:lnTo>
                    <a:pt x="179574" y="211969"/>
                  </a:lnTo>
                  <a:lnTo>
                    <a:pt x="338246" y="116148"/>
                  </a:lnTo>
                  <a:close/>
                  <a:moveTo>
                    <a:pt x="178640" y="0"/>
                  </a:moveTo>
                  <a:lnTo>
                    <a:pt x="359148" y="112198"/>
                  </a:lnTo>
                  <a:lnTo>
                    <a:pt x="359148" y="331709"/>
                  </a:lnTo>
                  <a:lnTo>
                    <a:pt x="0" y="331709"/>
                  </a:lnTo>
                  <a:lnTo>
                    <a:pt x="0" y="11226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04" name="gaoding-26-5">
              <a:extLst>
                <a:ext uri="{FF2B5EF4-FFF2-40B4-BE49-F238E27FC236}">
                  <a16:creationId xmlns:a16="http://schemas.microsoft.com/office/drawing/2014/main" id="{B61E07AF-F656-44BF-B502-200F04A039D7}"/>
                </a:ext>
              </a:extLst>
            </p:cNvPr>
            <p:cNvSpPr/>
            <p:nvPr/>
          </p:nvSpPr>
          <p:spPr>
            <a:xfrm>
              <a:off x="1519612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05" name="gaoding-26-6">
              <a:extLst>
                <a:ext uri="{FF2B5EF4-FFF2-40B4-BE49-F238E27FC236}">
                  <a16:creationId xmlns:a16="http://schemas.microsoft.com/office/drawing/2014/main" id="{E33DEDC1-33F7-4BAC-A922-83199C2DEA99}"/>
                </a:ext>
              </a:extLst>
            </p:cNvPr>
            <p:cNvSpPr/>
            <p:nvPr/>
          </p:nvSpPr>
          <p:spPr>
            <a:xfrm>
              <a:off x="1575560" y="3520594"/>
              <a:ext cx="144806" cy="124533"/>
            </a:xfrm>
            <a:custGeom>
              <a:avLst/>
              <a:gdLst>
                <a:gd name="connsiteX0" fmla="*/ 179574 w 359148"/>
                <a:gd name="connsiteY0" fmla="*/ 93378 h 308867"/>
                <a:gd name="connsiteX1" fmla="*/ 105878 w 359148"/>
                <a:gd name="connsiteY1" fmla="*/ 168799 h 308867"/>
                <a:gd name="connsiteX2" fmla="*/ 179574 w 359148"/>
                <a:gd name="connsiteY2" fmla="*/ 244220 h 308867"/>
                <a:gd name="connsiteX3" fmla="*/ 253344 w 359148"/>
                <a:gd name="connsiteY3" fmla="*/ 168799 h 308867"/>
                <a:gd name="connsiteX4" fmla="*/ 179574 w 359148"/>
                <a:gd name="connsiteY4" fmla="*/ 93378 h 308867"/>
                <a:gd name="connsiteX5" fmla="*/ 312537 w 359148"/>
                <a:gd name="connsiteY5" fmla="*/ 82454 h 308867"/>
                <a:gd name="connsiteX6" fmla="*/ 326903 w 359148"/>
                <a:gd name="connsiteY6" fmla="*/ 82454 h 308867"/>
                <a:gd name="connsiteX7" fmla="*/ 326903 w 359148"/>
                <a:gd name="connsiteY7" fmla="*/ 96820 h 308867"/>
                <a:gd name="connsiteX8" fmla="*/ 312537 w 359148"/>
                <a:gd name="connsiteY8" fmla="*/ 96820 h 308867"/>
                <a:gd name="connsiteX9" fmla="*/ 179574 w 359148"/>
                <a:gd name="connsiteY9" fmla="*/ 79012 h 308867"/>
                <a:gd name="connsiteX10" fmla="*/ 267710 w 359148"/>
                <a:gd name="connsiteY10" fmla="*/ 168799 h 308867"/>
                <a:gd name="connsiteX11" fmla="*/ 179574 w 359148"/>
                <a:gd name="connsiteY11" fmla="*/ 258586 h 308867"/>
                <a:gd name="connsiteX12" fmla="*/ 91512 w 359148"/>
                <a:gd name="connsiteY12" fmla="*/ 168799 h 308867"/>
                <a:gd name="connsiteX13" fmla="*/ 179574 w 359148"/>
                <a:gd name="connsiteY13" fmla="*/ 79012 h 308867"/>
                <a:gd name="connsiteX14" fmla="*/ 119596 w 359148"/>
                <a:gd name="connsiteY14" fmla="*/ 14366 h 308867"/>
                <a:gd name="connsiteX15" fmla="*/ 103434 w 359148"/>
                <a:gd name="connsiteY15" fmla="*/ 57463 h 308867"/>
                <a:gd name="connsiteX16" fmla="*/ 14007 w 359148"/>
                <a:gd name="connsiteY16" fmla="*/ 57463 h 308867"/>
                <a:gd name="connsiteX17" fmla="*/ 14007 w 359148"/>
                <a:gd name="connsiteY17" fmla="*/ 294501 h 308867"/>
                <a:gd name="connsiteX18" fmla="*/ 344423 w 359148"/>
                <a:gd name="connsiteY18" fmla="*/ 294501 h 308867"/>
                <a:gd name="connsiteX19" fmla="*/ 344423 w 359148"/>
                <a:gd name="connsiteY19" fmla="*/ 57463 h 308867"/>
                <a:gd name="connsiteX20" fmla="*/ 255067 w 359148"/>
                <a:gd name="connsiteY20" fmla="*/ 57463 h 308867"/>
                <a:gd name="connsiteX21" fmla="*/ 238905 w 359148"/>
                <a:gd name="connsiteY21" fmla="*/ 14366 h 308867"/>
                <a:gd name="connsiteX22" fmla="*/ 109971 w 359148"/>
                <a:gd name="connsiteY22" fmla="*/ 0 h 308867"/>
                <a:gd name="connsiteX23" fmla="*/ 249249 w 359148"/>
                <a:gd name="connsiteY23" fmla="*/ 0 h 308867"/>
                <a:gd name="connsiteX24" fmla="*/ 265411 w 359148"/>
                <a:gd name="connsiteY24" fmla="*/ 43097 h 308867"/>
                <a:gd name="connsiteX25" fmla="*/ 359148 w 359148"/>
                <a:gd name="connsiteY25" fmla="*/ 43097 h 308867"/>
                <a:gd name="connsiteX26" fmla="*/ 359148 w 359148"/>
                <a:gd name="connsiteY26" fmla="*/ 308867 h 308867"/>
                <a:gd name="connsiteX27" fmla="*/ 0 w 359148"/>
                <a:gd name="connsiteY27" fmla="*/ 308867 h 308867"/>
                <a:gd name="connsiteX28" fmla="*/ 0 w 359148"/>
                <a:gd name="connsiteY28" fmla="*/ 43097 h 308867"/>
                <a:gd name="connsiteX29" fmla="*/ 93810 w 359148"/>
                <a:gd name="connsiteY29" fmla="*/ 43097 h 308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9148" h="308867">
                  <a:moveTo>
                    <a:pt x="179574" y="93378"/>
                  </a:moveTo>
                  <a:cubicBezTo>
                    <a:pt x="138416" y="93888"/>
                    <a:pt x="105447" y="127633"/>
                    <a:pt x="105878" y="168799"/>
                  </a:cubicBezTo>
                  <a:cubicBezTo>
                    <a:pt x="105447" y="209964"/>
                    <a:pt x="138416" y="243710"/>
                    <a:pt x="179574" y="244220"/>
                  </a:cubicBezTo>
                  <a:cubicBezTo>
                    <a:pt x="220734" y="243710"/>
                    <a:pt x="253775" y="209971"/>
                    <a:pt x="253344" y="168799"/>
                  </a:cubicBezTo>
                  <a:cubicBezTo>
                    <a:pt x="253775" y="127626"/>
                    <a:pt x="220734" y="93888"/>
                    <a:pt x="179574" y="93378"/>
                  </a:cubicBezTo>
                  <a:close/>
                  <a:moveTo>
                    <a:pt x="312537" y="82454"/>
                  </a:moveTo>
                  <a:lnTo>
                    <a:pt x="326903" y="82454"/>
                  </a:lnTo>
                  <a:lnTo>
                    <a:pt x="326903" y="96820"/>
                  </a:lnTo>
                  <a:lnTo>
                    <a:pt x="312537" y="96820"/>
                  </a:lnTo>
                  <a:close/>
                  <a:moveTo>
                    <a:pt x="179574" y="79012"/>
                  </a:moveTo>
                  <a:cubicBezTo>
                    <a:pt x="228707" y="79522"/>
                    <a:pt x="268141" y="119689"/>
                    <a:pt x="267710" y="168799"/>
                  </a:cubicBezTo>
                  <a:cubicBezTo>
                    <a:pt x="268141" y="217909"/>
                    <a:pt x="228707" y="258076"/>
                    <a:pt x="179574" y="258586"/>
                  </a:cubicBezTo>
                  <a:cubicBezTo>
                    <a:pt x="130515" y="258033"/>
                    <a:pt x="91081" y="217880"/>
                    <a:pt x="91512" y="168799"/>
                  </a:cubicBezTo>
                  <a:cubicBezTo>
                    <a:pt x="91081" y="119718"/>
                    <a:pt x="130515" y="79565"/>
                    <a:pt x="179574" y="79012"/>
                  </a:cubicBezTo>
                  <a:close/>
                  <a:moveTo>
                    <a:pt x="119596" y="14366"/>
                  </a:moveTo>
                  <a:lnTo>
                    <a:pt x="103434" y="57463"/>
                  </a:lnTo>
                  <a:lnTo>
                    <a:pt x="14007" y="57463"/>
                  </a:lnTo>
                  <a:lnTo>
                    <a:pt x="14007" y="294501"/>
                  </a:lnTo>
                  <a:lnTo>
                    <a:pt x="344423" y="294501"/>
                  </a:lnTo>
                  <a:lnTo>
                    <a:pt x="344423" y="57463"/>
                  </a:lnTo>
                  <a:lnTo>
                    <a:pt x="255067" y="57463"/>
                  </a:lnTo>
                  <a:lnTo>
                    <a:pt x="238905" y="14366"/>
                  </a:lnTo>
                  <a:close/>
                  <a:moveTo>
                    <a:pt x="109971" y="0"/>
                  </a:moveTo>
                  <a:lnTo>
                    <a:pt x="249249" y="0"/>
                  </a:lnTo>
                  <a:lnTo>
                    <a:pt x="265411" y="43097"/>
                  </a:lnTo>
                  <a:lnTo>
                    <a:pt x="359148" y="43097"/>
                  </a:lnTo>
                  <a:lnTo>
                    <a:pt x="359148" y="308867"/>
                  </a:lnTo>
                  <a:lnTo>
                    <a:pt x="0" y="308867"/>
                  </a:lnTo>
                  <a:lnTo>
                    <a:pt x="0" y="43097"/>
                  </a:lnTo>
                  <a:lnTo>
                    <a:pt x="93810" y="4309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</p:grpSp>
      <p:grpSp>
        <p:nvGrpSpPr>
          <p:cNvPr id="106" name="gaoding-27">
            <a:extLst>
              <a:ext uri="{FF2B5EF4-FFF2-40B4-BE49-F238E27FC236}">
                <a16:creationId xmlns:a16="http://schemas.microsoft.com/office/drawing/2014/main" id="{3BCBE279-A967-493E-A164-47A8DD8AD3FD}"/>
              </a:ext>
            </a:extLst>
          </p:cNvPr>
          <p:cNvGrpSpPr/>
          <p:nvPr/>
        </p:nvGrpSpPr>
        <p:grpSpPr>
          <a:xfrm>
            <a:off x="9454565" y="4566439"/>
            <a:ext cx="850670" cy="231988"/>
            <a:chOff x="835020" y="3454509"/>
            <a:chExt cx="941295" cy="256703"/>
          </a:xfrm>
        </p:grpSpPr>
        <p:sp>
          <p:nvSpPr>
            <p:cNvPr id="107" name="gaoding-27-1">
              <a:extLst>
                <a:ext uri="{FF2B5EF4-FFF2-40B4-BE49-F238E27FC236}">
                  <a16:creationId xmlns:a16="http://schemas.microsoft.com/office/drawing/2014/main" id="{99DCBADD-A0A8-4FE2-BF2A-A77F75ADE948}"/>
                </a:ext>
              </a:extLst>
            </p:cNvPr>
            <p:cNvSpPr/>
            <p:nvPr/>
          </p:nvSpPr>
          <p:spPr>
            <a:xfrm>
              <a:off x="835020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08" name="gaoding-27-2">
              <a:extLst>
                <a:ext uri="{FF2B5EF4-FFF2-40B4-BE49-F238E27FC236}">
                  <a16:creationId xmlns:a16="http://schemas.microsoft.com/office/drawing/2014/main" id="{27945F29-25A4-4455-A0BE-BA627138497E}"/>
                </a:ext>
              </a:extLst>
            </p:cNvPr>
            <p:cNvSpPr/>
            <p:nvPr/>
          </p:nvSpPr>
          <p:spPr>
            <a:xfrm>
              <a:off x="890968" y="3514425"/>
              <a:ext cx="144806" cy="136872"/>
            </a:xfrm>
            <a:custGeom>
              <a:avLst/>
              <a:gdLst>
                <a:gd name="connsiteX0" fmla="*/ 220878 w 364537"/>
                <a:gd name="connsiteY0" fmla="*/ 144018 h 344565"/>
                <a:gd name="connsiteX1" fmla="*/ 209314 w 364537"/>
                <a:gd name="connsiteY1" fmla="*/ 155870 h 344565"/>
                <a:gd name="connsiteX2" fmla="*/ 220878 w 364537"/>
                <a:gd name="connsiteY2" fmla="*/ 167793 h 344565"/>
                <a:gd name="connsiteX3" fmla="*/ 232515 w 364537"/>
                <a:gd name="connsiteY3" fmla="*/ 155870 h 344565"/>
                <a:gd name="connsiteX4" fmla="*/ 220878 w 364537"/>
                <a:gd name="connsiteY4" fmla="*/ 144018 h 344565"/>
                <a:gd name="connsiteX5" fmla="*/ 153573 w 364537"/>
                <a:gd name="connsiteY5" fmla="*/ 144018 h 344565"/>
                <a:gd name="connsiteX6" fmla="*/ 142009 w 364537"/>
                <a:gd name="connsiteY6" fmla="*/ 155870 h 344565"/>
                <a:gd name="connsiteX7" fmla="*/ 153573 w 364537"/>
                <a:gd name="connsiteY7" fmla="*/ 167793 h 344565"/>
                <a:gd name="connsiteX8" fmla="*/ 165138 w 364537"/>
                <a:gd name="connsiteY8" fmla="*/ 155870 h 344565"/>
                <a:gd name="connsiteX9" fmla="*/ 153573 w 364537"/>
                <a:gd name="connsiteY9" fmla="*/ 144018 h 344565"/>
                <a:gd name="connsiteX10" fmla="*/ 85981 w 364537"/>
                <a:gd name="connsiteY10" fmla="*/ 144018 h 344565"/>
                <a:gd name="connsiteX11" fmla="*/ 74417 w 364537"/>
                <a:gd name="connsiteY11" fmla="*/ 155870 h 344565"/>
                <a:gd name="connsiteX12" fmla="*/ 85981 w 364537"/>
                <a:gd name="connsiteY12" fmla="*/ 167793 h 344565"/>
                <a:gd name="connsiteX13" fmla="*/ 97618 w 364537"/>
                <a:gd name="connsiteY13" fmla="*/ 155870 h 344565"/>
                <a:gd name="connsiteX14" fmla="*/ 85981 w 364537"/>
                <a:gd name="connsiteY14" fmla="*/ 144018 h 344565"/>
                <a:gd name="connsiteX15" fmla="*/ 220878 w 364537"/>
                <a:gd name="connsiteY15" fmla="*/ 129652 h 344565"/>
                <a:gd name="connsiteX16" fmla="*/ 246881 w 364537"/>
                <a:gd name="connsiteY16" fmla="*/ 155870 h 344565"/>
                <a:gd name="connsiteX17" fmla="*/ 220878 w 364537"/>
                <a:gd name="connsiteY17" fmla="*/ 182159 h 344565"/>
                <a:gd name="connsiteX18" fmla="*/ 194948 w 364537"/>
                <a:gd name="connsiteY18" fmla="*/ 155870 h 344565"/>
                <a:gd name="connsiteX19" fmla="*/ 220878 w 364537"/>
                <a:gd name="connsiteY19" fmla="*/ 129652 h 344565"/>
                <a:gd name="connsiteX20" fmla="*/ 153573 w 364537"/>
                <a:gd name="connsiteY20" fmla="*/ 129652 h 344565"/>
                <a:gd name="connsiteX21" fmla="*/ 179504 w 364537"/>
                <a:gd name="connsiteY21" fmla="*/ 155870 h 344565"/>
                <a:gd name="connsiteX22" fmla="*/ 153573 w 364537"/>
                <a:gd name="connsiteY22" fmla="*/ 182159 h 344565"/>
                <a:gd name="connsiteX23" fmla="*/ 127643 w 364537"/>
                <a:gd name="connsiteY23" fmla="*/ 155870 h 344565"/>
                <a:gd name="connsiteX24" fmla="*/ 153573 w 364537"/>
                <a:gd name="connsiteY24" fmla="*/ 129652 h 344565"/>
                <a:gd name="connsiteX25" fmla="*/ 85981 w 364537"/>
                <a:gd name="connsiteY25" fmla="*/ 129652 h 344565"/>
                <a:gd name="connsiteX26" fmla="*/ 111984 w 364537"/>
                <a:gd name="connsiteY26" fmla="*/ 155870 h 344565"/>
                <a:gd name="connsiteX27" fmla="*/ 85981 w 364537"/>
                <a:gd name="connsiteY27" fmla="*/ 182159 h 344565"/>
                <a:gd name="connsiteX28" fmla="*/ 60051 w 364537"/>
                <a:gd name="connsiteY28" fmla="*/ 155870 h 344565"/>
                <a:gd name="connsiteX29" fmla="*/ 85981 w 364537"/>
                <a:gd name="connsiteY29" fmla="*/ 129652 h 344565"/>
                <a:gd name="connsiteX30" fmla="*/ 277911 w 364537"/>
                <a:gd name="connsiteY30" fmla="*/ 64717 h 344565"/>
                <a:gd name="connsiteX31" fmla="*/ 287420 w 364537"/>
                <a:gd name="connsiteY31" fmla="*/ 83716 h 344565"/>
                <a:gd name="connsiteX32" fmla="*/ 295313 w 364537"/>
                <a:gd name="connsiteY32" fmla="*/ 95609 h 344565"/>
                <a:gd name="connsiteX33" fmla="*/ 296553 w 364537"/>
                <a:gd name="connsiteY33" fmla="*/ 101966 h 344565"/>
                <a:gd name="connsiteX34" fmla="*/ 299585 w 364537"/>
                <a:gd name="connsiteY34" fmla="*/ 108023 h 344565"/>
                <a:gd name="connsiteX35" fmla="*/ 307073 w 364537"/>
                <a:gd name="connsiteY35" fmla="*/ 155869 h 344565"/>
                <a:gd name="connsiteX36" fmla="*/ 307073 w 364537"/>
                <a:gd name="connsiteY36" fmla="*/ 155870 h 344565"/>
                <a:gd name="connsiteX37" fmla="*/ 307073 w 364537"/>
                <a:gd name="connsiteY37" fmla="*/ 155870 h 344565"/>
                <a:gd name="connsiteX38" fmla="*/ 295334 w 364537"/>
                <a:gd name="connsiteY38" fmla="*/ 216143 h 344565"/>
                <a:gd name="connsiteX39" fmla="*/ 295329 w 364537"/>
                <a:gd name="connsiteY39" fmla="*/ 216151 h 344565"/>
                <a:gd name="connsiteX40" fmla="*/ 295327 w 364537"/>
                <a:gd name="connsiteY40" fmla="*/ 216161 h 344565"/>
                <a:gd name="connsiteX41" fmla="*/ 282553 w 364537"/>
                <a:gd name="connsiteY41" fmla="*/ 235405 h 344565"/>
                <a:gd name="connsiteX42" fmla="*/ 262555 w 364537"/>
                <a:gd name="connsiteY42" fmla="*/ 265544 h 344565"/>
                <a:gd name="connsiteX43" fmla="*/ 262542 w 364537"/>
                <a:gd name="connsiteY43" fmla="*/ 265553 h 344565"/>
                <a:gd name="connsiteX44" fmla="*/ 262531 w 364537"/>
                <a:gd name="connsiteY44" fmla="*/ 265571 h 344565"/>
                <a:gd name="connsiteX45" fmla="*/ 239939 w 364537"/>
                <a:gd name="connsiteY45" fmla="*/ 281054 h 344565"/>
                <a:gd name="connsiteX46" fmla="*/ 213661 w 364537"/>
                <a:gd name="connsiteY46" fmla="*/ 299076 h 344565"/>
                <a:gd name="connsiteX47" fmla="*/ 213638 w 364537"/>
                <a:gd name="connsiteY47" fmla="*/ 299081 h 344565"/>
                <a:gd name="connsiteX48" fmla="*/ 213613 w 364537"/>
                <a:gd name="connsiteY48" fmla="*/ 299098 h 344565"/>
                <a:gd name="connsiteX49" fmla="*/ 188327 w 364537"/>
                <a:gd name="connsiteY49" fmla="*/ 304416 h 344565"/>
                <a:gd name="connsiteX50" fmla="*/ 153573 w 364537"/>
                <a:gd name="connsiteY50" fmla="*/ 311741 h 344565"/>
                <a:gd name="connsiteX51" fmla="*/ 153529 w 364537"/>
                <a:gd name="connsiteY51" fmla="*/ 311735 h 344565"/>
                <a:gd name="connsiteX52" fmla="*/ 153502 w 364537"/>
                <a:gd name="connsiteY52" fmla="*/ 311740 h 344565"/>
                <a:gd name="connsiteX53" fmla="*/ 141865 w 364537"/>
                <a:gd name="connsiteY53" fmla="*/ 311309 h 344565"/>
                <a:gd name="connsiteX54" fmla="*/ 141650 w 364537"/>
                <a:gd name="connsiteY54" fmla="*/ 311309 h 344565"/>
                <a:gd name="connsiteX55" fmla="*/ 210965 w 364537"/>
                <a:gd name="connsiteY55" fmla="*/ 330200 h 344565"/>
                <a:gd name="connsiteX56" fmla="*/ 288613 w 364537"/>
                <a:gd name="connsiteY56" fmla="*/ 306209 h 344565"/>
                <a:gd name="connsiteX57" fmla="*/ 290625 w 364537"/>
                <a:gd name="connsiteY57" fmla="*/ 304772 h 344565"/>
                <a:gd name="connsiteX58" fmla="*/ 331639 w 364537"/>
                <a:gd name="connsiteY58" fmla="*/ 307502 h 344565"/>
                <a:gd name="connsiteX59" fmla="*/ 323019 w 364537"/>
                <a:gd name="connsiteY59" fmla="*/ 272592 h 344565"/>
                <a:gd name="connsiteX60" fmla="*/ 324815 w 364537"/>
                <a:gd name="connsiteY60" fmla="*/ 269935 h 344565"/>
                <a:gd name="connsiteX61" fmla="*/ 350171 w 364537"/>
                <a:gd name="connsiteY61" fmla="*/ 188696 h 344565"/>
                <a:gd name="connsiteX62" fmla="*/ 277911 w 364537"/>
                <a:gd name="connsiteY62" fmla="*/ 64717 h 344565"/>
                <a:gd name="connsiteX63" fmla="*/ 153501 w 364537"/>
                <a:gd name="connsiteY63" fmla="*/ 14366 h 344565"/>
                <a:gd name="connsiteX64" fmla="*/ 14296 w 364537"/>
                <a:gd name="connsiteY64" fmla="*/ 155870 h 344565"/>
                <a:gd name="connsiteX65" fmla="*/ 39652 w 364537"/>
                <a:gd name="connsiteY65" fmla="*/ 237109 h 344565"/>
                <a:gd name="connsiteX66" fmla="*/ 41447 w 364537"/>
                <a:gd name="connsiteY66" fmla="*/ 239767 h 344565"/>
                <a:gd name="connsiteX67" fmla="*/ 32828 w 364537"/>
                <a:gd name="connsiteY67" fmla="*/ 274676 h 344565"/>
                <a:gd name="connsiteX68" fmla="*/ 73914 w 364537"/>
                <a:gd name="connsiteY68" fmla="*/ 271947 h 344565"/>
                <a:gd name="connsiteX69" fmla="*/ 75926 w 364537"/>
                <a:gd name="connsiteY69" fmla="*/ 273383 h 344565"/>
                <a:gd name="connsiteX70" fmla="*/ 112506 w 364537"/>
                <a:gd name="connsiteY70" fmla="*/ 291069 h 344565"/>
                <a:gd name="connsiteX71" fmla="*/ 113477 w 364537"/>
                <a:gd name="connsiteY71" fmla="*/ 291356 h 344565"/>
                <a:gd name="connsiteX72" fmla="*/ 153311 w 364537"/>
                <a:gd name="connsiteY72" fmla="*/ 297336 h 344565"/>
                <a:gd name="connsiteX73" fmla="*/ 153574 w 364537"/>
                <a:gd name="connsiteY73" fmla="*/ 297374 h 344565"/>
                <a:gd name="connsiteX74" fmla="*/ 252375 w 364537"/>
                <a:gd name="connsiteY74" fmla="*/ 255365 h 344565"/>
                <a:gd name="connsiteX75" fmla="*/ 282076 w 364537"/>
                <a:gd name="connsiteY75" fmla="*/ 210539 h 344565"/>
                <a:gd name="connsiteX76" fmla="*/ 292707 w 364537"/>
                <a:gd name="connsiteY76" fmla="*/ 155870 h 344565"/>
                <a:gd name="connsiteX77" fmla="*/ 292691 w 364537"/>
                <a:gd name="connsiteY77" fmla="*/ 155788 h 344565"/>
                <a:gd name="connsiteX78" fmla="*/ 280886 w 364537"/>
                <a:gd name="connsiteY78" fmla="*/ 99399 h 344565"/>
                <a:gd name="connsiteX79" fmla="*/ 276780 w 364537"/>
                <a:gd name="connsiteY79" fmla="*/ 93204 h 344565"/>
                <a:gd name="connsiteX80" fmla="*/ 248971 w 364537"/>
                <a:gd name="connsiteY80" fmla="*/ 54028 h 344565"/>
                <a:gd name="connsiteX81" fmla="*/ 208007 w 364537"/>
                <a:gd name="connsiteY81" fmla="*/ 25897 h 344565"/>
                <a:gd name="connsiteX82" fmla="*/ 153501 w 364537"/>
                <a:gd name="connsiteY82" fmla="*/ 14366 h 344565"/>
                <a:gd name="connsiteX83" fmla="*/ 153573 w 364537"/>
                <a:gd name="connsiteY83" fmla="*/ 0 h 344565"/>
                <a:gd name="connsiteX84" fmla="*/ 213646 w 364537"/>
                <a:gd name="connsiteY84" fmla="*/ 12682 h 344565"/>
                <a:gd name="connsiteX85" fmla="*/ 250934 w 364537"/>
                <a:gd name="connsiteY85" fmla="*/ 38260 h 344565"/>
                <a:gd name="connsiteX86" fmla="*/ 253919 w 364537"/>
                <a:gd name="connsiteY86" fmla="*/ 39146 h 344565"/>
                <a:gd name="connsiteX87" fmla="*/ 364537 w 364537"/>
                <a:gd name="connsiteY87" fmla="*/ 188696 h 344565"/>
                <a:gd name="connsiteX88" fmla="*/ 338463 w 364537"/>
                <a:gd name="connsiteY88" fmla="*/ 275394 h 344565"/>
                <a:gd name="connsiteX89" fmla="*/ 350243 w 364537"/>
                <a:gd name="connsiteY89" fmla="*/ 323088 h 344565"/>
                <a:gd name="connsiteX90" fmla="*/ 294647 w 364537"/>
                <a:gd name="connsiteY90" fmla="*/ 319425 h 344565"/>
                <a:gd name="connsiteX91" fmla="*/ 210965 w 364537"/>
                <a:gd name="connsiteY91" fmla="*/ 344565 h 344565"/>
                <a:gd name="connsiteX92" fmla="*/ 155515 w 364537"/>
                <a:gd name="connsiteY92" fmla="*/ 333991 h 344565"/>
                <a:gd name="connsiteX93" fmla="*/ 110061 w 364537"/>
                <a:gd name="connsiteY93" fmla="*/ 305368 h 344565"/>
                <a:gd name="connsiteX94" fmla="*/ 109880 w 364537"/>
                <a:gd name="connsiteY94" fmla="*/ 305341 h 344565"/>
                <a:gd name="connsiteX95" fmla="*/ 69892 w 364537"/>
                <a:gd name="connsiteY95" fmla="*/ 286600 h 344565"/>
                <a:gd name="connsiteX96" fmla="*/ 14296 w 364537"/>
                <a:gd name="connsiteY96" fmla="*/ 290263 h 344565"/>
                <a:gd name="connsiteX97" fmla="*/ 26076 w 364537"/>
                <a:gd name="connsiteY97" fmla="*/ 242569 h 344565"/>
                <a:gd name="connsiteX98" fmla="*/ 2 w 364537"/>
                <a:gd name="connsiteY98" fmla="*/ 155870 h 344565"/>
                <a:gd name="connsiteX99" fmla="*/ 153573 w 364537"/>
                <a:gd name="connsiteY99" fmla="*/ 0 h 344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364537" h="344565">
                  <a:moveTo>
                    <a:pt x="220878" y="144018"/>
                  </a:moveTo>
                  <a:cubicBezTo>
                    <a:pt x="214414" y="144097"/>
                    <a:pt x="209235" y="149405"/>
                    <a:pt x="209314" y="155870"/>
                  </a:cubicBezTo>
                  <a:cubicBezTo>
                    <a:pt x="209235" y="162349"/>
                    <a:pt x="214400" y="167678"/>
                    <a:pt x="220878" y="167793"/>
                  </a:cubicBezTo>
                  <a:cubicBezTo>
                    <a:pt x="227365" y="167678"/>
                    <a:pt x="232558" y="162363"/>
                    <a:pt x="232515" y="155870"/>
                  </a:cubicBezTo>
                  <a:cubicBezTo>
                    <a:pt x="232558" y="149390"/>
                    <a:pt x="227357" y="144097"/>
                    <a:pt x="220878" y="144018"/>
                  </a:cubicBezTo>
                  <a:close/>
                  <a:moveTo>
                    <a:pt x="153573" y="144018"/>
                  </a:moveTo>
                  <a:cubicBezTo>
                    <a:pt x="147109" y="144097"/>
                    <a:pt x="141930" y="149405"/>
                    <a:pt x="142009" y="155870"/>
                  </a:cubicBezTo>
                  <a:cubicBezTo>
                    <a:pt x="141930" y="162349"/>
                    <a:pt x="147095" y="167678"/>
                    <a:pt x="153573" y="167793"/>
                  </a:cubicBezTo>
                  <a:cubicBezTo>
                    <a:pt x="160052" y="167678"/>
                    <a:pt x="165217" y="162349"/>
                    <a:pt x="165138" y="155870"/>
                  </a:cubicBezTo>
                  <a:cubicBezTo>
                    <a:pt x="165217" y="149405"/>
                    <a:pt x="160038" y="144097"/>
                    <a:pt x="153573" y="144018"/>
                  </a:cubicBezTo>
                  <a:close/>
                  <a:moveTo>
                    <a:pt x="85981" y="144018"/>
                  </a:moveTo>
                  <a:cubicBezTo>
                    <a:pt x="79517" y="144097"/>
                    <a:pt x="74338" y="149405"/>
                    <a:pt x="74417" y="155870"/>
                  </a:cubicBezTo>
                  <a:cubicBezTo>
                    <a:pt x="74338" y="162349"/>
                    <a:pt x="79503" y="167678"/>
                    <a:pt x="85981" y="167793"/>
                  </a:cubicBezTo>
                  <a:cubicBezTo>
                    <a:pt x="92468" y="167678"/>
                    <a:pt x="97661" y="162363"/>
                    <a:pt x="97618" y="155870"/>
                  </a:cubicBezTo>
                  <a:cubicBezTo>
                    <a:pt x="97661" y="149390"/>
                    <a:pt x="92461" y="144097"/>
                    <a:pt x="85981" y="144018"/>
                  </a:cubicBezTo>
                  <a:close/>
                  <a:moveTo>
                    <a:pt x="220878" y="129652"/>
                  </a:moveTo>
                  <a:cubicBezTo>
                    <a:pt x="235287" y="129731"/>
                    <a:pt x="246924" y="141460"/>
                    <a:pt x="246881" y="155870"/>
                  </a:cubicBezTo>
                  <a:cubicBezTo>
                    <a:pt x="246960" y="170308"/>
                    <a:pt x="235316" y="182080"/>
                    <a:pt x="220878" y="182159"/>
                  </a:cubicBezTo>
                  <a:cubicBezTo>
                    <a:pt x="206470" y="182044"/>
                    <a:pt x="194869" y="170279"/>
                    <a:pt x="194948" y="155870"/>
                  </a:cubicBezTo>
                  <a:cubicBezTo>
                    <a:pt x="194905" y="141482"/>
                    <a:pt x="206491" y="129774"/>
                    <a:pt x="220878" y="129652"/>
                  </a:cubicBezTo>
                  <a:close/>
                  <a:moveTo>
                    <a:pt x="153573" y="129652"/>
                  </a:moveTo>
                  <a:cubicBezTo>
                    <a:pt x="167961" y="129767"/>
                    <a:pt x="179547" y="141482"/>
                    <a:pt x="179504" y="155870"/>
                  </a:cubicBezTo>
                  <a:cubicBezTo>
                    <a:pt x="179583" y="170279"/>
                    <a:pt x="167982" y="182044"/>
                    <a:pt x="153573" y="182159"/>
                  </a:cubicBezTo>
                  <a:cubicBezTo>
                    <a:pt x="139165" y="182044"/>
                    <a:pt x="127564" y="170279"/>
                    <a:pt x="127643" y="155870"/>
                  </a:cubicBezTo>
                  <a:cubicBezTo>
                    <a:pt x="127600" y="141482"/>
                    <a:pt x="139193" y="129774"/>
                    <a:pt x="153573" y="129652"/>
                  </a:cubicBezTo>
                  <a:close/>
                  <a:moveTo>
                    <a:pt x="85981" y="129652"/>
                  </a:moveTo>
                  <a:cubicBezTo>
                    <a:pt x="100391" y="129731"/>
                    <a:pt x="112027" y="141460"/>
                    <a:pt x="111984" y="155870"/>
                  </a:cubicBezTo>
                  <a:cubicBezTo>
                    <a:pt x="112027" y="170293"/>
                    <a:pt x="100405" y="182044"/>
                    <a:pt x="85981" y="182159"/>
                  </a:cubicBezTo>
                  <a:cubicBezTo>
                    <a:pt x="71573" y="182044"/>
                    <a:pt x="59972" y="170279"/>
                    <a:pt x="60051" y="155870"/>
                  </a:cubicBezTo>
                  <a:cubicBezTo>
                    <a:pt x="60008" y="141482"/>
                    <a:pt x="71594" y="129774"/>
                    <a:pt x="85981" y="129652"/>
                  </a:cubicBezTo>
                  <a:close/>
                  <a:moveTo>
                    <a:pt x="277911" y="64717"/>
                  </a:moveTo>
                  <a:lnTo>
                    <a:pt x="287420" y="83716"/>
                  </a:lnTo>
                  <a:lnTo>
                    <a:pt x="295313" y="95609"/>
                  </a:lnTo>
                  <a:lnTo>
                    <a:pt x="296553" y="101966"/>
                  </a:lnTo>
                  <a:lnTo>
                    <a:pt x="299585" y="108023"/>
                  </a:lnTo>
                  <a:cubicBezTo>
                    <a:pt x="304504" y="123399"/>
                    <a:pt x="307059" y="139532"/>
                    <a:pt x="307073" y="155869"/>
                  </a:cubicBezTo>
                  <a:lnTo>
                    <a:pt x="307073" y="155870"/>
                  </a:lnTo>
                  <a:lnTo>
                    <a:pt x="307073" y="155870"/>
                  </a:lnTo>
                  <a:cubicBezTo>
                    <a:pt x="307214" y="177218"/>
                    <a:pt x="303027" y="197587"/>
                    <a:pt x="295334" y="216143"/>
                  </a:cubicBezTo>
                  <a:lnTo>
                    <a:pt x="295329" y="216151"/>
                  </a:lnTo>
                  <a:lnTo>
                    <a:pt x="295327" y="216161"/>
                  </a:lnTo>
                  <a:lnTo>
                    <a:pt x="282553" y="235405"/>
                  </a:lnTo>
                  <a:lnTo>
                    <a:pt x="262555" y="265544"/>
                  </a:lnTo>
                  <a:lnTo>
                    <a:pt x="262542" y="265553"/>
                  </a:lnTo>
                  <a:lnTo>
                    <a:pt x="262531" y="265571"/>
                  </a:lnTo>
                  <a:lnTo>
                    <a:pt x="239939" y="281054"/>
                  </a:lnTo>
                  <a:lnTo>
                    <a:pt x="213661" y="299076"/>
                  </a:lnTo>
                  <a:lnTo>
                    <a:pt x="213638" y="299081"/>
                  </a:lnTo>
                  <a:lnTo>
                    <a:pt x="213613" y="299098"/>
                  </a:lnTo>
                  <a:lnTo>
                    <a:pt x="188327" y="304416"/>
                  </a:lnTo>
                  <a:lnTo>
                    <a:pt x="153573" y="311741"/>
                  </a:lnTo>
                  <a:lnTo>
                    <a:pt x="153529" y="311735"/>
                  </a:lnTo>
                  <a:lnTo>
                    <a:pt x="153502" y="311740"/>
                  </a:lnTo>
                  <a:cubicBezTo>
                    <a:pt x="149623" y="311740"/>
                    <a:pt x="145673" y="311596"/>
                    <a:pt x="141865" y="311309"/>
                  </a:cubicBezTo>
                  <a:lnTo>
                    <a:pt x="141650" y="311309"/>
                  </a:lnTo>
                  <a:cubicBezTo>
                    <a:pt x="162667" y="323656"/>
                    <a:pt x="186594" y="330178"/>
                    <a:pt x="210965" y="330200"/>
                  </a:cubicBezTo>
                  <a:cubicBezTo>
                    <a:pt x="238678" y="330207"/>
                    <a:pt x="265743" y="321846"/>
                    <a:pt x="288613" y="306209"/>
                  </a:cubicBezTo>
                  <a:lnTo>
                    <a:pt x="290625" y="304772"/>
                  </a:lnTo>
                  <a:lnTo>
                    <a:pt x="331639" y="307502"/>
                  </a:lnTo>
                  <a:lnTo>
                    <a:pt x="323019" y="272592"/>
                  </a:lnTo>
                  <a:lnTo>
                    <a:pt x="324815" y="269935"/>
                  </a:lnTo>
                  <a:cubicBezTo>
                    <a:pt x="341365" y="246080"/>
                    <a:pt x="350214" y="217729"/>
                    <a:pt x="350171" y="188696"/>
                  </a:cubicBezTo>
                  <a:cubicBezTo>
                    <a:pt x="350107" y="137388"/>
                    <a:pt x="322524" y="90059"/>
                    <a:pt x="277911" y="64717"/>
                  </a:cubicBezTo>
                  <a:close/>
                  <a:moveTo>
                    <a:pt x="153501" y="14366"/>
                  </a:moveTo>
                  <a:cubicBezTo>
                    <a:pt x="76019" y="15077"/>
                    <a:pt x="13735" y="78388"/>
                    <a:pt x="14296" y="155870"/>
                  </a:cubicBezTo>
                  <a:cubicBezTo>
                    <a:pt x="14231" y="184904"/>
                    <a:pt x="23088" y="213262"/>
                    <a:pt x="39652" y="237109"/>
                  </a:cubicBezTo>
                  <a:lnTo>
                    <a:pt x="41447" y="239767"/>
                  </a:lnTo>
                  <a:lnTo>
                    <a:pt x="32828" y="274676"/>
                  </a:lnTo>
                  <a:lnTo>
                    <a:pt x="73914" y="271947"/>
                  </a:lnTo>
                  <a:lnTo>
                    <a:pt x="75926" y="273383"/>
                  </a:lnTo>
                  <a:lnTo>
                    <a:pt x="112506" y="291069"/>
                  </a:lnTo>
                  <a:lnTo>
                    <a:pt x="113477" y="291356"/>
                  </a:lnTo>
                  <a:lnTo>
                    <a:pt x="153311" y="297336"/>
                  </a:lnTo>
                  <a:lnTo>
                    <a:pt x="153574" y="297374"/>
                  </a:lnTo>
                  <a:cubicBezTo>
                    <a:pt x="192294" y="296979"/>
                    <a:pt x="227207" y="280963"/>
                    <a:pt x="252375" y="255365"/>
                  </a:cubicBezTo>
                  <a:lnTo>
                    <a:pt x="282076" y="210539"/>
                  </a:lnTo>
                  <a:lnTo>
                    <a:pt x="292707" y="155870"/>
                  </a:lnTo>
                  <a:lnTo>
                    <a:pt x="292691" y="155788"/>
                  </a:lnTo>
                  <a:lnTo>
                    <a:pt x="280886" y="99399"/>
                  </a:lnTo>
                  <a:lnTo>
                    <a:pt x="276780" y="93204"/>
                  </a:lnTo>
                  <a:lnTo>
                    <a:pt x="248971" y="54028"/>
                  </a:lnTo>
                  <a:lnTo>
                    <a:pt x="208007" y="25897"/>
                  </a:lnTo>
                  <a:cubicBezTo>
                    <a:pt x="191285" y="18648"/>
                    <a:pt x="172869" y="14553"/>
                    <a:pt x="153501" y="14366"/>
                  </a:cubicBezTo>
                  <a:close/>
                  <a:moveTo>
                    <a:pt x="153573" y="0"/>
                  </a:moveTo>
                  <a:cubicBezTo>
                    <a:pt x="174916" y="197"/>
                    <a:pt x="195213" y="4702"/>
                    <a:pt x="213646" y="12682"/>
                  </a:cubicBezTo>
                  <a:lnTo>
                    <a:pt x="250934" y="38260"/>
                  </a:lnTo>
                  <a:lnTo>
                    <a:pt x="253919" y="39146"/>
                  </a:lnTo>
                  <a:cubicBezTo>
                    <a:pt x="319673" y="59244"/>
                    <a:pt x="364566" y="119940"/>
                    <a:pt x="364537" y="188696"/>
                  </a:cubicBezTo>
                  <a:cubicBezTo>
                    <a:pt x="364595" y="219539"/>
                    <a:pt x="355523" y="249700"/>
                    <a:pt x="338463" y="275394"/>
                  </a:cubicBezTo>
                  <a:lnTo>
                    <a:pt x="350243" y="323088"/>
                  </a:lnTo>
                  <a:lnTo>
                    <a:pt x="294647" y="319425"/>
                  </a:lnTo>
                  <a:cubicBezTo>
                    <a:pt x="269830" y="335853"/>
                    <a:pt x="240724" y="344594"/>
                    <a:pt x="210965" y="344565"/>
                  </a:cubicBezTo>
                  <a:cubicBezTo>
                    <a:pt x="191816" y="344533"/>
                    <a:pt x="173025" y="340888"/>
                    <a:pt x="155515" y="333991"/>
                  </a:cubicBezTo>
                  <a:lnTo>
                    <a:pt x="110061" y="305368"/>
                  </a:lnTo>
                  <a:lnTo>
                    <a:pt x="109880" y="305341"/>
                  </a:lnTo>
                  <a:cubicBezTo>
                    <a:pt x="95781" y="301106"/>
                    <a:pt x="82300" y="294814"/>
                    <a:pt x="69892" y="286600"/>
                  </a:cubicBezTo>
                  <a:lnTo>
                    <a:pt x="14296" y="290263"/>
                  </a:lnTo>
                  <a:lnTo>
                    <a:pt x="26076" y="242569"/>
                  </a:lnTo>
                  <a:cubicBezTo>
                    <a:pt x="9016" y="216875"/>
                    <a:pt x="-56" y="186714"/>
                    <a:pt x="2" y="155870"/>
                  </a:cubicBezTo>
                  <a:cubicBezTo>
                    <a:pt x="-516" y="70465"/>
                    <a:pt x="68175" y="754"/>
                    <a:pt x="15357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09" name="gaoding-27-3">
              <a:extLst>
                <a:ext uri="{FF2B5EF4-FFF2-40B4-BE49-F238E27FC236}">
                  <a16:creationId xmlns:a16="http://schemas.microsoft.com/office/drawing/2014/main" id="{2BB75515-53E6-42F1-A12E-70B1DF6B6861}"/>
                </a:ext>
              </a:extLst>
            </p:cNvPr>
            <p:cNvSpPr/>
            <p:nvPr/>
          </p:nvSpPr>
          <p:spPr>
            <a:xfrm>
              <a:off x="1177316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10" name="gaoding-27-4">
              <a:extLst>
                <a:ext uri="{FF2B5EF4-FFF2-40B4-BE49-F238E27FC236}">
                  <a16:creationId xmlns:a16="http://schemas.microsoft.com/office/drawing/2014/main" id="{544CE484-C0E2-49F5-88BC-CEEB6397D2D8}"/>
                </a:ext>
              </a:extLst>
            </p:cNvPr>
            <p:cNvSpPr/>
            <p:nvPr/>
          </p:nvSpPr>
          <p:spPr>
            <a:xfrm>
              <a:off x="1233264" y="3515990"/>
              <a:ext cx="144806" cy="133742"/>
            </a:xfrm>
            <a:custGeom>
              <a:avLst/>
              <a:gdLst>
                <a:gd name="connsiteX0" fmla="*/ 179574 w 359148"/>
                <a:gd name="connsiteY0" fmla="*/ 228777 h 331709"/>
                <a:gd name="connsiteX1" fmla="*/ 32970 w 359148"/>
                <a:gd name="connsiteY1" fmla="*/ 317343 h 331709"/>
                <a:gd name="connsiteX2" fmla="*/ 326178 w 359148"/>
                <a:gd name="connsiteY2" fmla="*/ 317343 h 331709"/>
                <a:gd name="connsiteX3" fmla="*/ 344782 w 359148"/>
                <a:gd name="connsiteY3" fmla="*/ 128934 h 331709"/>
                <a:gd name="connsiteX4" fmla="*/ 193437 w 359148"/>
                <a:gd name="connsiteY4" fmla="*/ 220373 h 331709"/>
                <a:gd name="connsiteX5" fmla="*/ 344782 w 359148"/>
                <a:gd name="connsiteY5" fmla="*/ 311812 h 331709"/>
                <a:gd name="connsiteX6" fmla="*/ 14366 w 359148"/>
                <a:gd name="connsiteY6" fmla="*/ 128934 h 331709"/>
                <a:gd name="connsiteX7" fmla="*/ 14366 w 359148"/>
                <a:gd name="connsiteY7" fmla="*/ 311812 h 331709"/>
                <a:gd name="connsiteX8" fmla="*/ 165711 w 359148"/>
                <a:gd name="connsiteY8" fmla="*/ 220373 h 331709"/>
                <a:gd name="connsiteX9" fmla="*/ 92235 w 359148"/>
                <a:gd name="connsiteY9" fmla="*/ 109534 h 331709"/>
                <a:gd name="connsiteX10" fmla="*/ 264626 w 359148"/>
                <a:gd name="connsiteY10" fmla="*/ 109534 h 331709"/>
                <a:gd name="connsiteX11" fmla="*/ 264626 w 359148"/>
                <a:gd name="connsiteY11" fmla="*/ 123900 h 331709"/>
                <a:gd name="connsiteX12" fmla="*/ 92235 w 359148"/>
                <a:gd name="connsiteY12" fmla="*/ 123900 h 331709"/>
                <a:gd name="connsiteX13" fmla="*/ 178640 w 359148"/>
                <a:gd name="connsiteY13" fmla="*/ 16951 h 331709"/>
                <a:gd name="connsiteX14" fmla="*/ 20902 w 359148"/>
                <a:gd name="connsiteY14" fmla="*/ 115789 h 331709"/>
                <a:gd name="connsiteX15" fmla="*/ 179574 w 359148"/>
                <a:gd name="connsiteY15" fmla="*/ 211969 h 331709"/>
                <a:gd name="connsiteX16" fmla="*/ 338246 w 359148"/>
                <a:gd name="connsiteY16" fmla="*/ 116148 h 331709"/>
                <a:gd name="connsiteX17" fmla="*/ 178640 w 359148"/>
                <a:gd name="connsiteY17" fmla="*/ 0 h 331709"/>
                <a:gd name="connsiteX18" fmla="*/ 359148 w 359148"/>
                <a:gd name="connsiteY18" fmla="*/ 112198 h 331709"/>
                <a:gd name="connsiteX19" fmla="*/ 359148 w 359148"/>
                <a:gd name="connsiteY19" fmla="*/ 331709 h 331709"/>
                <a:gd name="connsiteX20" fmla="*/ 0 w 359148"/>
                <a:gd name="connsiteY20" fmla="*/ 331709 h 331709"/>
                <a:gd name="connsiteX21" fmla="*/ 0 w 359148"/>
                <a:gd name="connsiteY21" fmla="*/ 112269 h 33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9148" h="331709">
                  <a:moveTo>
                    <a:pt x="179574" y="228777"/>
                  </a:moveTo>
                  <a:lnTo>
                    <a:pt x="32970" y="317343"/>
                  </a:lnTo>
                  <a:lnTo>
                    <a:pt x="326178" y="317343"/>
                  </a:lnTo>
                  <a:close/>
                  <a:moveTo>
                    <a:pt x="344782" y="128934"/>
                  </a:moveTo>
                  <a:lnTo>
                    <a:pt x="193437" y="220373"/>
                  </a:lnTo>
                  <a:lnTo>
                    <a:pt x="344782" y="311812"/>
                  </a:lnTo>
                  <a:close/>
                  <a:moveTo>
                    <a:pt x="14366" y="128934"/>
                  </a:moveTo>
                  <a:lnTo>
                    <a:pt x="14366" y="311812"/>
                  </a:lnTo>
                  <a:lnTo>
                    <a:pt x="165711" y="220373"/>
                  </a:lnTo>
                  <a:close/>
                  <a:moveTo>
                    <a:pt x="92235" y="109534"/>
                  </a:moveTo>
                  <a:lnTo>
                    <a:pt x="264626" y="109534"/>
                  </a:lnTo>
                  <a:lnTo>
                    <a:pt x="264626" y="123900"/>
                  </a:lnTo>
                  <a:lnTo>
                    <a:pt x="92235" y="123900"/>
                  </a:lnTo>
                  <a:close/>
                  <a:moveTo>
                    <a:pt x="178640" y="16951"/>
                  </a:moveTo>
                  <a:lnTo>
                    <a:pt x="20902" y="115789"/>
                  </a:lnTo>
                  <a:lnTo>
                    <a:pt x="179574" y="211969"/>
                  </a:lnTo>
                  <a:lnTo>
                    <a:pt x="338246" y="116148"/>
                  </a:lnTo>
                  <a:close/>
                  <a:moveTo>
                    <a:pt x="178640" y="0"/>
                  </a:moveTo>
                  <a:lnTo>
                    <a:pt x="359148" y="112198"/>
                  </a:lnTo>
                  <a:lnTo>
                    <a:pt x="359148" y="331709"/>
                  </a:lnTo>
                  <a:lnTo>
                    <a:pt x="0" y="331709"/>
                  </a:lnTo>
                  <a:lnTo>
                    <a:pt x="0" y="11226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11" name="gaoding-27-5">
              <a:extLst>
                <a:ext uri="{FF2B5EF4-FFF2-40B4-BE49-F238E27FC236}">
                  <a16:creationId xmlns:a16="http://schemas.microsoft.com/office/drawing/2014/main" id="{89094706-1C68-49C5-8945-B36D7C2D4ED3}"/>
                </a:ext>
              </a:extLst>
            </p:cNvPr>
            <p:cNvSpPr/>
            <p:nvPr/>
          </p:nvSpPr>
          <p:spPr>
            <a:xfrm>
              <a:off x="1519612" y="3454509"/>
              <a:ext cx="256703" cy="256703"/>
            </a:xfrm>
            <a:prstGeom prst="ellipse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12" name="gaoding-27-6">
              <a:extLst>
                <a:ext uri="{FF2B5EF4-FFF2-40B4-BE49-F238E27FC236}">
                  <a16:creationId xmlns:a16="http://schemas.microsoft.com/office/drawing/2014/main" id="{85697F43-EB16-4F0E-B45F-1C1BA5E0E2D6}"/>
                </a:ext>
              </a:extLst>
            </p:cNvPr>
            <p:cNvSpPr/>
            <p:nvPr/>
          </p:nvSpPr>
          <p:spPr>
            <a:xfrm>
              <a:off x="1575560" y="3520594"/>
              <a:ext cx="144806" cy="124533"/>
            </a:xfrm>
            <a:custGeom>
              <a:avLst/>
              <a:gdLst>
                <a:gd name="connsiteX0" fmla="*/ 179574 w 359148"/>
                <a:gd name="connsiteY0" fmla="*/ 93378 h 308867"/>
                <a:gd name="connsiteX1" fmla="*/ 105878 w 359148"/>
                <a:gd name="connsiteY1" fmla="*/ 168799 h 308867"/>
                <a:gd name="connsiteX2" fmla="*/ 179574 w 359148"/>
                <a:gd name="connsiteY2" fmla="*/ 244220 h 308867"/>
                <a:gd name="connsiteX3" fmla="*/ 253344 w 359148"/>
                <a:gd name="connsiteY3" fmla="*/ 168799 h 308867"/>
                <a:gd name="connsiteX4" fmla="*/ 179574 w 359148"/>
                <a:gd name="connsiteY4" fmla="*/ 93378 h 308867"/>
                <a:gd name="connsiteX5" fmla="*/ 312537 w 359148"/>
                <a:gd name="connsiteY5" fmla="*/ 82454 h 308867"/>
                <a:gd name="connsiteX6" fmla="*/ 326903 w 359148"/>
                <a:gd name="connsiteY6" fmla="*/ 82454 h 308867"/>
                <a:gd name="connsiteX7" fmla="*/ 326903 w 359148"/>
                <a:gd name="connsiteY7" fmla="*/ 96820 h 308867"/>
                <a:gd name="connsiteX8" fmla="*/ 312537 w 359148"/>
                <a:gd name="connsiteY8" fmla="*/ 96820 h 308867"/>
                <a:gd name="connsiteX9" fmla="*/ 179574 w 359148"/>
                <a:gd name="connsiteY9" fmla="*/ 79012 h 308867"/>
                <a:gd name="connsiteX10" fmla="*/ 267710 w 359148"/>
                <a:gd name="connsiteY10" fmla="*/ 168799 h 308867"/>
                <a:gd name="connsiteX11" fmla="*/ 179574 w 359148"/>
                <a:gd name="connsiteY11" fmla="*/ 258586 h 308867"/>
                <a:gd name="connsiteX12" fmla="*/ 91512 w 359148"/>
                <a:gd name="connsiteY12" fmla="*/ 168799 h 308867"/>
                <a:gd name="connsiteX13" fmla="*/ 179574 w 359148"/>
                <a:gd name="connsiteY13" fmla="*/ 79012 h 308867"/>
                <a:gd name="connsiteX14" fmla="*/ 119596 w 359148"/>
                <a:gd name="connsiteY14" fmla="*/ 14366 h 308867"/>
                <a:gd name="connsiteX15" fmla="*/ 103434 w 359148"/>
                <a:gd name="connsiteY15" fmla="*/ 57463 h 308867"/>
                <a:gd name="connsiteX16" fmla="*/ 14007 w 359148"/>
                <a:gd name="connsiteY16" fmla="*/ 57463 h 308867"/>
                <a:gd name="connsiteX17" fmla="*/ 14007 w 359148"/>
                <a:gd name="connsiteY17" fmla="*/ 294501 h 308867"/>
                <a:gd name="connsiteX18" fmla="*/ 344423 w 359148"/>
                <a:gd name="connsiteY18" fmla="*/ 294501 h 308867"/>
                <a:gd name="connsiteX19" fmla="*/ 344423 w 359148"/>
                <a:gd name="connsiteY19" fmla="*/ 57463 h 308867"/>
                <a:gd name="connsiteX20" fmla="*/ 255067 w 359148"/>
                <a:gd name="connsiteY20" fmla="*/ 57463 h 308867"/>
                <a:gd name="connsiteX21" fmla="*/ 238905 w 359148"/>
                <a:gd name="connsiteY21" fmla="*/ 14366 h 308867"/>
                <a:gd name="connsiteX22" fmla="*/ 109971 w 359148"/>
                <a:gd name="connsiteY22" fmla="*/ 0 h 308867"/>
                <a:gd name="connsiteX23" fmla="*/ 249249 w 359148"/>
                <a:gd name="connsiteY23" fmla="*/ 0 h 308867"/>
                <a:gd name="connsiteX24" fmla="*/ 265411 w 359148"/>
                <a:gd name="connsiteY24" fmla="*/ 43097 h 308867"/>
                <a:gd name="connsiteX25" fmla="*/ 359148 w 359148"/>
                <a:gd name="connsiteY25" fmla="*/ 43097 h 308867"/>
                <a:gd name="connsiteX26" fmla="*/ 359148 w 359148"/>
                <a:gd name="connsiteY26" fmla="*/ 308867 h 308867"/>
                <a:gd name="connsiteX27" fmla="*/ 0 w 359148"/>
                <a:gd name="connsiteY27" fmla="*/ 308867 h 308867"/>
                <a:gd name="connsiteX28" fmla="*/ 0 w 359148"/>
                <a:gd name="connsiteY28" fmla="*/ 43097 h 308867"/>
                <a:gd name="connsiteX29" fmla="*/ 93810 w 359148"/>
                <a:gd name="connsiteY29" fmla="*/ 43097 h 308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9148" h="308867">
                  <a:moveTo>
                    <a:pt x="179574" y="93378"/>
                  </a:moveTo>
                  <a:cubicBezTo>
                    <a:pt x="138416" y="93888"/>
                    <a:pt x="105447" y="127633"/>
                    <a:pt x="105878" y="168799"/>
                  </a:cubicBezTo>
                  <a:cubicBezTo>
                    <a:pt x="105447" y="209964"/>
                    <a:pt x="138416" y="243710"/>
                    <a:pt x="179574" y="244220"/>
                  </a:cubicBezTo>
                  <a:cubicBezTo>
                    <a:pt x="220734" y="243710"/>
                    <a:pt x="253775" y="209971"/>
                    <a:pt x="253344" y="168799"/>
                  </a:cubicBezTo>
                  <a:cubicBezTo>
                    <a:pt x="253775" y="127626"/>
                    <a:pt x="220734" y="93888"/>
                    <a:pt x="179574" y="93378"/>
                  </a:cubicBezTo>
                  <a:close/>
                  <a:moveTo>
                    <a:pt x="312537" y="82454"/>
                  </a:moveTo>
                  <a:lnTo>
                    <a:pt x="326903" y="82454"/>
                  </a:lnTo>
                  <a:lnTo>
                    <a:pt x="326903" y="96820"/>
                  </a:lnTo>
                  <a:lnTo>
                    <a:pt x="312537" y="96820"/>
                  </a:lnTo>
                  <a:close/>
                  <a:moveTo>
                    <a:pt x="179574" y="79012"/>
                  </a:moveTo>
                  <a:cubicBezTo>
                    <a:pt x="228707" y="79522"/>
                    <a:pt x="268141" y="119689"/>
                    <a:pt x="267710" y="168799"/>
                  </a:cubicBezTo>
                  <a:cubicBezTo>
                    <a:pt x="268141" y="217909"/>
                    <a:pt x="228707" y="258076"/>
                    <a:pt x="179574" y="258586"/>
                  </a:cubicBezTo>
                  <a:cubicBezTo>
                    <a:pt x="130515" y="258033"/>
                    <a:pt x="91081" y="217880"/>
                    <a:pt x="91512" y="168799"/>
                  </a:cubicBezTo>
                  <a:cubicBezTo>
                    <a:pt x="91081" y="119718"/>
                    <a:pt x="130515" y="79565"/>
                    <a:pt x="179574" y="79012"/>
                  </a:cubicBezTo>
                  <a:close/>
                  <a:moveTo>
                    <a:pt x="119596" y="14366"/>
                  </a:moveTo>
                  <a:lnTo>
                    <a:pt x="103434" y="57463"/>
                  </a:lnTo>
                  <a:lnTo>
                    <a:pt x="14007" y="57463"/>
                  </a:lnTo>
                  <a:lnTo>
                    <a:pt x="14007" y="294501"/>
                  </a:lnTo>
                  <a:lnTo>
                    <a:pt x="344423" y="294501"/>
                  </a:lnTo>
                  <a:lnTo>
                    <a:pt x="344423" y="57463"/>
                  </a:lnTo>
                  <a:lnTo>
                    <a:pt x="255067" y="57463"/>
                  </a:lnTo>
                  <a:lnTo>
                    <a:pt x="238905" y="14366"/>
                  </a:lnTo>
                  <a:close/>
                  <a:moveTo>
                    <a:pt x="109971" y="0"/>
                  </a:moveTo>
                  <a:lnTo>
                    <a:pt x="249249" y="0"/>
                  </a:lnTo>
                  <a:lnTo>
                    <a:pt x="265411" y="43097"/>
                  </a:lnTo>
                  <a:lnTo>
                    <a:pt x="359148" y="43097"/>
                  </a:lnTo>
                  <a:lnTo>
                    <a:pt x="359148" y="308867"/>
                  </a:lnTo>
                  <a:lnTo>
                    <a:pt x="0" y="308867"/>
                  </a:lnTo>
                  <a:lnTo>
                    <a:pt x="0" y="43097"/>
                  </a:lnTo>
                  <a:lnTo>
                    <a:pt x="93810" y="4309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ea"/>
                <a:sym typeface="+mn-lt"/>
              </a:endParaRPr>
            </a:p>
          </p:txBody>
        </p:sp>
      </p:grpSp>
      <p:sp>
        <p:nvSpPr>
          <p:cNvPr id="113" name="gaoding-28">
            <a:extLst>
              <a:ext uri="{FF2B5EF4-FFF2-40B4-BE49-F238E27FC236}">
                <a16:creationId xmlns:a16="http://schemas.microsoft.com/office/drawing/2014/main" id="{007698F9-D35F-49F4-A6E8-59B62A1BE503}"/>
              </a:ext>
            </a:extLst>
          </p:cNvPr>
          <p:cNvSpPr>
            <a:spLocks noChangeAspect="1"/>
          </p:cNvSpPr>
          <p:nvPr/>
        </p:nvSpPr>
        <p:spPr>
          <a:xfrm rot="10800000" flipH="1">
            <a:off x="9652656" y="-621928"/>
            <a:ext cx="3633445" cy="1599457"/>
          </a:xfrm>
          <a:custGeom>
            <a:avLst/>
            <a:gdLst>
              <a:gd name="connsiteX0" fmla="*/ 27341 w 4518776"/>
              <a:gd name="connsiteY0" fmla="*/ 1934501 h 1989183"/>
              <a:gd name="connsiteX1" fmla="*/ 0 w 4518776"/>
              <a:gd name="connsiteY1" fmla="*/ 1961842 h 1989183"/>
              <a:gd name="connsiteX2" fmla="*/ 27341 w 4518776"/>
              <a:gd name="connsiteY2" fmla="*/ 1989183 h 1989183"/>
              <a:gd name="connsiteX3" fmla="*/ 54682 w 4518776"/>
              <a:gd name="connsiteY3" fmla="*/ 1961842 h 1989183"/>
              <a:gd name="connsiteX4" fmla="*/ 27341 w 4518776"/>
              <a:gd name="connsiteY4" fmla="*/ 1934501 h 1989183"/>
              <a:gd name="connsiteX5" fmla="*/ 262293 w 4518776"/>
              <a:gd name="connsiteY5" fmla="*/ 1934501 h 1989183"/>
              <a:gd name="connsiteX6" fmla="*/ 234952 w 4518776"/>
              <a:gd name="connsiteY6" fmla="*/ 1961842 h 1989183"/>
              <a:gd name="connsiteX7" fmla="*/ 262293 w 4518776"/>
              <a:gd name="connsiteY7" fmla="*/ 1989183 h 1989183"/>
              <a:gd name="connsiteX8" fmla="*/ 289634 w 4518776"/>
              <a:gd name="connsiteY8" fmla="*/ 1961842 h 1989183"/>
              <a:gd name="connsiteX9" fmla="*/ 262293 w 4518776"/>
              <a:gd name="connsiteY9" fmla="*/ 1934501 h 1989183"/>
              <a:gd name="connsiteX10" fmla="*/ 497246 w 4518776"/>
              <a:gd name="connsiteY10" fmla="*/ 1934501 h 1989183"/>
              <a:gd name="connsiteX11" fmla="*/ 469905 w 4518776"/>
              <a:gd name="connsiteY11" fmla="*/ 1961842 h 1989183"/>
              <a:gd name="connsiteX12" fmla="*/ 497246 w 4518776"/>
              <a:gd name="connsiteY12" fmla="*/ 1989183 h 1989183"/>
              <a:gd name="connsiteX13" fmla="*/ 524587 w 4518776"/>
              <a:gd name="connsiteY13" fmla="*/ 1961842 h 1989183"/>
              <a:gd name="connsiteX14" fmla="*/ 497246 w 4518776"/>
              <a:gd name="connsiteY14" fmla="*/ 1934501 h 1989183"/>
              <a:gd name="connsiteX15" fmla="*/ 732198 w 4518776"/>
              <a:gd name="connsiteY15" fmla="*/ 1934501 h 1989183"/>
              <a:gd name="connsiteX16" fmla="*/ 704857 w 4518776"/>
              <a:gd name="connsiteY16" fmla="*/ 1961842 h 1989183"/>
              <a:gd name="connsiteX17" fmla="*/ 732198 w 4518776"/>
              <a:gd name="connsiteY17" fmla="*/ 1989183 h 1989183"/>
              <a:gd name="connsiteX18" fmla="*/ 759539 w 4518776"/>
              <a:gd name="connsiteY18" fmla="*/ 1961842 h 1989183"/>
              <a:gd name="connsiteX19" fmla="*/ 732198 w 4518776"/>
              <a:gd name="connsiteY19" fmla="*/ 1934501 h 1989183"/>
              <a:gd name="connsiteX20" fmla="*/ 967150 w 4518776"/>
              <a:gd name="connsiteY20" fmla="*/ 1934501 h 1989183"/>
              <a:gd name="connsiteX21" fmla="*/ 939809 w 4518776"/>
              <a:gd name="connsiteY21" fmla="*/ 1961842 h 1989183"/>
              <a:gd name="connsiteX22" fmla="*/ 967150 w 4518776"/>
              <a:gd name="connsiteY22" fmla="*/ 1989183 h 1989183"/>
              <a:gd name="connsiteX23" fmla="*/ 994491 w 4518776"/>
              <a:gd name="connsiteY23" fmla="*/ 1961842 h 1989183"/>
              <a:gd name="connsiteX24" fmla="*/ 967150 w 4518776"/>
              <a:gd name="connsiteY24" fmla="*/ 1934501 h 1989183"/>
              <a:gd name="connsiteX25" fmla="*/ 1202103 w 4518776"/>
              <a:gd name="connsiteY25" fmla="*/ 1934501 h 1989183"/>
              <a:gd name="connsiteX26" fmla="*/ 1174762 w 4518776"/>
              <a:gd name="connsiteY26" fmla="*/ 1961842 h 1989183"/>
              <a:gd name="connsiteX27" fmla="*/ 1202103 w 4518776"/>
              <a:gd name="connsiteY27" fmla="*/ 1989183 h 1989183"/>
              <a:gd name="connsiteX28" fmla="*/ 1229444 w 4518776"/>
              <a:gd name="connsiteY28" fmla="*/ 1961842 h 1989183"/>
              <a:gd name="connsiteX29" fmla="*/ 1202103 w 4518776"/>
              <a:gd name="connsiteY29" fmla="*/ 1934501 h 1989183"/>
              <a:gd name="connsiteX30" fmla="*/ 1437055 w 4518776"/>
              <a:gd name="connsiteY30" fmla="*/ 1934501 h 1989183"/>
              <a:gd name="connsiteX31" fmla="*/ 1409714 w 4518776"/>
              <a:gd name="connsiteY31" fmla="*/ 1961842 h 1989183"/>
              <a:gd name="connsiteX32" fmla="*/ 1437055 w 4518776"/>
              <a:gd name="connsiteY32" fmla="*/ 1989183 h 1989183"/>
              <a:gd name="connsiteX33" fmla="*/ 1464396 w 4518776"/>
              <a:gd name="connsiteY33" fmla="*/ 1961842 h 1989183"/>
              <a:gd name="connsiteX34" fmla="*/ 1437055 w 4518776"/>
              <a:gd name="connsiteY34" fmla="*/ 1934501 h 1989183"/>
              <a:gd name="connsiteX35" fmla="*/ 1672007 w 4518776"/>
              <a:gd name="connsiteY35" fmla="*/ 1934501 h 1989183"/>
              <a:gd name="connsiteX36" fmla="*/ 1644666 w 4518776"/>
              <a:gd name="connsiteY36" fmla="*/ 1961842 h 1989183"/>
              <a:gd name="connsiteX37" fmla="*/ 1672007 w 4518776"/>
              <a:gd name="connsiteY37" fmla="*/ 1989183 h 1989183"/>
              <a:gd name="connsiteX38" fmla="*/ 1699348 w 4518776"/>
              <a:gd name="connsiteY38" fmla="*/ 1961842 h 1989183"/>
              <a:gd name="connsiteX39" fmla="*/ 1672007 w 4518776"/>
              <a:gd name="connsiteY39" fmla="*/ 1934501 h 1989183"/>
              <a:gd name="connsiteX40" fmla="*/ 1906960 w 4518776"/>
              <a:gd name="connsiteY40" fmla="*/ 1934501 h 1989183"/>
              <a:gd name="connsiteX41" fmla="*/ 1879619 w 4518776"/>
              <a:gd name="connsiteY41" fmla="*/ 1961842 h 1989183"/>
              <a:gd name="connsiteX42" fmla="*/ 1906960 w 4518776"/>
              <a:gd name="connsiteY42" fmla="*/ 1989183 h 1989183"/>
              <a:gd name="connsiteX43" fmla="*/ 1934301 w 4518776"/>
              <a:gd name="connsiteY43" fmla="*/ 1961842 h 1989183"/>
              <a:gd name="connsiteX44" fmla="*/ 1906960 w 4518776"/>
              <a:gd name="connsiteY44" fmla="*/ 1934501 h 1989183"/>
              <a:gd name="connsiteX45" fmla="*/ 2141912 w 4518776"/>
              <a:gd name="connsiteY45" fmla="*/ 1934501 h 1989183"/>
              <a:gd name="connsiteX46" fmla="*/ 2114571 w 4518776"/>
              <a:gd name="connsiteY46" fmla="*/ 1961842 h 1989183"/>
              <a:gd name="connsiteX47" fmla="*/ 2141912 w 4518776"/>
              <a:gd name="connsiteY47" fmla="*/ 1989183 h 1989183"/>
              <a:gd name="connsiteX48" fmla="*/ 2169253 w 4518776"/>
              <a:gd name="connsiteY48" fmla="*/ 1961842 h 1989183"/>
              <a:gd name="connsiteX49" fmla="*/ 2141912 w 4518776"/>
              <a:gd name="connsiteY49" fmla="*/ 1934501 h 1989183"/>
              <a:gd name="connsiteX50" fmla="*/ 2376864 w 4518776"/>
              <a:gd name="connsiteY50" fmla="*/ 1934501 h 1989183"/>
              <a:gd name="connsiteX51" fmla="*/ 2349523 w 4518776"/>
              <a:gd name="connsiteY51" fmla="*/ 1961842 h 1989183"/>
              <a:gd name="connsiteX52" fmla="*/ 2376864 w 4518776"/>
              <a:gd name="connsiteY52" fmla="*/ 1989183 h 1989183"/>
              <a:gd name="connsiteX53" fmla="*/ 2404205 w 4518776"/>
              <a:gd name="connsiteY53" fmla="*/ 1961842 h 1989183"/>
              <a:gd name="connsiteX54" fmla="*/ 2376864 w 4518776"/>
              <a:gd name="connsiteY54" fmla="*/ 1934501 h 1989183"/>
              <a:gd name="connsiteX55" fmla="*/ 2611817 w 4518776"/>
              <a:gd name="connsiteY55" fmla="*/ 1934501 h 1989183"/>
              <a:gd name="connsiteX56" fmla="*/ 2584476 w 4518776"/>
              <a:gd name="connsiteY56" fmla="*/ 1961842 h 1989183"/>
              <a:gd name="connsiteX57" fmla="*/ 2611817 w 4518776"/>
              <a:gd name="connsiteY57" fmla="*/ 1989183 h 1989183"/>
              <a:gd name="connsiteX58" fmla="*/ 2639158 w 4518776"/>
              <a:gd name="connsiteY58" fmla="*/ 1961842 h 1989183"/>
              <a:gd name="connsiteX59" fmla="*/ 2611817 w 4518776"/>
              <a:gd name="connsiteY59" fmla="*/ 1934501 h 1989183"/>
              <a:gd name="connsiteX60" fmla="*/ 2846769 w 4518776"/>
              <a:gd name="connsiteY60" fmla="*/ 1934501 h 1989183"/>
              <a:gd name="connsiteX61" fmla="*/ 2819428 w 4518776"/>
              <a:gd name="connsiteY61" fmla="*/ 1961842 h 1989183"/>
              <a:gd name="connsiteX62" fmla="*/ 2846769 w 4518776"/>
              <a:gd name="connsiteY62" fmla="*/ 1989183 h 1989183"/>
              <a:gd name="connsiteX63" fmla="*/ 2874110 w 4518776"/>
              <a:gd name="connsiteY63" fmla="*/ 1961842 h 1989183"/>
              <a:gd name="connsiteX64" fmla="*/ 2846769 w 4518776"/>
              <a:gd name="connsiteY64" fmla="*/ 1934501 h 1989183"/>
              <a:gd name="connsiteX65" fmla="*/ 3081721 w 4518776"/>
              <a:gd name="connsiteY65" fmla="*/ 1934501 h 1989183"/>
              <a:gd name="connsiteX66" fmla="*/ 3054380 w 4518776"/>
              <a:gd name="connsiteY66" fmla="*/ 1961842 h 1989183"/>
              <a:gd name="connsiteX67" fmla="*/ 3081721 w 4518776"/>
              <a:gd name="connsiteY67" fmla="*/ 1989183 h 1989183"/>
              <a:gd name="connsiteX68" fmla="*/ 3109062 w 4518776"/>
              <a:gd name="connsiteY68" fmla="*/ 1961842 h 1989183"/>
              <a:gd name="connsiteX69" fmla="*/ 3081721 w 4518776"/>
              <a:gd name="connsiteY69" fmla="*/ 1934501 h 1989183"/>
              <a:gd name="connsiteX70" fmla="*/ 3316674 w 4518776"/>
              <a:gd name="connsiteY70" fmla="*/ 1934501 h 1989183"/>
              <a:gd name="connsiteX71" fmla="*/ 3289333 w 4518776"/>
              <a:gd name="connsiteY71" fmla="*/ 1961842 h 1989183"/>
              <a:gd name="connsiteX72" fmla="*/ 3316674 w 4518776"/>
              <a:gd name="connsiteY72" fmla="*/ 1989183 h 1989183"/>
              <a:gd name="connsiteX73" fmla="*/ 3344015 w 4518776"/>
              <a:gd name="connsiteY73" fmla="*/ 1961842 h 1989183"/>
              <a:gd name="connsiteX74" fmla="*/ 3316674 w 4518776"/>
              <a:gd name="connsiteY74" fmla="*/ 1934501 h 1989183"/>
              <a:gd name="connsiteX75" fmla="*/ 3551626 w 4518776"/>
              <a:gd name="connsiteY75" fmla="*/ 1934501 h 1989183"/>
              <a:gd name="connsiteX76" fmla="*/ 3524285 w 4518776"/>
              <a:gd name="connsiteY76" fmla="*/ 1961842 h 1989183"/>
              <a:gd name="connsiteX77" fmla="*/ 3551626 w 4518776"/>
              <a:gd name="connsiteY77" fmla="*/ 1989183 h 1989183"/>
              <a:gd name="connsiteX78" fmla="*/ 3578967 w 4518776"/>
              <a:gd name="connsiteY78" fmla="*/ 1961842 h 1989183"/>
              <a:gd name="connsiteX79" fmla="*/ 3551626 w 4518776"/>
              <a:gd name="connsiteY79" fmla="*/ 1934501 h 1989183"/>
              <a:gd name="connsiteX80" fmla="*/ 3786578 w 4518776"/>
              <a:gd name="connsiteY80" fmla="*/ 1934501 h 1989183"/>
              <a:gd name="connsiteX81" fmla="*/ 3759237 w 4518776"/>
              <a:gd name="connsiteY81" fmla="*/ 1961842 h 1989183"/>
              <a:gd name="connsiteX82" fmla="*/ 3786578 w 4518776"/>
              <a:gd name="connsiteY82" fmla="*/ 1989183 h 1989183"/>
              <a:gd name="connsiteX83" fmla="*/ 3813919 w 4518776"/>
              <a:gd name="connsiteY83" fmla="*/ 1961842 h 1989183"/>
              <a:gd name="connsiteX84" fmla="*/ 3786578 w 4518776"/>
              <a:gd name="connsiteY84" fmla="*/ 1934501 h 1989183"/>
              <a:gd name="connsiteX85" fmla="*/ 4021530 w 4518776"/>
              <a:gd name="connsiteY85" fmla="*/ 1934501 h 1989183"/>
              <a:gd name="connsiteX86" fmla="*/ 3994189 w 4518776"/>
              <a:gd name="connsiteY86" fmla="*/ 1961842 h 1989183"/>
              <a:gd name="connsiteX87" fmla="*/ 4021530 w 4518776"/>
              <a:gd name="connsiteY87" fmla="*/ 1989183 h 1989183"/>
              <a:gd name="connsiteX88" fmla="*/ 4048871 w 4518776"/>
              <a:gd name="connsiteY88" fmla="*/ 1961842 h 1989183"/>
              <a:gd name="connsiteX89" fmla="*/ 4021530 w 4518776"/>
              <a:gd name="connsiteY89" fmla="*/ 1934501 h 1989183"/>
              <a:gd name="connsiteX90" fmla="*/ 4256483 w 4518776"/>
              <a:gd name="connsiteY90" fmla="*/ 1934501 h 1989183"/>
              <a:gd name="connsiteX91" fmla="*/ 4229142 w 4518776"/>
              <a:gd name="connsiteY91" fmla="*/ 1961842 h 1989183"/>
              <a:gd name="connsiteX92" fmla="*/ 4256483 w 4518776"/>
              <a:gd name="connsiteY92" fmla="*/ 1989183 h 1989183"/>
              <a:gd name="connsiteX93" fmla="*/ 4283824 w 4518776"/>
              <a:gd name="connsiteY93" fmla="*/ 1961842 h 1989183"/>
              <a:gd name="connsiteX94" fmla="*/ 4256483 w 4518776"/>
              <a:gd name="connsiteY94" fmla="*/ 1934501 h 1989183"/>
              <a:gd name="connsiteX95" fmla="*/ 4491435 w 4518776"/>
              <a:gd name="connsiteY95" fmla="*/ 1934501 h 1989183"/>
              <a:gd name="connsiteX96" fmla="*/ 4464094 w 4518776"/>
              <a:gd name="connsiteY96" fmla="*/ 1961842 h 1989183"/>
              <a:gd name="connsiteX97" fmla="*/ 4491435 w 4518776"/>
              <a:gd name="connsiteY97" fmla="*/ 1989183 h 1989183"/>
              <a:gd name="connsiteX98" fmla="*/ 4518776 w 4518776"/>
              <a:gd name="connsiteY98" fmla="*/ 1961842 h 1989183"/>
              <a:gd name="connsiteX99" fmla="*/ 4491435 w 4518776"/>
              <a:gd name="connsiteY99" fmla="*/ 1934501 h 1989183"/>
              <a:gd name="connsiteX100" fmla="*/ 27341 w 4518776"/>
              <a:gd name="connsiteY100" fmla="*/ 1758637 h 1989183"/>
              <a:gd name="connsiteX101" fmla="*/ 0 w 4518776"/>
              <a:gd name="connsiteY101" fmla="*/ 1785978 h 1989183"/>
              <a:gd name="connsiteX102" fmla="*/ 27341 w 4518776"/>
              <a:gd name="connsiteY102" fmla="*/ 1813319 h 1989183"/>
              <a:gd name="connsiteX103" fmla="*/ 54682 w 4518776"/>
              <a:gd name="connsiteY103" fmla="*/ 1785978 h 1989183"/>
              <a:gd name="connsiteX104" fmla="*/ 27341 w 4518776"/>
              <a:gd name="connsiteY104" fmla="*/ 1758637 h 1989183"/>
              <a:gd name="connsiteX105" fmla="*/ 262293 w 4518776"/>
              <a:gd name="connsiteY105" fmla="*/ 1758637 h 1989183"/>
              <a:gd name="connsiteX106" fmla="*/ 234952 w 4518776"/>
              <a:gd name="connsiteY106" fmla="*/ 1785978 h 1989183"/>
              <a:gd name="connsiteX107" fmla="*/ 262293 w 4518776"/>
              <a:gd name="connsiteY107" fmla="*/ 1813319 h 1989183"/>
              <a:gd name="connsiteX108" fmla="*/ 289634 w 4518776"/>
              <a:gd name="connsiteY108" fmla="*/ 1785978 h 1989183"/>
              <a:gd name="connsiteX109" fmla="*/ 262293 w 4518776"/>
              <a:gd name="connsiteY109" fmla="*/ 1758637 h 1989183"/>
              <a:gd name="connsiteX110" fmla="*/ 497246 w 4518776"/>
              <a:gd name="connsiteY110" fmla="*/ 1758637 h 1989183"/>
              <a:gd name="connsiteX111" fmla="*/ 469905 w 4518776"/>
              <a:gd name="connsiteY111" fmla="*/ 1785978 h 1989183"/>
              <a:gd name="connsiteX112" fmla="*/ 497246 w 4518776"/>
              <a:gd name="connsiteY112" fmla="*/ 1813319 h 1989183"/>
              <a:gd name="connsiteX113" fmla="*/ 524587 w 4518776"/>
              <a:gd name="connsiteY113" fmla="*/ 1785978 h 1989183"/>
              <a:gd name="connsiteX114" fmla="*/ 497246 w 4518776"/>
              <a:gd name="connsiteY114" fmla="*/ 1758637 h 1989183"/>
              <a:gd name="connsiteX115" fmla="*/ 732198 w 4518776"/>
              <a:gd name="connsiteY115" fmla="*/ 1758637 h 1989183"/>
              <a:gd name="connsiteX116" fmla="*/ 704857 w 4518776"/>
              <a:gd name="connsiteY116" fmla="*/ 1785978 h 1989183"/>
              <a:gd name="connsiteX117" fmla="*/ 732198 w 4518776"/>
              <a:gd name="connsiteY117" fmla="*/ 1813319 h 1989183"/>
              <a:gd name="connsiteX118" fmla="*/ 759539 w 4518776"/>
              <a:gd name="connsiteY118" fmla="*/ 1785978 h 1989183"/>
              <a:gd name="connsiteX119" fmla="*/ 732198 w 4518776"/>
              <a:gd name="connsiteY119" fmla="*/ 1758637 h 1989183"/>
              <a:gd name="connsiteX120" fmla="*/ 967150 w 4518776"/>
              <a:gd name="connsiteY120" fmla="*/ 1758637 h 1989183"/>
              <a:gd name="connsiteX121" fmla="*/ 939809 w 4518776"/>
              <a:gd name="connsiteY121" fmla="*/ 1785978 h 1989183"/>
              <a:gd name="connsiteX122" fmla="*/ 967150 w 4518776"/>
              <a:gd name="connsiteY122" fmla="*/ 1813319 h 1989183"/>
              <a:gd name="connsiteX123" fmla="*/ 994491 w 4518776"/>
              <a:gd name="connsiteY123" fmla="*/ 1785978 h 1989183"/>
              <a:gd name="connsiteX124" fmla="*/ 967150 w 4518776"/>
              <a:gd name="connsiteY124" fmla="*/ 1758637 h 1989183"/>
              <a:gd name="connsiteX125" fmla="*/ 1202103 w 4518776"/>
              <a:gd name="connsiteY125" fmla="*/ 1758637 h 1989183"/>
              <a:gd name="connsiteX126" fmla="*/ 1174762 w 4518776"/>
              <a:gd name="connsiteY126" fmla="*/ 1785978 h 1989183"/>
              <a:gd name="connsiteX127" fmla="*/ 1202103 w 4518776"/>
              <a:gd name="connsiteY127" fmla="*/ 1813319 h 1989183"/>
              <a:gd name="connsiteX128" fmla="*/ 1229444 w 4518776"/>
              <a:gd name="connsiteY128" fmla="*/ 1785978 h 1989183"/>
              <a:gd name="connsiteX129" fmla="*/ 1202103 w 4518776"/>
              <a:gd name="connsiteY129" fmla="*/ 1758637 h 1989183"/>
              <a:gd name="connsiteX130" fmla="*/ 1437055 w 4518776"/>
              <a:gd name="connsiteY130" fmla="*/ 1758637 h 1989183"/>
              <a:gd name="connsiteX131" fmla="*/ 1409714 w 4518776"/>
              <a:gd name="connsiteY131" fmla="*/ 1785978 h 1989183"/>
              <a:gd name="connsiteX132" fmla="*/ 1437055 w 4518776"/>
              <a:gd name="connsiteY132" fmla="*/ 1813319 h 1989183"/>
              <a:gd name="connsiteX133" fmla="*/ 1464396 w 4518776"/>
              <a:gd name="connsiteY133" fmla="*/ 1785978 h 1989183"/>
              <a:gd name="connsiteX134" fmla="*/ 1437055 w 4518776"/>
              <a:gd name="connsiteY134" fmla="*/ 1758637 h 1989183"/>
              <a:gd name="connsiteX135" fmla="*/ 1672007 w 4518776"/>
              <a:gd name="connsiteY135" fmla="*/ 1758637 h 1989183"/>
              <a:gd name="connsiteX136" fmla="*/ 1644666 w 4518776"/>
              <a:gd name="connsiteY136" fmla="*/ 1785978 h 1989183"/>
              <a:gd name="connsiteX137" fmla="*/ 1672007 w 4518776"/>
              <a:gd name="connsiteY137" fmla="*/ 1813319 h 1989183"/>
              <a:gd name="connsiteX138" fmla="*/ 1699348 w 4518776"/>
              <a:gd name="connsiteY138" fmla="*/ 1785978 h 1989183"/>
              <a:gd name="connsiteX139" fmla="*/ 1672007 w 4518776"/>
              <a:gd name="connsiteY139" fmla="*/ 1758637 h 1989183"/>
              <a:gd name="connsiteX140" fmla="*/ 1906960 w 4518776"/>
              <a:gd name="connsiteY140" fmla="*/ 1758637 h 1989183"/>
              <a:gd name="connsiteX141" fmla="*/ 1879619 w 4518776"/>
              <a:gd name="connsiteY141" fmla="*/ 1785978 h 1989183"/>
              <a:gd name="connsiteX142" fmla="*/ 1906960 w 4518776"/>
              <a:gd name="connsiteY142" fmla="*/ 1813319 h 1989183"/>
              <a:gd name="connsiteX143" fmla="*/ 1934301 w 4518776"/>
              <a:gd name="connsiteY143" fmla="*/ 1785978 h 1989183"/>
              <a:gd name="connsiteX144" fmla="*/ 1906960 w 4518776"/>
              <a:gd name="connsiteY144" fmla="*/ 1758637 h 1989183"/>
              <a:gd name="connsiteX145" fmla="*/ 2141912 w 4518776"/>
              <a:gd name="connsiteY145" fmla="*/ 1758637 h 1989183"/>
              <a:gd name="connsiteX146" fmla="*/ 2114571 w 4518776"/>
              <a:gd name="connsiteY146" fmla="*/ 1785978 h 1989183"/>
              <a:gd name="connsiteX147" fmla="*/ 2141912 w 4518776"/>
              <a:gd name="connsiteY147" fmla="*/ 1813319 h 1989183"/>
              <a:gd name="connsiteX148" fmla="*/ 2169253 w 4518776"/>
              <a:gd name="connsiteY148" fmla="*/ 1785978 h 1989183"/>
              <a:gd name="connsiteX149" fmla="*/ 2141912 w 4518776"/>
              <a:gd name="connsiteY149" fmla="*/ 1758637 h 1989183"/>
              <a:gd name="connsiteX150" fmla="*/ 2376864 w 4518776"/>
              <a:gd name="connsiteY150" fmla="*/ 1758637 h 1989183"/>
              <a:gd name="connsiteX151" fmla="*/ 2349523 w 4518776"/>
              <a:gd name="connsiteY151" fmla="*/ 1785978 h 1989183"/>
              <a:gd name="connsiteX152" fmla="*/ 2376864 w 4518776"/>
              <a:gd name="connsiteY152" fmla="*/ 1813319 h 1989183"/>
              <a:gd name="connsiteX153" fmla="*/ 2404205 w 4518776"/>
              <a:gd name="connsiteY153" fmla="*/ 1785978 h 1989183"/>
              <a:gd name="connsiteX154" fmla="*/ 2376864 w 4518776"/>
              <a:gd name="connsiteY154" fmla="*/ 1758637 h 1989183"/>
              <a:gd name="connsiteX155" fmla="*/ 2611817 w 4518776"/>
              <a:gd name="connsiteY155" fmla="*/ 1758637 h 1989183"/>
              <a:gd name="connsiteX156" fmla="*/ 2584476 w 4518776"/>
              <a:gd name="connsiteY156" fmla="*/ 1785978 h 1989183"/>
              <a:gd name="connsiteX157" fmla="*/ 2611817 w 4518776"/>
              <a:gd name="connsiteY157" fmla="*/ 1813319 h 1989183"/>
              <a:gd name="connsiteX158" fmla="*/ 2639158 w 4518776"/>
              <a:gd name="connsiteY158" fmla="*/ 1785978 h 1989183"/>
              <a:gd name="connsiteX159" fmla="*/ 2611817 w 4518776"/>
              <a:gd name="connsiteY159" fmla="*/ 1758637 h 1989183"/>
              <a:gd name="connsiteX160" fmla="*/ 2846769 w 4518776"/>
              <a:gd name="connsiteY160" fmla="*/ 1758637 h 1989183"/>
              <a:gd name="connsiteX161" fmla="*/ 2819428 w 4518776"/>
              <a:gd name="connsiteY161" fmla="*/ 1785978 h 1989183"/>
              <a:gd name="connsiteX162" fmla="*/ 2846769 w 4518776"/>
              <a:gd name="connsiteY162" fmla="*/ 1813319 h 1989183"/>
              <a:gd name="connsiteX163" fmla="*/ 2874110 w 4518776"/>
              <a:gd name="connsiteY163" fmla="*/ 1785978 h 1989183"/>
              <a:gd name="connsiteX164" fmla="*/ 2846769 w 4518776"/>
              <a:gd name="connsiteY164" fmla="*/ 1758637 h 1989183"/>
              <a:gd name="connsiteX165" fmla="*/ 3081721 w 4518776"/>
              <a:gd name="connsiteY165" fmla="*/ 1758637 h 1989183"/>
              <a:gd name="connsiteX166" fmla="*/ 3054380 w 4518776"/>
              <a:gd name="connsiteY166" fmla="*/ 1785978 h 1989183"/>
              <a:gd name="connsiteX167" fmla="*/ 3081721 w 4518776"/>
              <a:gd name="connsiteY167" fmla="*/ 1813319 h 1989183"/>
              <a:gd name="connsiteX168" fmla="*/ 3109062 w 4518776"/>
              <a:gd name="connsiteY168" fmla="*/ 1785978 h 1989183"/>
              <a:gd name="connsiteX169" fmla="*/ 3081721 w 4518776"/>
              <a:gd name="connsiteY169" fmla="*/ 1758637 h 1989183"/>
              <a:gd name="connsiteX170" fmla="*/ 3316674 w 4518776"/>
              <a:gd name="connsiteY170" fmla="*/ 1758637 h 1989183"/>
              <a:gd name="connsiteX171" fmla="*/ 3289333 w 4518776"/>
              <a:gd name="connsiteY171" fmla="*/ 1785978 h 1989183"/>
              <a:gd name="connsiteX172" fmla="*/ 3316674 w 4518776"/>
              <a:gd name="connsiteY172" fmla="*/ 1813319 h 1989183"/>
              <a:gd name="connsiteX173" fmla="*/ 3344015 w 4518776"/>
              <a:gd name="connsiteY173" fmla="*/ 1785978 h 1989183"/>
              <a:gd name="connsiteX174" fmla="*/ 3316674 w 4518776"/>
              <a:gd name="connsiteY174" fmla="*/ 1758637 h 1989183"/>
              <a:gd name="connsiteX175" fmla="*/ 3551626 w 4518776"/>
              <a:gd name="connsiteY175" fmla="*/ 1758637 h 1989183"/>
              <a:gd name="connsiteX176" fmla="*/ 3524285 w 4518776"/>
              <a:gd name="connsiteY176" fmla="*/ 1785978 h 1989183"/>
              <a:gd name="connsiteX177" fmla="*/ 3551626 w 4518776"/>
              <a:gd name="connsiteY177" fmla="*/ 1813319 h 1989183"/>
              <a:gd name="connsiteX178" fmla="*/ 3578967 w 4518776"/>
              <a:gd name="connsiteY178" fmla="*/ 1785978 h 1989183"/>
              <a:gd name="connsiteX179" fmla="*/ 3551626 w 4518776"/>
              <a:gd name="connsiteY179" fmla="*/ 1758637 h 1989183"/>
              <a:gd name="connsiteX180" fmla="*/ 3786578 w 4518776"/>
              <a:gd name="connsiteY180" fmla="*/ 1758637 h 1989183"/>
              <a:gd name="connsiteX181" fmla="*/ 3759237 w 4518776"/>
              <a:gd name="connsiteY181" fmla="*/ 1785978 h 1989183"/>
              <a:gd name="connsiteX182" fmla="*/ 3786578 w 4518776"/>
              <a:gd name="connsiteY182" fmla="*/ 1813319 h 1989183"/>
              <a:gd name="connsiteX183" fmla="*/ 3813919 w 4518776"/>
              <a:gd name="connsiteY183" fmla="*/ 1785978 h 1989183"/>
              <a:gd name="connsiteX184" fmla="*/ 3786578 w 4518776"/>
              <a:gd name="connsiteY184" fmla="*/ 1758637 h 1989183"/>
              <a:gd name="connsiteX185" fmla="*/ 4021530 w 4518776"/>
              <a:gd name="connsiteY185" fmla="*/ 1758637 h 1989183"/>
              <a:gd name="connsiteX186" fmla="*/ 3994189 w 4518776"/>
              <a:gd name="connsiteY186" fmla="*/ 1785978 h 1989183"/>
              <a:gd name="connsiteX187" fmla="*/ 4021530 w 4518776"/>
              <a:gd name="connsiteY187" fmla="*/ 1813319 h 1989183"/>
              <a:gd name="connsiteX188" fmla="*/ 4048871 w 4518776"/>
              <a:gd name="connsiteY188" fmla="*/ 1785978 h 1989183"/>
              <a:gd name="connsiteX189" fmla="*/ 4021530 w 4518776"/>
              <a:gd name="connsiteY189" fmla="*/ 1758637 h 1989183"/>
              <a:gd name="connsiteX190" fmla="*/ 4256483 w 4518776"/>
              <a:gd name="connsiteY190" fmla="*/ 1758637 h 1989183"/>
              <a:gd name="connsiteX191" fmla="*/ 4229142 w 4518776"/>
              <a:gd name="connsiteY191" fmla="*/ 1785978 h 1989183"/>
              <a:gd name="connsiteX192" fmla="*/ 4256483 w 4518776"/>
              <a:gd name="connsiteY192" fmla="*/ 1813319 h 1989183"/>
              <a:gd name="connsiteX193" fmla="*/ 4283824 w 4518776"/>
              <a:gd name="connsiteY193" fmla="*/ 1785978 h 1989183"/>
              <a:gd name="connsiteX194" fmla="*/ 4256483 w 4518776"/>
              <a:gd name="connsiteY194" fmla="*/ 1758637 h 1989183"/>
              <a:gd name="connsiteX195" fmla="*/ 4491435 w 4518776"/>
              <a:gd name="connsiteY195" fmla="*/ 1758637 h 1989183"/>
              <a:gd name="connsiteX196" fmla="*/ 4464094 w 4518776"/>
              <a:gd name="connsiteY196" fmla="*/ 1785978 h 1989183"/>
              <a:gd name="connsiteX197" fmla="*/ 4491435 w 4518776"/>
              <a:gd name="connsiteY197" fmla="*/ 1813319 h 1989183"/>
              <a:gd name="connsiteX198" fmla="*/ 4518776 w 4518776"/>
              <a:gd name="connsiteY198" fmla="*/ 1785978 h 1989183"/>
              <a:gd name="connsiteX199" fmla="*/ 4491435 w 4518776"/>
              <a:gd name="connsiteY199" fmla="*/ 1758637 h 1989183"/>
              <a:gd name="connsiteX200" fmla="*/ 27341 w 4518776"/>
              <a:gd name="connsiteY200" fmla="*/ 1582773 h 1989183"/>
              <a:gd name="connsiteX201" fmla="*/ 0 w 4518776"/>
              <a:gd name="connsiteY201" fmla="*/ 1610114 h 1989183"/>
              <a:gd name="connsiteX202" fmla="*/ 27341 w 4518776"/>
              <a:gd name="connsiteY202" fmla="*/ 1637455 h 1989183"/>
              <a:gd name="connsiteX203" fmla="*/ 54682 w 4518776"/>
              <a:gd name="connsiteY203" fmla="*/ 1610114 h 1989183"/>
              <a:gd name="connsiteX204" fmla="*/ 27341 w 4518776"/>
              <a:gd name="connsiteY204" fmla="*/ 1582773 h 1989183"/>
              <a:gd name="connsiteX205" fmla="*/ 262293 w 4518776"/>
              <a:gd name="connsiteY205" fmla="*/ 1582773 h 1989183"/>
              <a:gd name="connsiteX206" fmla="*/ 234952 w 4518776"/>
              <a:gd name="connsiteY206" fmla="*/ 1610114 h 1989183"/>
              <a:gd name="connsiteX207" fmla="*/ 262293 w 4518776"/>
              <a:gd name="connsiteY207" fmla="*/ 1637455 h 1989183"/>
              <a:gd name="connsiteX208" fmla="*/ 289634 w 4518776"/>
              <a:gd name="connsiteY208" fmla="*/ 1610114 h 1989183"/>
              <a:gd name="connsiteX209" fmla="*/ 262293 w 4518776"/>
              <a:gd name="connsiteY209" fmla="*/ 1582773 h 1989183"/>
              <a:gd name="connsiteX210" fmla="*/ 497246 w 4518776"/>
              <a:gd name="connsiteY210" fmla="*/ 1582773 h 1989183"/>
              <a:gd name="connsiteX211" fmla="*/ 469905 w 4518776"/>
              <a:gd name="connsiteY211" fmla="*/ 1610114 h 1989183"/>
              <a:gd name="connsiteX212" fmla="*/ 497246 w 4518776"/>
              <a:gd name="connsiteY212" fmla="*/ 1637455 h 1989183"/>
              <a:gd name="connsiteX213" fmla="*/ 524587 w 4518776"/>
              <a:gd name="connsiteY213" fmla="*/ 1610114 h 1989183"/>
              <a:gd name="connsiteX214" fmla="*/ 497246 w 4518776"/>
              <a:gd name="connsiteY214" fmla="*/ 1582773 h 1989183"/>
              <a:gd name="connsiteX215" fmla="*/ 732198 w 4518776"/>
              <a:gd name="connsiteY215" fmla="*/ 1582773 h 1989183"/>
              <a:gd name="connsiteX216" fmla="*/ 704857 w 4518776"/>
              <a:gd name="connsiteY216" fmla="*/ 1610114 h 1989183"/>
              <a:gd name="connsiteX217" fmla="*/ 732198 w 4518776"/>
              <a:gd name="connsiteY217" fmla="*/ 1637455 h 1989183"/>
              <a:gd name="connsiteX218" fmla="*/ 759539 w 4518776"/>
              <a:gd name="connsiteY218" fmla="*/ 1610114 h 1989183"/>
              <a:gd name="connsiteX219" fmla="*/ 732198 w 4518776"/>
              <a:gd name="connsiteY219" fmla="*/ 1582773 h 1989183"/>
              <a:gd name="connsiteX220" fmla="*/ 967150 w 4518776"/>
              <a:gd name="connsiteY220" fmla="*/ 1582773 h 1989183"/>
              <a:gd name="connsiteX221" fmla="*/ 939809 w 4518776"/>
              <a:gd name="connsiteY221" fmla="*/ 1610114 h 1989183"/>
              <a:gd name="connsiteX222" fmla="*/ 967150 w 4518776"/>
              <a:gd name="connsiteY222" fmla="*/ 1637455 h 1989183"/>
              <a:gd name="connsiteX223" fmla="*/ 994491 w 4518776"/>
              <a:gd name="connsiteY223" fmla="*/ 1610114 h 1989183"/>
              <a:gd name="connsiteX224" fmla="*/ 967150 w 4518776"/>
              <a:gd name="connsiteY224" fmla="*/ 1582773 h 1989183"/>
              <a:gd name="connsiteX225" fmla="*/ 1202103 w 4518776"/>
              <a:gd name="connsiteY225" fmla="*/ 1582773 h 1989183"/>
              <a:gd name="connsiteX226" fmla="*/ 1174762 w 4518776"/>
              <a:gd name="connsiteY226" fmla="*/ 1610114 h 1989183"/>
              <a:gd name="connsiteX227" fmla="*/ 1202103 w 4518776"/>
              <a:gd name="connsiteY227" fmla="*/ 1637455 h 1989183"/>
              <a:gd name="connsiteX228" fmla="*/ 1229444 w 4518776"/>
              <a:gd name="connsiteY228" fmla="*/ 1610114 h 1989183"/>
              <a:gd name="connsiteX229" fmla="*/ 1202103 w 4518776"/>
              <a:gd name="connsiteY229" fmla="*/ 1582773 h 1989183"/>
              <a:gd name="connsiteX230" fmla="*/ 1437055 w 4518776"/>
              <a:gd name="connsiteY230" fmla="*/ 1582773 h 1989183"/>
              <a:gd name="connsiteX231" fmla="*/ 1409714 w 4518776"/>
              <a:gd name="connsiteY231" fmla="*/ 1610114 h 1989183"/>
              <a:gd name="connsiteX232" fmla="*/ 1437055 w 4518776"/>
              <a:gd name="connsiteY232" fmla="*/ 1637455 h 1989183"/>
              <a:gd name="connsiteX233" fmla="*/ 1464396 w 4518776"/>
              <a:gd name="connsiteY233" fmla="*/ 1610114 h 1989183"/>
              <a:gd name="connsiteX234" fmla="*/ 1437055 w 4518776"/>
              <a:gd name="connsiteY234" fmla="*/ 1582773 h 1989183"/>
              <a:gd name="connsiteX235" fmla="*/ 1672007 w 4518776"/>
              <a:gd name="connsiteY235" fmla="*/ 1582773 h 1989183"/>
              <a:gd name="connsiteX236" fmla="*/ 1644666 w 4518776"/>
              <a:gd name="connsiteY236" fmla="*/ 1610114 h 1989183"/>
              <a:gd name="connsiteX237" fmla="*/ 1672007 w 4518776"/>
              <a:gd name="connsiteY237" fmla="*/ 1637455 h 1989183"/>
              <a:gd name="connsiteX238" fmla="*/ 1699348 w 4518776"/>
              <a:gd name="connsiteY238" fmla="*/ 1610114 h 1989183"/>
              <a:gd name="connsiteX239" fmla="*/ 1672007 w 4518776"/>
              <a:gd name="connsiteY239" fmla="*/ 1582773 h 1989183"/>
              <a:gd name="connsiteX240" fmla="*/ 1906960 w 4518776"/>
              <a:gd name="connsiteY240" fmla="*/ 1582773 h 1989183"/>
              <a:gd name="connsiteX241" fmla="*/ 1879619 w 4518776"/>
              <a:gd name="connsiteY241" fmla="*/ 1610114 h 1989183"/>
              <a:gd name="connsiteX242" fmla="*/ 1906960 w 4518776"/>
              <a:gd name="connsiteY242" fmla="*/ 1637455 h 1989183"/>
              <a:gd name="connsiteX243" fmla="*/ 1934301 w 4518776"/>
              <a:gd name="connsiteY243" fmla="*/ 1610114 h 1989183"/>
              <a:gd name="connsiteX244" fmla="*/ 1906960 w 4518776"/>
              <a:gd name="connsiteY244" fmla="*/ 1582773 h 1989183"/>
              <a:gd name="connsiteX245" fmla="*/ 2141912 w 4518776"/>
              <a:gd name="connsiteY245" fmla="*/ 1582773 h 1989183"/>
              <a:gd name="connsiteX246" fmla="*/ 2114571 w 4518776"/>
              <a:gd name="connsiteY246" fmla="*/ 1610114 h 1989183"/>
              <a:gd name="connsiteX247" fmla="*/ 2141912 w 4518776"/>
              <a:gd name="connsiteY247" fmla="*/ 1637455 h 1989183"/>
              <a:gd name="connsiteX248" fmla="*/ 2169253 w 4518776"/>
              <a:gd name="connsiteY248" fmla="*/ 1610114 h 1989183"/>
              <a:gd name="connsiteX249" fmla="*/ 2141912 w 4518776"/>
              <a:gd name="connsiteY249" fmla="*/ 1582773 h 1989183"/>
              <a:gd name="connsiteX250" fmla="*/ 2376864 w 4518776"/>
              <a:gd name="connsiteY250" fmla="*/ 1582773 h 1989183"/>
              <a:gd name="connsiteX251" fmla="*/ 2349523 w 4518776"/>
              <a:gd name="connsiteY251" fmla="*/ 1610114 h 1989183"/>
              <a:gd name="connsiteX252" fmla="*/ 2376864 w 4518776"/>
              <a:gd name="connsiteY252" fmla="*/ 1637455 h 1989183"/>
              <a:gd name="connsiteX253" fmla="*/ 2404205 w 4518776"/>
              <a:gd name="connsiteY253" fmla="*/ 1610114 h 1989183"/>
              <a:gd name="connsiteX254" fmla="*/ 2376864 w 4518776"/>
              <a:gd name="connsiteY254" fmla="*/ 1582773 h 1989183"/>
              <a:gd name="connsiteX255" fmla="*/ 2611817 w 4518776"/>
              <a:gd name="connsiteY255" fmla="*/ 1582773 h 1989183"/>
              <a:gd name="connsiteX256" fmla="*/ 2584476 w 4518776"/>
              <a:gd name="connsiteY256" fmla="*/ 1610114 h 1989183"/>
              <a:gd name="connsiteX257" fmla="*/ 2611817 w 4518776"/>
              <a:gd name="connsiteY257" fmla="*/ 1637455 h 1989183"/>
              <a:gd name="connsiteX258" fmla="*/ 2639158 w 4518776"/>
              <a:gd name="connsiteY258" fmla="*/ 1610114 h 1989183"/>
              <a:gd name="connsiteX259" fmla="*/ 2611817 w 4518776"/>
              <a:gd name="connsiteY259" fmla="*/ 1582773 h 1989183"/>
              <a:gd name="connsiteX260" fmla="*/ 2846769 w 4518776"/>
              <a:gd name="connsiteY260" fmla="*/ 1582773 h 1989183"/>
              <a:gd name="connsiteX261" fmla="*/ 2819428 w 4518776"/>
              <a:gd name="connsiteY261" fmla="*/ 1610114 h 1989183"/>
              <a:gd name="connsiteX262" fmla="*/ 2846769 w 4518776"/>
              <a:gd name="connsiteY262" fmla="*/ 1637455 h 1989183"/>
              <a:gd name="connsiteX263" fmla="*/ 2874110 w 4518776"/>
              <a:gd name="connsiteY263" fmla="*/ 1610114 h 1989183"/>
              <a:gd name="connsiteX264" fmla="*/ 2846769 w 4518776"/>
              <a:gd name="connsiteY264" fmla="*/ 1582773 h 1989183"/>
              <a:gd name="connsiteX265" fmla="*/ 3081721 w 4518776"/>
              <a:gd name="connsiteY265" fmla="*/ 1582773 h 1989183"/>
              <a:gd name="connsiteX266" fmla="*/ 3054380 w 4518776"/>
              <a:gd name="connsiteY266" fmla="*/ 1610114 h 1989183"/>
              <a:gd name="connsiteX267" fmla="*/ 3081721 w 4518776"/>
              <a:gd name="connsiteY267" fmla="*/ 1637455 h 1989183"/>
              <a:gd name="connsiteX268" fmla="*/ 3109062 w 4518776"/>
              <a:gd name="connsiteY268" fmla="*/ 1610114 h 1989183"/>
              <a:gd name="connsiteX269" fmla="*/ 3081721 w 4518776"/>
              <a:gd name="connsiteY269" fmla="*/ 1582773 h 1989183"/>
              <a:gd name="connsiteX270" fmla="*/ 3316674 w 4518776"/>
              <a:gd name="connsiteY270" fmla="*/ 1582773 h 1989183"/>
              <a:gd name="connsiteX271" fmla="*/ 3289333 w 4518776"/>
              <a:gd name="connsiteY271" fmla="*/ 1610114 h 1989183"/>
              <a:gd name="connsiteX272" fmla="*/ 3316674 w 4518776"/>
              <a:gd name="connsiteY272" fmla="*/ 1637455 h 1989183"/>
              <a:gd name="connsiteX273" fmla="*/ 3344015 w 4518776"/>
              <a:gd name="connsiteY273" fmla="*/ 1610114 h 1989183"/>
              <a:gd name="connsiteX274" fmla="*/ 3316674 w 4518776"/>
              <a:gd name="connsiteY274" fmla="*/ 1582773 h 1989183"/>
              <a:gd name="connsiteX275" fmla="*/ 3551626 w 4518776"/>
              <a:gd name="connsiteY275" fmla="*/ 1582773 h 1989183"/>
              <a:gd name="connsiteX276" fmla="*/ 3524285 w 4518776"/>
              <a:gd name="connsiteY276" fmla="*/ 1610114 h 1989183"/>
              <a:gd name="connsiteX277" fmla="*/ 3551626 w 4518776"/>
              <a:gd name="connsiteY277" fmla="*/ 1637455 h 1989183"/>
              <a:gd name="connsiteX278" fmla="*/ 3578967 w 4518776"/>
              <a:gd name="connsiteY278" fmla="*/ 1610114 h 1989183"/>
              <a:gd name="connsiteX279" fmla="*/ 3551626 w 4518776"/>
              <a:gd name="connsiteY279" fmla="*/ 1582773 h 1989183"/>
              <a:gd name="connsiteX280" fmla="*/ 3786578 w 4518776"/>
              <a:gd name="connsiteY280" fmla="*/ 1582773 h 1989183"/>
              <a:gd name="connsiteX281" fmla="*/ 3759237 w 4518776"/>
              <a:gd name="connsiteY281" fmla="*/ 1610114 h 1989183"/>
              <a:gd name="connsiteX282" fmla="*/ 3786578 w 4518776"/>
              <a:gd name="connsiteY282" fmla="*/ 1637455 h 1989183"/>
              <a:gd name="connsiteX283" fmla="*/ 3813919 w 4518776"/>
              <a:gd name="connsiteY283" fmla="*/ 1610114 h 1989183"/>
              <a:gd name="connsiteX284" fmla="*/ 3786578 w 4518776"/>
              <a:gd name="connsiteY284" fmla="*/ 1582773 h 1989183"/>
              <a:gd name="connsiteX285" fmla="*/ 4021530 w 4518776"/>
              <a:gd name="connsiteY285" fmla="*/ 1582773 h 1989183"/>
              <a:gd name="connsiteX286" fmla="*/ 3994189 w 4518776"/>
              <a:gd name="connsiteY286" fmla="*/ 1610114 h 1989183"/>
              <a:gd name="connsiteX287" fmla="*/ 4021530 w 4518776"/>
              <a:gd name="connsiteY287" fmla="*/ 1637455 h 1989183"/>
              <a:gd name="connsiteX288" fmla="*/ 4048871 w 4518776"/>
              <a:gd name="connsiteY288" fmla="*/ 1610114 h 1989183"/>
              <a:gd name="connsiteX289" fmla="*/ 4021530 w 4518776"/>
              <a:gd name="connsiteY289" fmla="*/ 1582773 h 1989183"/>
              <a:gd name="connsiteX290" fmla="*/ 4256483 w 4518776"/>
              <a:gd name="connsiteY290" fmla="*/ 1582773 h 1989183"/>
              <a:gd name="connsiteX291" fmla="*/ 4229142 w 4518776"/>
              <a:gd name="connsiteY291" fmla="*/ 1610114 h 1989183"/>
              <a:gd name="connsiteX292" fmla="*/ 4256483 w 4518776"/>
              <a:gd name="connsiteY292" fmla="*/ 1637455 h 1989183"/>
              <a:gd name="connsiteX293" fmla="*/ 4283824 w 4518776"/>
              <a:gd name="connsiteY293" fmla="*/ 1610114 h 1989183"/>
              <a:gd name="connsiteX294" fmla="*/ 4256483 w 4518776"/>
              <a:gd name="connsiteY294" fmla="*/ 1582773 h 1989183"/>
              <a:gd name="connsiteX295" fmla="*/ 4491435 w 4518776"/>
              <a:gd name="connsiteY295" fmla="*/ 1582773 h 1989183"/>
              <a:gd name="connsiteX296" fmla="*/ 4464094 w 4518776"/>
              <a:gd name="connsiteY296" fmla="*/ 1610114 h 1989183"/>
              <a:gd name="connsiteX297" fmla="*/ 4491435 w 4518776"/>
              <a:gd name="connsiteY297" fmla="*/ 1637455 h 1989183"/>
              <a:gd name="connsiteX298" fmla="*/ 4518776 w 4518776"/>
              <a:gd name="connsiteY298" fmla="*/ 1610114 h 1989183"/>
              <a:gd name="connsiteX299" fmla="*/ 4491435 w 4518776"/>
              <a:gd name="connsiteY299" fmla="*/ 1582773 h 1989183"/>
              <a:gd name="connsiteX300" fmla="*/ 27341 w 4518776"/>
              <a:gd name="connsiteY300" fmla="*/ 1406910 h 1989183"/>
              <a:gd name="connsiteX301" fmla="*/ 0 w 4518776"/>
              <a:gd name="connsiteY301" fmla="*/ 1434251 h 1989183"/>
              <a:gd name="connsiteX302" fmla="*/ 27341 w 4518776"/>
              <a:gd name="connsiteY302" fmla="*/ 1461592 h 1989183"/>
              <a:gd name="connsiteX303" fmla="*/ 54682 w 4518776"/>
              <a:gd name="connsiteY303" fmla="*/ 1434251 h 1989183"/>
              <a:gd name="connsiteX304" fmla="*/ 27341 w 4518776"/>
              <a:gd name="connsiteY304" fmla="*/ 1406910 h 1989183"/>
              <a:gd name="connsiteX305" fmla="*/ 262293 w 4518776"/>
              <a:gd name="connsiteY305" fmla="*/ 1406910 h 1989183"/>
              <a:gd name="connsiteX306" fmla="*/ 234952 w 4518776"/>
              <a:gd name="connsiteY306" fmla="*/ 1434251 h 1989183"/>
              <a:gd name="connsiteX307" fmla="*/ 262293 w 4518776"/>
              <a:gd name="connsiteY307" fmla="*/ 1461592 h 1989183"/>
              <a:gd name="connsiteX308" fmla="*/ 289634 w 4518776"/>
              <a:gd name="connsiteY308" fmla="*/ 1434251 h 1989183"/>
              <a:gd name="connsiteX309" fmla="*/ 262293 w 4518776"/>
              <a:gd name="connsiteY309" fmla="*/ 1406910 h 1989183"/>
              <a:gd name="connsiteX310" fmla="*/ 497246 w 4518776"/>
              <a:gd name="connsiteY310" fmla="*/ 1406910 h 1989183"/>
              <a:gd name="connsiteX311" fmla="*/ 469905 w 4518776"/>
              <a:gd name="connsiteY311" fmla="*/ 1434251 h 1989183"/>
              <a:gd name="connsiteX312" fmla="*/ 497246 w 4518776"/>
              <a:gd name="connsiteY312" fmla="*/ 1461592 h 1989183"/>
              <a:gd name="connsiteX313" fmla="*/ 524587 w 4518776"/>
              <a:gd name="connsiteY313" fmla="*/ 1434251 h 1989183"/>
              <a:gd name="connsiteX314" fmla="*/ 497246 w 4518776"/>
              <a:gd name="connsiteY314" fmla="*/ 1406910 h 1989183"/>
              <a:gd name="connsiteX315" fmla="*/ 732198 w 4518776"/>
              <a:gd name="connsiteY315" fmla="*/ 1406910 h 1989183"/>
              <a:gd name="connsiteX316" fmla="*/ 704857 w 4518776"/>
              <a:gd name="connsiteY316" fmla="*/ 1434251 h 1989183"/>
              <a:gd name="connsiteX317" fmla="*/ 732198 w 4518776"/>
              <a:gd name="connsiteY317" fmla="*/ 1461592 h 1989183"/>
              <a:gd name="connsiteX318" fmla="*/ 759539 w 4518776"/>
              <a:gd name="connsiteY318" fmla="*/ 1434251 h 1989183"/>
              <a:gd name="connsiteX319" fmla="*/ 732198 w 4518776"/>
              <a:gd name="connsiteY319" fmla="*/ 1406910 h 1989183"/>
              <a:gd name="connsiteX320" fmla="*/ 967150 w 4518776"/>
              <a:gd name="connsiteY320" fmla="*/ 1406910 h 1989183"/>
              <a:gd name="connsiteX321" fmla="*/ 939809 w 4518776"/>
              <a:gd name="connsiteY321" fmla="*/ 1434251 h 1989183"/>
              <a:gd name="connsiteX322" fmla="*/ 967150 w 4518776"/>
              <a:gd name="connsiteY322" fmla="*/ 1461592 h 1989183"/>
              <a:gd name="connsiteX323" fmla="*/ 994491 w 4518776"/>
              <a:gd name="connsiteY323" fmla="*/ 1434251 h 1989183"/>
              <a:gd name="connsiteX324" fmla="*/ 967150 w 4518776"/>
              <a:gd name="connsiteY324" fmla="*/ 1406910 h 1989183"/>
              <a:gd name="connsiteX325" fmla="*/ 1202103 w 4518776"/>
              <a:gd name="connsiteY325" fmla="*/ 1406910 h 1989183"/>
              <a:gd name="connsiteX326" fmla="*/ 1174762 w 4518776"/>
              <a:gd name="connsiteY326" fmla="*/ 1434251 h 1989183"/>
              <a:gd name="connsiteX327" fmla="*/ 1202103 w 4518776"/>
              <a:gd name="connsiteY327" fmla="*/ 1461592 h 1989183"/>
              <a:gd name="connsiteX328" fmla="*/ 1229444 w 4518776"/>
              <a:gd name="connsiteY328" fmla="*/ 1434251 h 1989183"/>
              <a:gd name="connsiteX329" fmla="*/ 1202103 w 4518776"/>
              <a:gd name="connsiteY329" fmla="*/ 1406910 h 1989183"/>
              <a:gd name="connsiteX330" fmla="*/ 1437055 w 4518776"/>
              <a:gd name="connsiteY330" fmla="*/ 1406910 h 1989183"/>
              <a:gd name="connsiteX331" fmla="*/ 1409714 w 4518776"/>
              <a:gd name="connsiteY331" fmla="*/ 1434251 h 1989183"/>
              <a:gd name="connsiteX332" fmla="*/ 1437055 w 4518776"/>
              <a:gd name="connsiteY332" fmla="*/ 1461592 h 1989183"/>
              <a:gd name="connsiteX333" fmla="*/ 1464396 w 4518776"/>
              <a:gd name="connsiteY333" fmla="*/ 1434251 h 1989183"/>
              <a:gd name="connsiteX334" fmla="*/ 1437055 w 4518776"/>
              <a:gd name="connsiteY334" fmla="*/ 1406910 h 1989183"/>
              <a:gd name="connsiteX335" fmla="*/ 1672007 w 4518776"/>
              <a:gd name="connsiteY335" fmla="*/ 1406910 h 1989183"/>
              <a:gd name="connsiteX336" fmla="*/ 1644666 w 4518776"/>
              <a:gd name="connsiteY336" fmla="*/ 1434251 h 1989183"/>
              <a:gd name="connsiteX337" fmla="*/ 1672007 w 4518776"/>
              <a:gd name="connsiteY337" fmla="*/ 1461592 h 1989183"/>
              <a:gd name="connsiteX338" fmla="*/ 1699348 w 4518776"/>
              <a:gd name="connsiteY338" fmla="*/ 1434251 h 1989183"/>
              <a:gd name="connsiteX339" fmla="*/ 1672007 w 4518776"/>
              <a:gd name="connsiteY339" fmla="*/ 1406910 h 1989183"/>
              <a:gd name="connsiteX340" fmla="*/ 1906960 w 4518776"/>
              <a:gd name="connsiteY340" fmla="*/ 1406910 h 1989183"/>
              <a:gd name="connsiteX341" fmla="*/ 1879619 w 4518776"/>
              <a:gd name="connsiteY341" fmla="*/ 1434251 h 1989183"/>
              <a:gd name="connsiteX342" fmla="*/ 1906960 w 4518776"/>
              <a:gd name="connsiteY342" fmla="*/ 1461592 h 1989183"/>
              <a:gd name="connsiteX343" fmla="*/ 1934301 w 4518776"/>
              <a:gd name="connsiteY343" fmla="*/ 1434251 h 1989183"/>
              <a:gd name="connsiteX344" fmla="*/ 1906960 w 4518776"/>
              <a:gd name="connsiteY344" fmla="*/ 1406910 h 1989183"/>
              <a:gd name="connsiteX345" fmla="*/ 2141912 w 4518776"/>
              <a:gd name="connsiteY345" fmla="*/ 1406910 h 1989183"/>
              <a:gd name="connsiteX346" fmla="*/ 2114571 w 4518776"/>
              <a:gd name="connsiteY346" fmla="*/ 1434251 h 1989183"/>
              <a:gd name="connsiteX347" fmla="*/ 2141912 w 4518776"/>
              <a:gd name="connsiteY347" fmla="*/ 1461592 h 1989183"/>
              <a:gd name="connsiteX348" fmla="*/ 2169253 w 4518776"/>
              <a:gd name="connsiteY348" fmla="*/ 1434251 h 1989183"/>
              <a:gd name="connsiteX349" fmla="*/ 2141912 w 4518776"/>
              <a:gd name="connsiteY349" fmla="*/ 1406910 h 1989183"/>
              <a:gd name="connsiteX350" fmla="*/ 2376864 w 4518776"/>
              <a:gd name="connsiteY350" fmla="*/ 1406910 h 1989183"/>
              <a:gd name="connsiteX351" fmla="*/ 2349523 w 4518776"/>
              <a:gd name="connsiteY351" fmla="*/ 1434251 h 1989183"/>
              <a:gd name="connsiteX352" fmla="*/ 2376864 w 4518776"/>
              <a:gd name="connsiteY352" fmla="*/ 1461592 h 1989183"/>
              <a:gd name="connsiteX353" fmla="*/ 2404205 w 4518776"/>
              <a:gd name="connsiteY353" fmla="*/ 1434251 h 1989183"/>
              <a:gd name="connsiteX354" fmla="*/ 2376864 w 4518776"/>
              <a:gd name="connsiteY354" fmla="*/ 1406910 h 1989183"/>
              <a:gd name="connsiteX355" fmla="*/ 2611817 w 4518776"/>
              <a:gd name="connsiteY355" fmla="*/ 1406910 h 1989183"/>
              <a:gd name="connsiteX356" fmla="*/ 2584476 w 4518776"/>
              <a:gd name="connsiteY356" fmla="*/ 1434251 h 1989183"/>
              <a:gd name="connsiteX357" fmla="*/ 2611817 w 4518776"/>
              <a:gd name="connsiteY357" fmla="*/ 1461592 h 1989183"/>
              <a:gd name="connsiteX358" fmla="*/ 2639158 w 4518776"/>
              <a:gd name="connsiteY358" fmla="*/ 1434251 h 1989183"/>
              <a:gd name="connsiteX359" fmla="*/ 2611817 w 4518776"/>
              <a:gd name="connsiteY359" fmla="*/ 1406910 h 1989183"/>
              <a:gd name="connsiteX360" fmla="*/ 2846769 w 4518776"/>
              <a:gd name="connsiteY360" fmla="*/ 1406910 h 1989183"/>
              <a:gd name="connsiteX361" fmla="*/ 2819428 w 4518776"/>
              <a:gd name="connsiteY361" fmla="*/ 1434251 h 1989183"/>
              <a:gd name="connsiteX362" fmla="*/ 2846769 w 4518776"/>
              <a:gd name="connsiteY362" fmla="*/ 1461592 h 1989183"/>
              <a:gd name="connsiteX363" fmla="*/ 2874110 w 4518776"/>
              <a:gd name="connsiteY363" fmla="*/ 1434251 h 1989183"/>
              <a:gd name="connsiteX364" fmla="*/ 2846769 w 4518776"/>
              <a:gd name="connsiteY364" fmla="*/ 1406910 h 1989183"/>
              <a:gd name="connsiteX365" fmla="*/ 3081721 w 4518776"/>
              <a:gd name="connsiteY365" fmla="*/ 1406910 h 1989183"/>
              <a:gd name="connsiteX366" fmla="*/ 3054380 w 4518776"/>
              <a:gd name="connsiteY366" fmla="*/ 1434251 h 1989183"/>
              <a:gd name="connsiteX367" fmla="*/ 3081721 w 4518776"/>
              <a:gd name="connsiteY367" fmla="*/ 1461592 h 1989183"/>
              <a:gd name="connsiteX368" fmla="*/ 3109062 w 4518776"/>
              <a:gd name="connsiteY368" fmla="*/ 1434251 h 1989183"/>
              <a:gd name="connsiteX369" fmla="*/ 3081721 w 4518776"/>
              <a:gd name="connsiteY369" fmla="*/ 1406910 h 1989183"/>
              <a:gd name="connsiteX370" fmla="*/ 3316674 w 4518776"/>
              <a:gd name="connsiteY370" fmla="*/ 1406910 h 1989183"/>
              <a:gd name="connsiteX371" fmla="*/ 3289333 w 4518776"/>
              <a:gd name="connsiteY371" fmla="*/ 1434251 h 1989183"/>
              <a:gd name="connsiteX372" fmla="*/ 3316674 w 4518776"/>
              <a:gd name="connsiteY372" fmla="*/ 1461592 h 1989183"/>
              <a:gd name="connsiteX373" fmla="*/ 3344015 w 4518776"/>
              <a:gd name="connsiteY373" fmla="*/ 1434251 h 1989183"/>
              <a:gd name="connsiteX374" fmla="*/ 3316674 w 4518776"/>
              <a:gd name="connsiteY374" fmla="*/ 1406910 h 1989183"/>
              <a:gd name="connsiteX375" fmla="*/ 3551626 w 4518776"/>
              <a:gd name="connsiteY375" fmla="*/ 1406910 h 1989183"/>
              <a:gd name="connsiteX376" fmla="*/ 3524285 w 4518776"/>
              <a:gd name="connsiteY376" fmla="*/ 1434251 h 1989183"/>
              <a:gd name="connsiteX377" fmla="*/ 3551626 w 4518776"/>
              <a:gd name="connsiteY377" fmla="*/ 1461592 h 1989183"/>
              <a:gd name="connsiteX378" fmla="*/ 3578967 w 4518776"/>
              <a:gd name="connsiteY378" fmla="*/ 1434251 h 1989183"/>
              <a:gd name="connsiteX379" fmla="*/ 3551626 w 4518776"/>
              <a:gd name="connsiteY379" fmla="*/ 1406910 h 1989183"/>
              <a:gd name="connsiteX380" fmla="*/ 3786578 w 4518776"/>
              <a:gd name="connsiteY380" fmla="*/ 1406910 h 1989183"/>
              <a:gd name="connsiteX381" fmla="*/ 3759237 w 4518776"/>
              <a:gd name="connsiteY381" fmla="*/ 1434251 h 1989183"/>
              <a:gd name="connsiteX382" fmla="*/ 3786578 w 4518776"/>
              <a:gd name="connsiteY382" fmla="*/ 1461592 h 1989183"/>
              <a:gd name="connsiteX383" fmla="*/ 3813919 w 4518776"/>
              <a:gd name="connsiteY383" fmla="*/ 1434251 h 1989183"/>
              <a:gd name="connsiteX384" fmla="*/ 3786578 w 4518776"/>
              <a:gd name="connsiteY384" fmla="*/ 1406910 h 1989183"/>
              <a:gd name="connsiteX385" fmla="*/ 4021530 w 4518776"/>
              <a:gd name="connsiteY385" fmla="*/ 1406910 h 1989183"/>
              <a:gd name="connsiteX386" fmla="*/ 3994189 w 4518776"/>
              <a:gd name="connsiteY386" fmla="*/ 1434251 h 1989183"/>
              <a:gd name="connsiteX387" fmla="*/ 4021530 w 4518776"/>
              <a:gd name="connsiteY387" fmla="*/ 1461592 h 1989183"/>
              <a:gd name="connsiteX388" fmla="*/ 4048871 w 4518776"/>
              <a:gd name="connsiteY388" fmla="*/ 1434251 h 1989183"/>
              <a:gd name="connsiteX389" fmla="*/ 4021530 w 4518776"/>
              <a:gd name="connsiteY389" fmla="*/ 1406910 h 1989183"/>
              <a:gd name="connsiteX390" fmla="*/ 4256483 w 4518776"/>
              <a:gd name="connsiteY390" fmla="*/ 1406910 h 1989183"/>
              <a:gd name="connsiteX391" fmla="*/ 4229142 w 4518776"/>
              <a:gd name="connsiteY391" fmla="*/ 1434251 h 1989183"/>
              <a:gd name="connsiteX392" fmla="*/ 4256483 w 4518776"/>
              <a:gd name="connsiteY392" fmla="*/ 1461592 h 1989183"/>
              <a:gd name="connsiteX393" fmla="*/ 4283824 w 4518776"/>
              <a:gd name="connsiteY393" fmla="*/ 1434251 h 1989183"/>
              <a:gd name="connsiteX394" fmla="*/ 4256483 w 4518776"/>
              <a:gd name="connsiteY394" fmla="*/ 1406910 h 1989183"/>
              <a:gd name="connsiteX395" fmla="*/ 4491435 w 4518776"/>
              <a:gd name="connsiteY395" fmla="*/ 1406910 h 1989183"/>
              <a:gd name="connsiteX396" fmla="*/ 4464094 w 4518776"/>
              <a:gd name="connsiteY396" fmla="*/ 1434251 h 1989183"/>
              <a:gd name="connsiteX397" fmla="*/ 4491435 w 4518776"/>
              <a:gd name="connsiteY397" fmla="*/ 1461592 h 1989183"/>
              <a:gd name="connsiteX398" fmla="*/ 4518776 w 4518776"/>
              <a:gd name="connsiteY398" fmla="*/ 1434251 h 1989183"/>
              <a:gd name="connsiteX399" fmla="*/ 4491435 w 4518776"/>
              <a:gd name="connsiteY399" fmla="*/ 1406910 h 1989183"/>
              <a:gd name="connsiteX400" fmla="*/ 27341 w 4518776"/>
              <a:gd name="connsiteY400" fmla="*/ 1231046 h 1989183"/>
              <a:gd name="connsiteX401" fmla="*/ 0 w 4518776"/>
              <a:gd name="connsiteY401" fmla="*/ 1258387 h 1989183"/>
              <a:gd name="connsiteX402" fmla="*/ 27341 w 4518776"/>
              <a:gd name="connsiteY402" fmla="*/ 1285728 h 1989183"/>
              <a:gd name="connsiteX403" fmla="*/ 54682 w 4518776"/>
              <a:gd name="connsiteY403" fmla="*/ 1258387 h 1989183"/>
              <a:gd name="connsiteX404" fmla="*/ 27341 w 4518776"/>
              <a:gd name="connsiteY404" fmla="*/ 1231046 h 1989183"/>
              <a:gd name="connsiteX405" fmla="*/ 262293 w 4518776"/>
              <a:gd name="connsiteY405" fmla="*/ 1231046 h 1989183"/>
              <a:gd name="connsiteX406" fmla="*/ 234952 w 4518776"/>
              <a:gd name="connsiteY406" fmla="*/ 1258387 h 1989183"/>
              <a:gd name="connsiteX407" fmla="*/ 262293 w 4518776"/>
              <a:gd name="connsiteY407" fmla="*/ 1285728 h 1989183"/>
              <a:gd name="connsiteX408" fmla="*/ 289634 w 4518776"/>
              <a:gd name="connsiteY408" fmla="*/ 1258387 h 1989183"/>
              <a:gd name="connsiteX409" fmla="*/ 262293 w 4518776"/>
              <a:gd name="connsiteY409" fmla="*/ 1231046 h 1989183"/>
              <a:gd name="connsiteX410" fmla="*/ 497246 w 4518776"/>
              <a:gd name="connsiteY410" fmla="*/ 1231046 h 1989183"/>
              <a:gd name="connsiteX411" fmla="*/ 469905 w 4518776"/>
              <a:gd name="connsiteY411" fmla="*/ 1258387 h 1989183"/>
              <a:gd name="connsiteX412" fmla="*/ 497246 w 4518776"/>
              <a:gd name="connsiteY412" fmla="*/ 1285728 h 1989183"/>
              <a:gd name="connsiteX413" fmla="*/ 524587 w 4518776"/>
              <a:gd name="connsiteY413" fmla="*/ 1258387 h 1989183"/>
              <a:gd name="connsiteX414" fmla="*/ 497246 w 4518776"/>
              <a:gd name="connsiteY414" fmla="*/ 1231046 h 1989183"/>
              <a:gd name="connsiteX415" fmla="*/ 732198 w 4518776"/>
              <a:gd name="connsiteY415" fmla="*/ 1231046 h 1989183"/>
              <a:gd name="connsiteX416" fmla="*/ 704857 w 4518776"/>
              <a:gd name="connsiteY416" fmla="*/ 1258387 h 1989183"/>
              <a:gd name="connsiteX417" fmla="*/ 732198 w 4518776"/>
              <a:gd name="connsiteY417" fmla="*/ 1285728 h 1989183"/>
              <a:gd name="connsiteX418" fmla="*/ 759539 w 4518776"/>
              <a:gd name="connsiteY418" fmla="*/ 1258387 h 1989183"/>
              <a:gd name="connsiteX419" fmla="*/ 732198 w 4518776"/>
              <a:gd name="connsiteY419" fmla="*/ 1231046 h 1989183"/>
              <a:gd name="connsiteX420" fmla="*/ 967150 w 4518776"/>
              <a:gd name="connsiteY420" fmla="*/ 1231046 h 1989183"/>
              <a:gd name="connsiteX421" fmla="*/ 939809 w 4518776"/>
              <a:gd name="connsiteY421" fmla="*/ 1258387 h 1989183"/>
              <a:gd name="connsiteX422" fmla="*/ 967150 w 4518776"/>
              <a:gd name="connsiteY422" fmla="*/ 1285728 h 1989183"/>
              <a:gd name="connsiteX423" fmla="*/ 994491 w 4518776"/>
              <a:gd name="connsiteY423" fmla="*/ 1258387 h 1989183"/>
              <a:gd name="connsiteX424" fmla="*/ 967150 w 4518776"/>
              <a:gd name="connsiteY424" fmla="*/ 1231046 h 1989183"/>
              <a:gd name="connsiteX425" fmla="*/ 1202103 w 4518776"/>
              <a:gd name="connsiteY425" fmla="*/ 1231046 h 1989183"/>
              <a:gd name="connsiteX426" fmla="*/ 1174762 w 4518776"/>
              <a:gd name="connsiteY426" fmla="*/ 1258387 h 1989183"/>
              <a:gd name="connsiteX427" fmla="*/ 1202103 w 4518776"/>
              <a:gd name="connsiteY427" fmla="*/ 1285728 h 1989183"/>
              <a:gd name="connsiteX428" fmla="*/ 1229444 w 4518776"/>
              <a:gd name="connsiteY428" fmla="*/ 1258387 h 1989183"/>
              <a:gd name="connsiteX429" fmla="*/ 1202103 w 4518776"/>
              <a:gd name="connsiteY429" fmla="*/ 1231046 h 1989183"/>
              <a:gd name="connsiteX430" fmla="*/ 1437055 w 4518776"/>
              <a:gd name="connsiteY430" fmla="*/ 1231046 h 1989183"/>
              <a:gd name="connsiteX431" fmla="*/ 1409714 w 4518776"/>
              <a:gd name="connsiteY431" fmla="*/ 1258387 h 1989183"/>
              <a:gd name="connsiteX432" fmla="*/ 1437055 w 4518776"/>
              <a:gd name="connsiteY432" fmla="*/ 1285728 h 1989183"/>
              <a:gd name="connsiteX433" fmla="*/ 1464396 w 4518776"/>
              <a:gd name="connsiteY433" fmla="*/ 1258387 h 1989183"/>
              <a:gd name="connsiteX434" fmla="*/ 1437055 w 4518776"/>
              <a:gd name="connsiteY434" fmla="*/ 1231046 h 1989183"/>
              <a:gd name="connsiteX435" fmla="*/ 1672007 w 4518776"/>
              <a:gd name="connsiteY435" fmla="*/ 1231046 h 1989183"/>
              <a:gd name="connsiteX436" fmla="*/ 1644666 w 4518776"/>
              <a:gd name="connsiteY436" fmla="*/ 1258387 h 1989183"/>
              <a:gd name="connsiteX437" fmla="*/ 1672007 w 4518776"/>
              <a:gd name="connsiteY437" fmla="*/ 1285728 h 1989183"/>
              <a:gd name="connsiteX438" fmla="*/ 1699348 w 4518776"/>
              <a:gd name="connsiteY438" fmla="*/ 1258387 h 1989183"/>
              <a:gd name="connsiteX439" fmla="*/ 1672007 w 4518776"/>
              <a:gd name="connsiteY439" fmla="*/ 1231046 h 1989183"/>
              <a:gd name="connsiteX440" fmla="*/ 1906960 w 4518776"/>
              <a:gd name="connsiteY440" fmla="*/ 1231046 h 1989183"/>
              <a:gd name="connsiteX441" fmla="*/ 1879619 w 4518776"/>
              <a:gd name="connsiteY441" fmla="*/ 1258387 h 1989183"/>
              <a:gd name="connsiteX442" fmla="*/ 1906960 w 4518776"/>
              <a:gd name="connsiteY442" fmla="*/ 1285728 h 1989183"/>
              <a:gd name="connsiteX443" fmla="*/ 1934301 w 4518776"/>
              <a:gd name="connsiteY443" fmla="*/ 1258387 h 1989183"/>
              <a:gd name="connsiteX444" fmla="*/ 1906960 w 4518776"/>
              <a:gd name="connsiteY444" fmla="*/ 1231046 h 1989183"/>
              <a:gd name="connsiteX445" fmla="*/ 2141912 w 4518776"/>
              <a:gd name="connsiteY445" fmla="*/ 1231046 h 1989183"/>
              <a:gd name="connsiteX446" fmla="*/ 2114571 w 4518776"/>
              <a:gd name="connsiteY446" fmla="*/ 1258387 h 1989183"/>
              <a:gd name="connsiteX447" fmla="*/ 2141912 w 4518776"/>
              <a:gd name="connsiteY447" fmla="*/ 1285728 h 1989183"/>
              <a:gd name="connsiteX448" fmla="*/ 2169253 w 4518776"/>
              <a:gd name="connsiteY448" fmla="*/ 1258387 h 1989183"/>
              <a:gd name="connsiteX449" fmla="*/ 2141912 w 4518776"/>
              <a:gd name="connsiteY449" fmla="*/ 1231046 h 1989183"/>
              <a:gd name="connsiteX450" fmla="*/ 2376864 w 4518776"/>
              <a:gd name="connsiteY450" fmla="*/ 1231046 h 1989183"/>
              <a:gd name="connsiteX451" fmla="*/ 2349523 w 4518776"/>
              <a:gd name="connsiteY451" fmla="*/ 1258387 h 1989183"/>
              <a:gd name="connsiteX452" fmla="*/ 2376864 w 4518776"/>
              <a:gd name="connsiteY452" fmla="*/ 1285728 h 1989183"/>
              <a:gd name="connsiteX453" fmla="*/ 2404205 w 4518776"/>
              <a:gd name="connsiteY453" fmla="*/ 1258387 h 1989183"/>
              <a:gd name="connsiteX454" fmla="*/ 2376864 w 4518776"/>
              <a:gd name="connsiteY454" fmla="*/ 1231046 h 1989183"/>
              <a:gd name="connsiteX455" fmla="*/ 2611817 w 4518776"/>
              <a:gd name="connsiteY455" fmla="*/ 1231046 h 1989183"/>
              <a:gd name="connsiteX456" fmla="*/ 2584476 w 4518776"/>
              <a:gd name="connsiteY456" fmla="*/ 1258387 h 1989183"/>
              <a:gd name="connsiteX457" fmla="*/ 2611817 w 4518776"/>
              <a:gd name="connsiteY457" fmla="*/ 1285728 h 1989183"/>
              <a:gd name="connsiteX458" fmla="*/ 2639158 w 4518776"/>
              <a:gd name="connsiteY458" fmla="*/ 1258387 h 1989183"/>
              <a:gd name="connsiteX459" fmla="*/ 2611817 w 4518776"/>
              <a:gd name="connsiteY459" fmla="*/ 1231046 h 1989183"/>
              <a:gd name="connsiteX460" fmla="*/ 2846769 w 4518776"/>
              <a:gd name="connsiteY460" fmla="*/ 1231046 h 1989183"/>
              <a:gd name="connsiteX461" fmla="*/ 2819428 w 4518776"/>
              <a:gd name="connsiteY461" fmla="*/ 1258387 h 1989183"/>
              <a:gd name="connsiteX462" fmla="*/ 2846769 w 4518776"/>
              <a:gd name="connsiteY462" fmla="*/ 1285728 h 1989183"/>
              <a:gd name="connsiteX463" fmla="*/ 2874110 w 4518776"/>
              <a:gd name="connsiteY463" fmla="*/ 1258387 h 1989183"/>
              <a:gd name="connsiteX464" fmla="*/ 2846769 w 4518776"/>
              <a:gd name="connsiteY464" fmla="*/ 1231046 h 1989183"/>
              <a:gd name="connsiteX465" fmla="*/ 3081721 w 4518776"/>
              <a:gd name="connsiteY465" fmla="*/ 1231046 h 1989183"/>
              <a:gd name="connsiteX466" fmla="*/ 3054380 w 4518776"/>
              <a:gd name="connsiteY466" fmla="*/ 1258387 h 1989183"/>
              <a:gd name="connsiteX467" fmla="*/ 3081721 w 4518776"/>
              <a:gd name="connsiteY467" fmla="*/ 1285728 h 1989183"/>
              <a:gd name="connsiteX468" fmla="*/ 3109062 w 4518776"/>
              <a:gd name="connsiteY468" fmla="*/ 1258387 h 1989183"/>
              <a:gd name="connsiteX469" fmla="*/ 3081721 w 4518776"/>
              <a:gd name="connsiteY469" fmla="*/ 1231046 h 1989183"/>
              <a:gd name="connsiteX470" fmla="*/ 3316674 w 4518776"/>
              <a:gd name="connsiteY470" fmla="*/ 1231046 h 1989183"/>
              <a:gd name="connsiteX471" fmla="*/ 3289333 w 4518776"/>
              <a:gd name="connsiteY471" fmla="*/ 1258387 h 1989183"/>
              <a:gd name="connsiteX472" fmla="*/ 3316674 w 4518776"/>
              <a:gd name="connsiteY472" fmla="*/ 1285728 h 1989183"/>
              <a:gd name="connsiteX473" fmla="*/ 3344015 w 4518776"/>
              <a:gd name="connsiteY473" fmla="*/ 1258387 h 1989183"/>
              <a:gd name="connsiteX474" fmla="*/ 3316674 w 4518776"/>
              <a:gd name="connsiteY474" fmla="*/ 1231046 h 1989183"/>
              <a:gd name="connsiteX475" fmla="*/ 3551626 w 4518776"/>
              <a:gd name="connsiteY475" fmla="*/ 1231046 h 1989183"/>
              <a:gd name="connsiteX476" fmla="*/ 3524285 w 4518776"/>
              <a:gd name="connsiteY476" fmla="*/ 1258387 h 1989183"/>
              <a:gd name="connsiteX477" fmla="*/ 3551626 w 4518776"/>
              <a:gd name="connsiteY477" fmla="*/ 1285728 h 1989183"/>
              <a:gd name="connsiteX478" fmla="*/ 3578967 w 4518776"/>
              <a:gd name="connsiteY478" fmla="*/ 1258387 h 1989183"/>
              <a:gd name="connsiteX479" fmla="*/ 3551626 w 4518776"/>
              <a:gd name="connsiteY479" fmla="*/ 1231046 h 1989183"/>
              <a:gd name="connsiteX480" fmla="*/ 3786578 w 4518776"/>
              <a:gd name="connsiteY480" fmla="*/ 1231046 h 1989183"/>
              <a:gd name="connsiteX481" fmla="*/ 3759237 w 4518776"/>
              <a:gd name="connsiteY481" fmla="*/ 1258387 h 1989183"/>
              <a:gd name="connsiteX482" fmla="*/ 3786578 w 4518776"/>
              <a:gd name="connsiteY482" fmla="*/ 1285728 h 1989183"/>
              <a:gd name="connsiteX483" fmla="*/ 3813919 w 4518776"/>
              <a:gd name="connsiteY483" fmla="*/ 1258387 h 1989183"/>
              <a:gd name="connsiteX484" fmla="*/ 3786578 w 4518776"/>
              <a:gd name="connsiteY484" fmla="*/ 1231046 h 1989183"/>
              <a:gd name="connsiteX485" fmla="*/ 4021530 w 4518776"/>
              <a:gd name="connsiteY485" fmla="*/ 1231046 h 1989183"/>
              <a:gd name="connsiteX486" fmla="*/ 3994189 w 4518776"/>
              <a:gd name="connsiteY486" fmla="*/ 1258387 h 1989183"/>
              <a:gd name="connsiteX487" fmla="*/ 4021530 w 4518776"/>
              <a:gd name="connsiteY487" fmla="*/ 1285728 h 1989183"/>
              <a:gd name="connsiteX488" fmla="*/ 4048871 w 4518776"/>
              <a:gd name="connsiteY488" fmla="*/ 1258387 h 1989183"/>
              <a:gd name="connsiteX489" fmla="*/ 4021530 w 4518776"/>
              <a:gd name="connsiteY489" fmla="*/ 1231046 h 1989183"/>
              <a:gd name="connsiteX490" fmla="*/ 4256483 w 4518776"/>
              <a:gd name="connsiteY490" fmla="*/ 1231046 h 1989183"/>
              <a:gd name="connsiteX491" fmla="*/ 4229142 w 4518776"/>
              <a:gd name="connsiteY491" fmla="*/ 1258387 h 1989183"/>
              <a:gd name="connsiteX492" fmla="*/ 4256483 w 4518776"/>
              <a:gd name="connsiteY492" fmla="*/ 1285728 h 1989183"/>
              <a:gd name="connsiteX493" fmla="*/ 4283824 w 4518776"/>
              <a:gd name="connsiteY493" fmla="*/ 1258387 h 1989183"/>
              <a:gd name="connsiteX494" fmla="*/ 4256483 w 4518776"/>
              <a:gd name="connsiteY494" fmla="*/ 1231046 h 1989183"/>
              <a:gd name="connsiteX495" fmla="*/ 4491435 w 4518776"/>
              <a:gd name="connsiteY495" fmla="*/ 1231046 h 1989183"/>
              <a:gd name="connsiteX496" fmla="*/ 4464094 w 4518776"/>
              <a:gd name="connsiteY496" fmla="*/ 1258387 h 1989183"/>
              <a:gd name="connsiteX497" fmla="*/ 4491435 w 4518776"/>
              <a:gd name="connsiteY497" fmla="*/ 1285728 h 1989183"/>
              <a:gd name="connsiteX498" fmla="*/ 4518776 w 4518776"/>
              <a:gd name="connsiteY498" fmla="*/ 1258387 h 1989183"/>
              <a:gd name="connsiteX499" fmla="*/ 4491435 w 4518776"/>
              <a:gd name="connsiteY499" fmla="*/ 1231046 h 1989183"/>
              <a:gd name="connsiteX500" fmla="*/ 27341 w 4518776"/>
              <a:gd name="connsiteY500" fmla="*/ 1055182 h 1989183"/>
              <a:gd name="connsiteX501" fmla="*/ 0 w 4518776"/>
              <a:gd name="connsiteY501" fmla="*/ 1082523 h 1989183"/>
              <a:gd name="connsiteX502" fmla="*/ 27341 w 4518776"/>
              <a:gd name="connsiteY502" fmla="*/ 1109864 h 1989183"/>
              <a:gd name="connsiteX503" fmla="*/ 54682 w 4518776"/>
              <a:gd name="connsiteY503" fmla="*/ 1082523 h 1989183"/>
              <a:gd name="connsiteX504" fmla="*/ 27341 w 4518776"/>
              <a:gd name="connsiteY504" fmla="*/ 1055182 h 1989183"/>
              <a:gd name="connsiteX505" fmla="*/ 262293 w 4518776"/>
              <a:gd name="connsiteY505" fmla="*/ 1055182 h 1989183"/>
              <a:gd name="connsiteX506" fmla="*/ 234952 w 4518776"/>
              <a:gd name="connsiteY506" fmla="*/ 1082523 h 1989183"/>
              <a:gd name="connsiteX507" fmla="*/ 262293 w 4518776"/>
              <a:gd name="connsiteY507" fmla="*/ 1109864 h 1989183"/>
              <a:gd name="connsiteX508" fmla="*/ 289634 w 4518776"/>
              <a:gd name="connsiteY508" fmla="*/ 1082523 h 1989183"/>
              <a:gd name="connsiteX509" fmla="*/ 262293 w 4518776"/>
              <a:gd name="connsiteY509" fmla="*/ 1055182 h 1989183"/>
              <a:gd name="connsiteX510" fmla="*/ 497246 w 4518776"/>
              <a:gd name="connsiteY510" fmla="*/ 1055182 h 1989183"/>
              <a:gd name="connsiteX511" fmla="*/ 469905 w 4518776"/>
              <a:gd name="connsiteY511" fmla="*/ 1082523 h 1989183"/>
              <a:gd name="connsiteX512" fmla="*/ 497246 w 4518776"/>
              <a:gd name="connsiteY512" fmla="*/ 1109864 h 1989183"/>
              <a:gd name="connsiteX513" fmla="*/ 524587 w 4518776"/>
              <a:gd name="connsiteY513" fmla="*/ 1082523 h 1989183"/>
              <a:gd name="connsiteX514" fmla="*/ 497246 w 4518776"/>
              <a:gd name="connsiteY514" fmla="*/ 1055182 h 1989183"/>
              <a:gd name="connsiteX515" fmla="*/ 732198 w 4518776"/>
              <a:gd name="connsiteY515" fmla="*/ 1055182 h 1989183"/>
              <a:gd name="connsiteX516" fmla="*/ 704857 w 4518776"/>
              <a:gd name="connsiteY516" fmla="*/ 1082523 h 1989183"/>
              <a:gd name="connsiteX517" fmla="*/ 732198 w 4518776"/>
              <a:gd name="connsiteY517" fmla="*/ 1109864 h 1989183"/>
              <a:gd name="connsiteX518" fmla="*/ 759539 w 4518776"/>
              <a:gd name="connsiteY518" fmla="*/ 1082523 h 1989183"/>
              <a:gd name="connsiteX519" fmla="*/ 732198 w 4518776"/>
              <a:gd name="connsiteY519" fmla="*/ 1055182 h 1989183"/>
              <a:gd name="connsiteX520" fmla="*/ 967150 w 4518776"/>
              <a:gd name="connsiteY520" fmla="*/ 1055182 h 1989183"/>
              <a:gd name="connsiteX521" fmla="*/ 939809 w 4518776"/>
              <a:gd name="connsiteY521" fmla="*/ 1082523 h 1989183"/>
              <a:gd name="connsiteX522" fmla="*/ 967150 w 4518776"/>
              <a:gd name="connsiteY522" fmla="*/ 1109864 h 1989183"/>
              <a:gd name="connsiteX523" fmla="*/ 994491 w 4518776"/>
              <a:gd name="connsiteY523" fmla="*/ 1082523 h 1989183"/>
              <a:gd name="connsiteX524" fmla="*/ 967150 w 4518776"/>
              <a:gd name="connsiteY524" fmla="*/ 1055182 h 1989183"/>
              <a:gd name="connsiteX525" fmla="*/ 1202103 w 4518776"/>
              <a:gd name="connsiteY525" fmla="*/ 1055182 h 1989183"/>
              <a:gd name="connsiteX526" fmla="*/ 1174762 w 4518776"/>
              <a:gd name="connsiteY526" fmla="*/ 1082523 h 1989183"/>
              <a:gd name="connsiteX527" fmla="*/ 1202103 w 4518776"/>
              <a:gd name="connsiteY527" fmla="*/ 1109864 h 1989183"/>
              <a:gd name="connsiteX528" fmla="*/ 1229444 w 4518776"/>
              <a:gd name="connsiteY528" fmla="*/ 1082523 h 1989183"/>
              <a:gd name="connsiteX529" fmla="*/ 1202103 w 4518776"/>
              <a:gd name="connsiteY529" fmla="*/ 1055182 h 1989183"/>
              <a:gd name="connsiteX530" fmla="*/ 1437055 w 4518776"/>
              <a:gd name="connsiteY530" fmla="*/ 1055182 h 1989183"/>
              <a:gd name="connsiteX531" fmla="*/ 1409714 w 4518776"/>
              <a:gd name="connsiteY531" fmla="*/ 1082523 h 1989183"/>
              <a:gd name="connsiteX532" fmla="*/ 1437055 w 4518776"/>
              <a:gd name="connsiteY532" fmla="*/ 1109864 h 1989183"/>
              <a:gd name="connsiteX533" fmla="*/ 1464396 w 4518776"/>
              <a:gd name="connsiteY533" fmla="*/ 1082523 h 1989183"/>
              <a:gd name="connsiteX534" fmla="*/ 1437055 w 4518776"/>
              <a:gd name="connsiteY534" fmla="*/ 1055182 h 1989183"/>
              <a:gd name="connsiteX535" fmla="*/ 1672007 w 4518776"/>
              <a:gd name="connsiteY535" fmla="*/ 1055182 h 1989183"/>
              <a:gd name="connsiteX536" fmla="*/ 1644666 w 4518776"/>
              <a:gd name="connsiteY536" fmla="*/ 1082523 h 1989183"/>
              <a:gd name="connsiteX537" fmla="*/ 1672007 w 4518776"/>
              <a:gd name="connsiteY537" fmla="*/ 1109864 h 1989183"/>
              <a:gd name="connsiteX538" fmla="*/ 1699348 w 4518776"/>
              <a:gd name="connsiteY538" fmla="*/ 1082523 h 1989183"/>
              <a:gd name="connsiteX539" fmla="*/ 1672007 w 4518776"/>
              <a:gd name="connsiteY539" fmla="*/ 1055182 h 1989183"/>
              <a:gd name="connsiteX540" fmla="*/ 1906960 w 4518776"/>
              <a:gd name="connsiteY540" fmla="*/ 1055182 h 1989183"/>
              <a:gd name="connsiteX541" fmla="*/ 1879619 w 4518776"/>
              <a:gd name="connsiteY541" fmla="*/ 1082523 h 1989183"/>
              <a:gd name="connsiteX542" fmla="*/ 1906960 w 4518776"/>
              <a:gd name="connsiteY542" fmla="*/ 1109864 h 1989183"/>
              <a:gd name="connsiteX543" fmla="*/ 1934301 w 4518776"/>
              <a:gd name="connsiteY543" fmla="*/ 1082523 h 1989183"/>
              <a:gd name="connsiteX544" fmla="*/ 1906960 w 4518776"/>
              <a:gd name="connsiteY544" fmla="*/ 1055182 h 1989183"/>
              <a:gd name="connsiteX545" fmla="*/ 2141912 w 4518776"/>
              <a:gd name="connsiteY545" fmla="*/ 1055182 h 1989183"/>
              <a:gd name="connsiteX546" fmla="*/ 2114571 w 4518776"/>
              <a:gd name="connsiteY546" fmla="*/ 1082523 h 1989183"/>
              <a:gd name="connsiteX547" fmla="*/ 2141912 w 4518776"/>
              <a:gd name="connsiteY547" fmla="*/ 1109864 h 1989183"/>
              <a:gd name="connsiteX548" fmla="*/ 2169253 w 4518776"/>
              <a:gd name="connsiteY548" fmla="*/ 1082523 h 1989183"/>
              <a:gd name="connsiteX549" fmla="*/ 2141912 w 4518776"/>
              <a:gd name="connsiteY549" fmla="*/ 1055182 h 1989183"/>
              <a:gd name="connsiteX550" fmla="*/ 2376864 w 4518776"/>
              <a:gd name="connsiteY550" fmla="*/ 1055182 h 1989183"/>
              <a:gd name="connsiteX551" fmla="*/ 2349523 w 4518776"/>
              <a:gd name="connsiteY551" fmla="*/ 1082523 h 1989183"/>
              <a:gd name="connsiteX552" fmla="*/ 2376864 w 4518776"/>
              <a:gd name="connsiteY552" fmla="*/ 1109864 h 1989183"/>
              <a:gd name="connsiteX553" fmla="*/ 2404205 w 4518776"/>
              <a:gd name="connsiteY553" fmla="*/ 1082523 h 1989183"/>
              <a:gd name="connsiteX554" fmla="*/ 2376864 w 4518776"/>
              <a:gd name="connsiteY554" fmla="*/ 1055182 h 1989183"/>
              <a:gd name="connsiteX555" fmla="*/ 2611817 w 4518776"/>
              <a:gd name="connsiteY555" fmla="*/ 1055182 h 1989183"/>
              <a:gd name="connsiteX556" fmla="*/ 2584476 w 4518776"/>
              <a:gd name="connsiteY556" fmla="*/ 1082523 h 1989183"/>
              <a:gd name="connsiteX557" fmla="*/ 2611817 w 4518776"/>
              <a:gd name="connsiteY557" fmla="*/ 1109864 h 1989183"/>
              <a:gd name="connsiteX558" fmla="*/ 2639158 w 4518776"/>
              <a:gd name="connsiteY558" fmla="*/ 1082523 h 1989183"/>
              <a:gd name="connsiteX559" fmla="*/ 2611817 w 4518776"/>
              <a:gd name="connsiteY559" fmla="*/ 1055182 h 1989183"/>
              <a:gd name="connsiteX560" fmla="*/ 2846769 w 4518776"/>
              <a:gd name="connsiteY560" fmla="*/ 1055182 h 1989183"/>
              <a:gd name="connsiteX561" fmla="*/ 2819428 w 4518776"/>
              <a:gd name="connsiteY561" fmla="*/ 1082523 h 1989183"/>
              <a:gd name="connsiteX562" fmla="*/ 2846769 w 4518776"/>
              <a:gd name="connsiteY562" fmla="*/ 1109864 h 1989183"/>
              <a:gd name="connsiteX563" fmla="*/ 2874110 w 4518776"/>
              <a:gd name="connsiteY563" fmla="*/ 1082523 h 1989183"/>
              <a:gd name="connsiteX564" fmla="*/ 2846769 w 4518776"/>
              <a:gd name="connsiteY564" fmla="*/ 1055182 h 1989183"/>
              <a:gd name="connsiteX565" fmla="*/ 3081721 w 4518776"/>
              <a:gd name="connsiteY565" fmla="*/ 1055182 h 1989183"/>
              <a:gd name="connsiteX566" fmla="*/ 3054380 w 4518776"/>
              <a:gd name="connsiteY566" fmla="*/ 1082523 h 1989183"/>
              <a:gd name="connsiteX567" fmla="*/ 3081721 w 4518776"/>
              <a:gd name="connsiteY567" fmla="*/ 1109864 h 1989183"/>
              <a:gd name="connsiteX568" fmla="*/ 3109062 w 4518776"/>
              <a:gd name="connsiteY568" fmla="*/ 1082523 h 1989183"/>
              <a:gd name="connsiteX569" fmla="*/ 3081721 w 4518776"/>
              <a:gd name="connsiteY569" fmla="*/ 1055182 h 1989183"/>
              <a:gd name="connsiteX570" fmla="*/ 3316674 w 4518776"/>
              <a:gd name="connsiteY570" fmla="*/ 1055182 h 1989183"/>
              <a:gd name="connsiteX571" fmla="*/ 3289333 w 4518776"/>
              <a:gd name="connsiteY571" fmla="*/ 1082523 h 1989183"/>
              <a:gd name="connsiteX572" fmla="*/ 3316674 w 4518776"/>
              <a:gd name="connsiteY572" fmla="*/ 1109864 h 1989183"/>
              <a:gd name="connsiteX573" fmla="*/ 3344015 w 4518776"/>
              <a:gd name="connsiteY573" fmla="*/ 1082523 h 1989183"/>
              <a:gd name="connsiteX574" fmla="*/ 3316674 w 4518776"/>
              <a:gd name="connsiteY574" fmla="*/ 1055182 h 1989183"/>
              <a:gd name="connsiteX575" fmla="*/ 3551626 w 4518776"/>
              <a:gd name="connsiteY575" fmla="*/ 1055182 h 1989183"/>
              <a:gd name="connsiteX576" fmla="*/ 3524285 w 4518776"/>
              <a:gd name="connsiteY576" fmla="*/ 1082523 h 1989183"/>
              <a:gd name="connsiteX577" fmla="*/ 3551626 w 4518776"/>
              <a:gd name="connsiteY577" fmla="*/ 1109864 h 1989183"/>
              <a:gd name="connsiteX578" fmla="*/ 3578967 w 4518776"/>
              <a:gd name="connsiteY578" fmla="*/ 1082523 h 1989183"/>
              <a:gd name="connsiteX579" fmla="*/ 3551626 w 4518776"/>
              <a:gd name="connsiteY579" fmla="*/ 1055182 h 1989183"/>
              <a:gd name="connsiteX580" fmla="*/ 3786578 w 4518776"/>
              <a:gd name="connsiteY580" fmla="*/ 1055182 h 1989183"/>
              <a:gd name="connsiteX581" fmla="*/ 3759237 w 4518776"/>
              <a:gd name="connsiteY581" fmla="*/ 1082523 h 1989183"/>
              <a:gd name="connsiteX582" fmla="*/ 3786578 w 4518776"/>
              <a:gd name="connsiteY582" fmla="*/ 1109864 h 1989183"/>
              <a:gd name="connsiteX583" fmla="*/ 3813919 w 4518776"/>
              <a:gd name="connsiteY583" fmla="*/ 1082523 h 1989183"/>
              <a:gd name="connsiteX584" fmla="*/ 3786578 w 4518776"/>
              <a:gd name="connsiteY584" fmla="*/ 1055182 h 1989183"/>
              <a:gd name="connsiteX585" fmla="*/ 4021530 w 4518776"/>
              <a:gd name="connsiteY585" fmla="*/ 1055182 h 1989183"/>
              <a:gd name="connsiteX586" fmla="*/ 3994189 w 4518776"/>
              <a:gd name="connsiteY586" fmla="*/ 1082523 h 1989183"/>
              <a:gd name="connsiteX587" fmla="*/ 4021530 w 4518776"/>
              <a:gd name="connsiteY587" fmla="*/ 1109864 h 1989183"/>
              <a:gd name="connsiteX588" fmla="*/ 4048871 w 4518776"/>
              <a:gd name="connsiteY588" fmla="*/ 1082523 h 1989183"/>
              <a:gd name="connsiteX589" fmla="*/ 4021530 w 4518776"/>
              <a:gd name="connsiteY589" fmla="*/ 1055182 h 1989183"/>
              <a:gd name="connsiteX590" fmla="*/ 4256483 w 4518776"/>
              <a:gd name="connsiteY590" fmla="*/ 1055182 h 1989183"/>
              <a:gd name="connsiteX591" fmla="*/ 4229142 w 4518776"/>
              <a:gd name="connsiteY591" fmla="*/ 1082523 h 1989183"/>
              <a:gd name="connsiteX592" fmla="*/ 4256483 w 4518776"/>
              <a:gd name="connsiteY592" fmla="*/ 1109864 h 1989183"/>
              <a:gd name="connsiteX593" fmla="*/ 4283824 w 4518776"/>
              <a:gd name="connsiteY593" fmla="*/ 1082523 h 1989183"/>
              <a:gd name="connsiteX594" fmla="*/ 4256483 w 4518776"/>
              <a:gd name="connsiteY594" fmla="*/ 1055182 h 1989183"/>
              <a:gd name="connsiteX595" fmla="*/ 4491435 w 4518776"/>
              <a:gd name="connsiteY595" fmla="*/ 1055182 h 1989183"/>
              <a:gd name="connsiteX596" fmla="*/ 4464094 w 4518776"/>
              <a:gd name="connsiteY596" fmla="*/ 1082523 h 1989183"/>
              <a:gd name="connsiteX597" fmla="*/ 4491435 w 4518776"/>
              <a:gd name="connsiteY597" fmla="*/ 1109864 h 1989183"/>
              <a:gd name="connsiteX598" fmla="*/ 4518776 w 4518776"/>
              <a:gd name="connsiteY598" fmla="*/ 1082523 h 1989183"/>
              <a:gd name="connsiteX599" fmla="*/ 4491435 w 4518776"/>
              <a:gd name="connsiteY599" fmla="*/ 1055182 h 1989183"/>
              <a:gd name="connsiteX600" fmla="*/ 27341 w 4518776"/>
              <a:gd name="connsiteY600" fmla="*/ 879318 h 1989183"/>
              <a:gd name="connsiteX601" fmla="*/ 0 w 4518776"/>
              <a:gd name="connsiteY601" fmla="*/ 906659 h 1989183"/>
              <a:gd name="connsiteX602" fmla="*/ 27341 w 4518776"/>
              <a:gd name="connsiteY602" fmla="*/ 934000 h 1989183"/>
              <a:gd name="connsiteX603" fmla="*/ 54682 w 4518776"/>
              <a:gd name="connsiteY603" fmla="*/ 906659 h 1989183"/>
              <a:gd name="connsiteX604" fmla="*/ 27341 w 4518776"/>
              <a:gd name="connsiteY604" fmla="*/ 879318 h 1989183"/>
              <a:gd name="connsiteX605" fmla="*/ 262293 w 4518776"/>
              <a:gd name="connsiteY605" fmla="*/ 879318 h 1989183"/>
              <a:gd name="connsiteX606" fmla="*/ 234952 w 4518776"/>
              <a:gd name="connsiteY606" fmla="*/ 906659 h 1989183"/>
              <a:gd name="connsiteX607" fmla="*/ 262293 w 4518776"/>
              <a:gd name="connsiteY607" fmla="*/ 934000 h 1989183"/>
              <a:gd name="connsiteX608" fmla="*/ 289634 w 4518776"/>
              <a:gd name="connsiteY608" fmla="*/ 906659 h 1989183"/>
              <a:gd name="connsiteX609" fmla="*/ 262293 w 4518776"/>
              <a:gd name="connsiteY609" fmla="*/ 879318 h 1989183"/>
              <a:gd name="connsiteX610" fmla="*/ 497246 w 4518776"/>
              <a:gd name="connsiteY610" fmla="*/ 879318 h 1989183"/>
              <a:gd name="connsiteX611" fmla="*/ 469905 w 4518776"/>
              <a:gd name="connsiteY611" fmla="*/ 906659 h 1989183"/>
              <a:gd name="connsiteX612" fmla="*/ 497246 w 4518776"/>
              <a:gd name="connsiteY612" fmla="*/ 934000 h 1989183"/>
              <a:gd name="connsiteX613" fmla="*/ 524587 w 4518776"/>
              <a:gd name="connsiteY613" fmla="*/ 906659 h 1989183"/>
              <a:gd name="connsiteX614" fmla="*/ 497246 w 4518776"/>
              <a:gd name="connsiteY614" fmla="*/ 879318 h 1989183"/>
              <a:gd name="connsiteX615" fmla="*/ 732198 w 4518776"/>
              <a:gd name="connsiteY615" fmla="*/ 879318 h 1989183"/>
              <a:gd name="connsiteX616" fmla="*/ 704857 w 4518776"/>
              <a:gd name="connsiteY616" fmla="*/ 906659 h 1989183"/>
              <a:gd name="connsiteX617" fmla="*/ 732198 w 4518776"/>
              <a:gd name="connsiteY617" fmla="*/ 934000 h 1989183"/>
              <a:gd name="connsiteX618" fmla="*/ 759539 w 4518776"/>
              <a:gd name="connsiteY618" fmla="*/ 906659 h 1989183"/>
              <a:gd name="connsiteX619" fmla="*/ 732198 w 4518776"/>
              <a:gd name="connsiteY619" fmla="*/ 879318 h 1989183"/>
              <a:gd name="connsiteX620" fmla="*/ 967150 w 4518776"/>
              <a:gd name="connsiteY620" fmla="*/ 879318 h 1989183"/>
              <a:gd name="connsiteX621" fmla="*/ 939809 w 4518776"/>
              <a:gd name="connsiteY621" fmla="*/ 906659 h 1989183"/>
              <a:gd name="connsiteX622" fmla="*/ 967150 w 4518776"/>
              <a:gd name="connsiteY622" fmla="*/ 934000 h 1989183"/>
              <a:gd name="connsiteX623" fmla="*/ 994491 w 4518776"/>
              <a:gd name="connsiteY623" fmla="*/ 906659 h 1989183"/>
              <a:gd name="connsiteX624" fmla="*/ 967150 w 4518776"/>
              <a:gd name="connsiteY624" fmla="*/ 879318 h 1989183"/>
              <a:gd name="connsiteX625" fmla="*/ 1202103 w 4518776"/>
              <a:gd name="connsiteY625" fmla="*/ 879318 h 1989183"/>
              <a:gd name="connsiteX626" fmla="*/ 1174762 w 4518776"/>
              <a:gd name="connsiteY626" fmla="*/ 906659 h 1989183"/>
              <a:gd name="connsiteX627" fmla="*/ 1202103 w 4518776"/>
              <a:gd name="connsiteY627" fmla="*/ 934000 h 1989183"/>
              <a:gd name="connsiteX628" fmla="*/ 1229444 w 4518776"/>
              <a:gd name="connsiteY628" fmla="*/ 906659 h 1989183"/>
              <a:gd name="connsiteX629" fmla="*/ 1202103 w 4518776"/>
              <a:gd name="connsiteY629" fmla="*/ 879318 h 1989183"/>
              <a:gd name="connsiteX630" fmla="*/ 1437055 w 4518776"/>
              <a:gd name="connsiteY630" fmla="*/ 879318 h 1989183"/>
              <a:gd name="connsiteX631" fmla="*/ 1409714 w 4518776"/>
              <a:gd name="connsiteY631" fmla="*/ 906659 h 1989183"/>
              <a:gd name="connsiteX632" fmla="*/ 1437055 w 4518776"/>
              <a:gd name="connsiteY632" fmla="*/ 934000 h 1989183"/>
              <a:gd name="connsiteX633" fmla="*/ 1464396 w 4518776"/>
              <a:gd name="connsiteY633" fmla="*/ 906659 h 1989183"/>
              <a:gd name="connsiteX634" fmla="*/ 1437055 w 4518776"/>
              <a:gd name="connsiteY634" fmla="*/ 879318 h 1989183"/>
              <a:gd name="connsiteX635" fmla="*/ 1672007 w 4518776"/>
              <a:gd name="connsiteY635" fmla="*/ 879318 h 1989183"/>
              <a:gd name="connsiteX636" fmla="*/ 1644666 w 4518776"/>
              <a:gd name="connsiteY636" fmla="*/ 906659 h 1989183"/>
              <a:gd name="connsiteX637" fmla="*/ 1672007 w 4518776"/>
              <a:gd name="connsiteY637" fmla="*/ 934000 h 1989183"/>
              <a:gd name="connsiteX638" fmla="*/ 1699348 w 4518776"/>
              <a:gd name="connsiteY638" fmla="*/ 906659 h 1989183"/>
              <a:gd name="connsiteX639" fmla="*/ 1672007 w 4518776"/>
              <a:gd name="connsiteY639" fmla="*/ 879318 h 1989183"/>
              <a:gd name="connsiteX640" fmla="*/ 1906960 w 4518776"/>
              <a:gd name="connsiteY640" fmla="*/ 879318 h 1989183"/>
              <a:gd name="connsiteX641" fmla="*/ 1879619 w 4518776"/>
              <a:gd name="connsiteY641" fmla="*/ 906659 h 1989183"/>
              <a:gd name="connsiteX642" fmla="*/ 1906960 w 4518776"/>
              <a:gd name="connsiteY642" fmla="*/ 934000 h 1989183"/>
              <a:gd name="connsiteX643" fmla="*/ 1934301 w 4518776"/>
              <a:gd name="connsiteY643" fmla="*/ 906659 h 1989183"/>
              <a:gd name="connsiteX644" fmla="*/ 1906960 w 4518776"/>
              <a:gd name="connsiteY644" fmla="*/ 879318 h 1989183"/>
              <a:gd name="connsiteX645" fmla="*/ 2141912 w 4518776"/>
              <a:gd name="connsiteY645" fmla="*/ 879318 h 1989183"/>
              <a:gd name="connsiteX646" fmla="*/ 2114571 w 4518776"/>
              <a:gd name="connsiteY646" fmla="*/ 906659 h 1989183"/>
              <a:gd name="connsiteX647" fmla="*/ 2141912 w 4518776"/>
              <a:gd name="connsiteY647" fmla="*/ 934000 h 1989183"/>
              <a:gd name="connsiteX648" fmla="*/ 2169253 w 4518776"/>
              <a:gd name="connsiteY648" fmla="*/ 906659 h 1989183"/>
              <a:gd name="connsiteX649" fmla="*/ 2141912 w 4518776"/>
              <a:gd name="connsiteY649" fmla="*/ 879318 h 1989183"/>
              <a:gd name="connsiteX650" fmla="*/ 2376864 w 4518776"/>
              <a:gd name="connsiteY650" fmla="*/ 879318 h 1989183"/>
              <a:gd name="connsiteX651" fmla="*/ 2349523 w 4518776"/>
              <a:gd name="connsiteY651" fmla="*/ 906659 h 1989183"/>
              <a:gd name="connsiteX652" fmla="*/ 2376864 w 4518776"/>
              <a:gd name="connsiteY652" fmla="*/ 934000 h 1989183"/>
              <a:gd name="connsiteX653" fmla="*/ 2404205 w 4518776"/>
              <a:gd name="connsiteY653" fmla="*/ 906659 h 1989183"/>
              <a:gd name="connsiteX654" fmla="*/ 2376864 w 4518776"/>
              <a:gd name="connsiteY654" fmla="*/ 879318 h 1989183"/>
              <a:gd name="connsiteX655" fmla="*/ 2611817 w 4518776"/>
              <a:gd name="connsiteY655" fmla="*/ 879318 h 1989183"/>
              <a:gd name="connsiteX656" fmla="*/ 2584476 w 4518776"/>
              <a:gd name="connsiteY656" fmla="*/ 906659 h 1989183"/>
              <a:gd name="connsiteX657" fmla="*/ 2611817 w 4518776"/>
              <a:gd name="connsiteY657" fmla="*/ 934000 h 1989183"/>
              <a:gd name="connsiteX658" fmla="*/ 2639158 w 4518776"/>
              <a:gd name="connsiteY658" fmla="*/ 906659 h 1989183"/>
              <a:gd name="connsiteX659" fmla="*/ 2611817 w 4518776"/>
              <a:gd name="connsiteY659" fmla="*/ 879318 h 1989183"/>
              <a:gd name="connsiteX660" fmla="*/ 2846769 w 4518776"/>
              <a:gd name="connsiteY660" fmla="*/ 879318 h 1989183"/>
              <a:gd name="connsiteX661" fmla="*/ 2819428 w 4518776"/>
              <a:gd name="connsiteY661" fmla="*/ 906659 h 1989183"/>
              <a:gd name="connsiteX662" fmla="*/ 2846769 w 4518776"/>
              <a:gd name="connsiteY662" fmla="*/ 934000 h 1989183"/>
              <a:gd name="connsiteX663" fmla="*/ 2874110 w 4518776"/>
              <a:gd name="connsiteY663" fmla="*/ 906659 h 1989183"/>
              <a:gd name="connsiteX664" fmla="*/ 2846769 w 4518776"/>
              <a:gd name="connsiteY664" fmla="*/ 879318 h 1989183"/>
              <a:gd name="connsiteX665" fmla="*/ 3081721 w 4518776"/>
              <a:gd name="connsiteY665" fmla="*/ 879318 h 1989183"/>
              <a:gd name="connsiteX666" fmla="*/ 3054380 w 4518776"/>
              <a:gd name="connsiteY666" fmla="*/ 906659 h 1989183"/>
              <a:gd name="connsiteX667" fmla="*/ 3081721 w 4518776"/>
              <a:gd name="connsiteY667" fmla="*/ 934000 h 1989183"/>
              <a:gd name="connsiteX668" fmla="*/ 3109062 w 4518776"/>
              <a:gd name="connsiteY668" fmla="*/ 906659 h 1989183"/>
              <a:gd name="connsiteX669" fmla="*/ 3081721 w 4518776"/>
              <a:gd name="connsiteY669" fmla="*/ 879318 h 1989183"/>
              <a:gd name="connsiteX670" fmla="*/ 3316674 w 4518776"/>
              <a:gd name="connsiteY670" fmla="*/ 879318 h 1989183"/>
              <a:gd name="connsiteX671" fmla="*/ 3289333 w 4518776"/>
              <a:gd name="connsiteY671" fmla="*/ 906659 h 1989183"/>
              <a:gd name="connsiteX672" fmla="*/ 3316674 w 4518776"/>
              <a:gd name="connsiteY672" fmla="*/ 934000 h 1989183"/>
              <a:gd name="connsiteX673" fmla="*/ 3344015 w 4518776"/>
              <a:gd name="connsiteY673" fmla="*/ 906659 h 1989183"/>
              <a:gd name="connsiteX674" fmla="*/ 3316674 w 4518776"/>
              <a:gd name="connsiteY674" fmla="*/ 879318 h 1989183"/>
              <a:gd name="connsiteX675" fmla="*/ 3551626 w 4518776"/>
              <a:gd name="connsiteY675" fmla="*/ 879318 h 1989183"/>
              <a:gd name="connsiteX676" fmla="*/ 3524285 w 4518776"/>
              <a:gd name="connsiteY676" fmla="*/ 906659 h 1989183"/>
              <a:gd name="connsiteX677" fmla="*/ 3551626 w 4518776"/>
              <a:gd name="connsiteY677" fmla="*/ 934000 h 1989183"/>
              <a:gd name="connsiteX678" fmla="*/ 3578967 w 4518776"/>
              <a:gd name="connsiteY678" fmla="*/ 906659 h 1989183"/>
              <a:gd name="connsiteX679" fmla="*/ 3551626 w 4518776"/>
              <a:gd name="connsiteY679" fmla="*/ 879318 h 1989183"/>
              <a:gd name="connsiteX680" fmla="*/ 3786578 w 4518776"/>
              <a:gd name="connsiteY680" fmla="*/ 879318 h 1989183"/>
              <a:gd name="connsiteX681" fmla="*/ 3759237 w 4518776"/>
              <a:gd name="connsiteY681" fmla="*/ 906659 h 1989183"/>
              <a:gd name="connsiteX682" fmla="*/ 3786578 w 4518776"/>
              <a:gd name="connsiteY682" fmla="*/ 934000 h 1989183"/>
              <a:gd name="connsiteX683" fmla="*/ 3813919 w 4518776"/>
              <a:gd name="connsiteY683" fmla="*/ 906659 h 1989183"/>
              <a:gd name="connsiteX684" fmla="*/ 3786578 w 4518776"/>
              <a:gd name="connsiteY684" fmla="*/ 879318 h 1989183"/>
              <a:gd name="connsiteX685" fmla="*/ 4021530 w 4518776"/>
              <a:gd name="connsiteY685" fmla="*/ 879318 h 1989183"/>
              <a:gd name="connsiteX686" fmla="*/ 3994189 w 4518776"/>
              <a:gd name="connsiteY686" fmla="*/ 906659 h 1989183"/>
              <a:gd name="connsiteX687" fmla="*/ 4021530 w 4518776"/>
              <a:gd name="connsiteY687" fmla="*/ 934000 h 1989183"/>
              <a:gd name="connsiteX688" fmla="*/ 4048871 w 4518776"/>
              <a:gd name="connsiteY688" fmla="*/ 906659 h 1989183"/>
              <a:gd name="connsiteX689" fmla="*/ 4021530 w 4518776"/>
              <a:gd name="connsiteY689" fmla="*/ 879318 h 1989183"/>
              <a:gd name="connsiteX690" fmla="*/ 4256483 w 4518776"/>
              <a:gd name="connsiteY690" fmla="*/ 879318 h 1989183"/>
              <a:gd name="connsiteX691" fmla="*/ 4229142 w 4518776"/>
              <a:gd name="connsiteY691" fmla="*/ 906659 h 1989183"/>
              <a:gd name="connsiteX692" fmla="*/ 4256483 w 4518776"/>
              <a:gd name="connsiteY692" fmla="*/ 934000 h 1989183"/>
              <a:gd name="connsiteX693" fmla="*/ 4283824 w 4518776"/>
              <a:gd name="connsiteY693" fmla="*/ 906659 h 1989183"/>
              <a:gd name="connsiteX694" fmla="*/ 4256483 w 4518776"/>
              <a:gd name="connsiteY694" fmla="*/ 879318 h 1989183"/>
              <a:gd name="connsiteX695" fmla="*/ 4491435 w 4518776"/>
              <a:gd name="connsiteY695" fmla="*/ 879318 h 1989183"/>
              <a:gd name="connsiteX696" fmla="*/ 4464094 w 4518776"/>
              <a:gd name="connsiteY696" fmla="*/ 906659 h 1989183"/>
              <a:gd name="connsiteX697" fmla="*/ 4491435 w 4518776"/>
              <a:gd name="connsiteY697" fmla="*/ 934000 h 1989183"/>
              <a:gd name="connsiteX698" fmla="*/ 4518776 w 4518776"/>
              <a:gd name="connsiteY698" fmla="*/ 906659 h 1989183"/>
              <a:gd name="connsiteX699" fmla="*/ 4491435 w 4518776"/>
              <a:gd name="connsiteY699" fmla="*/ 879318 h 1989183"/>
              <a:gd name="connsiteX700" fmla="*/ 27341 w 4518776"/>
              <a:gd name="connsiteY700" fmla="*/ 703455 h 1989183"/>
              <a:gd name="connsiteX701" fmla="*/ 0 w 4518776"/>
              <a:gd name="connsiteY701" fmla="*/ 730796 h 1989183"/>
              <a:gd name="connsiteX702" fmla="*/ 27341 w 4518776"/>
              <a:gd name="connsiteY702" fmla="*/ 758137 h 1989183"/>
              <a:gd name="connsiteX703" fmla="*/ 54682 w 4518776"/>
              <a:gd name="connsiteY703" fmla="*/ 730796 h 1989183"/>
              <a:gd name="connsiteX704" fmla="*/ 27341 w 4518776"/>
              <a:gd name="connsiteY704" fmla="*/ 703455 h 1989183"/>
              <a:gd name="connsiteX705" fmla="*/ 262293 w 4518776"/>
              <a:gd name="connsiteY705" fmla="*/ 703455 h 1989183"/>
              <a:gd name="connsiteX706" fmla="*/ 234952 w 4518776"/>
              <a:gd name="connsiteY706" fmla="*/ 730796 h 1989183"/>
              <a:gd name="connsiteX707" fmla="*/ 262293 w 4518776"/>
              <a:gd name="connsiteY707" fmla="*/ 758137 h 1989183"/>
              <a:gd name="connsiteX708" fmla="*/ 289634 w 4518776"/>
              <a:gd name="connsiteY708" fmla="*/ 730796 h 1989183"/>
              <a:gd name="connsiteX709" fmla="*/ 262293 w 4518776"/>
              <a:gd name="connsiteY709" fmla="*/ 703455 h 1989183"/>
              <a:gd name="connsiteX710" fmla="*/ 497246 w 4518776"/>
              <a:gd name="connsiteY710" fmla="*/ 703455 h 1989183"/>
              <a:gd name="connsiteX711" fmla="*/ 469905 w 4518776"/>
              <a:gd name="connsiteY711" fmla="*/ 730796 h 1989183"/>
              <a:gd name="connsiteX712" fmla="*/ 497246 w 4518776"/>
              <a:gd name="connsiteY712" fmla="*/ 758137 h 1989183"/>
              <a:gd name="connsiteX713" fmla="*/ 524587 w 4518776"/>
              <a:gd name="connsiteY713" fmla="*/ 730796 h 1989183"/>
              <a:gd name="connsiteX714" fmla="*/ 497246 w 4518776"/>
              <a:gd name="connsiteY714" fmla="*/ 703455 h 1989183"/>
              <a:gd name="connsiteX715" fmla="*/ 732198 w 4518776"/>
              <a:gd name="connsiteY715" fmla="*/ 703455 h 1989183"/>
              <a:gd name="connsiteX716" fmla="*/ 704857 w 4518776"/>
              <a:gd name="connsiteY716" fmla="*/ 730796 h 1989183"/>
              <a:gd name="connsiteX717" fmla="*/ 732198 w 4518776"/>
              <a:gd name="connsiteY717" fmla="*/ 758137 h 1989183"/>
              <a:gd name="connsiteX718" fmla="*/ 759539 w 4518776"/>
              <a:gd name="connsiteY718" fmla="*/ 730796 h 1989183"/>
              <a:gd name="connsiteX719" fmla="*/ 732198 w 4518776"/>
              <a:gd name="connsiteY719" fmla="*/ 703455 h 1989183"/>
              <a:gd name="connsiteX720" fmla="*/ 967150 w 4518776"/>
              <a:gd name="connsiteY720" fmla="*/ 703455 h 1989183"/>
              <a:gd name="connsiteX721" fmla="*/ 939809 w 4518776"/>
              <a:gd name="connsiteY721" fmla="*/ 730796 h 1989183"/>
              <a:gd name="connsiteX722" fmla="*/ 967150 w 4518776"/>
              <a:gd name="connsiteY722" fmla="*/ 758137 h 1989183"/>
              <a:gd name="connsiteX723" fmla="*/ 994491 w 4518776"/>
              <a:gd name="connsiteY723" fmla="*/ 730796 h 1989183"/>
              <a:gd name="connsiteX724" fmla="*/ 967150 w 4518776"/>
              <a:gd name="connsiteY724" fmla="*/ 703455 h 1989183"/>
              <a:gd name="connsiteX725" fmla="*/ 1202103 w 4518776"/>
              <a:gd name="connsiteY725" fmla="*/ 703455 h 1989183"/>
              <a:gd name="connsiteX726" fmla="*/ 1174762 w 4518776"/>
              <a:gd name="connsiteY726" fmla="*/ 730796 h 1989183"/>
              <a:gd name="connsiteX727" fmla="*/ 1202103 w 4518776"/>
              <a:gd name="connsiteY727" fmla="*/ 758137 h 1989183"/>
              <a:gd name="connsiteX728" fmla="*/ 1229444 w 4518776"/>
              <a:gd name="connsiteY728" fmla="*/ 730796 h 1989183"/>
              <a:gd name="connsiteX729" fmla="*/ 1202103 w 4518776"/>
              <a:gd name="connsiteY729" fmla="*/ 703455 h 1989183"/>
              <a:gd name="connsiteX730" fmla="*/ 1437055 w 4518776"/>
              <a:gd name="connsiteY730" fmla="*/ 703455 h 1989183"/>
              <a:gd name="connsiteX731" fmla="*/ 1409714 w 4518776"/>
              <a:gd name="connsiteY731" fmla="*/ 730796 h 1989183"/>
              <a:gd name="connsiteX732" fmla="*/ 1437055 w 4518776"/>
              <a:gd name="connsiteY732" fmla="*/ 758137 h 1989183"/>
              <a:gd name="connsiteX733" fmla="*/ 1464396 w 4518776"/>
              <a:gd name="connsiteY733" fmla="*/ 730796 h 1989183"/>
              <a:gd name="connsiteX734" fmla="*/ 1437055 w 4518776"/>
              <a:gd name="connsiteY734" fmla="*/ 703455 h 1989183"/>
              <a:gd name="connsiteX735" fmla="*/ 1672007 w 4518776"/>
              <a:gd name="connsiteY735" fmla="*/ 703455 h 1989183"/>
              <a:gd name="connsiteX736" fmla="*/ 1644666 w 4518776"/>
              <a:gd name="connsiteY736" fmla="*/ 730796 h 1989183"/>
              <a:gd name="connsiteX737" fmla="*/ 1672007 w 4518776"/>
              <a:gd name="connsiteY737" fmla="*/ 758137 h 1989183"/>
              <a:gd name="connsiteX738" fmla="*/ 1699348 w 4518776"/>
              <a:gd name="connsiteY738" fmla="*/ 730796 h 1989183"/>
              <a:gd name="connsiteX739" fmla="*/ 1672007 w 4518776"/>
              <a:gd name="connsiteY739" fmla="*/ 703455 h 1989183"/>
              <a:gd name="connsiteX740" fmla="*/ 1906960 w 4518776"/>
              <a:gd name="connsiteY740" fmla="*/ 703455 h 1989183"/>
              <a:gd name="connsiteX741" fmla="*/ 1879619 w 4518776"/>
              <a:gd name="connsiteY741" fmla="*/ 730796 h 1989183"/>
              <a:gd name="connsiteX742" fmla="*/ 1906960 w 4518776"/>
              <a:gd name="connsiteY742" fmla="*/ 758137 h 1989183"/>
              <a:gd name="connsiteX743" fmla="*/ 1934301 w 4518776"/>
              <a:gd name="connsiteY743" fmla="*/ 730796 h 1989183"/>
              <a:gd name="connsiteX744" fmla="*/ 1906960 w 4518776"/>
              <a:gd name="connsiteY744" fmla="*/ 703455 h 1989183"/>
              <a:gd name="connsiteX745" fmla="*/ 2141912 w 4518776"/>
              <a:gd name="connsiteY745" fmla="*/ 703455 h 1989183"/>
              <a:gd name="connsiteX746" fmla="*/ 2114571 w 4518776"/>
              <a:gd name="connsiteY746" fmla="*/ 730796 h 1989183"/>
              <a:gd name="connsiteX747" fmla="*/ 2141912 w 4518776"/>
              <a:gd name="connsiteY747" fmla="*/ 758137 h 1989183"/>
              <a:gd name="connsiteX748" fmla="*/ 2169253 w 4518776"/>
              <a:gd name="connsiteY748" fmla="*/ 730796 h 1989183"/>
              <a:gd name="connsiteX749" fmla="*/ 2141912 w 4518776"/>
              <a:gd name="connsiteY749" fmla="*/ 703455 h 1989183"/>
              <a:gd name="connsiteX750" fmla="*/ 2376864 w 4518776"/>
              <a:gd name="connsiteY750" fmla="*/ 703455 h 1989183"/>
              <a:gd name="connsiteX751" fmla="*/ 2349523 w 4518776"/>
              <a:gd name="connsiteY751" fmla="*/ 730796 h 1989183"/>
              <a:gd name="connsiteX752" fmla="*/ 2376864 w 4518776"/>
              <a:gd name="connsiteY752" fmla="*/ 758137 h 1989183"/>
              <a:gd name="connsiteX753" fmla="*/ 2404205 w 4518776"/>
              <a:gd name="connsiteY753" fmla="*/ 730796 h 1989183"/>
              <a:gd name="connsiteX754" fmla="*/ 2376864 w 4518776"/>
              <a:gd name="connsiteY754" fmla="*/ 703455 h 1989183"/>
              <a:gd name="connsiteX755" fmla="*/ 2611817 w 4518776"/>
              <a:gd name="connsiteY755" fmla="*/ 703455 h 1989183"/>
              <a:gd name="connsiteX756" fmla="*/ 2584476 w 4518776"/>
              <a:gd name="connsiteY756" fmla="*/ 730796 h 1989183"/>
              <a:gd name="connsiteX757" fmla="*/ 2611817 w 4518776"/>
              <a:gd name="connsiteY757" fmla="*/ 758137 h 1989183"/>
              <a:gd name="connsiteX758" fmla="*/ 2639158 w 4518776"/>
              <a:gd name="connsiteY758" fmla="*/ 730796 h 1989183"/>
              <a:gd name="connsiteX759" fmla="*/ 2611817 w 4518776"/>
              <a:gd name="connsiteY759" fmla="*/ 703455 h 1989183"/>
              <a:gd name="connsiteX760" fmla="*/ 2846769 w 4518776"/>
              <a:gd name="connsiteY760" fmla="*/ 703455 h 1989183"/>
              <a:gd name="connsiteX761" fmla="*/ 2819428 w 4518776"/>
              <a:gd name="connsiteY761" fmla="*/ 730796 h 1989183"/>
              <a:gd name="connsiteX762" fmla="*/ 2846769 w 4518776"/>
              <a:gd name="connsiteY762" fmla="*/ 758137 h 1989183"/>
              <a:gd name="connsiteX763" fmla="*/ 2874110 w 4518776"/>
              <a:gd name="connsiteY763" fmla="*/ 730796 h 1989183"/>
              <a:gd name="connsiteX764" fmla="*/ 2846769 w 4518776"/>
              <a:gd name="connsiteY764" fmla="*/ 703455 h 1989183"/>
              <a:gd name="connsiteX765" fmla="*/ 3081721 w 4518776"/>
              <a:gd name="connsiteY765" fmla="*/ 703455 h 1989183"/>
              <a:gd name="connsiteX766" fmla="*/ 3054380 w 4518776"/>
              <a:gd name="connsiteY766" fmla="*/ 730796 h 1989183"/>
              <a:gd name="connsiteX767" fmla="*/ 3081721 w 4518776"/>
              <a:gd name="connsiteY767" fmla="*/ 758137 h 1989183"/>
              <a:gd name="connsiteX768" fmla="*/ 3109062 w 4518776"/>
              <a:gd name="connsiteY768" fmla="*/ 730796 h 1989183"/>
              <a:gd name="connsiteX769" fmla="*/ 3081721 w 4518776"/>
              <a:gd name="connsiteY769" fmla="*/ 703455 h 1989183"/>
              <a:gd name="connsiteX770" fmla="*/ 3316674 w 4518776"/>
              <a:gd name="connsiteY770" fmla="*/ 703455 h 1989183"/>
              <a:gd name="connsiteX771" fmla="*/ 3289333 w 4518776"/>
              <a:gd name="connsiteY771" fmla="*/ 730796 h 1989183"/>
              <a:gd name="connsiteX772" fmla="*/ 3316674 w 4518776"/>
              <a:gd name="connsiteY772" fmla="*/ 758137 h 1989183"/>
              <a:gd name="connsiteX773" fmla="*/ 3344015 w 4518776"/>
              <a:gd name="connsiteY773" fmla="*/ 730796 h 1989183"/>
              <a:gd name="connsiteX774" fmla="*/ 3316674 w 4518776"/>
              <a:gd name="connsiteY774" fmla="*/ 703455 h 1989183"/>
              <a:gd name="connsiteX775" fmla="*/ 3551626 w 4518776"/>
              <a:gd name="connsiteY775" fmla="*/ 703455 h 1989183"/>
              <a:gd name="connsiteX776" fmla="*/ 3524285 w 4518776"/>
              <a:gd name="connsiteY776" fmla="*/ 730796 h 1989183"/>
              <a:gd name="connsiteX777" fmla="*/ 3551626 w 4518776"/>
              <a:gd name="connsiteY777" fmla="*/ 758137 h 1989183"/>
              <a:gd name="connsiteX778" fmla="*/ 3578967 w 4518776"/>
              <a:gd name="connsiteY778" fmla="*/ 730796 h 1989183"/>
              <a:gd name="connsiteX779" fmla="*/ 3551626 w 4518776"/>
              <a:gd name="connsiteY779" fmla="*/ 703455 h 1989183"/>
              <a:gd name="connsiteX780" fmla="*/ 3786578 w 4518776"/>
              <a:gd name="connsiteY780" fmla="*/ 703455 h 1989183"/>
              <a:gd name="connsiteX781" fmla="*/ 3759237 w 4518776"/>
              <a:gd name="connsiteY781" fmla="*/ 730796 h 1989183"/>
              <a:gd name="connsiteX782" fmla="*/ 3786578 w 4518776"/>
              <a:gd name="connsiteY782" fmla="*/ 758137 h 1989183"/>
              <a:gd name="connsiteX783" fmla="*/ 3813919 w 4518776"/>
              <a:gd name="connsiteY783" fmla="*/ 730796 h 1989183"/>
              <a:gd name="connsiteX784" fmla="*/ 3786578 w 4518776"/>
              <a:gd name="connsiteY784" fmla="*/ 703455 h 1989183"/>
              <a:gd name="connsiteX785" fmla="*/ 4021530 w 4518776"/>
              <a:gd name="connsiteY785" fmla="*/ 703455 h 1989183"/>
              <a:gd name="connsiteX786" fmla="*/ 3994189 w 4518776"/>
              <a:gd name="connsiteY786" fmla="*/ 730796 h 1989183"/>
              <a:gd name="connsiteX787" fmla="*/ 4021530 w 4518776"/>
              <a:gd name="connsiteY787" fmla="*/ 758137 h 1989183"/>
              <a:gd name="connsiteX788" fmla="*/ 4048871 w 4518776"/>
              <a:gd name="connsiteY788" fmla="*/ 730796 h 1989183"/>
              <a:gd name="connsiteX789" fmla="*/ 4021530 w 4518776"/>
              <a:gd name="connsiteY789" fmla="*/ 703455 h 1989183"/>
              <a:gd name="connsiteX790" fmla="*/ 4256483 w 4518776"/>
              <a:gd name="connsiteY790" fmla="*/ 703455 h 1989183"/>
              <a:gd name="connsiteX791" fmla="*/ 4229142 w 4518776"/>
              <a:gd name="connsiteY791" fmla="*/ 730796 h 1989183"/>
              <a:gd name="connsiteX792" fmla="*/ 4256483 w 4518776"/>
              <a:gd name="connsiteY792" fmla="*/ 758137 h 1989183"/>
              <a:gd name="connsiteX793" fmla="*/ 4283824 w 4518776"/>
              <a:gd name="connsiteY793" fmla="*/ 730796 h 1989183"/>
              <a:gd name="connsiteX794" fmla="*/ 4256483 w 4518776"/>
              <a:gd name="connsiteY794" fmla="*/ 703455 h 1989183"/>
              <a:gd name="connsiteX795" fmla="*/ 4491435 w 4518776"/>
              <a:gd name="connsiteY795" fmla="*/ 703455 h 1989183"/>
              <a:gd name="connsiteX796" fmla="*/ 4464094 w 4518776"/>
              <a:gd name="connsiteY796" fmla="*/ 730796 h 1989183"/>
              <a:gd name="connsiteX797" fmla="*/ 4491435 w 4518776"/>
              <a:gd name="connsiteY797" fmla="*/ 758137 h 1989183"/>
              <a:gd name="connsiteX798" fmla="*/ 4518776 w 4518776"/>
              <a:gd name="connsiteY798" fmla="*/ 730796 h 1989183"/>
              <a:gd name="connsiteX799" fmla="*/ 4491435 w 4518776"/>
              <a:gd name="connsiteY799" fmla="*/ 703455 h 1989183"/>
              <a:gd name="connsiteX800" fmla="*/ 27341 w 4518776"/>
              <a:gd name="connsiteY800" fmla="*/ 527591 h 1989183"/>
              <a:gd name="connsiteX801" fmla="*/ 0 w 4518776"/>
              <a:gd name="connsiteY801" fmla="*/ 554932 h 1989183"/>
              <a:gd name="connsiteX802" fmla="*/ 27341 w 4518776"/>
              <a:gd name="connsiteY802" fmla="*/ 582273 h 1989183"/>
              <a:gd name="connsiteX803" fmla="*/ 54682 w 4518776"/>
              <a:gd name="connsiteY803" fmla="*/ 554932 h 1989183"/>
              <a:gd name="connsiteX804" fmla="*/ 27341 w 4518776"/>
              <a:gd name="connsiteY804" fmla="*/ 527591 h 1989183"/>
              <a:gd name="connsiteX805" fmla="*/ 262293 w 4518776"/>
              <a:gd name="connsiteY805" fmla="*/ 527591 h 1989183"/>
              <a:gd name="connsiteX806" fmla="*/ 234952 w 4518776"/>
              <a:gd name="connsiteY806" fmla="*/ 554932 h 1989183"/>
              <a:gd name="connsiteX807" fmla="*/ 262293 w 4518776"/>
              <a:gd name="connsiteY807" fmla="*/ 582273 h 1989183"/>
              <a:gd name="connsiteX808" fmla="*/ 289634 w 4518776"/>
              <a:gd name="connsiteY808" fmla="*/ 554932 h 1989183"/>
              <a:gd name="connsiteX809" fmla="*/ 262293 w 4518776"/>
              <a:gd name="connsiteY809" fmla="*/ 527591 h 1989183"/>
              <a:gd name="connsiteX810" fmla="*/ 497246 w 4518776"/>
              <a:gd name="connsiteY810" fmla="*/ 527591 h 1989183"/>
              <a:gd name="connsiteX811" fmla="*/ 469905 w 4518776"/>
              <a:gd name="connsiteY811" fmla="*/ 554932 h 1989183"/>
              <a:gd name="connsiteX812" fmla="*/ 497246 w 4518776"/>
              <a:gd name="connsiteY812" fmla="*/ 582273 h 1989183"/>
              <a:gd name="connsiteX813" fmla="*/ 524587 w 4518776"/>
              <a:gd name="connsiteY813" fmla="*/ 554932 h 1989183"/>
              <a:gd name="connsiteX814" fmla="*/ 497246 w 4518776"/>
              <a:gd name="connsiteY814" fmla="*/ 527591 h 1989183"/>
              <a:gd name="connsiteX815" fmla="*/ 732198 w 4518776"/>
              <a:gd name="connsiteY815" fmla="*/ 527591 h 1989183"/>
              <a:gd name="connsiteX816" fmla="*/ 704857 w 4518776"/>
              <a:gd name="connsiteY816" fmla="*/ 554932 h 1989183"/>
              <a:gd name="connsiteX817" fmla="*/ 732198 w 4518776"/>
              <a:gd name="connsiteY817" fmla="*/ 582273 h 1989183"/>
              <a:gd name="connsiteX818" fmla="*/ 759539 w 4518776"/>
              <a:gd name="connsiteY818" fmla="*/ 554932 h 1989183"/>
              <a:gd name="connsiteX819" fmla="*/ 732198 w 4518776"/>
              <a:gd name="connsiteY819" fmla="*/ 527591 h 1989183"/>
              <a:gd name="connsiteX820" fmla="*/ 967150 w 4518776"/>
              <a:gd name="connsiteY820" fmla="*/ 527591 h 1989183"/>
              <a:gd name="connsiteX821" fmla="*/ 939809 w 4518776"/>
              <a:gd name="connsiteY821" fmla="*/ 554932 h 1989183"/>
              <a:gd name="connsiteX822" fmla="*/ 967150 w 4518776"/>
              <a:gd name="connsiteY822" fmla="*/ 582273 h 1989183"/>
              <a:gd name="connsiteX823" fmla="*/ 994491 w 4518776"/>
              <a:gd name="connsiteY823" fmla="*/ 554932 h 1989183"/>
              <a:gd name="connsiteX824" fmla="*/ 967150 w 4518776"/>
              <a:gd name="connsiteY824" fmla="*/ 527591 h 1989183"/>
              <a:gd name="connsiteX825" fmla="*/ 1202103 w 4518776"/>
              <a:gd name="connsiteY825" fmla="*/ 527591 h 1989183"/>
              <a:gd name="connsiteX826" fmla="*/ 1174762 w 4518776"/>
              <a:gd name="connsiteY826" fmla="*/ 554932 h 1989183"/>
              <a:gd name="connsiteX827" fmla="*/ 1202103 w 4518776"/>
              <a:gd name="connsiteY827" fmla="*/ 582273 h 1989183"/>
              <a:gd name="connsiteX828" fmla="*/ 1229444 w 4518776"/>
              <a:gd name="connsiteY828" fmla="*/ 554932 h 1989183"/>
              <a:gd name="connsiteX829" fmla="*/ 1202103 w 4518776"/>
              <a:gd name="connsiteY829" fmla="*/ 527591 h 1989183"/>
              <a:gd name="connsiteX830" fmla="*/ 1437055 w 4518776"/>
              <a:gd name="connsiteY830" fmla="*/ 527591 h 1989183"/>
              <a:gd name="connsiteX831" fmla="*/ 1409714 w 4518776"/>
              <a:gd name="connsiteY831" fmla="*/ 554932 h 1989183"/>
              <a:gd name="connsiteX832" fmla="*/ 1437055 w 4518776"/>
              <a:gd name="connsiteY832" fmla="*/ 582273 h 1989183"/>
              <a:gd name="connsiteX833" fmla="*/ 1464396 w 4518776"/>
              <a:gd name="connsiteY833" fmla="*/ 554932 h 1989183"/>
              <a:gd name="connsiteX834" fmla="*/ 1437055 w 4518776"/>
              <a:gd name="connsiteY834" fmla="*/ 527591 h 1989183"/>
              <a:gd name="connsiteX835" fmla="*/ 1672007 w 4518776"/>
              <a:gd name="connsiteY835" fmla="*/ 527591 h 1989183"/>
              <a:gd name="connsiteX836" fmla="*/ 1644666 w 4518776"/>
              <a:gd name="connsiteY836" fmla="*/ 554932 h 1989183"/>
              <a:gd name="connsiteX837" fmla="*/ 1672007 w 4518776"/>
              <a:gd name="connsiteY837" fmla="*/ 582273 h 1989183"/>
              <a:gd name="connsiteX838" fmla="*/ 1699348 w 4518776"/>
              <a:gd name="connsiteY838" fmla="*/ 554932 h 1989183"/>
              <a:gd name="connsiteX839" fmla="*/ 1672007 w 4518776"/>
              <a:gd name="connsiteY839" fmla="*/ 527591 h 1989183"/>
              <a:gd name="connsiteX840" fmla="*/ 1906960 w 4518776"/>
              <a:gd name="connsiteY840" fmla="*/ 527591 h 1989183"/>
              <a:gd name="connsiteX841" fmla="*/ 1879619 w 4518776"/>
              <a:gd name="connsiteY841" fmla="*/ 554932 h 1989183"/>
              <a:gd name="connsiteX842" fmla="*/ 1906960 w 4518776"/>
              <a:gd name="connsiteY842" fmla="*/ 582273 h 1989183"/>
              <a:gd name="connsiteX843" fmla="*/ 1934301 w 4518776"/>
              <a:gd name="connsiteY843" fmla="*/ 554932 h 1989183"/>
              <a:gd name="connsiteX844" fmla="*/ 1906960 w 4518776"/>
              <a:gd name="connsiteY844" fmla="*/ 527591 h 1989183"/>
              <a:gd name="connsiteX845" fmla="*/ 2141912 w 4518776"/>
              <a:gd name="connsiteY845" fmla="*/ 527591 h 1989183"/>
              <a:gd name="connsiteX846" fmla="*/ 2114571 w 4518776"/>
              <a:gd name="connsiteY846" fmla="*/ 554932 h 1989183"/>
              <a:gd name="connsiteX847" fmla="*/ 2141912 w 4518776"/>
              <a:gd name="connsiteY847" fmla="*/ 582273 h 1989183"/>
              <a:gd name="connsiteX848" fmla="*/ 2169253 w 4518776"/>
              <a:gd name="connsiteY848" fmla="*/ 554932 h 1989183"/>
              <a:gd name="connsiteX849" fmla="*/ 2141912 w 4518776"/>
              <a:gd name="connsiteY849" fmla="*/ 527591 h 1989183"/>
              <a:gd name="connsiteX850" fmla="*/ 2376864 w 4518776"/>
              <a:gd name="connsiteY850" fmla="*/ 527591 h 1989183"/>
              <a:gd name="connsiteX851" fmla="*/ 2349523 w 4518776"/>
              <a:gd name="connsiteY851" fmla="*/ 554932 h 1989183"/>
              <a:gd name="connsiteX852" fmla="*/ 2376864 w 4518776"/>
              <a:gd name="connsiteY852" fmla="*/ 582273 h 1989183"/>
              <a:gd name="connsiteX853" fmla="*/ 2404205 w 4518776"/>
              <a:gd name="connsiteY853" fmla="*/ 554932 h 1989183"/>
              <a:gd name="connsiteX854" fmla="*/ 2376864 w 4518776"/>
              <a:gd name="connsiteY854" fmla="*/ 527591 h 1989183"/>
              <a:gd name="connsiteX855" fmla="*/ 2611817 w 4518776"/>
              <a:gd name="connsiteY855" fmla="*/ 527591 h 1989183"/>
              <a:gd name="connsiteX856" fmla="*/ 2584476 w 4518776"/>
              <a:gd name="connsiteY856" fmla="*/ 554932 h 1989183"/>
              <a:gd name="connsiteX857" fmla="*/ 2611817 w 4518776"/>
              <a:gd name="connsiteY857" fmla="*/ 582273 h 1989183"/>
              <a:gd name="connsiteX858" fmla="*/ 2639158 w 4518776"/>
              <a:gd name="connsiteY858" fmla="*/ 554932 h 1989183"/>
              <a:gd name="connsiteX859" fmla="*/ 2611817 w 4518776"/>
              <a:gd name="connsiteY859" fmla="*/ 527591 h 1989183"/>
              <a:gd name="connsiteX860" fmla="*/ 2846769 w 4518776"/>
              <a:gd name="connsiteY860" fmla="*/ 527591 h 1989183"/>
              <a:gd name="connsiteX861" fmla="*/ 2819428 w 4518776"/>
              <a:gd name="connsiteY861" fmla="*/ 554932 h 1989183"/>
              <a:gd name="connsiteX862" fmla="*/ 2846769 w 4518776"/>
              <a:gd name="connsiteY862" fmla="*/ 582273 h 1989183"/>
              <a:gd name="connsiteX863" fmla="*/ 2874110 w 4518776"/>
              <a:gd name="connsiteY863" fmla="*/ 554932 h 1989183"/>
              <a:gd name="connsiteX864" fmla="*/ 2846769 w 4518776"/>
              <a:gd name="connsiteY864" fmla="*/ 527591 h 1989183"/>
              <a:gd name="connsiteX865" fmla="*/ 3081721 w 4518776"/>
              <a:gd name="connsiteY865" fmla="*/ 527591 h 1989183"/>
              <a:gd name="connsiteX866" fmla="*/ 3054380 w 4518776"/>
              <a:gd name="connsiteY866" fmla="*/ 554932 h 1989183"/>
              <a:gd name="connsiteX867" fmla="*/ 3081721 w 4518776"/>
              <a:gd name="connsiteY867" fmla="*/ 582273 h 1989183"/>
              <a:gd name="connsiteX868" fmla="*/ 3109062 w 4518776"/>
              <a:gd name="connsiteY868" fmla="*/ 554932 h 1989183"/>
              <a:gd name="connsiteX869" fmla="*/ 3081721 w 4518776"/>
              <a:gd name="connsiteY869" fmla="*/ 527591 h 1989183"/>
              <a:gd name="connsiteX870" fmla="*/ 3316674 w 4518776"/>
              <a:gd name="connsiteY870" fmla="*/ 527591 h 1989183"/>
              <a:gd name="connsiteX871" fmla="*/ 3289333 w 4518776"/>
              <a:gd name="connsiteY871" fmla="*/ 554932 h 1989183"/>
              <a:gd name="connsiteX872" fmla="*/ 3316674 w 4518776"/>
              <a:gd name="connsiteY872" fmla="*/ 582273 h 1989183"/>
              <a:gd name="connsiteX873" fmla="*/ 3344015 w 4518776"/>
              <a:gd name="connsiteY873" fmla="*/ 554932 h 1989183"/>
              <a:gd name="connsiteX874" fmla="*/ 3316674 w 4518776"/>
              <a:gd name="connsiteY874" fmla="*/ 527591 h 1989183"/>
              <a:gd name="connsiteX875" fmla="*/ 3551626 w 4518776"/>
              <a:gd name="connsiteY875" fmla="*/ 527591 h 1989183"/>
              <a:gd name="connsiteX876" fmla="*/ 3524285 w 4518776"/>
              <a:gd name="connsiteY876" fmla="*/ 554932 h 1989183"/>
              <a:gd name="connsiteX877" fmla="*/ 3551626 w 4518776"/>
              <a:gd name="connsiteY877" fmla="*/ 582273 h 1989183"/>
              <a:gd name="connsiteX878" fmla="*/ 3578967 w 4518776"/>
              <a:gd name="connsiteY878" fmla="*/ 554932 h 1989183"/>
              <a:gd name="connsiteX879" fmla="*/ 3551626 w 4518776"/>
              <a:gd name="connsiteY879" fmla="*/ 527591 h 1989183"/>
              <a:gd name="connsiteX880" fmla="*/ 3786578 w 4518776"/>
              <a:gd name="connsiteY880" fmla="*/ 527591 h 1989183"/>
              <a:gd name="connsiteX881" fmla="*/ 3759237 w 4518776"/>
              <a:gd name="connsiteY881" fmla="*/ 554932 h 1989183"/>
              <a:gd name="connsiteX882" fmla="*/ 3786578 w 4518776"/>
              <a:gd name="connsiteY882" fmla="*/ 582273 h 1989183"/>
              <a:gd name="connsiteX883" fmla="*/ 3813919 w 4518776"/>
              <a:gd name="connsiteY883" fmla="*/ 554932 h 1989183"/>
              <a:gd name="connsiteX884" fmla="*/ 3786578 w 4518776"/>
              <a:gd name="connsiteY884" fmla="*/ 527591 h 1989183"/>
              <a:gd name="connsiteX885" fmla="*/ 4021530 w 4518776"/>
              <a:gd name="connsiteY885" fmla="*/ 527591 h 1989183"/>
              <a:gd name="connsiteX886" fmla="*/ 3994189 w 4518776"/>
              <a:gd name="connsiteY886" fmla="*/ 554932 h 1989183"/>
              <a:gd name="connsiteX887" fmla="*/ 4021530 w 4518776"/>
              <a:gd name="connsiteY887" fmla="*/ 582273 h 1989183"/>
              <a:gd name="connsiteX888" fmla="*/ 4048871 w 4518776"/>
              <a:gd name="connsiteY888" fmla="*/ 554932 h 1989183"/>
              <a:gd name="connsiteX889" fmla="*/ 4021530 w 4518776"/>
              <a:gd name="connsiteY889" fmla="*/ 527591 h 1989183"/>
              <a:gd name="connsiteX890" fmla="*/ 4256483 w 4518776"/>
              <a:gd name="connsiteY890" fmla="*/ 527591 h 1989183"/>
              <a:gd name="connsiteX891" fmla="*/ 4229142 w 4518776"/>
              <a:gd name="connsiteY891" fmla="*/ 554932 h 1989183"/>
              <a:gd name="connsiteX892" fmla="*/ 4256483 w 4518776"/>
              <a:gd name="connsiteY892" fmla="*/ 582273 h 1989183"/>
              <a:gd name="connsiteX893" fmla="*/ 4283824 w 4518776"/>
              <a:gd name="connsiteY893" fmla="*/ 554932 h 1989183"/>
              <a:gd name="connsiteX894" fmla="*/ 4256483 w 4518776"/>
              <a:gd name="connsiteY894" fmla="*/ 527591 h 1989183"/>
              <a:gd name="connsiteX895" fmla="*/ 4491435 w 4518776"/>
              <a:gd name="connsiteY895" fmla="*/ 527591 h 1989183"/>
              <a:gd name="connsiteX896" fmla="*/ 4464094 w 4518776"/>
              <a:gd name="connsiteY896" fmla="*/ 554932 h 1989183"/>
              <a:gd name="connsiteX897" fmla="*/ 4491435 w 4518776"/>
              <a:gd name="connsiteY897" fmla="*/ 582273 h 1989183"/>
              <a:gd name="connsiteX898" fmla="*/ 4518776 w 4518776"/>
              <a:gd name="connsiteY898" fmla="*/ 554932 h 1989183"/>
              <a:gd name="connsiteX899" fmla="*/ 4491435 w 4518776"/>
              <a:gd name="connsiteY899" fmla="*/ 527591 h 1989183"/>
              <a:gd name="connsiteX900" fmla="*/ 27341 w 4518776"/>
              <a:gd name="connsiteY900" fmla="*/ 351727 h 1989183"/>
              <a:gd name="connsiteX901" fmla="*/ 0 w 4518776"/>
              <a:gd name="connsiteY901" fmla="*/ 379068 h 1989183"/>
              <a:gd name="connsiteX902" fmla="*/ 27341 w 4518776"/>
              <a:gd name="connsiteY902" fmla="*/ 406409 h 1989183"/>
              <a:gd name="connsiteX903" fmla="*/ 54682 w 4518776"/>
              <a:gd name="connsiteY903" fmla="*/ 379068 h 1989183"/>
              <a:gd name="connsiteX904" fmla="*/ 27341 w 4518776"/>
              <a:gd name="connsiteY904" fmla="*/ 351727 h 1989183"/>
              <a:gd name="connsiteX905" fmla="*/ 262293 w 4518776"/>
              <a:gd name="connsiteY905" fmla="*/ 351727 h 1989183"/>
              <a:gd name="connsiteX906" fmla="*/ 234952 w 4518776"/>
              <a:gd name="connsiteY906" fmla="*/ 379068 h 1989183"/>
              <a:gd name="connsiteX907" fmla="*/ 262293 w 4518776"/>
              <a:gd name="connsiteY907" fmla="*/ 406409 h 1989183"/>
              <a:gd name="connsiteX908" fmla="*/ 289634 w 4518776"/>
              <a:gd name="connsiteY908" fmla="*/ 379068 h 1989183"/>
              <a:gd name="connsiteX909" fmla="*/ 262293 w 4518776"/>
              <a:gd name="connsiteY909" fmla="*/ 351727 h 1989183"/>
              <a:gd name="connsiteX910" fmla="*/ 497246 w 4518776"/>
              <a:gd name="connsiteY910" fmla="*/ 351727 h 1989183"/>
              <a:gd name="connsiteX911" fmla="*/ 469905 w 4518776"/>
              <a:gd name="connsiteY911" fmla="*/ 379068 h 1989183"/>
              <a:gd name="connsiteX912" fmla="*/ 497246 w 4518776"/>
              <a:gd name="connsiteY912" fmla="*/ 406409 h 1989183"/>
              <a:gd name="connsiteX913" fmla="*/ 524587 w 4518776"/>
              <a:gd name="connsiteY913" fmla="*/ 379068 h 1989183"/>
              <a:gd name="connsiteX914" fmla="*/ 497246 w 4518776"/>
              <a:gd name="connsiteY914" fmla="*/ 351727 h 1989183"/>
              <a:gd name="connsiteX915" fmla="*/ 732198 w 4518776"/>
              <a:gd name="connsiteY915" fmla="*/ 351727 h 1989183"/>
              <a:gd name="connsiteX916" fmla="*/ 704857 w 4518776"/>
              <a:gd name="connsiteY916" fmla="*/ 379068 h 1989183"/>
              <a:gd name="connsiteX917" fmla="*/ 732198 w 4518776"/>
              <a:gd name="connsiteY917" fmla="*/ 406409 h 1989183"/>
              <a:gd name="connsiteX918" fmla="*/ 759539 w 4518776"/>
              <a:gd name="connsiteY918" fmla="*/ 379068 h 1989183"/>
              <a:gd name="connsiteX919" fmla="*/ 732198 w 4518776"/>
              <a:gd name="connsiteY919" fmla="*/ 351727 h 1989183"/>
              <a:gd name="connsiteX920" fmla="*/ 967150 w 4518776"/>
              <a:gd name="connsiteY920" fmla="*/ 351727 h 1989183"/>
              <a:gd name="connsiteX921" fmla="*/ 939809 w 4518776"/>
              <a:gd name="connsiteY921" fmla="*/ 379068 h 1989183"/>
              <a:gd name="connsiteX922" fmla="*/ 967150 w 4518776"/>
              <a:gd name="connsiteY922" fmla="*/ 406409 h 1989183"/>
              <a:gd name="connsiteX923" fmla="*/ 994491 w 4518776"/>
              <a:gd name="connsiteY923" fmla="*/ 379068 h 1989183"/>
              <a:gd name="connsiteX924" fmla="*/ 967150 w 4518776"/>
              <a:gd name="connsiteY924" fmla="*/ 351727 h 1989183"/>
              <a:gd name="connsiteX925" fmla="*/ 1202103 w 4518776"/>
              <a:gd name="connsiteY925" fmla="*/ 351727 h 1989183"/>
              <a:gd name="connsiteX926" fmla="*/ 1174762 w 4518776"/>
              <a:gd name="connsiteY926" fmla="*/ 379068 h 1989183"/>
              <a:gd name="connsiteX927" fmla="*/ 1202103 w 4518776"/>
              <a:gd name="connsiteY927" fmla="*/ 406409 h 1989183"/>
              <a:gd name="connsiteX928" fmla="*/ 1229444 w 4518776"/>
              <a:gd name="connsiteY928" fmla="*/ 379068 h 1989183"/>
              <a:gd name="connsiteX929" fmla="*/ 1202103 w 4518776"/>
              <a:gd name="connsiteY929" fmla="*/ 351727 h 1989183"/>
              <a:gd name="connsiteX930" fmla="*/ 1437055 w 4518776"/>
              <a:gd name="connsiteY930" fmla="*/ 351727 h 1989183"/>
              <a:gd name="connsiteX931" fmla="*/ 1409714 w 4518776"/>
              <a:gd name="connsiteY931" fmla="*/ 379068 h 1989183"/>
              <a:gd name="connsiteX932" fmla="*/ 1437055 w 4518776"/>
              <a:gd name="connsiteY932" fmla="*/ 406409 h 1989183"/>
              <a:gd name="connsiteX933" fmla="*/ 1464396 w 4518776"/>
              <a:gd name="connsiteY933" fmla="*/ 379068 h 1989183"/>
              <a:gd name="connsiteX934" fmla="*/ 1437055 w 4518776"/>
              <a:gd name="connsiteY934" fmla="*/ 351727 h 1989183"/>
              <a:gd name="connsiteX935" fmla="*/ 1672007 w 4518776"/>
              <a:gd name="connsiteY935" fmla="*/ 351727 h 1989183"/>
              <a:gd name="connsiteX936" fmla="*/ 1644666 w 4518776"/>
              <a:gd name="connsiteY936" fmla="*/ 379068 h 1989183"/>
              <a:gd name="connsiteX937" fmla="*/ 1672007 w 4518776"/>
              <a:gd name="connsiteY937" fmla="*/ 406409 h 1989183"/>
              <a:gd name="connsiteX938" fmla="*/ 1699348 w 4518776"/>
              <a:gd name="connsiteY938" fmla="*/ 379068 h 1989183"/>
              <a:gd name="connsiteX939" fmla="*/ 1672007 w 4518776"/>
              <a:gd name="connsiteY939" fmla="*/ 351727 h 1989183"/>
              <a:gd name="connsiteX940" fmla="*/ 1906960 w 4518776"/>
              <a:gd name="connsiteY940" fmla="*/ 351727 h 1989183"/>
              <a:gd name="connsiteX941" fmla="*/ 1879619 w 4518776"/>
              <a:gd name="connsiteY941" fmla="*/ 379068 h 1989183"/>
              <a:gd name="connsiteX942" fmla="*/ 1906960 w 4518776"/>
              <a:gd name="connsiteY942" fmla="*/ 406409 h 1989183"/>
              <a:gd name="connsiteX943" fmla="*/ 1934301 w 4518776"/>
              <a:gd name="connsiteY943" fmla="*/ 379068 h 1989183"/>
              <a:gd name="connsiteX944" fmla="*/ 1906960 w 4518776"/>
              <a:gd name="connsiteY944" fmla="*/ 351727 h 1989183"/>
              <a:gd name="connsiteX945" fmla="*/ 2141912 w 4518776"/>
              <a:gd name="connsiteY945" fmla="*/ 351727 h 1989183"/>
              <a:gd name="connsiteX946" fmla="*/ 2114571 w 4518776"/>
              <a:gd name="connsiteY946" fmla="*/ 379068 h 1989183"/>
              <a:gd name="connsiteX947" fmla="*/ 2141912 w 4518776"/>
              <a:gd name="connsiteY947" fmla="*/ 406409 h 1989183"/>
              <a:gd name="connsiteX948" fmla="*/ 2169253 w 4518776"/>
              <a:gd name="connsiteY948" fmla="*/ 379068 h 1989183"/>
              <a:gd name="connsiteX949" fmla="*/ 2141912 w 4518776"/>
              <a:gd name="connsiteY949" fmla="*/ 351727 h 1989183"/>
              <a:gd name="connsiteX950" fmla="*/ 2376864 w 4518776"/>
              <a:gd name="connsiteY950" fmla="*/ 351727 h 1989183"/>
              <a:gd name="connsiteX951" fmla="*/ 2349523 w 4518776"/>
              <a:gd name="connsiteY951" fmla="*/ 379068 h 1989183"/>
              <a:gd name="connsiteX952" fmla="*/ 2376864 w 4518776"/>
              <a:gd name="connsiteY952" fmla="*/ 406409 h 1989183"/>
              <a:gd name="connsiteX953" fmla="*/ 2404205 w 4518776"/>
              <a:gd name="connsiteY953" fmla="*/ 379068 h 1989183"/>
              <a:gd name="connsiteX954" fmla="*/ 2376864 w 4518776"/>
              <a:gd name="connsiteY954" fmla="*/ 351727 h 1989183"/>
              <a:gd name="connsiteX955" fmla="*/ 2611817 w 4518776"/>
              <a:gd name="connsiteY955" fmla="*/ 351727 h 1989183"/>
              <a:gd name="connsiteX956" fmla="*/ 2584476 w 4518776"/>
              <a:gd name="connsiteY956" fmla="*/ 379068 h 1989183"/>
              <a:gd name="connsiteX957" fmla="*/ 2611817 w 4518776"/>
              <a:gd name="connsiteY957" fmla="*/ 406409 h 1989183"/>
              <a:gd name="connsiteX958" fmla="*/ 2639158 w 4518776"/>
              <a:gd name="connsiteY958" fmla="*/ 379068 h 1989183"/>
              <a:gd name="connsiteX959" fmla="*/ 2611817 w 4518776"/>
              <a:gd name="connsiteY959" fmla="*/ 351727 h 1989183"/>
              <a:gd name="connsiteX960" fmla="*/ 2846769 w 4518776"/>
              <a:gd name="connsiteY960" fmla="*/ 351727 h 1989183"/>
              <a:gd name="connsiteX961" fmla="*/ 2819428 w 4518776"/>
              <a:gd name="connsiteY961" fmla="*/ 379068 h 1989183"/>
              <a:gd name="connsiteX962" fmla="*/ 2846769 w 4518776"/>
              <a:gd name="connsiteY962" fmla="*/ 406409 h 1989183"/>
              <a:gd name="connsiteX963" fmla="*/ 2874110 w 4518776"/>
              <a:gd name="connsiteY963" fmla="*/ 379068 h 1989183"/>
              <a:gd name="connsiteX964" fmla="*/ 2846769 w 4518776"/>
              <a:gd name="connsiteY964" fmla="*/ 351727 h 1989183"/>
              <a:gd name="connsiteX965" fmla="*/ 3081721 w 4518776"/>
              <a:gd name="connsiteY965" fmla="*/ 351727 h 1989183"/>
              <a:gd name="connsiteX966" fmla="*/ 3054380 w 4518776"/>
              <a:gd name="connsiteY966" fmla="*/ 379068 h 1989183"/>
              <a:gd name="connsiteX967" fmla="*/ 3081721 w 4518776"/>
              <a:gd name="connsiteY967" fmla="*/ 406409 h 1989183"/>
              <a:gd name="connsiteX968" fmla="*/ 3109062 w 4518776"/>
              <a:gd name="connsiteY968" fmla="*/ 379068 h 1989183"/>
              <a:gd name="connsiteX969" fmla="*/ 3081721 w 4518776"/>
              <a:gd name="connsiteY969" fmla="*/ 351727 h 1989183"/>
              <a:gd name="connsiteX970" fmla="*/ 3316674 w 4518776"/>
              <a:gd name="connsiteY970" fmla="*/ 351727 h 1989183"/>
              <a:gd name="connsiteX971" fmla="*/ 3289333 w 4518776"/>
              <a:gd name="connsiteY971" fmla="*/ 379068 h 1989183"/>
              <a:gd name="connsiteX972" fmla="*/ 3316674 w 4518776"/>
              <a:gd name="connsiteY972" fmla="*/ 406409 h 1989183"/>
              <a:gd name="connsiteX973" fmla="*/ 3344015 w 4518776"/>
              <a:gd name="connsiteY973" fmla="*/ 379068 h 1989183"/>
              <a:gd name="connsiteX974" fmla="*/ 3316674 w 4518776"/>
              <a:gd name="connsiteY974" fmla="*/ 351727 h 1989183"/>
              <a:gd name="connsiteX975" fmla="*/ 3551626 w 4518776"/>
              <a:gd name="connsiteY975" fmla="*/ 351727 h 1989183"/>
              <a:gd name="connsiteX976" fmla="*/ 3524285 w 4518776"/>
              <a:gd name="connsiteY976" fmla="*/ 379068 h 1989183"/>
              <a:gd name="connsiteX977" fmla="*/ 3551626 w 4518776"/>
              <a:gd name="connsiteY977" fmla="*/ 406409 h 1989183"/>
              <a:gd name="connsiteX978" fmla="*/ 3578967 w 4518776"/>
              <a:gd name="connsiteY978" fmla="*/ 379068 h 1989183"/>
              <a:gd name="connsiteX979" fmla="*/ 3551626 w 4518776"/>
              <a:gd name="connsiteY979" fmla="*/ 351727 h 1989183"/>
              <a:gd name="connsiteX980" fmla="*/ 3786578 w 4518776"/>
              <a:gd name="connsiteY980" fmla="*/ 351727 h 1989183"/>
              <a:gd name="connsiteX981" fmla="*/ 3759237 w 4518776"/>
              <a:gd name="connsiteY981" fmla="*/ 379068 h 1989183"/>
              <a:gd name="connsiteX982" fmla="*/ 3786578 w 4518776"/>
              <a:gd name="connsiteY982" fmla="*/ 406409 h 1989183"/>
              <a:gd name="connsiteX983" fmla="*/ 3813919 w 4518776"/>
              <a:gd name="connsiteY983" fmla="*/ 379068 h 1989183"/>
              <a:gd name="connsiteX984" fmla="*/ 3786578 w 4518776"/>
              <a:gd name="connsiteY984" fmla="*/ 351727 h 1989183"/>
              <a:gd name="connsiteX985" fmla="*/ 4021530 w 4518776"/>
              <a:gd name="connsiteY985" fmla="*/ 351727 h 1989183"/>
              <a:gd name="connsiteX986" fmla="*/ 3994189 w 4518776"/>
              <a:gd name="connsiteY986" fmla="*/ 379068 h 1989183"/>
              <a:gd name="connsiteX987" fmla="*/ 4021530 w 4518776"/>
              <a:gd name="connsiteY987" fmla="*/ 406409 h 1989183"/>
              <a:gd name="connsiteX988" fmla="*/ 4048871 w 4518776"/>
              <a:gd name="connsiteY988" fmla="*/ 379068 h 1989183"/>
              <a:gd name="connsiteX989" fmla="*/ 4021530 w 4518776"/>
              <a:gd name="connsiteY989" fmla="*/ 351727 h 1989183"/>
              <a:gd name="connsiteX990" fmla="*/ 4256483 w 4518776"/>
              <a:gd name="connsiteY990" fmla="*/ 351727 h 1989183"/>
              <a:gd name="connsiteX991" fmla="*/ 4229142 w 4518776"/>
              <a:gd name="connsiteY991" fmla="*/ 379068 h 1989183"/>
              <a:gd name="connsiteX992" fmla="*/ 4256483 w 4518776"/>
              <a:gd name="connsiteY992" fmla="*/ 406409 h 1989183"/>
              <a:gd name="connsiteX993" fmla="*/ 4283824 w 4518776"/>
              <a:gd name="connsiteY993" fmla="*/ 379068 h 1989183"/>
              <a:gd name="connsiteX994" fmla="*/ 4256483 w 4518776"/>
              <a:gd name="connsiteY994" fmla="*/ 351727 h 1989183"/>
              <a:gd name="connsiteX995" fmla="*/ 4491435 w 4518776"/>
              <a:gd name="connsiteY995" fmla="*/ 351727 h 1989183"/>
              <a:gd name="connsiteX996" fmla="*/ 4464094 w 4518776"/>
              <a:gd name="connsiteY996" fmla="*/ 379068 h 1989183"/>
              <a:gd name="connsiteX997" fmla="*/ 4491435 w 4518776"/>
              <a:gd name="connsiteY997" fmla="*/ 406409 h 1989183"/>
              <a:gd name="connsiteX998" fmla="*/ 4518776 w 4518776"/>
              <a:gd name="connsiteY998" fmla="*/ 379068 h 1989183"/>
              <a:gd name="connsiteX999" fmla="*/ 4491435 w 4518776"/>
              <a:gd name="connsiteY999" fmla="*/ 351727 h 1989183"/>
              <a:gd name="connsiteX1000" fmla="*/ 27341 w 4518776"/>
              <a:gd name="connsiteY1000" fmla="*/ 175864 h 1989183"/>
              <a:gd name="connsiteX1001" fmla="*/ 0 w 4518776"/>
              <a:gd name="connsiteY1001" fmla="*/ 203205 h 1989183"/>
              <a:gd name="connsiteX1002" fmla="*/ 27341 w 4518776"/>
              <a:gd name="connsiteY1002" fmla="*/ 230546 h 1989183"/>
              <a:gd name="connsiteX1003" fmla="*/ 54682 w 4518776"/>
              <a:gd name="connsiteY1003" fmla="*/ 203205 h 1989183"/>
              <a:gd name="connsiteX1004" fmla="*/ 27341 w 4518776"/>
              <a:gd name="connsiteY1004" fmla="*/ 175864 h 1989183"/>
              <a:gd name="connsiteX1005" fmla="*/ 262293 w 4518776"/>
              <a:gd name="connsiteY1005" fmla="*/ 175864 h 1989183"/>
              <a:gd name="connsiteX1006" fmla="*/ 234952 w 4518776"/>
              <a:gd name="connsiteY1006" fmla="*/ 203205 h 1989183"/>
              <a:gd name="connsiteX1007" fmla="*/ 262293 w 4518776"/>
              <a:gd name="connsiteY1007" fmla="*/ 230546 h 1989183"/>
              <a:gd name="connsiteX1008" fmla="*/ 289634 w 4518776"/>
              <a:gd name="connsiteY1008" fmla="*/ 203205 h 1989183"/>
              <a:gd name="connsiteX1009" fmla="*/ 262293 w 4518776"/>
              <a:gd name="connsiteY1009" fmla="*/ 175864 h 1989183"/>
              <a:gd name="connsiteX1010" fmla="*/ 497246 w 4518776"/>
              <a:gd name="connsiteY1010" fmla="*/ 175864 h 1989183"/>
              <a:gd name="connsiteX1011" fmla="*/ 469905 w 4518776"/>
              <a:gd name="connsiteY1011" fmla="*/ 203205 h 1989183"/>
              <a:gd name="connsiteX1012" fmla="*/ 497246 w 4518776"/>
              <a:gd name="connsiteY1012" fmla="*/ 230546 h 1989183"/>
              <a:gd name="connsiteX1013" fmla="*/ 524587 w 4518776"/>
              <a:gd name="connsiteY1013" fmla="*/ 203205 h 1989183"/>
              <a:gd name="connsiteX1014" fmla="*/ 497246 w 4518776"/>
              <a:gd name="connsiteY1014" fmla="*/ 175864 h 1989183"/>
              <a:gd name="connsiteX1015" fmla="*/ 732198 w 4518776"/>
              <a:gd name="connsiteY1015" fmla="*/ 175864 h 1989183"/>
              <a:gd name="connsiteX1016" fmla="*/ 704857 w 4518776"/>
              <a:gd name="connsiteY1016" fmla="*/ 203205 h 1989183"/>
              <a:gd name="connsiteX1017" fmla="*/ 732198 w 4518776"/>
              <a:gd name="connsiteY1017" fmla="*/ 230546 h 1989183"/>
              <a:gd name="connsiteX1018" fmla="*/ 759539 w 4518776"/>
              <a:gd name="connsiteY1018" fmla="*/ 203205 h 1989183"/>
              <a:gd name="connsiteX1019" fmla="*/ 732198 w 4518776"/>
              <a:gd name="connsiteY1019" fmla="*/ 175864 h 1989183"/>
              <a:gd name="connsiteX1020" fmla="*/ 967150 w 4518776"/>
              <a:gd name="connsiteY1020" fmla="*/ 175864 h 1989183"/>
              <a:gd name="connsiteX1021" fmla="*/ 939809 w 4518776"/>
              <a:gd name="connsiteY1021" fmla="*/ 203205 h 1989183"/>
              <a:gd name="connsiteX1022" fmla="*/ 967150 w 4518776"/>
              <a:gd name="connsiteY1022" fmla="*/ 230546 h 1989183"/>
              <a:gd name="connsiteX1023" fmla="*/ 994491 w 4518776"/>
              <a:gd name="connsiteY1023" fmla="*/ 203205 h 1989183"/>
              <a:gd name="connsiteX1024" fmla="*/ 967150 w 4518776"/>
              <a:gd name="connsiteY1024" fmla="*/ 175864 h 1989183"/>
              <a:gd name="connsiteX1025" fmla="*/ 1202103 w 4518776"/>
              <a:gd name="connsiteY1025" fmla="*/ 175864 h 1989183"/>
              <a:gd name="connsiteX1026" fmla="*/ 1174762 w 4518776"/>
              <a:gd name="connsiteY1026" fmla="*/ 203205 h 1989183"/>
              <a:gd name="connsiteX1027" fmla="*/ 1202103 w 4518776"/>
              <a:gd name="connsiteY1027" fmla="*/ 230546 h 1989183"/>
              <a:gd name="connsiteX1028" fmla="*/ 1229444 w 4518776"/>
              <a:gd name="connsiteY1028" fmla="*/ 203205 h 1989183"/>
              <a:gd name="connsiteX1029" fmla="*/ 1202103 w 4518776"/>
              <a:gd name="connsiteY1029" fmla="*/ 175864 h 1989183"/>
              <a:gd name="connsiteX1030" fmla="*/ 1437055 w 4518776"/>
              <a:gd name="connsiteY1030" fmla="*/ 175864 h 1989183"/>
              <a:gd name="connsiteX1031" fmla="*/ 1409714 w 4518776"/>
              <a:gd name="connsiteY1031" fmla="*/ 203205 h 1989183"/>
              <a:gd name="connsiteX1032" fmla="*/ 1437055 w 4518776"/>
              <a:gd name="connsiteY1032" fmla="*/ 230546 h 1989183"/>
              <a:gd name="connsiteX1033" fmla="*/ 1464396 w 4518776"/>
              <a:gd name="connsiteY1033" fmla="*/ 203205 h 1989183"/>
              <a:gd name="connsiteX1034" fmla="*/ 1437055 w 4518776"/>
              <a:gd name="connsiteY1034" fmla="*/ 175864 h 1989183"/>
              <a:gd name="connsiteX1035" fmla="*/ 1672007 w 4518776"/>
              <a:gd name="connsiteY1035" fmla="*/ 175864 h 1989183"/>
              <a:gd name="connsiteX1036" fmla="*/ 1644666 w 4518776"/>
              <a:gd name="connsiteY1036" fmla="*/ 203205 h 1989183"/>
              <a:gd name="connsiteX1037" fmla="*/ 1672007 w 4518776"/>
              <a:gd name="connsiteY1037" fmla="*/ 230546 h 1989183"/>
              <a:gd name="connsiteX1038" fmla="*/ 1699348 w 4518776"/>
              <a:gd name="connsiteY1038" fmla="*/ 203205 h 1989183"/>
              <a:gd name="connsiteX1039" fmla="*/ 1672007 w 4518776"/>
              <a:gd name="connsiteY1039" fmla="*/ 175864 h 1989183"/>
              <a:gd name="connsiteX1040" fmla="*/ 1906960 w 4518776"/>
              <a:gd name="connsiteY1040" fmla="*/ 175864 h 1989183"/>
              <a:gd name="connsiteX1041" fmla="*/ 1879619 w 4518776"/>
              <a:gd name="connsiteY1041" fmla="*/ 203205 h 1989183"/>
              <a:gd name="connsiteX1042" fmla="*/ 1906960 w 4518776"/>
              <a:gd name="connsiteY1042" fmla="*/ 230546 h 1989183"/>
              <a:gd name="connsiteX1043" fmla="*/ 1934301 w 4518776"/>
              <a:gd name="connsiteY1043" fmla="*/ 203205 h 1989183"/>
              <a:gd name="connsiteX1044" fmla="*/ 1906960 w 4518776"/>
              <a:gd name="connsiteY1044" fmla="*/ 175864 h 1989183"/>
              <a:gd name="connsiteX1045" fmla="*/ 2141912 w 4518776"/>
              <a:gd name="connsiteY1045" fmla="*/ 175864 h 1989183"/>
              <a:gd name="connsiteX1046" fmla="*/ 2114571 w 4518776"/>
              <a:gd name="connsiteY1046" fmla="*/ 203205 h 1989183"/>
              <a:gd name="connsiteX1047" fmla="*/ 2141912 w 4518776"/>
              <a:gd name="connsiteY1047" fmla="*/ 230546 h 1989183"/>
              <a:gd name="connsiteX1048" fmla="*/ 2169253 w 4518776"/>
              <a:gd name="connsiteY1048" fmla="*/ 203205 h 1989183"/>
              <a:gd name="connsiteX1049" fmla="*/ 2141912 w 4518776"/>
              <a:gd name="connsiteY1049" fmla="*/ 175864 h 1989183"/>
              <a:gd name="connsiteX1050" fmla="*/ 2376864 w 4518776"/>
              <a:gd name="connsiteY1050" fmla="*/ 175864 h 1989183"/>
              <a:gd name="connsiteX1051" fmla="*/ 2349523 w 4518776"/>
              <a:gd name="connsiteY1051" fmla="*/ 203205 h 1989183"/>
              <a:gd name="connsiteX1052" fmla="*/ 2376864 w 4518776"/>
              <a:gd name="connsiteY1052" fmla="*/ 230546 h 1989183"/>
              <a:gd name="connsiteX1053" fmla="*/ 2404205 w 4518776"/>
              <a:gd name="connsiteY1053" fmla="*/ 203205 h 1989183"/>
              <a:gd name="connsiteX1054" fmla="*/ 2376864 w 4518776"/>
              <a:gd name="connsiteY1054" fmla="*/ 175864 h 1989183"/>
              <a:gd name="connsiteX1055" fmla="*/ 2611817 w 4518776"/>
              <a:gd name="connsiteY1055" fmla="*/ 175864 h 1989183"/>
              <a:gd name="connsiteX1056" fmla="*/ 2584476 w 4518776"/>
              <a:gd name="connsiteY1056" fmla="*/ 203205 h 1989183"/>
              <a:gd name="connsiteX1057" fmla="*/ 2611817 w 4518776"/>
              <a:gd name="connsiteY1057" fmla="*/ 230546 h 1989183"/>
              <a:gd name="connsiteX1058" fmla="*/ 2639158 w 4518776"/>
              <a:gd name="connsiteY1058" fmla="*/ 203205 h 1989183"/>
              <a:gd name="connsiteX1059" fmla="*/ 2611817 w 4518776"/>
              <a:gd name="connsiteY1059" fmla="*/ 175864 h 1989183"/>
              <a:gd name="connsiteX1060" fmla="*/ 2846769 w 4518776"/>
              <a:gd name="connsiteY1060" fmla="*/ 175864 h 1989183"/>
              <a:gd name="connsiteX1061" fmla="*/ 2819428 w 4518776"/>
              <a:gd name="connsiteY1061" fmla="*/ 203205 h 1989183"/>
              <a:gd name="connsiteX1062" fmla="*/ 2846769 w 4518776"/>
              <a:gd name="connsiteY1062" fmla="*/ 230546 h 1989183"/>
              <a:gd name="connsiteX1063" fmla="*/ 2874110 w 4518776"/>
              <a:gd name="connsiteY1063" fmla="*/ 203205 h 1989183"/>
              <a:gd name="connsiteX1064" fmla="*/ 2846769 w 4518776"/>
              <a:gd name="connsiteY1064" fmla="*/ 175864 h 1989183"/>
              <a:gd name="connsiteX1065" fmla="*/ 3081721 w 4518776"/>
              <a:gd name="connsiteY1065" fmla="*/ 175864 h 1989183"/>
              <a:gd name="connsiteX1066" fmla="*/ 3054380 w 4518776"/>
              <a:gd name="connsiteY1066" fmla="*/ 203205 h 1989183"/>
              <a:gd name="connsiteX1067" fmla="*/ 3081721 w 4518776"/>
              <a:gd name="connsiteY1067" fmla="*/ 230546 h 1989183"/>
              <a:gd name="connsiteX1068" fmla="*/ 3109062 w 4518776"/>
              <a:gd name="connsiteY1068" fmla="*/ 203205 h 1989183"/>
              <a:gd name="connsiteX1069" fmla="*/ 3081721 w 4518776"/>
              <a:gd name="connsiteY1069" fmla="*/ 175864 h 1989183"/>
              <a:gd name="connsiteX1070" fmla="*/ 3316674 w 4518776"/>
              <a:gd name="connsiteY1070" fmla="*/ 175864 h 1989183"/>
              <a:gd name="connsiteX1071" fmla="*/ 3289333 w 4518776"/>
              <a:gd name="connsiteY1071" fmla="*/ 203205 h 1989183"/>
              <a:gd name="connsiteX1072" fmla="*/ 3316674 w 4518776"/>
              <a:gd name="connsiteY1072" fmla="*/ 230546 h 1989183"/>
              <a:gd name="connsiteX1073" fmla="*/ 3344015 w 4518776"/>
              <a:gd name="connsiteY1073" fmla="*/ 203205 h 1989183"/>
              <a:gd name="connsiteX1074" fmla="*/ 3316674 w 4518776"/>
              <a:gd name="connsiteY1074" fmla="*/ 175864 h 1989183"/>
              <a:gd name="connsiteX1075" fmla="*/ 3551626 w 4518776"/>
              <a:gd name="connsiteY1075" fmla="*/ 175864 h 1989183"/>
              <a:gd name="connsiteX1076" fmla="*/ 3524285 w 4518776"/>
              <a:gd name="connsiteY1076" fmla="*/ 203205 h 1989183"/>
              <a:gd name="connsiteX1077" fmla="*/ 3551626 w 4518776"/>
              <a:gd name="connsiteY1077" fmla="*/ 230546 h 1989183"/>
              <a:gd name="connsiteX1078" fmla="*/ 3578967 w 4518776"/>
              <a:gd name="connsiteY1078" fmla="*/ 203205 h 1989183"/>
              <a:gd name="connsiteX1079" fmla="*/ 3551626 w 4518776"/>
              <a:gd name="connsiteY1079" fmla="*/ 175864 h 1989183"/>
              <a:gd name="connsiteX1080" fmla="*/ 3786578 w 4518776"/>
              <a:gd name="connsiteY1080" fmla="*/ 175864 h 1989183"/>
              <a:gd name="connsiteX1081" fmla="*/ 3759237 w 4518776"/>
              <a:gd name="connsiteY1081" fmla="*/ 203205 h 1989183"/>
              <a:gd name="connsiteX1082" fmla="*/ 3786578 w 4518776"/>
              <a:gd name="connsiteY1082" fmla="*/ 230546 h 1989183"/>
              <a:gd name="connsiteX1083" fmla="*/ 3813919 w 4518776"/>
              <a:gd name="connsiteY1083" fmla="*/ 203205 h 1989183"/>
              <a:gd name="connsiteX1084" fmla="*/ 3786578 w 4518776"/>
              <a:gd name="connsiteY1084" fmla="*/ 175864 h 1989183"/>
              <a:gd name="connsiteX1085" fmla="*/ 4021530 w 4518776"/>
              <a:gd name="connsiteY1085" fmla="*/ 175864 h 1989183"/>
              <a:gd name="connsiteX1086" fmla="*/ 3994189 w 4518776"/>
              <a:gd name="connsiteY1086" fmla="*/ 203205 h 1989183"/>
              <a:gd name="connsiteX1087" fmla="*/ 4021530 w 4518776"/>
              <a:gd name="connsiteY1087" fmla="*/ 230546 h 1989183"/>
              <a:gd name="connsiteX1088" fmla="*/ 4048871 w 4518776"/>
              <a:gd name="connsiteY1088" fmla="*/ 203205 h 1989183"/>
              <a:gd name="connsiteX1089" fmla="*/ 4021530 w 4518776"/>
              <a:gd name="connsiteY1089" fmla="*/ 175864 h 1989183"/>
              <a:gd name="connsiteX1090" fmla="*/ 4256483 w 4518776"/>
              <a:gd name="connsiteY1090" fmla="*/ 175864 h 1989183"/>
              <a:gd name="connsiteX1091" fmla="*/ 4229142 w 4518776"/>
              <a:gd name="connsiteY1091" fmla="*/ 203205 h 1989183"/>
              <a:gd name="connsiteX1092" fmla="*/ 4256483 w 4518776"/>
              <a:gd name="connsiteY1092" fmla="*/ 230546 h 1989183"/>
              <a:gd name="connsiteX1093" fmla="*/ 4283824 w 4518776"/>
              <a:gd name="connsiteY1093" fmla="*/ 203205 h 1989183"/>
              <a:gd name="connsiteX1094" fmla="*/ 4256483 w 4518776"/>
              <a:gd name="connsiteY1094" fmla="*/ 175864 h 1989183"/>
              <a:gd name="connsiteX1095" fmla="*/ 4491435 w 4518776"/>
              <a:gd name="connsiteY1095" fmla="*/ 175864 h 1989183"/>
              <a:gd name="connsiteX1096" fmla="*/ 4464094 w 4518776"/>
              <a:gd name="connsiteY1096" fmla="*/ 203205 h 1989183"/>
              <a:gd name="connsiteX1097" fmla="*/ 4491435 w 4518776"/>
              <a:gd name="connsiteY1097" fmla="*/ 230546 h 1989183"/>
              <a:gd name="connsiteX1098" fmla="*/ 4518776 w 4518776"/>
              <a:gd name="connsiteY1098" fmla="*/ 203205 h 1989183"/>
              <a:gd name="connsiteX1099" fmla="*/ 4491435 w 4518776"/>
              <a:gd name="connsiteY1099" fmla="*/ 175864 h 1989183"/>
              <a:gd name="connsiteX1100" fmla="*/ 27341 w 4518776"/>
              <a:gd name="connsiteY1100" fmla="*/ 0 h 1989183"/>
              <a:gd name="connsiteX1101" fmla="*/ 0 w 4518776"/>
              <a:gd name="connsiteY1101" fmla="*/ 27341 h 1989183"/>
              <a:gd name="connsiteX1102" fmla="*/ 27341 w 4518776"/>
              <a:gd name="connsiteY1102" fmla="*/ 54682 h 1989183"/>
              <a:gd name="connsiteX1103" fmla="*/ 54682 w 4518776"/>
              <a:gd name="connsiteY1103" fmla="*/ 27341 h 1989183"/>
              <a:gd name="connsiteX1104" fmla="*/ 27341 w 4518776"/>
              <a:gd name="connsiteY1104" fmla="*/ 0 h 1989183"/>
              <a:gd name="connsiteX1105" fmla="*/ 262293 w 4518776"/>
              <a:gd name="connsiteY1105" fmla="*/ 0 h 1989183"/>
              <a:gd name="connsiteX1106" fmla="*/ 234952 w 4518776"/>
              <a:gd name="connsiteY1106" fmla="*/ 27341 h 1989183"/>
              <a:gd name="connsiteX1107" fmla="*/ 262293 w 4518776"/>
              <a:gd name="connsiteY1107" fmla="*/ 54682 h 1989183"/>
              <a:gd name="connsiteX1108" fmla="*/ 289634 w 4518776"/>
              <a:gd name="connsiteY1108" fmla="*/ 27341 h 1989183"/>
              <a:gd name="connsiteX1109" fmla="*/ 262293 w 4518776"/>
              <a:gd name="connsiteY1109" fmla="*/ 0 h 1989183"/>
              <a:gd name="connsiteX1110" fmla="*/ 497246 w 4518776"/>
              <a:gd name="connsiteY1110" fmla="*/ 0 h 1989183"/>
              <a:gd name="connsiteX1111" fmla="*/ 469905 w 4518776"/>
              <a:gd name="connsiteY1111" fmla="*/ 27341 h 1989183"/>
              <a:gd name="connsiteX1112" fmla="*/ 497246 w 4518776"/>
              <a:gd name="connsiteY1112" fmla="*/ 54682 h 1989183"/>
              <a:gd name="connsiteX1113" fmla="*/ 524587 w 4518776"/>
              <a:gd name="connsiteY1113" fmla="*/ 27341 h 1989183"/>
              <a:gd name="connsiteX1114" fmla="*/ 497246 w 4518776"/>
              <a:gd name="connsiteY1114" fmla="*/ 0 h 1989183"/>
              <a:gd name="connsiteX1115" fmla="*/ 732198 w 4518776"/>
              <a:gd name="connsiteY1115" fmla="*/ 0 h 1989183"/>
              <a:gd name="connsiteX1116" fmla="*/ 704857 w 4518776"/>
              <a:gd name="connsiteY1116" fmla="*/ 27341 h 1989183"/>
              <a:gd name="connsiteX1117" fmla="*/ 732198 w 4518776"/>
              <a:gd name="connsiteY1117" fmla="*/ 54682 h 1989183"/>
              <a:gd name="connsiteX1118" fmla="*/ 759539 w 4518776"/>
              <a:gd name="connsiteY1118" fmla="*/ 27341 h 1989183"/>
              <a:gd name="connsiteX1119" fmla="*/ 732198 w 4518776"/>
              <a:gd name="connsiteY1119" fmla="*/ 0 h 1989183"/>
              <a:gd name="connsiteX1120" fmla="*/ 967150 w 4518776"/>
              <a:gd name="connsiteY1120" fmla="*/ 0 h 1989183"/>
              <a:gd name="connsiteX1121" fmla="*/ 939809 w 4518776"/>
              <a:gd name="connsiteY1121" fmla="*/ 27341 h 1989183"/>
              <a:gd name="connsiteX1122" fmla="*/ 967150 w 4518776"/>
              <a:gd name="connsiteY1122" fmla="*/ 54682 h 1989183"/>
              <a:gd name="connsiteX1123" fmla="*/ 994491 w 4518776"/>
              <a:gd name="connsiteY1123" fmla="*/ 27341 h 1989183"/>
              <a:gd name="connsiteX1124" fmla="*/ 967150 w 4518776"/>
              <a:gd name="connsiteY1124" fmla="*/ 0 h 1989183"/>
              <a:gd name="connsiteX1125" fmla="*/ 1202103 w 4518776"/>
              <a:gd name="connsiteY1125" fmla="*/ 0 h 1989183"/>
              <a:gd name="connsiteX1126" fmla="*/ 1174762 w 4518776"/>
              <a:gd name="connsiteY1126" fmla="*/ 27341 h 1989183"/>
              <a:gd name="connsiteX1127" fmla="*/ 1202103 w 4518776"/>
              <a:gd name="connsiteY1127" fmla="*/ 54682 h 1989183"/>
              <a:gd name="connsiteX1128" fmla="*/ 1229444 w 4518776"/>
              <a:gd name="connsiteY1128" fmla="*/ 27341 h 1989183"/>
              <a:gd name="connsiteX1129" fmla="*/ 1202103 w 4518776"/>
              <a:gd name="connsiteY1129" fmla="*/ 0 h 1989183"/>
              <a:gd name="connsiteX1130" fmla="*/ 1437055 w 4518776"/>
              <a:gd name="connsiteY1130" fmla="*/ 0 h 1989183"/>
              <a:gd name="connsiteX1131" fmla="*/ 1409714 w 4518776"/>
              <a:gd name="connsiteY1131" fmla="*/ 27341 h 1989183"/>
              <a:gd name="connsiteX1132" fmla="*/ 1437055 w 4518776"/>
              <a:gd name="connsiteY1132" fmla="*/ 54682 h 1989183"/>
              <a:gd name="connsiteX1133" fmla="*/ 1464396 w 4518776"/>
              <a:gd name="connsiteY1133" fmla="*/ 27341 h 1989183"/>
              <a:gd name="connsiteX1134" fmla="*/ 1437055 w 4518776"/>
              <a:gd name="connsiteY1134" fmla="*/ 0 h 1989183"/>
              <a:gd name="connsiteX1135" fmla="*/ 1672007 w 4518776"/>
              <a:gd name="connsiteY1135" fmla="*/ 0 h 1989183"/>
              <a:gd name="connsiteX1136" fmla="*/ 1644666 w 4518776"/>
              <a:gd name="connsiteY1136" fmla="*/ 27341 h 1989183"/>
              <a:gd name="connsiteX1137" fmla="*/ 1672007 w 4518776"/>
              <a:gd name="connsiteY1137" fmla="*/ 54682 h 1989183"/>
              <a:gd name="connsiteX1138" fmla="*/ 1699348 w 4518776"/>
              <a:gd name="connsiteY1138" fmla="*/ 27341 h 1989183"/>
              <a:gd name="connsiteX1139" fmla="*/ 1672007 w 4518776"/>
              <a:gd name="connsiteY1139" fmla="*/ 0 h 1989183"/>
              <a:gd name="connsiteX1140" fmla="*/ 1906960 w 4518776"/>
              <a:gd name="connsiteY1140" fmla="*/ 0 h 1989183"/>
              <a:gd name="connsiteX1141" fmla="*/ 1879619 w 4518776"/>
              <a:gd name="connsiteY1141" fmla="*/ 27341 h 1989183"/>
              <a:gd name="connsiteX1142" fmla="*/ 1906960 w 4518776"/>
              <a:gd name="connsiteY1142" fmla="*/ 54682 h 1989183"/>
              <a:gd name="connsiteX1143" fmla="*/ 1934301 w 4518776"/>
              <a:gd name="connsiteY1143" fmla="*/ 27341 h 1989183"/>
              <a:gd name="connsiteX1144" fmla="*/ 1906960 w 4518776"/>
              <a:gd name="connsiteY1144" fmla="*/ 0 h 1989183"/>
              <a:gd name="connsiteX1145" fmla="*/ 2141912 w 4518776"/>
              <a:gd name="connsiteY1145" fmla="*/ 0 h 1989183"/>
              <a:gd name="connsiteX1146" fmla="*/ 2114571 w 4518776"/>
              <a:gd name="connsiteY1146" fmla="*/ 27341 h 1989183"/>
              <a:gd name="connsiteX1147" fmla="*/ 2141912 w 4518776"/>
              <a:gd name="connsiteY1147" fmla="*/ 54682 h 1989183"/>
              <a:gd name="connsiteX1148" fmla="*/ 2169253 w 4518776"/>
              <a:gd name="connsiteY1148" fmla="*/ 27341 h 1989183"/>
              <a:gd name="connsiteX1149" fmla="*/ 2141912 w 4518776"/>
              <a:gd name="connsiteY1149" fmla="*/ 0 h 1989183"/>
              <a:gd name="connsiteX1150" fmla="*/ 2376864 w 4518776"/>
              <a:gd name="connsiteY1150" fmla="*/ 0 h 1989183"/>
              <a:gd name="connsiteX1151" fmla="*/ 2349523 w 4518776"/>
              <a:gd name="connsiteY1151" fmla="*/ 27341 h 1989183"/>
              <a:gd name="connsiteX1152" fmla="*/ 2376864 w 4518776"/>
              <a:gd name="connsiteY1152" fmla="*/ 54682 h 1989183"/>
              <a:gd name="connsiteX1153" fmla="*/ 2404205 w 4518776"/>
              <a:gd name="connsiteY1153" fmla="*/ 27341 h 1989183"/>
              <a:gd name="connsiteX1154" fmla="*/ 2376864 w 4518776"/>
              <a:gd name="connsiteY1154" fmla="*/ 0 h 1989183"/>
              <a:gd name="connsiteX1155" fmla="*/ 2611817 w 4518776"/>
              <a:gd name="connsiteY1155" fmla="*/ 0 h 1989183"/>
              <a:gd name="connsiteX1156" fmla="*/ 2584476 w 4518776"/>
              <a:gd name="connsiteY1156" fmla="*/ 27341 h 1989183"/>
              <a:gd name="connsiteX1157" fmla="*/ 2611817 w 4518776"/>
              <a:gd name="connsiteY1157" fmla="*/ 54682 h 1989183"/>
              <a:gd name="connsiteX1158" fmla="*/ 2639158 w 4518776"/>
              <a:gd name="connsiteY1158" fmla="*/ 27341 h 1989183"/>
              <a:gd name="connsiteX1159" fmla="*/ 2611817 w 4518776"/>
              <a:gd name="connsiteY1159" fmla="*/ 0 h 1989183"/>
              <a:gd name="connsiteX1160" fmla="*/ 2846769 w 4518776"/>
              <a:gd name="connsiteY1160" fmla="*/ 0 h 1989183"/>
              <a:gd name="connsiteX1161" fmla="*/ 2819428 w 4518776"/>
              <a:gd name="connsiteY1161" fmla="*/ 27341 h 1989183"/>
              <a:gd name="connsiteX1162" fmla="*/ 2846769 w 4518776"/>
              <a:gd name="connsiteY1162" fmla="*/ 54682 h 1989183"/>
              <a:gd name="connsiteX1163" fmla="*/ 2874110 w 4518776"/>
              <a:gd name="connsiteY1163" fmla="*/ 27341 h 1989183"/>
              <a:gd name="connsiteX1164" fmla="*/ 2846769 w 4518776"/>
              <a:gd name="connsiteY1164" fmla="*/ 0 h 1989183"/>
              <a:gd name="connsiteX1165" fmla="*/ 3081721 w 4518776"/>
              <a:gd name="connsiteY1165" fmla="*/ 0 h 1989183"/>
              <a:gd name="connsiteX1166" fmla="*/ 3054380 w 4518776"/>
              <a:gd name="connsiteY1166" fmla="*/ 27341 h 1989183"/>
              <a:gd name="connsiteX1167" fmla="*/ 3081721 w 4518776"/>
              <a:gd name="connsiteY1167" fmla="*/ 54682 h 1989183"/>
              <a:gd name="connsiteX1168" fmla="*/ 3109062 w 4518776"/>
              <a:gd name="connsiteY1168" fmla="*/ 27341 h 1989183"/>
              <a:gd name="connsiteX1169" fmla="*/ 3081721 w 4518776"/>
              <a:gd name="connsiteY1169" fmla="*/ 0 h 1989183"/>
              <a:gd name="connsiteX1170" fmla="*/ 3316674 w 4518776"/>
              <a:gd name="connsiteY1170" fmla="*/ 0 h 1989183"/>
              <a:gd name="connsiteX1171" fmla="*/ 3289333 w 4518776"/>
              <a:gd name="connsiteY1171" fmla="*/ 27341 h 1989183"/>
              <a:gd name="connsiteX1172" fmla="*/ 3316674 w 4518776"/>
              <a:gd name="connsiteY1172" fmla="*/ 54682 h 1989183"/>
              <a:gd name="connsiteX1173" fmla="*/ 3344015 w 4518776"/>
              <a:gd name="connsiteY1173" fmla="*/ 27341 h 1989183"/>
              <a:gd name="connsiteX1174" fmla="*/ 3316674 w 4518776"/>
              <a:gd name="connsiteY1174" fmla="*/ 0 h 1989183"/>
              <a:gd name="connsiteX1175" fmla="*/ 3551626 w 4518776"/>
              <a:gd name="connsiteY1175" fmla="*/ 0 h 1989183"/>
              <a:gd name="connsiteX1176" fmla="*/ 3524285 w 4518776"/>
              <a:gd name="connsiteY1176" fmla="*/ 27341 h 1989183"/>
              <a:gd name="connsiteX1177" fmla="*/ 3551626 w 4518776"/>
              <a:gd name="connsiteY1177" fmla="*/ 54682 h 1989183"/>
              <a:gd name="connsiteX1178" fmla="*/ 3578967 w 4518776"/>
              <a:gd name="connsiteY1178" fmla="*/ 27341 h 1989183"/>
              <a:gd name="connsiteX1179" fmla="*/ 3551626 w 4518776"/>
              <a:gd name="connsiteY1179" fmla="*/ 0 h 1989183"/>
              <a:gd name="connsiteX1180" fmla="*/ 3786578 w 4518776"/>
              <a:gd name="connsiteY1180" fmla="*/ 0 h 1989183"/>
              <a:gd name="connsiteX1181" fmla="*/ 3759237 w 4518776"/>
              <a:gd name="connsiteY1181" fmla="*/ 27341 h 1989183"/>
              <a:gd name="connsiteX1182" fmla="*/ 3786578 w 4518776"/>
              <a:gd name="connsiteY1182" fmla="*/ 54682 h 1989183"/>
              <a:gd name="connsiteX1183" fmla="*/ 3813919 w 4518776"/>
              <a:gd name="connsiteY1183" fmla="*/ 27341 h 1989183"/>
              <a:gd name="connsiteX1184" fmla="*/ 3786578 w 4518776"/>
              <a:gd name="connsiteY1184" fmla="*/ 0 h 1989183"/>
              <a:gd name="connsiteX1185" fmla="*/ 4021530 w 4518776"/>
              <a:gd name="connsiteY1185" fmla="*/ 0 h 1989183"/>
              <a:gd name="connsiteX1186" fmla="*/ 3994189 w 4518776"/>
              <a:gd name="connsiteY1186" fmla="*/ 27341 h 1989183"/>
              <a:gd name="connsiteX1187" fmla="*/ 4021530 w 4518776"/>
              <a:gd name="connsiteY1187" fmla="*/ 54682 h 1989183"/>
              <a:gd name="connsiteX1188" fmla="*/ 4048871 w 4518776"/>
              <a:gd name="connsiteY1188" fmla="*/ 27341 h 1989183"/>
              <a:gd name="connsiteX1189" fmla="*/ 4021530 w 4518776"/>
              <a:gd name="connsiteY1189" fmla="*/ 0 h 1989183"/>
              <a:gd name="connsiteX1190" fmla="*/ 4256483 w 4518776"/>
              <a:gd name="connsiteY1190" fmla="*/ 0 h 1989183"/>
              <a:gd name="connsiteX1191" fmla="*/ 4229142 w 4518776"/>
              <a:gd name="connsiteY1191" fmla="*/ 27341 h 1989183"/>
              <a:gd name="connsiteX1192" fmla="*/ 4256483 w 4518776"/>
              <a:gd name="connsiteY1192" fmla="*/ 54682 h 1989183"/>
              <a:gd name="connsiteX1193" fmla="*/ 4283824 w 4518776"/>
              <a:gd name="connsiteY1193" fmla="*/ 27341 h 1989183"/>
              <a:gd name="connsiteX1194" fmla="*/ 4256483 w 4518776"/>
              <a:gd name="connsiteY1194" fmla="*/ 0 h 1989183"/>
              <a:gd name="connsiteX1195" fmla="*/ 4491435 w 4518776"/>
              <a:gd name="connsiteY1195" fmla="*/ 0 h 1989183"/>
              <a:gd name="connsiteX1196" fmla="*/ 4464094 w 4518776"/>
              <a:gd name="connsiteY1196" fmla="*/ 27341 h 1989183"/>
              <a:gd name="connsiteX1197" fmla="*/ 4491435 w 4518776"/>
              <a:gd name="connsiteY1197" fmla="*/ 54682 h 1989183"/>
              <a:gd name="connsiteX1198" fmla="*/ 4518776 w 4518776"/>
              <a:gd name="connsiteY1198" fmla="*/ 27341 h 1989183"/>
              <a:gd name="connsiteX1199" fmla="*/ 4491435 w 4518776"/>
              <a:gd name="connsiteY1199" fmla="*/ 0 h 1989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</a:cxnLst>
            <a:rect l="l" t="t" r="r" b="b"/>
            <a:pathLst>
              <a:path w="4518776" h="1989183">
                <a:moveTo>
                  <a:pt x="27341" y="1934501"/>
                </a:moveTo>
                <a:cubicBezTo>
                  <a:pt x="12241" y="1934501"/>
                  <a:pt x="0" y="1946742"/>
                  <a:pt x="0" y="1961842"/>
                </a:cubicBezTo>
                <a:cubicBezTo>
                  <a:pt x="0" y="1976942"/>
                  <a:pt x="12241" y="1989183"/>
                  <a:pt x="27341" y="1989183"/>
                </a:cubicBezTo>
                <a:cubicBezTo>
                  <a:pt x="42441" y="1989183"/>
                  <a:pt x="54682" y="1976942"/>
                  <a:pt x="54682" y="1961842"/>
                </a:cubicBezTo>
                <a:cubicBezTo>
                  <a:pt x="54682" y="1946742"/>
                  <a:pt x="42441" y="1934501"/>
                  <a:pt x="27341" y="1934501"/>
                </a:cubicBezTo>
                <a:close/>
                <a:moveTo>
                  <a:pt x="262293" y="1934501"/>
                </a:moveTo>
                <a:cubicBezTo>
                  <a:pt x="247193" y="1934501"/>
                  <a:pt x="234952" y="1946742"/>
                  <a:pt x="234952" y="1961842"/>
                </a:cubicBezTo>
                <a:cubicBezTo>
                  <a:pt x="234952" y="1976942"/>
                  <a:pt x="247193" y="1989183"/>
                  <a:pt x="262293" y="1989183"/>
                </a:cubicBezTo>
                <a:cubicBezTo>
                  <a:pt x="277393" y="1989183"/>
                  <a:pt x="289634" y="1976942"/>
                  <a:pt x="289634" y="1961842"/>
                </a:cubicBezTo>
                <a:cubicBezTo>
                  <a:pt x="289634" y="1946742"/>
                  <a:pt x="277393" y="1934501"/>
                  <a:pt x="262293" y="1934501"/>
                </a:cubicBezTo>
                <a:close/>
                <a:moveTo>
                  <a:pt x="497246" y="1934501"/>
                </a:moveTo>
                <a:cubicBezTo>
                  <a:pt x="482146" y="1934501"/>
                  <a:pt x="469905" y="1946742"/>
                  <a:pt x="469905" y="1961842"/>
                </a:cubicBezTo>
                <a:cubicBezTo>
                  <a:pt x="469905" y="1976942"/>
                  <a:pt x="482146" y="1989183"/>
                  <a:pt x="497246" y="1989183"/>
                </a:cubicBezTo>
                <a:cubicBezTo>
                  <a:pt x="512346" y="1989183"/>
                  <a:pt x="524587" y="1976942"/>
                  <a:pt x="524587" y="1961842"/>
                </a:cubicBezTo>
                <a:cubicBezTo>
                  <a:pt x="524587" y="1946742"/>
                  <a:pt x="512346" y="1934501"/>
                  <a:pt x="497246" y="1934501"/>
                </a:cubicBezTo>
                <a:close/>
                <a:moveTo>
                  <a:pt x="732198" y="1934501"/>
                </a:moveTo>
                <a:cubicBezTo>
                  <a:pt x="717098" y="1934501"/>
                  <a:pt x="704857" y="1946742"/>
                  <a:pt x="704857" y="1961842"/>
                </a:cubicBezTo>
                <a:cubicBezTo>
                  <a:pt x="704857" y="1976942"/>
                  <a:pt x="717098" y="1989183"/>
                  <a:pt x="732198" y="1989183"/>
                </a:cubicBezTo>
                <a:cubicBezTo>
                  <a:pt x="747298" y="1989183"/>
                  <a:pt x="759539" y="1976942"/>
                  <a:pt x="759539" y="1961842"/>
                </a:cubicBezTo>
                <a:cubicBezTo>
                  <a:pt x="759539" y="1946742"/>
                  <a:pt x="747298" y="1934501"/>
                  <a:pt x="732198" y="1934501"/>
                </a:cubicBezTo>
                <a:close/>
                <a:moveTo>
                  <a:pt x="967150" y="1934501"/>
                </a:moveTo>
                <a:cubicBezTo>
                  <a:pt x="952050" y="1934501"/>
                  <a:pt x="939809" y="1946742"/>
                  <a:pt x="939809" y="1961842"/>
                </a:cubicBezTo>
                <a:cubicBezTo>
                  <a:pt x="939809" y="1976942"/>
                  <a:pt x="952050" y="1989183"/>
                  <a:pt x="967150" y="1989183"/>
                </a:cubicBezTo>
                <a:cubicBezTo>
                  <a:pt x="982250" y="1989183"/>
                  <a:pt x="994491" y="1976942"/>
                  <a:pt x="994491" y="1961842"/>
                </a:cubicBezTo>
                <a:cubicBezTo>
                  <a:pt x="994491" y="1946742"/>
                  <a:pt x="982250" y="1934501"/>
                  <a:pt x="967150" y="1934501"/>
                </a:cubicBezTo>
                <a:close/>
                <a:moveTo>
                  <a:pt x="1202103" y="1934501"/>
                </a:moveTo>
                <a:cubicBezTo>
                  <a:pt x="1187003" y="1934501"/>
                  <a:pt x="1174762" y="1946742"/>
                  <a:pt x="1174762" y="1961842"/>
                </a:cubicBezTo>
                <a:cubicBezTo>
                  <a:pt x="1174762" y="1976942"/>
                  <a:pt x="1187003" y="1989183"/>
                  <a:pt x="1202103" y="1989183"/>
                </a:cubicBezTo>
                <a:cubicBezTo>
                  <a:pt x="1217203" y="1989183"/>
                  <a:pt x="1229444" y="1976942"/>
                  <a:pt x="1229444" y="1961842"/>
                </a:cubicBezTo>
                <a:cubicBezTo>
                  <a:pt x="1229444" y="1946742"/>
                  <a:pt x="1217203" y="1934501"/>
                  <a:pt x="1202103" y="1934501"/>
                </a:cubicBezTo>
                <a:close/>
                <a:moveTo>
                  <a:pt x="1437055" y="1934501"/>
                </a:moveTo>
                <a:cubicBezTo>
                  <a:pt x="1421955" y="1934501"/>
                  <a:pt x="1409714" y="1946742"/>
                  <a:pt x="1409714" y="1961842"/>
                </a:cubicBezTo>
                <a:cubicBezTo>
                  <a:pt x="1409714" y="1976942"/>
                  <a:pt x="1421955" y="1989183"/>
                  <a:pt x="1437055" y="1989183"/>
                </a:cubicBezTo>
                <a:cubicBezTo>
                  <a:pt x="1452155" y="1989183"/>
                  <a:pt x="1464396" y="1976942"/>
                  <a:pt x="1464396" y="1961842"/>
                </a:cubicBezTo>
                <a:cubicBezTo>
                  <a:pt x="1464396" y="1946742"/>
                  <a:pt x="1452155" y="1934501"/>
                  <a:pt x="1437055" y="1934501"/>
                </a:cubicBezTo>
                <a:close/>
                <a:moveTo>
                  <a:pt x="1672007" y="1934501"/>
                </a:moveTo>
                <a:cubicBezTo>
                  <a:pt x="1656907" y="1934501"/>
                  <a:pt x="1644666" y="1946742"/>
                  <a:pt x="1644666" y="1961842"/>
                </a:cubicBezTo>
                <a:cubicBezTo>
                  <a:pt x="1644666" y="1976942"/>
                  <a:pt x="1656907" y="1989183"/>
                  <a:pt x="1672007" y="1989183"/>
                </a:cubicBezTo>
                <a:cubicBezTo>
                  <a:pt x="1687107" y="1989183"/>
                  <a:pt x="1699348" y="1976942"/>
                  <a:pt x="1699348" y="1961842"/>
                </a:cubicBezTo>
                <a:cubicBezTo>
                  <a:pt x="1699348" y="1946742"/>
                  <a:pt x="1687107" y="1934501"/>
                  <a:pt x="1672007" y="1934501"/>
                </a:cubicBezTo>
                <a:close/>
                <a:moveTo>
                  <a:pt x="1906960" y="1934501"/>
                </a:moveTo>
                <a:cubicBezTo>
                  <a:pt x="1891860" y="1934501"/>
                  <a:pt x="1879619" y="1946742"/>
                  <a:pt x="1879619" y="1961842"/>
                </a:cubicBezTo>
                <a:cubicBezTo>
                  <a:pt x="1879619" y="1976942"/>
                  <a:pt x="1891860" y="1989183"/>
                  <a:pt x="1906960" y="1989183"/>
                </a:cubicBezTo>
                <a:cubicBezTo>
                  <a:pt x="1922060" y="1989183"/>
                  <a:pt x="1934301" y="1976942"/>
                  <a:pt x="1934301" y="1961842"/>
                </a:cubicBezTo>
                <a:cubicBezTo>
                  <a:pt x="1934301" y="1946742"/>
                  <a:pt x="1922060" y="1934501"/>
                  <a:pt x="1906960" y="1934501"/>
                </a:cubicBezTo>
                <a:close/>
                <a:moveTo>
                  <a:pt x="2141912" y="1934501"/>
                </a:moveTo>
                <a:cubicBezTo>
                  <a:pt x="2126812" y="1934501"/>
                  <a:pt x="2114571" y="1946742"/>
                  <a:pt x="2114571" y="1961842"/>
                </a:cubicBezTo>
                <a:cubicBezTo>
                  <a:pt x="2114571" y="1976942"/>
                  <a:pt x="2126812" y="1989183"/>
                  <a:pt x="2141912" y="1989183"/>
                </a:cubicBezTo>
                <a:cubicBezTo>
                  <a:pt x="2157012" y="1989183"/>
                  <a:pt x="2169253" y="1976942"/>
                  <a:pt x="2169253" y="1961842"/>
                </a:cubicBezTo>
                <a:cubicBezTo>
                  <a:pt x="2169253" y="1946742"/>
                  <a:pt x="2157012" y="1934501"/>
                  <a:pt x="2141912" y="1934501"/>
                </a:cubicBezTo>
                <a:close/>
                <a:moveTo>
                  <a:pt x="2376864" y="1934501"/>
                </a:moveTo>
                <a:cubicBezTo>
                  <a:pt x="2361764" y="1934501"/>
                  <a:pt x="2349523" y="1946742"/>
                  <a:pt x="2349523" y="1961842"/>
                </a:cubicBezTo>
                <a:cubicBezTo>
                  <a:pt x="2349523" y="1976942"/>
                  <a:pt x="2361764" y="1989183"/>
                  <a:pt x="2376864" y="1989183"/>
                </a:cubicBezTo>
                <a:cubicBezTo>
                  <a:pt x="2391964" y="1989183"/>
                  <a:pt x="2404205" y="1976942"/>
                  <a:pt x="2404205" y="1961842"/>
                </a:cubicBezTo>
                <a:cubicBezTo>
                  <a:pt x="2404205" y="1946742"/>
                  <a:pt x="2391964" y="1934501"/>
                  <a:pt x="2376864" y="1934501"/>
                </a:cubicBezTo>
                <a:close/>
                <a:moveTo>
                  <a:pt x="2611817" y="1934501"/>
                </a:moveTo>
                <a:cubicBezTo>
                  <a:pt x="2596717" y="1934501"/>
                  <a:pt x="2584476" y="1946742"/>
                  <a:pt x="2584476" y="1961842"/>
                </a:cubicBezTo>
                <a:cubicBezTo>
                  <a:pt x="2584476" y="1976942"/>
                  <a:pt x="2596717" y="1989183"/>
                  <a:pt x="2611817" y="1989183"/>
                </a:cubicBezTo>
                <a:cubicBezTo>
                  <a:pt x="2626917" y="1989183"/>
                  <a:pt x="2639158" y="1976942"/>
                  <a:pt x="2639158" y="1961842"/>
                </a:cubicBezTo>
                <a:cubicBezTo>
                  <a:pt x="2639158" y="1946742"/>
                  <a:pt x="2626917" y="1934501"/>
                  <a:pt x="2611817" y="1934501"/>
                </a:cubicBezTo>
                <a:close/>
                <a:moveTo>
                  <a:pt x="2846769" y="1934501"/>
                </a:moveTo>
                <a:cubicBezTo>
                  <a:pt x="2831669" y="1934501"/>
                  <a:pt x="2819428" y="1946742"/>
                  <a:pt x="2819428" y="1961842"/>
                </a:cubicBezTo>
                <a:cubicBezTo>
                  <a:pt x="2819428" y="1976942"/>
                  <a:pt x="2831669" y="1989183"/>
                  <a:pt x="2846769" y="1989183"/>
                </a:cubicBezTo>
                <a:cubicBezTo>
                  <a:pt x="2861869" y="1989183"/>
                  <a:pt x="2874110" y="1976942"/>
                  <a:pt x="2874110" y="1961842"/>
                </a:cubicBezTo>
                <a:cubicBezTo>
                  <a:pt x="2874110" y="1946742"/>
                  <a:pt x="2861869" y="1934501"/>
                  <a:pt x="2846769" y="1934501"/>
                </a:cubicBezTo>
                <a:close/>
                <a:moveTo>
                  <a:pt x="3081721" y="1934501"/>
                </a:moveTo>
                <a:cubicBezTo>
                  <a:pt x="3066621" y="1934501"/>
                  <a:pt x="3054380" y="1946742"/>
                  <a:pt x="3054380" y="1961842"/>
                </a:cubicBezTo>
                <a:cubicBezTo>
                  <a:pt x="3054380" y="1976942"/>
                  <a:pt x="3066621" y="1989183"/>
                  <a:pt x="3081721" y="1989183"/>
                </a:cubicBezTo>
                <a:cubicBezTo>
                  <a:pt x="3096821" y="1989183"/>
                  <a:pt x="3109062" y="1976942"/>
                  <a:pt x="3109062" y="1961842"/>
                </a:cubicBezTo>
                <a:cubicBezTo>
                  <a:pt x="3109062" y="1946742"/>
                  <a:pt x="3096821" y="1934501"/>
                  <a:pt x="3081721" y="1934501"/>
                </a:cubicBezTo>
                <a:close/>
                <a:moveTo>
                  <a:pt x="3316674" y="1934501"/>
                </a:moveTo>
                <a:cubicBezTo>
                  <a:pt x="3301574" y="1934501"/>
                  <a:pt x="3289333" y="1946742"/>
                  <a:pt x="3289333" y="1961842"/>
                </a:cubicBezTo>
                <a:cubicBezTo>
                  <a:pt x="3289333" y="1976942"/>
                  <a:pt x="3301574" y="1989183"/>
                  <a:pt x="3316674" y="1989183"/>
                </a:cubicBezTo>
                <a:cubicBezTo>
                  <a:pt x="3331774" y="1989183"/>
                  <a:pt x="3344015" y="1976942"/>
                  <a:pt x="3344015" y="1961842"/>
                </a:cubicBezTo>
                <a:cubicBezTo>
                  <a:pt x="3344015" y="1946742"/>
                  <a:pt x="3331774" y="1934501"/>
                  <a:pt x="3316674" y="1934501"/>
                </a:cubicBezTo>
                <a:close/>
                <a:moveTo>
                  <a:pt x="3551626" y="1934501"/>
                </a:moveTo>
                <a:cubicBezTo>
                  <a:pt x="3536526" y="1934501"/>
                  <a:pt x="3524285" y="1946742"/>
                  <a:pt x="3524285" y="1961842"/>
                </a:cubicBezTo>
                <a:cubicBezTo>
                  <a:pt x="3524285" y="1976942"/>
                  <a:pt x="3536526" y="1989183"/>
                  <a:pt x="3551626" y="1989183"/>
                </a:cubicBezTo>
                <a:cubicBezTo>
                  <a:pt x="3566726" y="1989183"/>
                  <a:pt x="3578967" y="1976942"/>
                  <a:pt x="3578967" y="1961842"/>
                </a:cubicBezTo>
                <a:cubicBezTo>
                  <a:pt x="3578967" y="1946742"/>
                  <a:pt x="3566726" y="1934501"/>
                  <a:pt x="3551626" y="1934501"/>
                </a:cubicBezTo>
                <a:close/>
                <a:moveTo>
                  <a:pt x="3786578" y="1934501"/>
                </a:moveTo>
                <a:cubicBezTo>
                  <a:pt x="3771478" y="1934501"/>
                  <a:pt x="3759237" y="1946742"/>
                  <a:pt x="3759237" y="1961842"/>
                </a:cubicBezTo>
                <a:cubicBezTo>
                  <a:pt x="3759237" y="1976942"/>
                  <a:pt x="3771478" y="1989183"/>
                  <a:pt x="3786578" y="1989183"/>
                </a:cubicBezTo>
                <a:cubicBezTo>
                  <a:pt x="3801678" y="1989183"/>
                  <a:pt x="3813919" y="1976942"/>
                  <a:pt x="3813919" y="1961842"/>
                </a:cubicBezTo>
                <a:cubicBezTo>
                  <a:pt x="3813919" y="1946742"/>
                  <a:pt x="3801678" y="1934501"/>
                  <a:pt x="3786578" y="1934501"/>
                </a:cubicBezTo>
                <a:close/>
                <a:moveTo>
                  <a:pt x="4021530" y="1934501"/>
                </a:moveTo>
                <a:cubicBezTo>
                  <a:pt x="4006430" y="1934501"/>
                  <a:pt x="3994189" y="1946742"/>
                  <a:pt x="3994189" y="1961842"/>
                </a:cubicBezTo>
                <a:cubicBezTo>
                  <a:pt x="3994189" y="1976942"/>
                  <a:pt x="4006430" y="1989183"/>
                  <a:pt x="4021530" y="1989183"/>
                </a:cubicBezTo>
                <a:cubicBezTo>
                  <a:pt x="4036630" y="1989183"/>
                  <a:pt x="4048871" y="1976942"/>
                  <a:pt x="4048871" y="1961842"/>
                </a:cubicBezTo>
                <a:cubicBezTo>
                  <a:pt x="4048871" y="1946742"/>
                  <a:pt x="4036630" y="1934501"/>
                  <a:pt x="4021530" y="1934501"/>
                </a:cubicBezTo>
                <a:close/>
                <a:moveTo>
                  <a:pt x="4256483" y="1934501"/>
                </a:moveTo>
                <a:cubicBezTo>
                  <a:pt x="4241383" y="1934501"/>
                  <a:pt x="4229142" y="1946742"/>
                  <a:pt x="4229142" y="1961842"/>
                </a:cubicBezTo>
                <a:cubicBezTo>
                  <a:pt x="4229142" y="1976942"/>
                  <a:pt x="4241383" y="1989183"/>
                  <a:pt x="4256483" y="1989183"/>
                </a:cubicBezTo>
                <a:cubicBezTo>
                  <a:pt x="4271583" y="1989183"/>
                  <a:pt x="4283824" y="1976942"/>
                  <a:pt x="4283824" y="1961842"/>
                </a:cubicBezTo>
                <a:cubicBezTo>
                  <a:pt x="4283824" y="1946742"/>
                  <a:pt x="4271583" y="1934501"/>
                  <a:pt x="4256483" y="1934501"/>
                </a:cubicBezTo>
                <a:close/>
                <a:moveTo>
                  <a:pt x="4491435" y="1934501"/>
                </a:moveTo>
                <a:cubicBezTo>
                  <a:pt x="4476335" y="1934501"/>
                  <a:pt x="4464094" y="1946742"/>
                  <a:pt x="4464094" y="1961842"/>
                </a:cubicBezTo>
                <a:cubicBezTo>
                  <a:pt x="4464094" y="1976942"/>
                  <a:pt x="4476335" y="1989183"/>
                  <a:pt x="4491435" y="1989183"/>
                </a:cubicBezTo>
                <a:cubicBezTo>
                  <a:pt x="4506535" y="1989183"/>
                  <a:pt x="4518776" y="1976942"/>
                  <a:pt x="4518776" y="1961842"/>
                </a:cubicBezTo>
                <a:cubicBezTo>
                  <a:pt x="4518776" y="1946742"/>
                  <a:pt x="4506535" y="1934501"/>
                  <a:pt x="4491435" y="1934501"/>
                </a:cubicBezTo>
                <a:close/>
                <a:moveTo>
                  <a:pt x="27341" y="1758637"/>
                </a:moveTo>
                <a:cubicBezTo>
                  <a:pt x="12241" y="1758637"/>
                  <a:pt x="0" y="1770878"/>
                  <a:pt x="0" y="1785978"/>
                </a:cubicBezTo>
                <a:cubicBezTo>
                  <a:pt x="0" y="1801078"/>
                  <a:pt x="12241" y="1813319"/>
                  <a:pt x="27341" y="1813319"/>
                </a:cubicBezTo>
                <a:cubicBezTo>
                  <a:pt x="42441" y="1813319"/>
                  <a:pt x="54682" y="1801078"/>
                  <a:pt x="54682" y="1785978"/>
                </a:cubicBezTo>
                <a:cubicBezTo>
                  <a:pt x="54682" y="1770878"/>
                  <a:pt x="42441" y="1758637"/>
                  <a:pt x="27341" y="1758637"/>
                </a:cubicBezTo>
                <a:close/>
                <a:moveTo>
                  <a:pt x="262293" y="1758637"/>
                </a:moveTo>
                <a:cubicBezTo>
                  <a:pt x="247193" y="1758637"/>
                  <a:pt x="234952" y="1770878"/>
                  <a:pt x="234952" y="1785978"/>
                </a:cubicBezTo>
                <a:cubicBezTo>
                  <a:pt x="234952" y="1801078"/>
                  <a:pt x="247193" y="1813319"/>
                  <a:pt x="262293" y="1813319"/>
                </a:cubicBezTo>
                <a:cubicBezTo>
                  <a:pt x="277393" y="1813319"/>
                  <a:pt x="289634" y="1801078"/>
                  <a:pt x="289634" y="1785978"/>
                </a:cubicBezTo>
                <a:cubicBezTo>
                  <a:pt x="289634" y="1770878"/>
                  <a:pt x="277393" y="1758637"/>
                  <a:pt x="262293" y="1758637"/>
                </a:cubicBezTo>
                <a:close/>
                <a:moveTo>
                  <a:pt x="497246" y="1758637"/>
                </a:moveTo>
                <a:cubicBezTo>
                  <a:pt x="482146" y="1758637"/>
                  <a:pt x="469905" y="1770878"/>
                  <a:pt x="469905" y="1785978"/>
                </a:cubicBezTo>
                <a:cubicBezTo>
                  <a:pt x="469905" y="1801078"/>
                  <a:pt x="482146" y="1813319"/>
                  <a:pt x="497246" y="1813319"/>
                </a:cubicBezTo>
                <a:cubicBezTo>
                  <a:pt x="512346" y="1813319"/>
                  <a:pt x="524587" y="1801078"/>
                  <a:pt x="524587" y="1785978"/>
                </a:cubicBezTo>
                <a:cubicBezTo>
                  <a:pt x="524587" y="1770878"/>
                  <a:pt x="512346" y="1758637"/>
                  <a:pt x="497246" y="1758637"/>
                </a:cubicBezTo>
                <a:close/>
                <a:moveTo>
                  <a:pt x="732198" y="1758637"/>
                </a:moveTo>
                <a:cubicBezTo>
                  <a:pt x="717098" y="1758637"/>
                  <a:pt x="704857" y="1770878"/>
                  <a:pt x="704857" y="1785978"/>
                </a:cubicBezTo>
                <a:cubicBezTo>
                  <a:pt x="704857" y="1801078"/>
                  <a:pt x="717098" y="1813319"/>
                  <a:pt x="732198" y="1813319"/>
                </a:cubicBezTo>
                <a:cubicBezTo>
                  <a:pt x="747298" y="1813319"/>
                  <a:pt x="759539" y="1801078"/>
                  <a:pt x="759539" y="1785978"/>
                </a:cubicBezTo>
                <a:cubicBezTo>
                  <a:pt x="759539" y="1770878"/>
                  <a:pt x="747298" y="1758637"/>
                  <a:pt x="732198" y="1758637"/>
                </a:cubicBezTo>
                <a:close/>
                <a:moveTo>
                  <a:pt x="967150" y="1758637"/>
                </a:moveTo>
                <a:cubicBezTo>
                  <a:pt x="952050" y="1758637"/>
                  <a:pt x="939809" y="1770878"/>
                  <a:pt x="939809" y="1785978"/>
                </a:cubicBezTo>
                <a:cubicBezTo>
                  <a:pt x="939809" y="1801078"/>
                  <a:pt x="952050" y="1813319"/>
                  <a:pt x="967150" y="1813319"/>
                </a:cubicBezTo>
                <a:cubicBezTo>
                  <a:pt x="982250" y="1813319"/>
                  <a:pt x="994491" y="1801078"/>
                  <a:pt x="994491" y="1785978"/>
                </a:cubicBezTo>
                <a:cubicBezTo>
                  <a:pt x="994491" y="1770878"/>
                  <a:pt x="982250" y="1758637"/>
                  <a:pt x="967150" y="1758637"/>
                </a:cubicBezTo>
                <a:close/>
                <a:moveTo>
                  <a:pt x="1202103" y="1758637"/>
                </a:moveTo>
                <a:cubicBezTo>
                  <a:pt x="1187003" y="1758637"/>
                  <a:pt x="1174762" y="1770878"/>
                  <a:pt x="1174762" y="1785978"/>
                </a:cubicBezTo>
                <a:cubicBezTo>
                  <a:pt x="1174762" y="1801078"/>
                  <a:pt x="1187003" y="1813319"/>
                  <a:pt x="1202103" y="1813319"/>
                </a:cubicBezTo>
                <a:cubicBezTo>
                  <a:pt x="1217203" y="1813319"/>
                  <a:pt x="1229444" y="1801078"/>
                  <a:pt x="1229444" y="1785978"/>
                </a:cubicBezTo>
                <a:cubicBezTo>
                  <a:pt x="1229444" y="1770878"/>
                  <a:pt x="1217203" y="1758637"/>
                  <a:pt x="1202103" y="1758637"/>
                </a:cubicBezTo>
                <a:close/>
                <a:moveTo>
                  <a:pt x="1437055" y="1758637"/>
                </a:moveTo>
                <a:cubicBezTo>
                  <a:pt x="1421955" y="1758637"/>
                  <a:pt x="1409714" y="1770878"/>
                  <a:pt x="1409714" y="1785978"/>
                </a:cubicBezTo>
                <a:cubicBezTo>
                  <a:pt x="1409714" y="1801078"/>
                  <a:pt x="1421955" y="1813319"/>
                  <a:pt x="1437055" y="1813319"/>
                </a:cubicBezTo>
                <a:cubicBezTo>
                  <a:pt x="1452155" y="1813319"/>
                  <a:pt x="1464396" y="1801078"/>
                  <a:pt x="1464396" y="1785978"/>
                </a:cubicBezTo>
                <a:cubicBezTo>
                  <a:pt x="1464396" y="1770878"/>
                  <a:pt x="1452155" y="1758637"/>
                  <a:pt x="1437055" y="1758637"/>
                </a:cubicBezTo>
                <a:close/>
                <a:moveTo>
                  <a:pt x="1672007" y="1758637"/>
                </a:moveTo>
                <a:cubicBezTo>
                  <a:pt x="1656907" y="1758637"/>
                  <a:pt x="1644666" y="1770878"/>
                  <a:pt x="1644666" y="1785978"/>
                </a:cubicBezTo>
                <a:cubicBezTo>
                  <a:pt x="1644666" y="1801078"/>
                  <a:pt x="1656907" y="1813319"/>
                  <a:pt x="1672007" y="1813319"/>
                </a:cubicBezTo>
                <a:cubicBezTo>
                  <a:pt x="1687107" y="1813319"/>
                  <a:pt x="1699348" y="1801078"/>
                  <a:pt x="1699348" y="1785978"/>
                </a:cubicBezTo>
                <a:cubicBezTo>
                  <a:pt x="1699348" y="1770878"/>
                  <a:pt x="1687107" y="1758637"/>
                  <a:pt x="1672007" y="1758637"/>
                </a:cubicBezTo>
                <a:close/>
                <a:moveTo>
                  <a:pt x="1906960" y="1758637"/>
                </a:moveTo>
                <a:cubicBezTo>
                  <a:pt x="1891860" y="1758637"/>
                  <a:pt x="1879619" y="1770878"/>
                  <a:pt x="1879619" y="1785978"/>
                </a:cubicBezTo>
                <a:cubicBezTo>
                  <a:pt x="1879619" y="1801078"/>
                  <a:pt x="1891860" y="1813319"/>
                  <a:pt x="1906960" y="1813319"/>
                </a:cubicBezTo>
                <a:cubicBezTo>
                  <a:pt x="1922060" y="1813319"/>
                  <a:pt x="1934301" y="1801078"/>
                  <a:pt x="1934301" y="1785978"/>
                </a:cubicBezTo>
                <a:cubicBezTo>
                  <a:pt x="1934301" y="1770878"/>
                  <a:pt x="1922060" y="1758637"/>
                  <a:pt x="1906960" y="1758637"/>
                </a:cubicBezTo>
                <a:close/>
                <a:moveTo>
                  <a:pt x="2141912" y="1758637"/>
                </a:moveTo>
                <a:cubicBezTo>
                  <a:pt x="2126812" y="1758637"/>
                  <a:pt x="2114571" y="1770878"/>
                  <a:pt x="2114571" y="1785978"/>
                </a:cubicBezTo>
                <a:cubicBezTo>
                  <a:pt x="2114571" y="1801078"/>
                  <a:pt x="2126812" y="1813319"/>
                  <a:pt x="2141912" y="1813319"/>
                </a:cubicBezTo>
                <a:cubicBezTo>
                  <a:pt x="2157012" y="1813319"/>
                  <a:pt x="2169253" y="1801078"/>
                  <a:pt x="2169253" y="1785978"/>
                </a:cubicBezTo>
                <a:cubicBezTo>
                  <a:pt x="2169253" y="1770878"/>
                  <a:pt x="2157012" y="1758637"/>
                  <a:pt x="2141912" y="1758637"/>
                </a:cubicBezTo>
                <a:close/>
                <a:moveTo>
                  <a:pt x="2376864" y="1758637"/>
                </a:moveTo>
                <a:cubicBezTo>
                  <a:pt x="2361764" y="1758637"/>
                  <a:pt x="2349523" y="1770878"/>
                  <a:pt x="2349523" y="1785978"/>
                </a:cubicBezTo>
                <a:cubicBezTo>
                  <a:pt x="2349523" y="1801078"/>
                  <a:pt x="2361764" y="1813319"/>
                  <a:pt x="2376864" y="1813319"/>
                </a:cubicBezTo>
                <a:cubicBezTo>
                  <a:pt x="2391964" y="1813319"/>
                  <a:pt x="2404205" y="1801078"/>
                  <a:pt x="2404205" y="1785978"/>
                </a:cubicBezTo>
                <a:cubicBezTo>
                  <a:pt x="2404205" y="1770878"/>
                  <a:pt x="2391964" y="1758637"/>
                  <a:pt x="2376864" y="1758637"/>
                </a:cubicBezTo>
                <a:close/>
                <a:moveTo>
                  <a:pt x="2611817" y="1758637"/>
                </a:moveTo>
                <a:cubicBezTo>
                  <a:pt x="2596717" y="1758637"/>
                  <a:pt x="2584476" y="1770878"/>
                  <a:pt x="2584476" y="1785978"/>
                </a:cubicBezTo>
                <a:cubicBezTo>
                  <a:pt x="2584476" y="1801078"/>
                  <a:pt x="2596717" y="1813319"/>
                  <a:pt x="2611817" y="1813319"/>
                </a:cubicBezTo>
                <a:cubicBezTo>
                  <a:pt x="2626917" y="1813319"/>
                  <a:pt x="2639158" y="1801078"/>
                  <a:pt x="2639158" y="1785978"/>
                </a:cubicBezTo>
                <a:cubicBezTo>
                  <a:pt x="2639158" y="1770878"/>
                  <a:pt x="2626917" y="1758637"/>
                  <a:pt x="2611817" y="1758637"/>
                </a:cubicBezTo>
                <a:close/>
                <a:moveTo>
                  <a:pt x="2846769" y="1758637"/>
                </a:moveTo>
                <a:cubicBezTo>
                  <a:pt x="2831669" y="1758637"/>
                  <a:pt x="2819428" y="1770878"/>
                  <a:pt x="2819428" y="1785978"/>
                </a:cubicBezTo>
                <a:cubicBezTo>
                  <a:pt x="2819428" y="1801078"/>
                  <a:pt x="2831669" y="1813319"/>
                  <a:pt x="2846769" y="1813319"/>
                </a:cubicBezTo>
                <a:cubicBezTo>
                  <a:pt x="2861869" y="1813319"/>
                  <a:pt x="2874110" y="1801078"/>
                  <a:pt x="2874110" y="1785978"/>
                </a:cubicBezTo>
                <a:cubicBezTo>
                  <a:pt x="2874110" y="1770878"/>
                  <a:pt x="2861869" y="1758637"/>
                  <a:pt x="2846769" y="1758637"/>
                </a:cubicBezTo>
                <a:close/>
                <a:moveTo>
                  <a:pt x="3081721" y="1758637"/>
                </a:moveTo>
                <a:cubicBezTo>
                  <a:pt x="3066621" y="1758637"/>
                  <a:pt x="3054380" y="1770878"/>
                  <a:pt x="3054380" y="1785978"/>
                </a:cubicBezTo>
                <a:cubicBezTo>
                  <a:pt x="3054380" y="1801078"/>
                  <a:pt x="3066621" y="1813319"/>
                  <a:pt x="3081721" y="1813319"/>
                </a:cubicBezTo>
                <a:cubicBezTo>
                  <a:pt x="3096821" y="1813319"/>
                  <a:pt x="3109062" y="1801078"/>
                  <a:pt x="3109062" y="1785978"/>
                </a:cubicBezTo>
                <a:cubicBezTo>
                  <a:pt x="3109062" y="1770878"/>
                  <a:pt x="3096821" y="1758637"/>
                  <a:pt x="3081721" y="1758637"/>
                </a:cubicBezTo>
                <a:close/>
                <a:moveTo>
                  <a:pt x="3316674" y="1758637"/>
                </a:moveTo>
                <a:cubicBezTo>
                  <a:pt x="3301574" y="1758637"/>
                  <a:pt x="3289333" y="1770878"/>
                  <a:pt x="3289333" y="1785978"/>
                </a:cubicBezTo>
                <a:cubicBezTo>
                  <a:pt x="3289333" y="1801078"/>
                  <a:pt x="3301574" y="1813319"/>
                  <a:pt x="3316674" y="1813319"/>
                </a:cubicBezTo>
                <a:cubicBezTo>
                  <a:pt x="3331774" y="1813319"/>
                  <a:pt x="3344015" y="1801078"/>
                  <a:pt x="3344015" y="1785978"/>
                </a:cubicBezTo>
                <a:cubicBezTo>
                  <a:pt x="3344015" y="1770878"/>
                  <a:pt x="3331774" y="1758637"/>
                  <a:pt x="3316674" y="1758637"/>
                </a:cubicBezTo>
                <a:close/>
                <a:moveTo>
                  <a:pt x="3551626" y="1758637"/>
                </a:moveTo>
                <a:cubicBezTo>
                  <a:pt x="3536526" y="1758637"/>
                  <a:pt x="3524285" y="1770878"/>
                  <a:pt x="3524285" y="1785978"/>
                </a:cubicBezTo>
                <a:cubicBezTo>
                  <a:pt x="3524285" y="1801078"/>
                  <a:pt x="3536526" y="1813319"/>
                  <a:pt x="3551626" y="1813319"/>
                </a:cubicBezTo>
                <a:cubicBezTo>
                  <a:pt x="3566726" y="1813319"/>
                  <a:pt x="3578967" y="1801078"/>
                  <a:pt x="3578967" y="1785978"/>
                </a:cubicBezTo>
                <a:cubicBezTo>
                  <a:pt x="3578967" y="1770878"/>
                  <a:pt x="3566726" y="1758637"/>
                  <a:pt x="3551626" y="1758637"/>
                </a:cubicBezTo>
                <a:close/>
                <a:moveTo>
                  <a:pt x="3786578" y="1758637"/>
                </a:moveTo>
                <a:cubicBezTo>
                  <a:pt x="3771478" y="1758637"/>
                  <a:pt x="3759237" y="1770878"/>
                  <a:pt x="3759237" y="1785978"/>
                </a:cubicBezTo>
                <a:cubicBezTo>
                  <a:pt x="3759237" y="1801078"/>
                  <a:pt x="3771478" y="1813319"/>
                  <a:pt x="3786578" y="1813319"/>
                </a:cubicBezTo>
                <a:cubicBezTo>
                  <a:pt x="3801678" y="1813319"/>
                  <a:pt x="3813919" y="1801078"/>
                  <a:pt x="3813919" y="1785978"/>
                </a:cubicBezTo>
                <a:cubicBezTo>
                  <a:pt x="3813919" y="1770878"/>
                  <a:pt x="3801678" y="1758637"/>
                  <a:pt x="3786578" y="1758637"/>
                </a:cubicBezTo>
                <a:close/>
                <a:moveTo>
                  <a:pt x="4021530" y="1758637"/>
                </a:moveTo>
                <a:cubicBezTo>
                  <a:pt x="4006430" y="1758637"/>
                  <a:pt x="3994189" y="1770878"/>
                  <a:pt x="3994189" y="1785978"/>
                </a:cubicBezTo>
                <a:cubicBezTo>
                  <a:pt x="3994189" y="1801078"/>
                  <a:pt x="4006430" y="1813319"/>
                  <a:pt x="4021530" y="1813319"/>
                </a:cubicBezTo>
                <a:cubicBezTo>
                  <a:pt x="4036630" y="1813319"/>
                  <a:pt x="4048871" y="1801078"/>
                  <a:pt x="4048871" y="1785978"/>
                </a:cubicBezTo>
                <a:cubicBezTo>
                  <a:pt x="4048871" y="1770878"/>
                  <a:pt x="4036630" y="1758637"/>
                  <a:pt x="4021530" y="1758637"/>
                </a:cubicBezTo>
                <a:close/>
                <a:moveTo>
                  <a:pt x="4256483" y="1758637"/>
                </a:moveTo>
                <a:cubicBezTo>
                  <a:pt x="4241383" y="1758637"/>
                  <a:pt x="4229142" y="1770878"/>
                  <a:pt x="4229142" y="1785978"/>
                </a:cubicBezTo>
                <a:cubicBezTo>
                  <a:pt x="4229142" y="1801078"/>
                  <a:pt x="4241383" y="1813319"/>
                  <a:pt x="4256483" y="1813319"/>
                </a:cubicBezTo>
                <a:cubicBezTo>
                  <a:pt x="4271583" y="1813319"/>
                  <a:pt x="4283824" y="1801078"/>
                  <a:pt x="4283824" y="1785978"/>
                </a:cubicBezTo>
                <a:cubicBezTo>
                  <a:pt x="4283824" y="1770878"/>
                  <a:pt x="4271583" y="1758637"/>
                  <a:pt x="4256483" y="1758637"/>
                </a:cubicBezTo>
                <a:close/>
                <a:moveTo>
                  <a:pt x="4491435" y="1758637"/>
                </a:moveTo>
                <a:cubicBezTo>
                  <a:pt x="4476335" y="1758637"/>
                  <a:pt x="4464094" y="1770878"/>
                  <a:pt x="4464094" y="1785978"/>
                </a:cubicBezTo>
                <a:cubicBezTo>
                  <a:pt x="4464094" y="1801078"/>
                  <a:pt x="4476335" y="1813319"/>
                  <a:pt x="4491435" y="1813319"/>
                </a:cubicBezTo>
                <a:cubicBezTo>
                  <a:pt x="4506535" y="1813319"/>
                  <a:pt x="4518776" y="1801078"/>
                  <a:pt x="4518776" y="1785978"/>
                </a:cubicBezTo>
                <a:cubicBezTo>
                  <a:pt x="4518776" y="1770878"/>
                  <a:pt x="4506535" y="1758637"/>
                  <a:pt x="4491435" y="1758637"/>
                </a:cubicBezTo>
                <a:close/>
                <a:moveTo>
                  <a:pt x="27341" y="1582773"/>
                </a:moveTo>
                <a:cubicBezTo>
                  <a:pt x="12241" y="1582773"/>
                  <a:pt x="0" y="1595014"/>
                  <a:pt x="0" y="1610114"/>
                </a:cubicBezTo>
                <a:cubicBezTo>
                  <a:pt x="0" y="1625214"/>
                  <a:pt x="12241" y="1637455"/>
                  <a:pt x="27341" y="1637455"/>
                </a:cubicBezTo>
                <a:cubicBezTo>
                  <a:pt x="42441" y="1637455"/>
                  <a:pt x="54682" y="1625214"/>
                  <a:pt x="54682" y="1610114"/>
                </a:cubicBezTo>
                <a:cubicBezTo>
                  <a:pt x="54682" y="1595014"/>
                  <a:pt x="42441" y="1582773"/>
                  <a:pt x="27341" y="1582773"/>
                </a:cubicBezTo>
                <a:close/>
                <a:moveTo>
                  <a:pt x="262293" y="1582773"/>
                </a:moveTo>
                <a:cubicBezTo>
                  <a:pt x="247193" y="1582773"/>
                  <a:pt x="234952" y="1595014"/>
                  <a:pt x="234952" y="1610114"/>
                </a:cubicBezTo>
                <a:cubicBezTo>
                  <a:pt x="234952" y="1625214"/>
                  <a:pt x="247193" y="1637455"/>
                  <a:pt x="262293" y="1637455"/>
                </a:cubicBezTo>
                <a:cubicBezTo>
                  <a:pt x="277393" y="1637455"/>
                  <a:pt x="289634" y="1625214"/>
                  <a:pt x="289634" y="1610114"/>
                </a:cubicBezTo>
                <a:cubicBezTo>
                  <a:pt x="289634" y="1595014"/>
                  <a:pt x="277393" y="1582773"/>
                  <a:pt x="262293" y="1582773"/>
                </a:cubicBezTo>
                <a:close/>
                <a:moveTo>
                  <a:pt x="497246" y="1582773"/>
                </a:moveTo>
                <a:cubicBezTo>
                  <a:pt x="482146" y="1582773"/>
                  <a:pt x="469905" y="1595014"/>
                  <a:pt x="469905" y="1610114"/>
                </a:cubicBezTo>
                <a:cubicBezTo>
                  <a:pt x="469905" y="1625214"/>
                  <a:pt x="482146" y="1637455"/>
                  <a:pt x="497246" y="1637455"/>
                </a:cubicBezTo>
                <a:cubicBezTo>
                  <a:pt x="512346" y="1637455"/>
                  <a:pt x="524587" y="1625214"/>
                  <a:pt x="524587" y="1610114"/>
                </a:cubicBezTo>
                <a:cubicBezTo>
                  <a:pt x="524587" y="1595014"/>
                  <a:pt x="512346" y="1582773"/>
                  <a:pt x="497246" y="1582773"/>
                </a:cubicBezTo>
                <a:close/>
                <a:moveTo>
                  <a:pt x="732198" y="1582773"/>
                </a:moveTo>
                <a:cubicBezTo>
                  <a:pt x="717098" y="1582773"/>
                  <a:pt x="704857" y="1595014"/>
                  <a:pt x="704857" y="1610114"/>
                </a:cubicBezTo>
                <a:cubicBezTo>
                  <a:pt x="704857" y="1625214"/>
                  <a:pt x="717098" y="1637455"/>
                  <a:pt x="732198" y="1637455"/>
                </a:cubicBezTo>
                <a:cubicBezTo>
                  <a:pt x="747298" y="1637455"/>
                  <a:pt x="759539" y="1625214"/>
                  <a:pt x="759539" y="1610114"/>
                </a:cubicBezTo>
                <a:cubicBezTo>
                  <a:pt x="759539" y="1595014"/>
                  <a:pt x="747298" y="1582773"/>
                  <a:pt x="732198" y="1582773"/>
                </a:cubicBezTo>
                <a:close/>
                <a:moveTo>
                  <a:pt x="967150" y="1582773"/>
                </a:moveTo>
                <a:cubicBezTo>
                  <a:pt x="952050" y="1582773"/>
                  <a:pt x="939809" y="1595014"/>
                  <a:pt x="939809" y="1610114"/>
                </a:cubicBezTo>
                <a:cubicBezTo>
                  <a:pt x="939809" y="1625214"/>
                  <a:pt x="952050" y="1637455"/>
                  <a:pt x="967150" y="1637455"/>
                </a:cubicBezTo>
                <a:cubicBezTo>
                  <a:pt x="982250" y="1637455"/>
                  <a:pt x="994491" y="1625214"/>
                  <a:pt x="994491" y="1610114"/>
                </a:cubicBezTo>
                <a:cubicBezTo>
                  <a:pt x="994491" y="1595014"/>
                  <a:pt x="982250" y="1582773"/>
                  <a:pt x="967150" y="1582773"/>
                </a:cubicBezTo>
                <a:close/>
                <a:moveTo>
                  <a:pt x="1202103" y="1582773"/>
                </a:moveTo>
                <a:cubicBezTo>
                  <a:pt x="1187003" y="1582773"/>
                  <a:pt x="1174762" y="1595014"/>
                  <a:pt x="1174762" y="1610114"/>
                </a:cubicBezTo>
                <a:cubicBezTo>
                  <a:pt x="1174762" y="1625214"/>
                  <a:pt x="1187003" y="1637455"/>
                  <a:pt x="1202103" y="1637455"/>
                </a:cubicBezTo>
                <a:cubicBezTo>
                  <a:pt x="1217203" y="1637455"/>
                  <a:pt x="1229444" y="1625214"/>
                  <a:pt x="1229444" y="1610114"/>
                </a:cubicBezTo>
                <a:cubicBezTo>
                  <a:pt x="1229444" y="1595014"/>
                  <a:pt x="1217203" y="1582773"/>
                  <a:pt x="1202103" y="1582773"/>
                </a:cubicBezTo>
                <a:close/>
                <a:moveTo>
                  <a:pt x="1437055" y="1582773"/>
                </a:moveTo>
                <a:cubicBezTo>
                  <a:pt x="1421955" y="1582773"/>
                  <a:pt x="1409714" y="1595014"/>
                  <a:pt x="1409714" y="1610114"/>
                </a:cubicBezTo>
                <a:cubicBezTo>
                  <a:pt x="1409714" y="1625214"/>
                  <a:pt x="1421955" y="1637455"/>
                  <a:pt x="1437055" y="1637455"/>
                </a:cubicBezTo>
                <a:cubicBezTo>
                  <a:pt x="1452155" y="1637455"/>
                  <a:pt x="1464396" y="1625214"/>
                  <a:pt x="1464396" y="1610114"/>
                </a:cubicBezTo>
                <a:cubicBezTo>
                  <a:pt x="1464396" y="1595014"/>
                  <a:pt x="1452155" y="1582773"/>
                  <a:pt x="1437055" y="1582773"/>
                </a:cubicBezTo>
                <a:close/>
                <a:moveTo>
                  <a:pt x="1672007" y="1582773"/>
                </a:moveTo>
                <a:cubicBezTo>
                  <a:pt x="1656907" y="1582773"/>
                  <a:pt x="1644666" y="1595014"/>
                  <a:pt x="1644666" y="1610114"/>
                </a:cubicBezTo>
                <a:cubicBezTo>
                  <a:pt x="1644666" y="1625214"/>
                  <a:pt x="1656907" y="1637455"/>
                  <a:pt x="1672007" y="1637455"/>
                </a:cubicBezTo>
                <a:cubicBezTo>
                  <a:pt x="1687107" y="1637455"/>
                  <a:pt x="1699348" y="1625214"/>
                  <a:pt x="1699348" y="1610114"/>
                </a:cubicBezTo>
                <a:cubicBezTo>
                  <a:pt x="1699348" y="1595014"/>
                  <a:pt x="1687107" y="1582773"/>
                  <a:pt x="1672007" y="1582773"/>
                </a:cubicBezTo>
                <a:close/>
                <a:moveTo>
                  <a:pt x="1906960" y="1582773"/>
                </a:moveTo>
                <a:cubicBezTo>
                  <a:pt x="1891860" y="1582773"/>
                  <a:pt x="1879619" y="1595014"/>
                  <a:pt x="1879619" y="1610114"/>
                </a:cubicBezTo>
                <a:cubicBezTo>
                  <a:pt x="1879619" y="1625214"/>
                  <a:pt x="1891860" y="1637455"/>
                  <a:pt x="1906960" y="1637455"/>
                </a:cubicBezTo>
                <a:cubicBezTo>
                  <a:pt x="1922060" y="1637455"/>
                  <a:pt x="1934301" y="1625214"/>
                  <a:pt x="1934301" y="1610114"/>
                </a:cubicBezTo>
                <a:cubicBezTo>
                  <a:pt x="1934301" y="1595014"/>
                  <a:pt x="1922060" y="1582773"/>
                  <a:pt x="1906960" y="1582773"/>
                </a:cubicBezTo>
                <a:close/>
                <a:moveTo>
                  <a:pt x="2141912" y="1582773"/>
                </a:moveTo>
                <a:cubicBezTo>
                  <a:pt x="2126812" y="1582773"/>
                  <a:pt x="2114571" y="1595014"/>
                  <a:pt x="2114571" y="1610114"/>
                </a:cubicBezTo>
                <a:cubicBezTo>
                  <a:pt x="2114571" y="1625214"/>
                  <a:pt x="2126812" y="1637455"/>
                  <a:pt x="2141912" y="1637455"/>
                </a:cubicBezTo>
                <a:cubicBezTo>
                  <a:pt x="2157012" y="1637455"/>
                  <a:pt x="2169253" y="1625214"/>
                  <a:pt x="2169253" y="1610114"/>
                </a:cubicBezTo>
                <a:cubicBezTo>
                  <a:pt x="2169253" y="1595014"/>
                  <a:pt x="2157012" y="1582773"/>
                  <a:pt x="2141912" y="1582773"/>
                </a:cubicBezTo>
                <a:close/>
                <a:moveTo>
                  <a:pt x="2376864" y="1582773"/>
                </a:moveTo>
                <a:cubicBezTo>
                  <a:pt x="2361764" y="1582773"/>
                  <a:pt x="2349523" y="1595014"/>
                  <a:pt x="2349523" y="1610114"/>
                </a:cubicBezTo>
                <a:cubicBezTo>
                  <a:pt x="2349523" y="1625214"/>
                  <a:pt x="2361764" y="1637455"/>
                  <a:pt x="2376864" y="1637455"/>
                </a:cubicBezTo>
                <a:cubicBezTo>
                  <a:pt x="2391964" y="1637455"/>
                  <a:pt x="2404205" y="1625214"/>
                  <a:pt x="2404205" y="1610114"/>
                </a:cubicBezTo>
                <a:cubicBezTo>
                  <a:pt x="2404205" y="1595014"/>
                  <a:pt x="2391964" y="1582773"/>
                  <a:pt x="2376864" y="1582773"/>
                </a:cubicBezTo>
                <a:close/>
                <a:moveTo>
                  <a:pt x="2611817" y="1582773"/>
                </a:moveTo>
                <a:cubicBezTo>
                  <a:pt x="2596717" y="1582773"/>
                  <a:pt x="2584476" y="1595014"/>
                  <a:pt x="2584476" y="1610114"/>
                </a:cubicBezTo>
                <a:cubicBezTo>
                  <a:pt x="2584476" y="1625214"/>
                  <a:pt x="2596717" y="1637455"/>
                  <a:pt x="2611817" y="1637455"/>
                </a:cubicBezTo>
                <a:cubicBezTo>
                  <a:pt x="2626917" y="1637455"/>
                  <a:pt x="2639158" y="1625214"/>
                  <a:pt x="2639158" y="1610114"/>
                </a:cubicBezTo>
                <a:cubicBezTo>
                  <a:pt x="2639158" y="1595014"/>
                  <a:pt x="2626917" y="1582773"/>
                  <a:pt x="2611817" y="1582773"/>
                </a:cubicBezTo>
                <a:close/>
                <a:moveTo>
                  <a:pt x="2846769" y="1582773"/>
                </a:moveTo>
                <a:cubicBezTo>
                  <a:pt x="2831669" y="1582773"/>
                  <a:pt x="2819428" y="1595014"/>
                  <a:pt x="2819428" y="1610114"/>
                </a:cubicBezTo>
                <a:cubicBezTo>
                  <a:pt x="2819428" y="1625214"/>
                  <a:pt x="2831669" y="1637455"/>
                  <a:pt x="2846769" y="1637455"/>
                </a:cubicBezTo>
                <a:cubicBezTo>
                  <a:pt x="2861869" y="1637455"/>
                  <a:pt x="2874110" y="1625214"/>
                  <a:pt x="2874110" y="1610114"/>
                </a:cubicBezTo>
                <a:cubicBezTo>
                  <a:pt x="2874110" y="1595014"/>
                  <a:pt x="2861869" y="1582773"/>
                  <a:pt x="2846769" y="1582773"/>
                </a:cubicBezTo>
                <a:close/>
                <a:moveTo>
                  <a:pt x="3081721" y="1582773"/>
                </a:moveTo>
                <a:cubicBezTo>
                  <a:pt x="3066621" y="1582773"/>
                  <a:pt x="3054380" y="1595014"/>
                  <a:pt x="3054380" y="1610114"/>
                </a:cubicBezTo>
                <a:cubicBezTo>
                  <a:pt x="3054380" y="1625214"/>
                  <a:pt x="3066621" y="1637455"/>
                  <a:pt x="3081721" y="1637455"/>
                </a:cubicBezTo>
                <a:cubicBezTo>
                  <a:pt x="3096821" y="1637455"/>
                  <a:pt x="3109062" y="1625214"/>
                  <a:pt x="3109062" y="1610114"/>
                </a:cubicBezTo>
                <a:cubicBezTo>
                  <a:pt x="3109062" y="1595014"/>
                  <a:pt x="3096821" y="1582773"/>
                  <a:pt x="3081721" y="1582773"/>
                </a:cubicBezTo>
                <a:close/>
                <a:moveTo>
                  <a:pt x="3316674" y="1582773"/>
                </a:moveTo>
                <a:cubicBezTo>
                  <a:pt x="3301574" y="1582773"/>
                  <a:pt x="3289333" y="1595014"/>
                  <a:pt x="3289333" y="1610114"/>
                </a:cubicBezTo>
                <a:cubicBezTo>
                  <a:pt x="3289333" y="1625214"/>
                  <a:pt x="3301574" y="1637455"/>
                  <a:pt x="3316674" y="1637455"/>
                </a:cubicBezTo>
                <a:cubicBezTo>
                  <a:pt x="3331774" y="1637455"/>
                  <a:pt x="3344015" y="1625214"/>
                  <a:pt x="3344015" y="1610114"/>
                </a:cubicBezTo>
                <a:cubicBezTo>
                  <a:pt x="3344015" y="1595014"/>
                  <a:pt x="3331774" y="1582773"/>
                  <a:pt x="3316674" y="1582773"/>
                </a:cubicBezTo>
                <a:close/>
                <a:moveTo>
                  <a:pt x="3551626" y="1582773"/>
                </a:moveTo>
                <a:cubicBezTo>
                  <a:pt x="3536526" y="1582773"/>
                  <a:pt x="3524285" y="1595014"/>
                  <a:pt x="3524285" y="1610114"/>
                </a:cubicBezTo>
                <a:cubicBezTo>
                  <a:pt x="3524285" y="1625214"/>
                  <a:pt x="3536526" y="1637455"/>
                  <a:pt x="3551626" y="1637455"/>
                </a:cubicBezTo>
                <a:cubicBezTo>
                  <a:pt x="3566726" y="1637455"/>
                  <a:pt x="3578967" y="1625214"/>
                  <a:pt x="3578967" y="1610114"/>
                </a:cubicBezTo>
                <a:cubicBezTo>
                  <a:pt x="3578967" y="1595014"/>
                  <a:pt x="3566726" y="1582773"/>
                  <a:pt x="3551626" y="1582773"/>
                </a:cubicBezTo>
                <a:close/>
                <a:moveTo>
                  <a:pt x="3786578" y="1582773"/>
                </a:moveTo>
                <a:cubicBezTo>
                  <a:pt x="3771478" y="1582773"/>
                  <a:pt x="3759237" y="1595014"/>
                  <a:pt x="3759237" y="1610114"/>
                </a:cubicBezTo>
                <a:cubicBezTo>
                  <a:pt x="3759237" y="1625214"/>
                  <a:pt x="3771478" y="1637455"/>
                  <a:pt x="3786578" y="1637455"/>
                </a:cubicBezTo>
                <a:cubicBezTo>
                  <a:pt x="3801678" y="1637455"/>
                  <a:pt x="3813919" y="1625214"/>
                  <a:pt x="3813919" y="1610114"/>
                </a:cubicBezTo>
                <a:cubicBezTo>
                  <a:pt x="3813919" y="1595014"/>
                  <a:pt x="3801678" y="1582773"/>
                  <a:pt x="3786578" y="1582773"/>
                </a:cubicBezTo>
                <a:close/>
                <a:moveTo>
                  <a:pt x="4021530" y="1582773"/>
                </a:moveTo>
                <a:cubicBezTo>
                  <a:pt x="4006430" y="1582773"/>
                  <a:pt x="3994189" y="1595014"/>
                  <a:pt x="3994189" y="1610114"/>
                </a:cubicBezTo>
                <a:cubicBezTo>
                  <a:pt x="3994189" y="1625214"/>
                  <a:pt x="4006430" y="1637455"/>
                  <a:pt x="4021530" y="1637455"/>
                </a:cubicBezTo>
                <a:cubicBezTo>
                  <a:pt x="4036630" y="1637455"/>
                  <a:pt x="4048871" y="1625214"/>
                  <a:pt x="4048871" y="1610114"/>
                </a:cubicBezTo>
                <a:cubicBezTo>
                  <a:pt x="4048871" y="1595014"/>
                  <a:pt x="4036630" y="1582773"/>
                  <a:pt x="4021530" y="1582773"/>
                </a:cubicBezTo>
                <a:close/>
                <a:moveTo>
                  <a:pt x="4256483" y="1582773"/>
                </a:moveTo>
                <a:cubicBezTo>
                  <a:pt x="4241383" y="1582773"/>
                  <a:pt x="4229142" y="1595014"/>
                  <a:pt x="4229142" y="1610114"/>
                </a:cubicBezTo>
                <a:cubicBezTo>
                  <a:pt x="4229142" y="1625214"/>
                  <a:pt x="4241383" y="1637455"/>
                  <a:pt x="4256483" y="1637455"/>
                </a:cubicBezTo>
                <a:cubicBezTo>
                  <a:pt x="4271583" y="1637455"/>
                  <a:pt x="4283824" y="1625214"/>
                  <a:pt x="4283824" y="1610114"/>
                </a:cubicBezTo>
                <a:cubicBezTo>
                  <a:pt x="4283824" y="1595014"/>
                  <a:pt x="4271583" y="1582773"/>
                  <a:pt x="4256483" y="1582773"/>
                </a:cubicBezTo>
                <a:close/>
                <a:moveTo>
                  <a:pt x="4491435" y="1582773"/>
                </a:moveTo>
                <a:cubicBezTo>
                  <a:pt x="4476335" y="1582773"/>
                  <a:pt x="4464094" y="1595014"/>
                  <a:pt x="4464094" y="1610114"/>
                </a:cubicBezTo>
                <a:cubicBezTo>
                  <a:pt x="4464094" y="1625214"/>
                  <a:pt x="4476335" y="1637455"/>
                  <a:pt x="4491435" y="1637455"/>
                </a:cubicBezTo>
                <a:cubicBezTo>
                  <a:pt x="4506535" y="1637455"/>
                  <a:pt x="4518776" y="1625214"/>
                  <a:pt x="4518776" y="1610114"/>
                </a:cubicBezTo>
                <a:cubicBezTo>
                  <a:pt x="4518776" y="1595014"/>
                  <a:pt x="4506535" y="1582773"/>
                  <a:pt x="4491435" y="1582773"/>
                </a:cubicBezTo>
                <a:close/>
                <a:moveTo>
                  <a:pt x="27341" y="1406910"/>
                </a:moveTo>
                <a:cubicBezTo>
                  <a:pt x="12241" y="1406910"/>
                  <a:pt x="0" y="1419151"/>
                  <a:pt x="0" y="1434251"/>
                </a:cubicBezTo>
                <a:cubicBezTo>
                  <a:pt x="0" y="1449351"/>
                  <a:pt x="12241" y="1461592"/>
                  <a:pt x="27341" y="1461592"/>
                </a:cubicBezTo>
                <a:cubicBezTo>
                  <a:pt x="42441" y="1461592"/>
                  <a:pt x="54682" y="1449351"/>
                  <a:pt x="54682" y="1434251"/>
                </a:cubicBezTo>
                <a:cubicBezTo>
                  <a:pt x="54682" y="1419151"/>
                  <a:pt x="42441" y="1406910"/>
                  <a:pt x="27341" y="1406910"/>
                </a:cubicBezTo>
                <a:close/>
                <a:moveTo>
                  <a:pt x="262293" y="1406910"/>
                </a:moveTo>
                <a:cubicBezTo>
                  <a:pt x="247193" y="1406910"/>
                  <a:pt x="234952" y="1419151"/>
                  <a:pt x="234952" y="1434251"/>
                </a:cubicBezTo>
                <a:cubicBezTo>
                  <a:pt x="234952" y="1449351"/>
                  <a:pt x="247193" y="1461592"/>
                  <a:pt x="262293" y="1461592"/>
                </a:cubicBezTo>
                <a:cubicBezTo>
                  <a:pt x="277393" y="1461592"/>
                  <a:pt x="289634" y="1449351"/>
                  <a:pt x="289634" y="1434251"/>
                </a:cubicBezTo>
                <a:cubicBezTo>
                  <a:pt x="289634" y="1419151"/>
                  <a:pt x="277393" y="1406910"/>
                  <a:pt x="262293" y="1406910"/>
                </a:cubicBezTo>
                <a:close/>
                <a:moveTo>
                  <a:pt x="497246" y="1406910"/>
                </a:moveTo>
                <a:cubicBezTo>
                  <a:pt x="482146" y="1406910"/>
                  <a:pt x="469905" y="1419151"/>
                  <a:pt x="469905" y="1434251"/>
                </a:cubicBezTo>
                <a:cubicBezTo>
                  <a:pt x="469905" y="1449351"/>
                  <a:pt x="482146" y="1461592"/>
                  <a:pt x="497246" y="1461592"/>
                </a:cubicBezTo>
                <a:cubicBezTo>
                  <a:pt x="512346" y="1461592"/>
                  <a:pt x="524587" y="1449351"/>
                  <a:pt x="524587" y="1434251"/>
                </a:cubicBezTo>
                <a:cubicBezTo>
                  <a:pt x="524587" y="1419151"/>
                  <a:pt x="512346" y="1406910"/>
                  <a:pt x="497246" y="1406910"/>
                </a:cubicBezTo>
                <a:close/>
                <a:moveTo>
                  <a:pt x="732198" y="1406910"/>
                </a:moveTo>
                <a:cubicBezTo>
                  <a:pt x="717098" y="1406910"/>
                  <a:pt x="704857" y="1419151"/>
                  <a:pt x="704857" y="1434251"/>
                </a:cubicBezTo>
                <a:cubicBezTo>
                  <a:pt x="704857" y="1449351"/>
                  <a:pt x="717098" y="1461592"/>
                  <a:pt x="732198" y="1461592"/>
                </a:cubicBezTo>
                <a:cubicBezTo>
                  <a:pt x="747298" y="1461592"/>
                  <a:pt x="759539" y="1449351"/>
                  <a:pt x="759539" y="1434251"/>
                </a:cubicBezTo>
                <a:cubicBezTo>
                  <a:pt x="759539" y="1419151"/>
                  <a:pt x="747298" y="1406910"/>
                  <a:pt x="732198" y="1406910"/>
                </a:cubicBezTo>
                <a:close/>
                <a:moveTo>
                  <a:pt x="967150" y="1406910"/>
                </a:moveTo>
                <a:cubicBezTo>
                  <a:pt x="952050" y="1406910"/>
                  <a:pt x="939809" y="1419151"/>
                  <a:pt x="939809" y="1434251"/>
                </a:cubicBezTo>
                <a:cubicBezTo>
                  <a:pt x="939809" y="1449351"/>
                  <a:pt x="952050" y="1461592"/>
                  <a:pt x="967150" y="1461592"/>
                </a:cubicBezTo>
                <a:cubicBezTo>
                  <a:pt x="982250" y="1461592"/>
                  <a:pt x="994491" y="1449351"/>
                  <a:pt x="994491" y="1434251"/>
                </a:cubicBezTo>
                <a:cubicBezTo>
                  <a:pt x="994491" y="1419151"/>
                  <a:pt x="982250" y="1406910"/>
                  <a:pt x="967150" y="1406910"/>
                </a:cubicBezTo>
                <a:close/>
                <a:moveTo>
                  <a:pt x="1202103" y="1406910"/>
                </a:moveTo>
                <a:cubicBezTo>
                  <a:pt x="1187003" y="1406910"/>
                  <a:pt x="1174762" y="1419151"/>
                  <a:pt x="1174762" y="1434251"/>
                </a:cubicBezTo>
                <a:cubicBezTo>
                  <a:pt x="1174762" y="1449351"/>
                  <a:pt x="1187003" y="1461592"/>
                  <a:pt x="1202103" y="1461592"/>
                </a:cubicBezTo>
                <a:cubicBezTo>
                  <a:pt x="1217203" y="1461592"/>
                  <a:pt x="1229444" y="1449351"/>
                  <a:pt x="1229444" y="1434251"/>
                </a:cubicBezTo>
                <a:cubicBezTo>
                  <a:pt x="1229444" y="1419151"/>
                  <a:pt x="1217203" y="1406910"/>
                  <a:pt x="1202103" y="1406910"/>
                </a:cubicBezTo>
                <a:close/>
                <a:moveTo>
                  <a:pt x="1437055" y="1406910"/>
                </a:moveTo>
                <a:cubicBezTo>
                  <a:pt x="1421955" y="1406910"/>
                  <a:pt x="1409714" y="1419151"/>
                  <a:pt x="1409714" y="1434251"/>
                </a:cubicBezTo>
                <a:cubicBezTo>
                  <a:pt x="1409714" y="1449351"/>
                  <a:pt x="1421955" y="1461592"/>
                  <a:pt x="1437055" y="1461592"/>
                </a:cubicBezTo>
                <a:cubicBezTo>
                  <a:pt x="1452155" y="1461592"/>
                  <a:pt x="1464396" y="1449351"/>
                  <a:pt x="1464396" y="1434251"/>
                </a:cubicBezTo>
                <a:cubicBezTo>
                  <a:pt x="1464396" y="1419151"/>
                  <a:pt x="1452155" y="1406910"/>
                  <a:pt x="1437055" y="1406910"/>
                </a:cubicBezTo>
                <a:close/>
                <a:moveTo>
                  <a:pt x="1672007" y="1406910"/>
                </a:moveTo>
                <a:cubicBezTo>
                  <a:pt x="1656907" y="1406910"/>
                  <a:pt x="1644666" y="1419151"/>
                  <a:pt x="1644666" y="1434251"/>
                </a:cubicBezTo>
                <a:cubicBezTo>
                  <a:pt x="1644666" y="1449351"/>
                  <a:pt x="1656907" y="1461592"/>
                  <a:pt x="1672007" y="1461592"/>
                </a:cubicBezTo>
                <a:cubicBezTo>
                  <a:pt x="1687107" y="1461592"/>
                  <a:pt x="1699348" y="1449351"/>
                  <a:pt x="1699348" y="1434251"/>
                </a:cubicBezTo>
                <a:cubicBezTo>
                  <a:pt x="1699348" y="1419151"/>
                  <a:pt x="1687107" y="1406910"/>
                  <a:pt x="1672007" y="1406910"/>
                </a:cubicBezTo>
                <a:close/>
                <a:moveTo>
                  <a:pt x="1906960" y="1406910"/>
                </a:moveTo>
                <a:cubicBezTo>
                  <a:pt x="1891860" y="1406910"/>
                  <a:pt x="1879619" y="1419151"/>
                  <a:pt x="1879619" y="1434251"/>
                </a:cubicBezTo>
                <a:cubicBezTo>
                  <a:pt x="1879619" y="1449351"/>
                  <a:pt x="1891860" y="1461592"/>
                  <a:pt x="1906960" y="1461592"/>
                </a:cubicBezTo>
                <a:cubicBezTo>
                  <a:pt x="1922060" y="1461592"/>
                  <a:pt x="1934301" y="1449351"/>
                  <a:pt x="1934301" y="1434251"/>
                </a:cubicBezTo>
                <a:cubicBezTo>
                  <a:pt x="1934301" y="1419151"/>
                  <a:pt x="1922060" y="1406910"/>
                  <a:pt x="1906960" y="1406910"/>
                </a:cubicBezTo>
                <a:close/>
                <a:moveTo>
                  <a:pt x="2141912" y="1406910"/>
                </a:moveTo>
                <a:cubicBezTo>
                  <a:pt x="2126812" y="1406910"/>
                  <a:pt x="2114571" y="1419151"/>
                  <a:pt x="2114571" y="1434251"/>
                </a:cubicBezTo>
                <a:cubicBezTo>
                  <a:pt x="2114571" y="1449351"/>
                  <a:pt x="2126812" y="1461592"/>
                  <a:pt x="2141912" y="1461592"/>
                </a:cubicBezTo>
                <a:cubicBezTo>
                  <a:pt x="2157012" y="1461592"/>
                  <a:pt x="2169253" y="1449351"/>
                  <a:pt x="2169253" y="1434251"/>
                </a:cubicBezTo>
                <a:cubicBezTo>
                  <a:pt x="2169253" y="1419151"/>
                  <a:pt x="2157012" y="1406910"/>
                  <a:pt x="2141912" y="1406910"/>
                </a:cubicBezTo>
                <a:close/>
                <a:moveTo>
                  <a:pt x="2376864" y="1406910"/>
                </a:moveTo>
                <a:cubicBezTo>
                  <a:pt x="2361764" y="1406910"/>
                  <a:pt x="2349523" y="1419151"/>
                  <a:pt x="2349523" y="1434251"/>
                </a:cubicBezTo>
                <a:cubicBezTo>
                  <a:pt x="2349523" y="1449351"/>
                  <a:pt x="2361764" y="1461592"/>
                  <a:pt x="2376864" y="1461592"/>
                </a:cubicBezTo>
                <a:cubicBezTo>
                  <a:pt x="2391964" y="1461592"/>
                  <a:pt x="2404205" y="1449351"/>
                  <a:pt x="2404205" y="1434251"/>
                </a:cubicBezTo>
                <a:cubicBezTo>
                  <a:pt x="2404205" y="1419151"/>
                  <a:pt x="2391964" y="1406910"/>
                  <a:pt x="2376864" y="1406910"/>
                </a:cubicBezTo>
                <a:close/>
                <a:moveTo>
                  <a:pt x="2611817" y="1406910"/>
                </a:moveTo>
                <a:cubicBezTo>
                  <a:pt x="2596717" y="1406910"/>
                  <a:pt x="2584476" y="1419151"/>
                  <a:pt x="2584476" y="1434251"/>
                </a:cubicBezTo>
                <a:cubicBezTo>
                  <a:pt x="2584476" y="1449351"/>
                  <a:pt x="2596717" y="1461592"/>
                  <a:pt x="2611817" y="1461592"/>
                </a:cubicBezTo>
                <a:cubicBezTo>
                  <a:pt x="2626917" y="1461592"/>
                  <a:pt x="2639158" y="1449351"/>
                  <a:pt x="2639158" y="1434251"/>
                </a:cubicBezTo>
                <a:cubicBezTo>
                  <a:pt x="2639158" y="1419151"/>
                  <a:pt x="2626917" y="1406910"/>
                  <a:pt x="2611817" y="1406910"/>
                </a:cubicBezTo>
                <a:close/>
                <a:moveTo>
                  <a:pt x="2846769" y="1406910"/>
                </a:moveTo>
                <a:cubicBezTo>
                  <a:pt x="2831669" y="1406910"/>
                  <a:pt x="2819428" y="1419151"/>
                  <a:pt x="2819428" y="1434251"/>
                </a:cubicBezTo>
                <a:cubicBezTo>
                  <a:pt x="2819428" y="1449351"/>
                  <a:pt x="2831669" y="1461592"/>
                  <a:pt x="2846769" y="1461592"/>
                </a:cubicBezTo>
                <a:cubicBezTo>
                  <a:pt x="2861869" y="1461592"/>
                  <a:pt x="2874110" y="1449351"/>
                  <a:pt x="2874110" y="1434251"/>
                </a:cubicBezTo>
                <a:cubicBezTo>
                  <a:pt x="2874110" y="1419151"/>
                  <a:pt x="2861869" y="1406910"/>
                  <a:pt x="2846769" y="1406910"/>
                </a:cubicBezTo>
                <a:close/>
                <a:moveTo>
                  <a:pt x="3081721" y="1406910"/>
                </a:moveTo>
                <a:cubicBezTo>
                  <a:pt x="3066621" y="1406910"/>
                  <a:pt x="3054380" y="1419151"/>
                  <a:pt x="3054380" y="1434251"/>
                </a:cubicBezTo>
                <a:cubicBezTo>
                  <a:pt x="3054380" y="1449351"/>
                  <a:pt x="3066621" y="1461592"/>
                  <a:pt x="3081721" y="1461592"/>
                </a:cubicBezTo>
                <a:cubicBezTo>
                  <a:pt x="3096821" y="1461592"/>
                  <a:pt x="3109062" y="1449351"/>
                  <a:pt x="3109062" y="1434251"/>
                </a:cubicBezTo>
                <a:cubicBezTo>
                  <a:pt x="3109062" y="1419151"/>
                  <a:pt x="3096821" y="1406910"/>
                  <a:pt x="3081721" y="1406910"/>
                </a:cubicBezTo>
                <a:close/>
                <a:moveTo>
                  <a:pt x="3316674" y="1406910"/>
                </a:moveTo>
                <a:cubicBezTo>
                  <a:pt x="3301574" y="1406910"/>
                  <a:pt x="3289333" y="1419151"/>
                  <a:pt x="3289333" y="1434251"/>
                </a:cubicBezTo>
                <a:cubicBezTo>
                  <a:pt x="3289333" y="1449351"/>
                  <a:pt x="3301574" y="1461592"/>
                  <a:pt x="3316674" y="1461592"/>
                </a:cubicBezTo>
                <a:cubicBezTo>
                  <a:pt x="3331774" y="1461592"/>
                  <a:pt x="3344015" y="1449351"/>
                  <a:pt x="3344015" y="1434251"/>
                </a:cubicBezTo>
                <a:cubicBezTo>
                  <a:pt x="3344015" y="1419151"/>
                  <a:pt x="3331774" y="1406910"/>
                  <a:pt x="3316674" y="1406910"/>
                </a:cubicBezTo>
                <a:close/>
                <a:moveTo>
                  <a:pt x="3551626" y="1406910"/>
                </a:moveTo>
                <a:cubicBezTo>
                  <a:pt x="3536526" y="1406910"/>
                  <a:pt x="3524285" y="1419151"/>
                  <a:pt x="3524285" y="1434251"/>
                </a:cubicBezTo>
                <a:cubicBezTo>
                  <a:pt x="3524285" y="1449351"/>
                  <a:pt x="3536526" y="1461592"/>
                  <a:pt x="3551626" y="1461592"/>
                </a:cubicBezTo>
                <a:cubicBezTo>
                  <a:pt x="3566726" y="1461592"/>
                  <a:pt x="3578967" y="1449351"/>
                  <a:pt x="3578967" y="1434251"/>
                </a:cubicBezTo>
                <a:cubicBezTo>
                  <a:pt x="3578967" y="1419151"/>
                  <a:pt x="3566726" y="1406910"/>
                  <a:pt x="3551626" y="1406910"/>
                </a:cubicBezTo>
                <a:close/>
                <a:moveTo>
                  <a:pt x="3786578" y="1406910"/>
                </a:moveTo>
                <a:cubicBezTo>
                  <a:pt x="3771478" y="1406910"/>
                  <a:pt x="3759237" y="1419151"/>
                  <a:pt x="3759237" y="1434251"/>
                </a:cubicBezTo>
                <a:cubicBezTo>
                  <a:pt x="3759237" y="1449351"/>
                  <a:pt x="3771478" y="1461592"/>
                  <a:pt x="3786578" y="1461592"/>
                </a:cubicBezTo>
                <a:cubicBezTo>
                  <a:pt x="3801678" y="1461592"/>
                  <a:pt x="3813919" y="1449351"/>
                  <a:pt x="3813919" y="1434251"/>
                </a:cubicBezTo>
                <a:cubicBezTo>
                  <a:pt x="3813919" y="1419151"/>
                  <a:pt x="3801678" y="1406910"/>
                  <a:pt x="3786578" y="1406910"/>
                </a:cubicBezTo>
                <a:close/>
                <a:moveTo>
                  <a:pt x="4021530" y="1406910"/>
                </a:moveTo>
                <a:cubicBezTo>
                  <a:pt x="4006430" y="1406910"/>
                  <a:pt x="3994189" y="1419151"/>
                  <a:pt x="3994189" y="1434251"/>
                </a:cubicBezTo>
                <a:cubicBezTo>
                  <a:pt x="3994189" y="1449351"/>
                  <a:pt x="4006430" y="1461592"/>
                  <a:pt x="4021530" y="1461592"/>
                </a:cubicBezTo>
                <a:cubicBezTo>
                  <a:pt x="4036630" y="1461592"/>
                  <a:pt x="4048871" y="1449351"/>
                  <a:pt x="4048871" y="1434251"/>
                </a:cubicBezTo>
                <a:cubicBezTo>
                  <a:pt x="4048871" y="1419151"/>
                  <a:pt x="4036630" y="1406910"/>
                  <a:pt x="4021530" y="1406910"/>
                </a:cubicBezTo>
                <a:close/>
                <a:moveTo>
                  <a:pt x="4256483" y="1406910"/>
                </a:moveTo>
                <a:cubicBezTo>
                  <a:pt x="4241383" y="1406910"/>
                  <a:pt x="4229142" y="1419151"/>
                  <a:pt x="4229142" y="1434251"/>
                </a:cubicBezTo>
                <a:cubicBezTo>
                  <a:pt x="4229142" y="1449351"/>
                  <a:pt x="4241383" y="1461592"/>
                  <a:pt x="4256483" y="1461592"/>
                </a:cubicBezTo>
                <a:cubicBezTo>
                  <a:pt x="4271583" y="1461592"/>
                  <a:pt x="4283824" y="1449351"/>
                  <a:pt x="4283824" y="1434251"/>
                </a:cubicBezTo>
                <a:cubicBezTo>
                  <a:pt x="4283824" y="1419151"/>
                  <a:pt x="4271583" y="1406910"/>
                  <a:pt x="4256483" y="1406910"/>
                </a:cubicBezTo>
                <a:close/>
                <a:moveTo>
                  <a:pt x="4491435" y="1406910"/>
                </a:moveTo>
                <a:cubicBezTo>
                  <a:pt x="4476335" y="1406910"/>
                  <a:pt x="4464094" y="1419151"/>
                  <a:pt x="4464094" y="1434251"/>
                </a:cubicBezTo>
                <a:cubicBezTo>
                  <a:pt x="4464094" y="1449351"/>
                  <a:pt x="4476335" y="1461592"/>
                  <a:pt x="4491435" y="1461592"/>
                </a:cubicBezTo>
                <a:cubicBezTo>
                  <a:pt x="4506535" y="1461592"/>
                  <a:pt x="4518776" y="1449351"/>
                  <a:pt x="4518776" y="1434251"/>
                </a:cubicBezTo>
                <a:cubicBezTo>
                  <a:pt x="4518776" y="1419151"/>
                  <a:pt x="4506535" y="1406910"/>
                  <a:pt x="4491435" y="1406910"/>
                </a:cubicBezTo>
                <a:close/>
                <a:moveTo>
                  <a:pt x="27341" y="1231046"/>
                </a:moveTo>
                <a:cubicBezTo>
                  <a:pt x="12241" y="1231046"/>
                  <a:pt x="0" y="1243287"/>
                  <a:pt x="0" y="1258387"/>
                </a:cubicBezTo>
                <a:cubicBezTo>
                  <a:pt x="0" y="1273487"/>
                  <a:pt x="12241" y="1285728"/>
                  <a:pt x="27341" y="1285728"/>
                </a:cubicBezTo>
                <a:cubicBezTo>
                  <a:pt x="42441" y="1285728"/>
                  <a:pt x="54682" y="1273487"/>
                  <a:pt x="54682" y="1258387"/>
                </a:cubicBezTo>
                <a:cubicBezTo>
                  <a:pt x="54682" y="1243287"/>
                  <a:pt x="42441" y="1231046"/>
                  <a:pt x="27341" y="1231046"/>
                </a:cubicBezTo>
                <a:close/>
                <a:moveTo>
                  <a:pt x="262293" y="1231046"/>
                </a:moveTo>
                <a:cubicBezTo>
                  <a:pt x="247193" y="1231046"/>
                  <a:pt x="234952" y="1243287"/>
                  <a:pt x="234952" y="1258387"/>
                </a:cubicBezTo>
                <a:cubicBezTo>
                  <a:pt x="234952" y="1273487"/>
                  <a:pt x="247193" y="1285728"/>
                  <a:pt x="262293" y="1285728"/>
                </a:cubicBezTo>
                <a:cubicBezTo>
                  <a:pt x="277393" y="1285728"/>
                  <a:pt x="289634" y="1273487"/>
                  <a:pt x="289634" y="1258387"/>
                </a:cubicBezTo>
                <a:cubicBezTo>
                  <a:pt x="289634" y="1243287"/>
                  <a:pt x="277393" y="1231046"/>
                  <a:pt x="262293" y="1231046"/>
                </a:cubicBezTo>
                <a:close/>
                <a:moveTo>
                  <a:pt x="497246" y="1231046"/>
                </a:moveTo>
                <a:cubicBezTo>
                  <a:pt x="482146" y="1231046"/>
                  <a:pt x="469905" y="1243287"/>
                  <a:pt x="469905" y="1258387"/>
                </a:cubicBezTo>
                <a:cubicBezTo>
                  <a:pt x="469905" y="1273487"/>
                  <a:pt x="482146" y="1285728"/>
                  <a:pt x="497246" y="1285728"/>
                </a:cubicBezTo>
                <a:cubicBezTo>
                  <a:pt x="512346" y="1285728"/>
                  <a:pt x="524587" y="1273487"/>
                  <a:pt x="524587" y="1258387"/>
                </a:cubicBezTo>
                <a:cubicBezTo>
                  <a:pt x="524587" y="1243287"/>
                  <a:pt x="512346" y="1231046"/>
                  <a:pt x="497246" y="1231046"/>
                </a:cubicBezTo>
                <a:close/>
                <a:moveTo>
                  <a:pt x="732198" y="1231046"/>
                </a:moveTo>
                <a:cubicBezTo>
                  <a:pt x="717098" y="1231046"/>
                  <a:pt x="704857" y="1243287"/>
                  <a:pt x="704857" y="1258387"/>
                </a:cubicBezTo>
                <a:cubicBezTo>
                  <a:pt x="704857" y="1273487"/>
                  <a:pt x="717098" y="1285728"/>
                  <a:pt x="732198" y="1285728"/>
                </a:cubicBezTo>
                <a:cubicBezTo>
                  <a:pt x="747298" y="1285728"/>
                  <a:pt x="759539" y="1273487"/>
                  <a:pt x="759539" y="1258387"/>
                </a:cubicBezTo>
                <a:cubicBezTo>
                  <a:pt x="759539" y="1243287"/>
                  <a:pt x="747298" y="1231046"/>
                  <a:pt x="732198" y="1231046"/>
                </a:cubicBezTo>
                <a:close/>
                <a:moveTo>
                  <a:pt x="967150" y="1231046"/>
                </a:moveTo>
                <a:cubicBezTo>
                  <a:pt x="952050" y="1231046"/>
                  <a:pt x="939809" y="1243287"/>
                  <a:pt x="939809" y="1258387"/>
                </a:cubicBezTo>
                <a:cubicBezTo>
                  <a:pt x="939809" y="1273487"/>
                  <a:pt x="952050" y="1285728"/>
                  <a:pt x="967150" y="1285728"/>
                </a:cubicBezTo>
                <a:cubicBezTo>
                  <a:pt x="982250" y="1285728"/>
                  <a:pt x="994491" y="1273487"/>
                  <a:pt x="994491" y="1258387"/>
                </a:cubicBezTo>
                <a:cubicBezTo>
                  <a:pt x="994491" y="1243287"/>
                  <a:pt x="982250" y="1231046"/>
                  <a:pt x="967150" y="1231046"/>
                </a:cubicBezTo>
                <a:close/>
                <a:moveTo>
                  <a:pt x="1202103" y="1231046"/>
                </a:moveTo>
                <a:cubicBezTo>
                  <a:pt x="1187003" y="1231046"/>
                  <a:pt x="1174762" y="1243287"/>
                  <a:pt x="1174762" y="1258387"/>
                </a:cubicBezTo>
                <a:cubicBezTo>
                  <a:pt x="1174762" y="1273487"/>
                  <a:pt x="1187003" y="1285728"/>
                  <a:pt x="1202103" y="1285728"/>
                </a:cubicBezTo>
                <a:cubicBezTo>
                  <a:pt x="1217203" y="1285728"/>
                  <a:pt x="1229444" y="1273487"/>
                  <a:pt x="1229444" y="1258387"/>
                </a:cubicBezTo>
                <a:cubicBezTo>
                  <a:pt x="1229444" y="1243287"/>
                  <a:pt x="1217203" y="1231046"/>
                  <a:pt x="1202103" y="1231046"/>
                </a:cubicBezTo>
                <a:close/>
                <a:moveTo>
                  <a:pt x="1437055" y="1231046"/>
                </a:moveTo>
                <a:cubicBezTo>
                  <a:pt x="1421955" y="1231046"/>
                  <a:pt x="1409714" y="1243287"/>
                  <a:pt x="1409714" y="1258387"/>
                </a:cubicBezTo>
                <a:cubicBezTo>
                  <a:pt x="1409714" y="1273487"/>
                  <a:pt x="1421955" y="1285728"/>
                  <a:pt x="1437055" y="1285728"/>
                </a:cubicBezTo>
                <a:cubicBezTo>
                  <a:pt x="1452155" y="1285728"/>
                  <a:pt x="1464396" y="1273487"/>
                  <a:pt x="1464396" y="1258387"/>
                </a:cubicBezTo>
                <a:cubicBezTo>
                  <a:pt x="1464396" y="1243287"/>
                  <a:pt x="1452155" y="1231046"/>
                  <a:pt x="1437055" y="1231046"/>
                </a:cubicBezTo>
                <a:close/>
                <a:moveTo>
                  <a:pt x="1672007" y="1231046"/>
                </a:moveTo>
                <a:cubicBezTo>
                  <a:pt x="1656907" y="1231046"/>
                  <a:pt x="1644666" y="1243287"/>
                  <a:pt x="1644666" y="1258387"/>
                </a:cubicBezTo>
                <a:cubicBezTo>
                  <a:pt x="1644666" y="1273487"/>
                  <a:pt x="1656907" y="1285728"/>
                  <a:pt x="1672007" y="1285728"/>
                </a:cubicBezTo>
                <a:cubicBezTo>
                  <a:pt x="1687107" y="1285728"/>
                  <a:pt x="1699348" y="1273487"/>
                  <a:pt x="1699348" y="1258387"/>
                </a:cubicBezTo>
                <a:cubicBezTo>
                  <a:pt x="1699348" y="1243287"/>
                  <a:pt x="1687107" y="1231046"/>
                  <a:pt x="1672007" y="1231046"/>
                </a:cubicBezTo>
                <a:close/>
                <a:moveTo>
                  <a:pt x="1906960" y="1231046"/>
                </a:moveTo>
                <a:cubicBezTo>
                  <a:pt x="1891860" y="1231046"/>
                  <a:pt x="1879619" y="1243287"/>
                  <a:pt x="1879619" y="1258387"/>
                </a:cubicBezTo>
                <a:cubicBezTo>
                  <a:pt x="1879619" y="1273487"/>
                  <a:pt x="1891860" y="1285728"/>
                  <a:pt x="1906960" y="1285728"/>
                </a:cubicBezTo>
                <a:cubicBezTo>
                  <a:pt x="1922060" y="1285728"/>
                  <a:pt x="1934301" y="1273487"/>
                  <a:pt x="1934301" y="1258387"/>
                </a:cubicBezTo>
                <a:cubicBezTo>
                  <a:pt x="1934301" y="1243287"/>
                  <a:pt x="1922060" y="1231046"/>
                  <a:pt x="1906960" y="1231046"/>
                </a:cubicBezTo>
                <a:close/>
                <a:moveTo>
                  <a:pt x="2141912" y="1231046"/>
                </a:moveTo>
                <a:cubicBezTo>
                  <a:pt x="2126812" y="1231046"/>
                  <a:pt x="2114571" y="1243287"/>
                  <a:pt x="2114571" y="1258387"/>
                </a:cubicBezTo>
                <a:cubicBezTo>
                  <a:pt x="2114571" y="1273487"/>
                  <a:pt x="2126812" y="1285728"/>
                  <a:pt x="2141912" y="1285728"/>
                </a:cubicBezTo>
                <a:cubicBezTo>
                  <a:pt x="2157012" y="1285728"/>
                  <a:pt x="2169253" y="1273487"/>
                  <a:pt x="2169253" y="1258387"/>
                </a:cubicBezTo>
                <a:cubicBezTo>
                  <a:pt x="2169253" y="1243287"/>
                  <a:pt x="2157012" y="1231046"/>
                  <a:pt x="2141912" y="1231046"/>
                </a:cubicBezTo>
                <a:close/>
                <a:moveTo>
                  <a:pt x="2376864" y="1231046"/>
                </a:moveTo>
                <a:cubicBezTo>
                  <a:pt x="2361764" y="1231046"/>
                  <a:pt x="2349523" y="1243287"/>
                  <a:pt x="2349523" y="1258387"/>
                </a:cubicBezTo>
                <a:cubicBezTo>
                  <a:pt x="2349523" y="1273487"/>
                  <a:pt x="2361764" y="1285728"/>
                  <a:pt x="2376864" y="1285728"/>
                </a:cubicBezTo>
                <a:cubicBezTo>
                  <a:pt x="2391964" y="1285728"/>
                  <a:pt x="2404205" y="1273487"/>
                  <a:pt x="2404205" y="1258387"/>
                </a:cubicBezTo>
                <a:cubicBezTo>
                  <a:pt x="2404205" y="1243287"/>
                  <a:pt x="2391964" y="1231046"/>
                  <a:pt x="2376864" y="1231046"/>
                </a:cubicBezTo>
                <a:close/>
                <a:moveTo>
                  <a:pt x="2611817" y="1231046"/>
                </a:moveTo>
                <a:cubicBezTo>
                  <a:pt x="2596717" y="1231046"/>
                  <a:pt x="2584476" y="1243287"/>
                  <a:pt x="2584476" y="1258387"/>
                </a:cubicBezTo>
                <a:cubicBezTo>
                  <a:pt x="2584476" y="1273487"/>
                  <a:pt x="2596717" y="1285728"/>
                  <a:pt x="2611817" y="1285728"/>
                </a:cubicBezTo>
                <a:cubicBezTo>
                  <a:pt x="2626917" y="1285728"/>
                  <a:pt x="2639158" y="1273487"/>
                  <a:pt x="2639158" y="1258387"/>
                </a:cubicBezTo>
                <a:cubicBezTo>
                  <a:pt x="2639158" y="1243287"/>
                  <a:pt x="2626917" y="1231046"/>
                  <a:pt x="2611817" y="1231046"/>
                </a:cubicBezTo>
                <a:close/>
                <a:moveTo>
                  <a:pt x="2846769" y="1231046"/>
                </a:moveTo>
                <a:cubicBezTo>
                  <a:pt x="2831669" y="1231046"/>
                  <a:pt x="2819428" y="1243287"/>
                  <a:pt x="2819428" y="1258387"/>
                </a:cubicBezTo>
                <a:cubicBezTo>
                  <a:pt x="2819428" y="1273487"/>
                  <a:pt x="2831669" y="1285728"/>
                  <a:pt x="2846769" y="1285728"/>
                </a:cubicBezTo>
                <a:cubicBezTo>
                  <a:pt x="2861869" y="1285728"/>
                  <a:pt x="2874110" y="1273487"/>
                  <a:pt x="2874110" y="1258387"/>
                </a:cubicBezTo>
                <a:cubicBezTo>
                  <a:pt x="2874110" y="1243287"/>
                  <a:pt x="2861869" y="1231046"/>
                  <a:pt x="2846769" y="1231046"/>
                </a:cubicBezTo>
                <a:close/>
                <a:moveTo>
                  <a:pt x="3081721" y="1231046"/>
                </a:moveTo>
                <a:cubicBezTo>
                  <a:pt x="3066621" y="1231046"/>
                  <a:pt x="3054380" y="1243287"/>
                  <a:pt x="3054380" y="1258387"/>
                </a:cubicBezTo>
                <a:cubicBezTo>
                  <a:pt x="3054380" y="1273487"/>
                  <a:pt x="3066621" y="1285728"/>
                  <a:pt x="3081721" y="1285728"/>
                </a:cubicBezTo>
                <a:cubicBezTo>
                  <a:pt x="3096821" y="1285728"/>
                  <a:pt x="3109062" y="1273487"/>
                  <a:pt x="3109062" y="1258387"/>
                </a:cubicBezTo>
                <a:cubicBezTo>
                  <a:pt x="3109062" y="1243287"/>
                  <a:pt x="3096821" y="1231046"/>
                  <a:pt x="3081721" y="1231046"/>
                </a:cubicBezTo>
                <a:close/>
                <a:moveTo>
                  <a:pt x="3316674" y="1231046"/>
                </a:moveTo>
                <a:cubicBezTo>
                  <a:pt x="3301574" y="1231046"/>
                  <a:pt x="3289333" y="1243287"/>
                  <a:pt x="3289333" y="1258387"/>
                </a:cubicBezTo>
                <a:cubicBezTo>
                  <a:pt x="3289333" y="1273487"/>
                  <a:pt x="3301574" y="1285728"/>
                  <a:pt x="3316674" y="1285728"/>
                </a:cubicBezTo>
                <a:cubicBezTo>
                  <a:pt x="3331774" y="1285728"/>
                  <a:pt x="3344015" y="1273487"/>
                  <a:pt x="3344015" y="1258387"/>
                </a:cubicBezTo>
                <a:cubicBezTo>
                  <a:pt x="3344015" y="1243287"/>
                  <a:pt x="3331774" y="1231046"/>
                  <a:pt x="3316674" y="1231046"/>
                </a:cubicBezTo>
                <a:close/>
                <a:moveTo>
                  <a:pt x="3551626" y="1231046"/>
                </a:moveTo>
                <a:cubicBezTo>
                  <a:pt x="3536526" y="1231046"/>
                  <a:pt x="3524285" y="1243287"/>
                  <a:pt x="3524285" y="1258387"/>
                </a:cubicBezTo>
                <a:cubicBezTo>
                  <a:pt x="3524285" y="1273487"/>
                  <a:pt x="3536526" y="1285728"/>
                  <a:pt x="3551626" y="1285728"/>
                </a:cubicBezTo>
                <a:cubicBezTo>
                  <a:pt x="3566726" y="1285728"/>
                  <a:pt x="3578967" y="1273487"/>
                  <a:pt x="3578967" y="1258387"/>
                </a:cubicBezTo>
                <a:cubicBezTo>
                  <a:pt x="3578967" y="1243287"/>
                  <a:pt x="3566726" y="1231046"/>
                  <a:pt x="3551626" y="1231046"/>
                </a:cubicBezTo>
                <a:close/>
                <a:moveTo>
                  <a:pt x="3786578" y="1231046"/>
                </a:moveTo>
                <a:cubicBezTo>
                  <a:pt x="3771478" y="1231046"/>
                  <a:pt x="3759237" y="1243287"/>
                  <a:pt x="3759237" y="1258387"/>
                </a:cubicBezTo>
                <a:cubicBezTo>
                  <a:pt x="3759237" y="1273487"/>
                  <a:pt x="3771478" y="1285728"/>
                  <a:pt x="3786578" y="1285728"/>
                </a:cubicBezTo>
                <a:cubicBezTo>
                  <a:pt x="3801678" y="1285728"/>
                  <a:pt x="3813919" y="1273487"/>
                  <a:pt x="3813919" y="1258387"/>
                </a:cubicBezTo>
                <a:cubicBezTo>
                  <a:pt x="3813919" y="1243287"/>
                  <a:pt x="3801678" y="1231046"/>
                  <a:pt x="3786578" y="1231046"/>
                </a:cubicBezTo>
                <a:close/>
                <a:moveTo>
                  <a:pt x="4021530" y="1231046"/>
                </a:moveTo>
                <a:cubicBezTo>
                  <a:pt x="4006430" y="1231046"/>
                  <a:pt x="3994189" y="1243287"/>
                  <a:pt x="3994189" y="1258387"/>
                </a:cubicBezTo>
                <a:cubicBezTo>
                  <a:pt x="3994189" y="1273487"/>
                  <a:pt x="4006430" y="1285728"/>
                  <a:pt x="4021530" y="1285728"/>
                </a:cubicBezTo>
                <a:cubicBezTo>
                  <a:pt x="4036630" y="1285728"/>
                  <a:pt x="4048871" y="1273487"/>
                  <a:pt x="4048871" y="1258387"/>
                </a:cubicBezTo>
                <a:cubicBezTo>
                  <a:pt x="4048871" y="1243287"/>
                  <a:pt x="4036630" y="1231046"/>
                  <a:pt x="4021530" y="1231046"/>
                </a:cubicBezTo>
                <a:close/>
                <a:moveTo>
                  <a:pt x="4256483" y="1231046"/>
                </a:moveTo>
                <a:cubicBezTo>
                  <a:pt x="4241383" y="1231046"/>
                  <a:pt x="4229142" y="1243287"/>
                  <a:pt x="4229142" y="1258387"/>
                </a:cubicBezTo>
                <a:cubicBezTo>
                  <a:pt x="4229142" y="1273487"/>
                  <a:pt x="4241383" y="1285728"/>
                  <a:pt x="4256483" y="1285728"/>
                </a:cubicBezTo>
                <a:cubicBezTo>
                  <a:pt x="4271583" y="1285728"/>
                  <a:pt x="4283824" y="1273487"/>
                  <a:pt x="4283824" y="1258387"/>
                </a:cubicBezTo>
                <a:cubicBezTo>
                  <a:pt x="4283824" y="1243287"/>
                  <a:pt x="4271583" y="1231046"/>
                  <a:pt x="4256483" y="1231046"/>
                </a:cubicBezTo>
                <a:close/>
                <a:moveTo>
                  <a:pt x="4491435" y="1231046"/>
                </a:moveTo>
                <a:cubicBezTo>
                  <a:pt x="4476335" y="1231046"/>
                  <a:pt x="4464094" y="1243287"/>
                  <a:pt x="4464094" y="1258387"/>
                </a:cubicBezTo>
                <a:cubicBezTo>
                  <a:pt x="4464094" y="1273487"/>
                  <a:pt x="4476335" y="1285728"/>
                  <a:pt x="4491435" y="1285728"/>
                </a:cubicBezTo>
                <a:cubicBezTo>
                  <a:pt x="4506535" y="1285728"/>
                  <a:pt x="4518776" y="1273487"/>
                  <a:pt x="4518776" y="1258387"/>
                </a:cubicBezTo>
                <a:cubicBezTo>
                  <a:pt x="4518776" y="1243287"/>
                  <a:pt x="4506535" y="1231046"/>
                  <a:pt x="4491435" y="1231046"/>
                </a:cubicBezTo>
                <a:close/>
                <a:moveTo>
                  <a:pt x="27341" y="1055182"/>
                </a:moveTo>
                <a:cubicBezTo>
                  <a:pt x="12241" y="1055182"/>
                  <a:pt x="0" y="1067423"/>
                  <a:pt x="0" y="1082523"/>
                </a:cubicBezTo>
                <a:cubicBezTo>
                  <a:pt x="0" y="1097623"/>
                  <a:pt x="12241" y="1109864"/>
                  <a:pt x="27341" y="1109864"/>
                </a:cubicBezTo>
                <a:cubicBezTo>
                  <a:pt x="42441" y="1109864"/>
                  <a:pt x="54682" y="1097623"/>
                  <a:pt x="54682" y="1082523"/>
                </a:cubicBezTo>
                <a:cubicBezTo>
                  <a:pt x="54682" y="1067423"/>
                  <a:pt x="42441" y="1055182"/>
                  <a:pt x="27341" y="1055182"/>
                </a:cubicBezTo>
                <a:close/>
                <a:moveTo>
                  <a:pt x="262293" y="1055182"/>
                </a:moveTo>
                <a:cubicBezTo>
                  <a:pt x="247193" y="1055182"/>
                  <a:pt x="234952" y="1067423"/>
                  <a:pt x="234952" y="1082523"/>
                </a:cubicBezTo>
                <a:cubicBezTo>
                  <a:pt x="234952" y="1097623"/>
                  <a:pt x="247193" y="1109864"/>
                  <a:pt x="262293" y="1109864"/>
                </a:cubicBezTo>
                <a:cubicBezTo>
                  <a:pt x="277393" y="1109864"/>
                  <a:pt x="289634" y="1097623"/>
                  <a:pt x="289634" y="1082523"/>
                </a:cubicBezTo>
                <a:cubicBezTo>
                  <a:pt x="289634" y="1067423"/>
                  <a:pt x="277393" y="1055182"/>
                  <a:pt x="262293" y="1055182"/>
                </a:cubicBezTo>
                <a:close/>
                <a:moveTo>
                  <a:pt x="497246" y="1055182"/>
                </a:moveTo>
                <a:cubicBezTo>
                  <a:pt x="482146" y="1055182"/>
                  <a:pt x="469905" y="1067423"/>
                  <a:pt x="469905" y="1082523"/>
                </a:cubicBezTo>
                <a:cubicBezTo>
                  <a:pt x="469905" y="1097623"/>
                  <a:pt x="482146" y="1109864"/>
                  <a:pt x="497246" y="1109864"/>
                </a:cubicBezTo>
                <a:cubicBezTo>
                  <a:pt x="512346" y="1109864"/>
                  <a:pt x="524587" y="1097623"/>
                  <a:pt x="524587" y="1082523"/>
                </a:cubicBezTo>
                <a:cubicBezTo>
                  <a:pt x="524587" y="1067423"/>
                  <a:pt x="512346" y="1055182"/>
                  <a:pt x="497246" y="1055182"/>
                </a:cubicBezTo>
                <a:close/>
                <a:moveTo>
                  <a:pt x="732198" y="1055182"/>
                </a:moveTo>
                <a:cubicBezTo>
                  <a:pt x="717098" y="1055182"/>
                  <a:pt x="704857" y="1067423"/>
                  <a:pt x="704857" y="1082523"/>
                </a:cubicBezTo>
                <a:cubicBezTo>
                  <a:pt x="704857" y="1097623"/>
                  <a:pt x="717098" y="1109864"/>
                  <a:pt x="732198" y="1109864"/>
                </a:cubicBezTo>
                <a:cubicBezTo>
                  <a:pt x="747298" y="1109864"/>
                  <a:pt x="759539" y="1097623"/>
                  <a:pt x="759539" y="1082523"/>
                </a:cubicBezTo>
                <a:cubicBezTo>
                  <a:pt x="759539" y="1067423"/>
                  <a:pt x="747298" y="1055182"/>
                  <a:pt x="732198" y="1055182"/>
                </a:cubicBezTo>
                <a:close/>
                <a:moveTo>
                  <a:pt x="967150" y="1055182"/>
                </a:moveTo>
                <a:cubicBezTo>
                  <a:pt x="952050" y="1055182"/>
                  <a:pt x="939809" y="1067423"/>
                  <a:pt x="939809" y="1082523"/>
                </a:cubicBezTo>
                <a:cubicBezTo>
                  <a:pt x="939809" y="1097623"/>
                  <a:pt x="952050" y="1109864"/>
                  <a:pt x="967150" y="1109864"/>
                </a:cubicBezTo>
                <a:cubicBezTo>
                  <a:pt x="982250" y="1109864"/>
                  <a:pt x="994491" y="1097623"/>
                  <a:pt x="994491" y="1082523"/>
                </a:cubicBezTo>
                <a:cubicBezTo>
                  <a:pt x="994491" y="1067423"/>
                  <a:pt x="982250" y="1055182"/>
                  <a:pt x="967150" y="1055182"/>
                </a:cubicBezTo>
                <a:close/>
                <a:moveTo>
                  <a:pt x="1202103" y="1055182"/>
                </a:moveTo>
                <a:cubicBezTo>
                  <a:pt x="1187003" y="1055182"/>
                  <a:pt x="1174762" y="1067423"/>
                  <a:pt x="1174762" y="1082523"/>
                </a:cubicBezTo>
                <a:cubicBezTo>
                  <a:pt x="1174762" y="1097623"/>
                  <a:pt x="1187003" y="1109864"/>
                  <a:pt x="1202103" y="1109864"/>
                </a:cubicBezTo>
                <a:cubicBezTo>
                  <a:pt x="1217203" y="1109864"/>
                  <a:pt x="1229444" y="1097623"/>
                  <a:pt x="1229444" y="1082523"/>
                </a:cubicBezTo>
                <a:cubicBezTo>
                  <a:pt x="1229444" y="1067423"/>
                  <a:pt x="1217203" y="1055182"/>
                  <a:pt x="1202103" y="1055182"/>
                </a:cubicBezTo>
                <a:close/>
                <a:moveTo>
                  <a:pt x="1437055" y="1055182"/>
                </a:moveTo>
                <a:cubicBezTo>
                  <a:pt x="1421955" y="1055182"/>
                  <a:pt x="1409714" y="1067423"/>
                  <a:pt x="1409714" y="1082523"/>
                </a:cubicBezTo>
                <a:cubicBezTo>
                  <a:pt x="1409714" y="1097623"/>
                  <a:pt x="1421955" y="1109864"/>
                  <a:pt x="1437055" y="1109864"/>
                </a:cubicBezTo>
                <a:cubicBezTo>
                  <a:pt x="1452155" y="1109864"/>
                  <a:pt x="1464396" y="1097623"/>
                  <a:pt x="1464396" y="1082523"/>
                </a:cubicBezTo>
                <a:cubicBezTo>
                  <a:pt x="1464396" y="1067423"/>
                  <a:pt x="1452155" y="1055182"/>
                  <a:pt x="1437055" y="1055182"/>
                </a:cubicBezTo>
                <a:close/>
                <a:moveTo>
                  <a:pt x="1672007" y="1055182"/>
                </a:moveTo>
                <a:cubicBezTo>
                  <a:pt x="1656907" y="1055182"/>
                  <a:pt x="1644666" y="1067423"/>
                  <a:pt x="1644666" y="1082523"/>
                </a:cubicBezTo>
                <a:cubicBezTo>
                  <a:pt x="1644666" y="1097623"/>
                  <a:pt x="1656907" y="1109864"/>
                  <a:pt x="1672007" y="1109864"/>
                </a:cubicBezTo>
                <a:cubicBezTo>
                  <a:pt x="1687107" y="1109864"/>
                  <a:pt x="1699348" y="1097623"/>
                  <a:pt x="1699348" y="1082523"/>
                </a:cubicBezTo>
                <a:cubicBezTo>
                  <a:pt x="1699348" y="1067423"/>
                  <a:pt x="1687107" y="1055182"/>
                  <a:pt x="1672007" y="1055182"/>
                </a:cubicBezTo>
                <a:close/>
                <a:moveTo>
                  <a:pt x="1906960" y="1055182"/>
                </a:moveTo>
                <a:cubicBezTo>
                  <a:pt x="1891860" y="1055182"/>
                  <a:pt x="1879619" y="1067423"/>
                  <a:pt x="1879619" y="1082523"/>
                </a:cubicBezTo>
                <a:cubicBezTo>
                  <a:pt x="1879619" y="1097623"/>
                  <a:pt x="1891860" y="1109864"/>
                  <a:pt x="1906960" y="1109864"/>
                </a:cubicBezTo>
                <a:cubicBezTo>
                  <a:pt x="1922060" y="1109864"/>
                  <a:pt x="1934301" y="1097623"/>
                  <a:pt x="1934301" y="1082523"/>
                </a:cubicBezTo>
                <a:cubicBezTo>
                  <a:pt x="1934301" y="1067423"/>
                  <a:pt x="1922060" y="1055182"/>
                  <a:pt x="1906960" y="1055182"/>
                </a:cubicBezTo>
                <a:close/>
                <a:moveTo>
                  <a:pt x="2141912" y="1055182"/>
                </a:moveTo>
                <a:cubicBezTo>
                  <a:pt x="2126812" y="1055182"/>
                  <a:pt x="2114571" y="1067423"/>
                  <a:pt x="2114571" y="1082523"/>
                </a:cubicBezTo>
                <a:cubicBezTo>
                  <a:pt x="2114571" y="1097623"/>
                  <a:pt x="2126812" y="1109864"/>
                  <a:pt x="2141912" y="1109864"/>
                </a:cubicBezTo>
                <a:cubicBezTo>
                  <a:pt x="2157012" y="1109864"/>
                  <a:pt x="2169253" y="1097623"/>
                  <a:pt x="2169253" y="1082523"/>
                </a:cubicBezTo>
                <a:cubicBezTo>
                  <a:pt x="2169253" y="1067423"/>
                  <a:pt x="2157012" y="1055182"/>
                  <a:pt x="2141912" y="1055182"/>
                </a:cubicBezTo>
                <a:close/>
                <a:moveTo>
                  <a:pt x="2376864" y="1055182"/>
                </a:moveTo>
                <a:cubicBezTo>
                  <a:pt x="2361764" y="1055182"/>
                  <a:pt x="2349523" y="1067423"/>
                  <a:pt x="2349523" y="1082523"/>
                </a:cubicBezTo>
                <a:cubicBezTo>
                  <a:pt x="2349523" y="1097623"/>
                  <a:pt x="2361764" y="1109864"/>
                  <a:pt x="2376864" y="1109864"/>
                </a:cubicBezTo>
                <a:cubicBezTo>
                  <a:pt x="2391964" y="1109864"/>
                  <a:pt x="2404205" y="1097623"/>
                  <a:pt x="2404205" y="1082523"/>
                </a:cubicBezTo>
                <a:cubicBezTo>
                  <a:pt x="2404205" y="1067423"/>
                  <a:pt x="2391964" y="1055182"/>
                  <a:pt x="2376864" y="1055182"/>
                </a:cubicBezTo>
                <a:close/>
                <a:moveTo>
                  <a:pt x="2611817" y="1055182"/>
                </a:moveTo>
                <a:cubicBezTo>
                  <a:pt x="2596717" y="1055182"/>
                  <a:pt x="2584476" y="1067423"/>
                  <a:pt x="2584476" y="1082523"/>
                </a:cubicBezTo>
                <a:cubicBezTo>
                  <a:pt x="2584476" y="1097623"/>
                  <a:pt x="2596717" y="1109864"/>
                  <a:pt x="2611817" y="1109864"/>
                </a:cubicBezTo>
                <a:cubicBezTo>
                  <a:pt x="2626917" y="1109864"/>
                  <a:pt x="2639158" y="1097623"/>
                  <a:pt x="2639158" y="1082523"/>
                </a:cubicBezTo>
                <a:cubicBezTo>
                  <a:pt x="2639158" y="1067423"/>
                  <a:pt x="2626917" y="1055182"/>
                  <a:pt x="2611817" y="1055182"/>
                </a:cubicBezTo>
                <a:close/>
                <a:moveTo>
                  <a:pt x="2846769" y="1055182"/>
                </a:moveTo>
                <a:cubicBezTo>
                  <a:pt x="2831669" y="1055182"/>
                  <a:pt x="2819428" y="1067423"/>
                  <a:pt x="2819428" y="1082523"/>
                </a:cubicBezTo>
                <a:cubicBezTo>
                  <a:pt x="2819428" y="1097623"/>
                  <a:pt x="2831669" y="1109864"/>
                  <a:pt x="2846769" y="1109864"/>
                </a:cubicBezTo>
                <a:cubicBezTo>
                  <a:pt x="2861869" y="1109864"/>
                  <a:pt x="2874110" y="1097623"/>
                  <a:pt x="2874110" y="1082523"/>
                </a:cubicBezTo>
                <a:cubicBezTo>
                  <a:pt x="2874110" y="1067423"/>
                  <a:pt x="2861869" y="1055182"/>
                  <a:pt x="2846769" y="1055182"/>
                </a:cubicBezTo>
                <a:close/>
                <a:moveTo>
                  <a:pt x="3081721" y="1055182"/>
                </a:moveTo>
                <a:cubicBezTo>
                  <a:pt x="3066621" y="1055182"/>
                  <a:pt x="3054380" y="1067423"/>
                  <a:pt x="3054380" y="1082523"/>
                </a:cubicBezTo>
                <a:cubicBezTo>
                  <a:pt x="3054380" y="1097623"/>
                  <a:pt x="3066621" y="1109864"/>
                  <a:pt x="3081721" y="1109864"/>
                </a:cubicBezTo>
                <a:cubicBezTo>
                  <a:pt x="3096821" y="1109864"/>
                  <a:pt x="3109062" y="1097623"/>
                  <a:pt x="3109062" y="1082523"/>
                </a:cubicBezTo>
                <a:cubicBezTo>
                  <a:pt x="3109062" y="1067423"/>
                  <a:pt x="3096821" y="1055182"/>
                  <a:pt x="3081721" y="1055182"/>
                </a:cubicBezTo>
                <a:close/>
                <a:moveTo>
                  <a:pt x="3316674" y="1055182"/>
                </a:moveTo>
                <a:cubicBezTo>
                  <a:pt x="3301574" y="1055182"/>
                  <a:pt x="3289333" y="1067423"/>
                  <a:pt x="3289333" y="1082523"/>
                </a:cubicBezTo>
                <a:cubicBezTo>
                  <a:pt x="3289333" y="1097623"/>
                  <a:pt x="3301574" y="1109864"/>
                  <a:pt x="3316674" y="1109864"/>
                </a:cubicBezTo>
                <a:cubicBezTo>
                  <a:pt x="3331774" y="1109864"/>
                  <a:pt x="3344015" y="1097623"/>
                  <a:pt x="3344015" y="1082523"/>
                </a:cubicBezTo>
                <a:cubicBezTo>
                  <a:pt x="3344015" y="1067423"/>
                  <a:pt x="3331774" y="1055182"/>
                  <a:pt x="3316674" y="1055182"/>
                </a:cubicBezTo>
                <a:close/>
                <a:moveTo>
                  <a:pt x="3551626" y="1055182"/>
                </a:moveTo>
                <a:cubicBezTo>
                  <a:pt x="3536526" y="1055182"/>
                  <a:pt x="3524285" y="1067423"/>
                  <a:pt x="3524285" y="1082523"/>
                </a:cubicBezTo>
                <a:cubicBezTo>
                  <a:pt x="3524285" y="1097623"/>
                  <a:pt x="3536526" y="1109864"/>
                  <a:pt x="3551626" y="1109864"/>
                </a:cubicBezTo>
                <a:cubicBezTo>
                  <a:pt x="3566726" y="1109864"/>
                  <a:pt x="3578967" y="1097623"/>
                  <a:pt x="3578967" y="1082523"/>
                </a:cubicBezTo>
                <a:cubicBezTo>
                  <a:pt x="3578967" y="1067423"/>
                  <a:pt x="3566726" y="1055182"/>
                  <a:pt x="3551626" y="1055182"/>
                </a:cubicBezTo>
                <a:close/>
                <a:moveTo>
                  <a:pt x="3786578" y="1055182"/>
                </a:moveTo>
                <a:cubicBezTo>
                  <a:pt x="3771478" y="1055182"/>
                  <a:pt x="3759237" y="1067423"/>
                  <a:pt x="3759237" y="1082523"/>
                </a:cubicBezTo>
                <a:cubicBezTo>
                  <a:pt x="3759237" y="1097623"/>
                  <a:pt x="3771478" y="1109864"/>
                  <a:pt x="3786578" y="1109864"/>
                </a:cubicBezTo>
                <a:cubicBezTo>
                  <a:pt x="3801678" y="1109864"/>
                  <a:pt x="3813919" y="1097623"/>
                  <a:pt x="3813919" y="1082523"/>
                </a:cubicBezTo>
                <a:cubicBezTo>
                  <a:pt x="3813919" y="1067423"/>
                  <a:pt x="3801678" y="1055182"/>
                  <a:pt x="3786578" y="1055182"/>
                </a:cubicBezTo>
                <a:close/>
                <a:moveTo>
                  <a:pt x="4021530" y="1055182"/>
                </a:moveTo>
                <a:cubicBezTo>
                  <a:pt x="4006430" y="1055182"/>
                  <a:pt x="3994189" y="1067423"/>
                  <a:pt x="3994189" y="1082523"/>
                </a:cubicBezTo>
                <a:cubicBezTo>
                  <a:pt x="3994189" y="1097623"/>
                  <a:pt x="4006430" y="1109864"/>
                  <a:pt x="4021530" y="1109864"/>
                </a:cubicBezTo>
                <a:cubicBezTo>
                  <a:pt x="4036630" y="1109864"/>
                  <a:pt x="4048871" y="1097623"/>
                  <a:pt x="4048871" y="1082523"/>
                </a:cubicBezTo>
                <a:cubicBezTo>
                  <a:pt x="4048871" y="1067423"/>
                  <a:pt x="4036630" y="1055182"/>
                  <a:pt x="4021530" y="1055182"/>
                </a:cubicBezTo>
                <a:close/>
                <a:moveTo>
                  <a:pt x="4256483" y="1055182"/>
                </a:moveTo>
                <a:cubicBezTo>
                  <a:pt x="4241383" y="1055182"/>
                  <a:pt x="4229142" y="1067423"/>
                  <a:pt x="4229142" y="1082523"/>
                </a:cubicBezTo>
                <a:cubicBezTo>
                  <a:pt x="4229142" y="1097623"/>
                  <a:pt x="4241383" y="1109864"/>
                  <a:pt x="4256483" y="1109864"/>
                </a:cubicBezTo>
                <a:cubicBezTo>
                  <a:pt x="4271583" y="1109864"/>
                  <a:pt x="4283824" y="1097623"/>
                  <a:pt x="4283824" y="1082523"/>
                </a:cubicBezTo>
                <a:cubicBezTo>
                  <a:pt x="4283824" y="1067423"/>
                  <a:pt x="4271583" y="1055182"/>
                  <a:pt x="4256483" y="1055182"/>
                </a:cubicBezTo>
                <a:close/>
                <a:moveTo>
                  <a:pt x="4491435" y="1055182"/>
                </a:moveTo>
                <a:cubicBezTo>
                  <a:pt x="4476335" y="1055182"/>
                  <a:pt x="4464094" y="1067423"/>
                  <a:pt x="4464094" y="1082523"/>
                </a:cubicBezTo>
                <a:cubicBezTo>
                  <a:pt x="4464094" y="1097623"/>
                  <a:pt x="4476335" y="1109864"/>
                  <a:pt x="4491435" y="1109864"/>
                </a:cubicBezTo>
                <a:cubicBezTo>
                  <a:pt x="4506535" y="1109864"/>
                  <a:pt x="4518776" y="1097623"/>
                  <a:pt x="4518776" y="1082523"/>
                </a:cubicBezTo>
                <a:cubicBezTo>
                  <a:pt x="4518776" y="1067423"/>
                  <a:pt x="4506535" y="1055182"/>
                  <a:pt x="4491435" y="1055182"/>
                </a:cubicBezTo>
                <a:close/>
                <a:moveTo>
                  <a:pt x="27341" y="879318"/>
                </a:moveTo>
                <a:cubicBezTo>
                  <a:pt x="12241" y="879318"/>
                  <a:pt x="0" y="891559"/>
                  <a:pt x="0" y="906659"/>
                </a:cubicBezTo>
                <a:cubicBezTo>
                  <a:pt x="0" y="921759"/>
                  <a:pt x="12241" y="934000"/>
                  <a:pt x="27341" y="934000"/>
                </a:cubicBezTo>
                <a:cubicBezTo>
                  <a:pt x="42441" y="934000"/>
                  <a:pt x="54682" y="921759"/>
                  <a:pt x="54682" y="906659"/>
                </a:cubicBezTo>
                <a:cubicBezTo>
                  <a:pt x="54682" y="891559"/>
                  <a:pt x="42441" y="879318"/>
                  <a:pt x="27341" y="879318"/>
                </a:cubicBezTo>
                <a:close/>
                <a:moveTo>
                  <a:pt x="262293" y="879318"/>
                </a:moveTo>
                <a:cubicBezTo>
                  <a:pt x="247193" y="879318"/>
                  <a:pt x="234952" y="891559"/>
                  <a:pt x="234952" y="906659"/>
                </a:cubicBezTo>
                <a:cubicBezTo>
                  <a:pt x="234952" y="921759"/>
                  <a:pt x="247193" y="934000"/>
                  <a:pt x="262293" y="934000"/>
                </a:cubicBezTo>
                <a:cubicBezTo>
                  <a:pt x="277393" y="934000"/>
                  <a:pt x="289634" y="921759"/>
                  <a:pt x="289634" y="906659"/>
                </a:cubicBezTo>
                <a:cubicBezTo>
                  <a:pt x="289634" y="891559"/>
                  <a:pt x="277393" y="879318"/>
                  <a:pt x="262293" y="879318"/>
                </a:cubicBezTo>
                <a:close/>
                <a:moveTo>
                  <a:pt x="497246" y="879318"/>
                </a:moveTo>
                <a:cubicBezTo>
                  <a:pt x="482146" y="879318"/>
                  <a:pt x="469905" y="891559"/>
                  <a:pt x="469905" y="906659"/>
                </a:cubicBezTo>
                <a:cubicBezTo>
                  <a:pt x="469905" y="921759"/>
                  <a:pt x="482146" y="934000"/>
                  <a:pt x="497246" y="934000"/>
                </a:cubicBezTo>
                <a:cubicBezTo>
                  <a:pt x="512346" y="934000"/>
                  <a:pt x="524587" y="921759"/>
                  <a:pt x="524587" y="906659"/>
                </a:cubicBezTo>
                <a:cubicBezTo>
                  <a:pt x="524587" y="891559"/>
                  <a:pt x="512346" y="879318"/>
                  <a:pt x="497246" y="879318"/>
                </a:cubicBezTo>
                <a:close/>
                <a:moveTo>
                  <a:pt x="732198" y="879318"/>
                </a:moveTo>
                <a:cubicBezTo>
                  <a:pt x="717098" y="879318"/>
                  <a:pt x="704857" y="891559"/>
                  <a:pt x="704857" y="906659"/>
                </a:cubicBezTo>
                <a:cubicBezTo>
                  <a:pt x="704857" y="921759"/>
                  <a:pt x="717098" y="934000"/>
                  <a:pt x="732198" y="934000"/>
                </a:cubicBezTo>
                <a:cubicBezTo>
                  <a:pt x="747298" y="934000"/>
                  <a:pt x="759539" y="921759"/>
                  <a:pt x="759539" y="906659"/>
                </a:cubicBezTo>
                <a:cubicBezTo>
                  <a:pt x="759539" y="891559"/>
                  <a:pt x="747298" y="879318"/>
                  <a:pt x="732198" y="879318"/>
                </a:cubicBezTo>
                <a:close/>
                <a:moveTo>
                  <a:pt x="967150" y="879318"/>
                </a:moveTo>
                <a:cubicBezTo>
                  <a:pt x="952050" y="879318"/>
                  <a:pt x="939809" y="891559"/>
                  <a:pt x="939809" y="906659"/>
                </a:cubicBezTo>
                <a:cubicBezTo>
                  <a:pt x="939809" y="921759"/>
                  <a:pt x="952050" y="934000"/>
                  <a:pt x="967150" y="934000"/>
                </a:cubicBezTo>
                <a:cubicBezTo>
                  <a:pt x="982250" y="934000"/>
                  <a:pt x="994491" y="921759"/>
                  <a:pt x="994491" y="906659"/>
                </a:cubicBezTo>
                <a:cubicBezTo>
                  <a:pt x="994491" y="891559"/>
                  <a:pt x="982250" y="879318"/>
                  <a:pt x="967150" y="879318"/>
                </a:cubicBezTo>
                <a:close/>
                <a:moveTo>
                  <a:pt x="1202103" y="879318"/>
                </a:moveTo>
                <a:cubicBezTo>
                  <a:pt x="1187003" y="879318"/>
                  <a:pt x="1174762" y="891559"/>
                  <a:pt x="1174762" y="906659"/>
                </a:cubicBezTo>
                <a:cubicBezTo>
                  <a:pt x="1174762" y="921759"/>
                  <a:pt x="1187003" y="934000"/>
                  <a:pt x="1202103" y="934000"/>
                </a:cubicBezTo>
                <a:cubicBezTo>
                  <a:pt x="1217203" y="934000"/>
                  <a:pt x="1229444" y="921759"/>
                  <a:pt x="1229444" y="906659"/>
                </a:cubicBezTo>
                <a:cubicBezTo>
                  <a:pt x="1229444" y="891559"/>
                  <a:pt x="1217203" y="879318"/>
                  <a:pt x="1202103" y="879318"/>
                </a:cubicBezTo>
                <a:close/>
                <a:moveTo>
                  <a:pt x="1437055" y="879318"/>
                </a:moveTo>
                <a:cubicBezTo>
                  <a:pt x="1421955" y="879318"/>
                  <a:pt x="1409714" y="891559"/>
                  <a:pt x="1409714" y="906659"/>
                </a:cubicBezTo>
                <a:cubicBezTo>
                  <a:pt x="1409714" y="921759"/>
                  <a:pt x="1421955" y="934000"/>
                  <a:pt x="1437055" y="934000"/>
                </a:cubicBezTo>
                <a:cubicBezTo>
                  <a:pt x="1452155" y="934000"/>
                  <a:pt x="1464396" y="921759"/>
                  <a:pt x="1464396" y="906659"/>
                </a:cubicBezTo>
                <a:cubicBezTo>
                  <a:pt x="1464396" y="891559"/>
                  <a:pt x="1452155" y="879318"/>
                  <a:pt x="1437055" y="879318"/>
                </a:cubicBezTo>
                <a:close/>
                <a:moveTo>
                  <a:pt x="1672007" y="879318"/>
                </a:moveTo>
                <a:cubicBezTo>
                  <a:pt x="1656907" y="879318"/>
                  <a:pt x="1644666" y="891559"/>
                  <a:pt x="1644666" y="906659"/>
                </a:cubicBezTo>
                <a:cubicBezTo>
                  <a:pt x="1644666" y="921759"/>
                  <a:pt x="1656907" y="934000"/>
                  <a:pt x="1672007" y="934000"/>
                </a:cubicBezTo>
                <a:cubicBezTo>
                  <a:pt x="1687107" y="934000"/>
                  <a:pt x="1699348" y="921759"/>
                  <a:pt x="1699348" y="906659"/>
                </a:cubicBezTo>
                <a:cubicBezTo>
                  <a:pt x="1699348" y="891559"/>
                  <a:pt x="1687107" y="879318"/>
                  <a:pt x="1672007" y="879318"/>
                </a:cubicBezTo>
                <a:close/>
                <a:moveTo>
                  <a:pt x="1906960" y="879318"/>
                </a:moveTo>
                <a:cubicBezTo>
                  <a:pt x="1891860" y="879318"/>
                  <a:pt x="1879619" y="891559"/>
                  <a:pt x="1879619" y="906659"/>
                </a:cubicBezTo>
                <a:cubicBezTo>
                  <a:pt x="1879619" y="921759"/>
                  <a:pt x="1891860" y="934000"/>
                  <a:pt x="1906960" y="934000"/>
                </a:cubicBezTo>
                <a:cubicBezTo>
                  <a:pt x="1922060" y="934000"/>
                  <a:pt x="1934301" y="921759"/>
                  <a:pt x="1934301" y="906659"/>
                </a:cubicBezTo>
                <a:cubicBezTo>
                  <a:pt x="1934301" y="891559"/>
                  <a:pt x="1922060" y="879318"/>
                  <a:pt x="1906960" y="879318"/>
                </a:cubicBezTo>
                <a:close/>
                <a:moveTo>
                  <a:pt x="2141912" y="879318"/>
                </a:moveTo>
                <a:cubicBezTo>
                  <a:pt x="2126812" y="879318"/>
                  <a:pt x="2114571" y="891559"/>
                  <a:pt x="2114571" y="906659"/>
                </a:cubicBezTo>
                <a:cubicBezTo>
                  <a:pt x="2114571" y="921759"/>
                  <a:pt x="2126812" y="934000"/>
                  <a:pt x="2141912" y="934000"/>
                </a:cubicBezTo>
                <a:cubicBezTo>
                  <a:pt x="2157012" y="934000"/>
                  <a:pt x="2169253" y="921759"/>
                  <a:pt x="2169253" y="906659"/>
                </a:cubicBezTo>
                <a:cubicBezTo>
                  <a:pt x="2169253" y="891559"/>
                  <a:pt x="2157012" y="879318"/>
                  <a:pt x="2141912" y="879318"/>
                </a:cubicBezTo>
                <a:close/>
                <a:moveTo>
                  <a:pt x="2376864" y="879318"/>
                </a:moveTo>
                <a:cubicBezTo>
                  <a:pt x="2361764" y="879318"/>
                  <a:pt x="2349523" y="891559"/>
                  <a:pt x="2349523" y="906659"/>
                </a:cubicBezTo>
                <a:cubicBezTo>
                  <a:pt x="2349523" y="921759"/>
                  <a:pt x="2361764" y="934000"/>
                  <a:pt x="2376864" y="934000"/>
                </a:cubicBezTo>
                <a:cubicBezTo>
                  <a:pt x="2391964" y="934000"/>
                  <a:pt x="2404205" y="921759"/>
                  <a:pt x="2404205" y="906659"/>
                </a:cubicBezTo>
                <a:cubicBezTo>
                  <a:pt x="2404205" y="891559"/>
                  <a:pt x="2391964" y="879318"/>
                  <a:pt x="2376864" y="879318"/>
                </a:cubicBezTo>
                <a:close/>
                <a:moveTo>
                  <a:pt x="2611817" y="879318"/>
                </a:moveTo>
                <a:cubicBezTo>
                  <a:pt x="2596717" y="879318"/>
                  <a:pt x="2584476" y="891559"/>
                  <a:pt x="2584476" y="906659"/>
                </a:cubicBezTo>
                <a:cubicBezTo>
                  <a:pt x="2584476" y="921759"/>
                  <a:pt x="2596717" y="934000"/>
                  <a:pt x="2611817" y="934000"/>
                </a:cubicBezTo>
                <a:cubicBezTo>
                  <a:pt x="2626917" y="934000"/>
                  <a:pt x="2639158" y="921759"/>
                  <a:pt x="2639158" y="906659"/>
                </a:cubicBezTo>
                <a:cubicBezTo>
                  <a:pt x="2639158" y="891559"/>
                  <a:pt x="2626917" y="879318"/>
                  <a:pt x="2611817" y="879318"/>
                </a:cubicBezTo>
                <a:close/>
                <a:moveTo>
                  <a:pt x="2846769" y="879318"/>
                </a:moveTo>
                <a:cubicBezTo>
                  <a:pt x="2831669" y="879318"/>
                  <a:pt x="2819428" y="891559"/>
                  <a:pt x="2819428" y="906659"/>
                </a:cubicBezTo>
                <a:cubicBezTo>
                  <a:pt x="2819428" y="921759"/>
                  <a:pt x="2831669" y="934000"/>
                  <a:pt x="2846769" y="934000"/>
                </a:cubicBezTo>
                <a:cubicBezTo>
                  <a:pt x="2861869" y="934000"/>
                  <a:pt x="2874110" y="921759"/>
                  <a:pt x="2874110" y="906659"/>
                </a:cubicBezTo>
                <a:cubicBezTo>
                  <a:pt x="2874110" y="891559"/>
                  <a:pt x="2861869" y="879318"/>
                  <a:pt x="2846769" y="879318"/>
                </a:cubicBezTo>
                <a:close/>
                <a:moveTo>
                  <a:pt x="3081721" y="879318"/>
                </a:moveTo>
                <a:cubicBezTo>
                  <a:pt x="3066621" y="879318"/>
                  <a:pt x="3054380" y="891559"/>
                  <a:pt x="3054380" y="906659"/>
                </a:cubicBezTo>
                <a:cubicBezTo>
                  <a:pt x="3054380" y="921759"/>
                  <a:pt x="3066621" y="934000"/>
                  <a:pt x="3081721" y="934000"/>
                </a:cubicBezTo>
                <a:cubicBezTo>
                  <a:pt x="3096821" y="934000"/>
                  <a:pt x="3109062" y="921759"/>
                  <a:pt x="3109062" y="906659"/>
                </a:cubicBezTo>
                <a:cubicBezTo>
                  <a:pt x="3109062" y="891559"/>
                  <a:pt x="3096821" y="879318"/>
                  <a:pt x="3081721" y="879318"/>
                </a:cubicBezTo>
                <a:close/>
                <a:moveTo>
                  <a:pt x="3316674" y="879318"/>
                </a:moveTo>
                <a:cubicBezTo>
                  <a:pt x="3301574" y="879318"/>
                  <a:pt x="3289333" y="891559"/>
                  <a:pt x="3289333" y="906659"/>
                </a:cubicBezTo>
                <a:cubicBezTo>
                  <a:pt x="3289333" y="921759"/>
                  <a:pt x="3301574" y="934000"/>
                  <a:pt x="3316674" y="934000"/>
                </a:cubicBezTo>
                <a:cubicBezTo>
                  <a:pt x="3331774" y="934000"/>
                  <a:pt x="3344015" y="921759"/>
                  <a:pt x="3344015" y="906659"/>
                </a:cubicBezTo>
                <a:cubicBezTo>
                  <a:pt x="3344015" y="891559"/>
                  <a:pt x="3331774" y="879318"/>
                  <a:pt x="3316674" y="879318"/>
                </a:cubicBezTo>
                <a:close/>
                <a:moveTo>
                  <a:pt x="3551626" y="879318"/>
                </a:moveTo>
                <a:cubicBezTo>
                  <a:pt x="3536526" y="879318"/>
                  <a:pt x="3524285" y="891559"/>
                  <a:pt x="3524285" y="906659"/>
                </a:cubicBezTo>
                <a:cubicBezTo>
                  <a:pt x="3524285" y="921759"/>
                  <a:pt x="3536526" y="934000"/>
                  <a:pt x="3551626" y="934000"/>
                </a:cubicBezTo>
                <a:cubicBezTo>
                  <a:pt x="3566726" y="934000"/>
                  <a:pt x="3578967" y="921759"/>
                  <a:pt x="3578967" y="906659"/>
                </a:cubicBezTo>
                <a:cubicBezTo>
                  <a:pt x="3578967" y="891559"/>
                  <a:pt x="3566726" y="879318"/>
                  <a:pt x="3551626" y="879318"/>
                </a:cubicBezTo>
                <a:close/>
                <a:moveTo>
                  <a:pt x="3786578" y="879318"/>
                </a:moveTo>
                <a:cubicBezTo>
                  <a:pt x="3771478" y="879318"/>
                  <a:pt x="3759237" y="891559"/>
                  <a:pt x="3759237" y="906659"/>
                </a:cubicBezTo>
                <a:cubicBezTo>
                  <a:pt x="3759237" y="921759"/>
                  <a:pt x="3771478" y="934000"/>
                  <a:pt x="3786578" y="934000"/>
                </a:cubicBezTo>
                <a:cubicBezTo>
                  <a:pt x="3801678" y="934000"/>
                  <a:pt x="3813919" y="921759"/>
                  <a:pt x="3813919" y="906659"/>
                </a:cubicBezTo>
                <a:cubicBezTo>
                  <a:pt x="3813919" y="891559"/>
                  <a:pt x="3801678" y="879318"/>
                  <a:pt x="3786578" y="879318"/>
                </a:cubicBezTo>
                <a:close/>
                <a:moveTo>
                  <a:pt x="4021530" y="879318"/>
                </a:moveTo>
                <a:cubicBezTo>
                  <a:pt x="4006430" y="879318"/>
                  <a:pt x="3994189" y="891559"/>
                  <a:pt x="3994189" y="906659"/>
                </a:cubicBezTo>
                <a:cubicBezTo>
                  <a:pt x="3994189" y="921759"/>
                  <a:pt x="4006430" y="934000"/>
                  <a:pt x="4021530" y="934000"/>
                </a:cubicBezTo>
                <a:cubicBezTo>
                  <a:pt x="4036630" y="934000"/>
                  <a:pt x="4048871" y="921759"/>
                  <a:pt x="4048871" y="906659"/>
                </a:cubicBezTo>
                <a:cubicBezTo>
                  <a:pt x="4048871" y="891559"/>
                  <a:pt x="4036630" y="879318"/>
                  <a:pt x="4021530" y="879318"/>
                </a:cubicBezTo>
                <a:close/>
                <a:moveTo>
                  <a:pt x="4256483" y="879318"/>
                </a:moveTo>
                <a:cubicBezTo>
                  <a:pt x="4241383" y="879318"/>
                  <a:pt x="4229142" y="891559"/>
                  <a:pt x="4229142" y="906659"/>
                </a:cubicBezTo>
                <a:cubicBezTo>
                  <a:pt x="4229142" y="921759"/>
                  <a:pt x="4241383" y="934000"/>
                  <a:pt x="4256483" y="934000"/>
                </a:cubicBezTo>
                <a:cubicBezTo>
                  <a:pt x="4271583" y="934000"/>
                  <a:pt x="4283824" y="921759"/>
                  <a:pt x="4283824" y="906659"/>
                </a:cubicBezTo>
                <a:cubicBezTo>
                  <a:pt x="4283824" y="891559"/>
                  <a:pt x="4271583" y="879318"/>
                  <a:pt x="4256483" y="879318"/>
                </a:cubicBezTo>
                <a:close/>
                <a:moveTo>
                  <a:pt x="4491435" y="879318"/>
                </a:moveTo>
                <a:cubicBezTo>
                  <a:pt x="4476335" y="879318"/>
                  <a:pt x="4464094" y="891559"/>
                  <a:pt x="4464094" y="906659"/>
                </a:cubicBezTo>
                <a:cubicBezTo>
                  <a:pt x="4464094" y="921759"/>
                  <a:pt x="4476335" y="934000"/>
                  <a:pt x="4491435" y="934000"/>
                </a:cubicBezTo>
                <a:cubicBezTo>
                  <a:pt x="4506535" y="934000"/>
                  <a:pt x="4518776" y="921759"/>
                  <a:pt x="4518776" y="906659"/>
                </a:cubicBezTo>
                <a:cubicBezTo>
                  <a:pt x="4518776" y="891559"/>
                  <a:pt x="4506535" y="879318"/>
                  <a:pt x="4491435" y="879318"/>
                </a:cubicBezTo>
                <a:close/>
                <a:moveTo>
                  <a:pt x="27341" y="703455"/>
                </a:moveTo>
                <a:cubicBezTo>
                  <a:pt x="12241" y="703455"/>
                  <a:pt x="0" y="715696"/>
                  <a:pt x="0" y="730796"/>
                </a:cubicBezTo>
                <a:cubicBezTo>
                  <a:pt x="0" y="745896"/>
                  <a:pt x="12241" y="758137"/>
                  <a:pt x="27341" y="758137"/>
                </a:cubicBezTo>
                <a:cubicBezTo>
                  <a:pt x="42441" y="758137"/>
                  <a:pt x="54682" y="745896"/>
                  <a:pt x="54682" y="730796"/>
                </a:cubicBezTo>
                <a:cubicBezTo>
                  <a:pt x="54682" y="715696"/>
                  <a:pt x="42441" y="703455"/>
                  <a:pt x="27341" y="703455"/>
                </a:cubicBezTo>
                <a:close/>
                <a:moveTo>
                  <a:pt x="262293" y="703455"/>
                </a:moveTo>
                <a:cubicBezTo>
                  <a:pt x="247193" y="703455"/>
                  <a:pt x="234952" y="715696"/>
                  <a:pt x="234952" y="730796"/>
                </a:cubicBezTo>
                <a:cubicBezTo>
                  <a:pt x="234952" y="745896"/>
                  <a:pt x="247193" y="758137"/>
                  <a:pt x="262293" y="758137"/>
                </a:cubicBezTo>
                <a:cubicBezTo>
                  <a:pt x="277393" y="758137"/>
                  <a:pt x="289634" y="745896"/>
                  <a:pt x="289634" y="730796"/>
                </a:cubicBezTo>
                <a:cubicBezTo>
                  <a:pt x="289634" y="715696"/>
                  <a:pt x="277393" y="703455"/>
                  <a:pt x="262293" y="703455"/>
                </a:cubicBezTo>
                <a:close/>
                <a:moveTo>
                  <a:pt x="497246" y="703455"/>
                </a:moveTo>
                <a:cubicBezTo>
                  <a:pt x="482146" y="703455"/>
                  <a:pt x="469905" y="715696"/>
                  <a:pt x="469905" y="730796"/>
                </a:cubicBezTo>
                <a:cubicBezTo>
                  <a:pt x="469905" y="745896"/>
                  <a:pt x="482146" y="758137"/>
                  <a:pt x="497246" y="758137"/>
                </a:cubicBezTo>
                <a:cubicBezTo>
                  <a:pt x="512346" y="758137"/>
                  <a:pt x="524587" y="745896"/>
                  <a:pt x="524587" y="730796"/>
                </a:cubicBezTo>
                <a:cubicBezTo>
                  <a:pt x="524587" y="715696"/>
                  <a:pt x="512346" y="703455"/>
                  <a:pt x="497246" y="703455"/>
                </a:cubicBezTo>
                <a:close/>
                <a:moveTo>
                  <a:pt x="732198" y="703455"/>
                </a:moveTo>
                <a:cubicBezTo>
                  <a:pt x="717098" y="703455"/>
                  <a:pt x="704857" y="715696"/>
                  <a:pt x="704857" y="730796"/>
                </a:cubicBezTo>
                <a:cubicBezTo>
                  <a:pt x="704857" y="745896"/>
                  <a:pt x="717098" y="758137"/>
                  <a:pt x="732198" y="758137"/>
                </a:cubicBezTo>
                <a:cubicBezTo>
                  <a:pt x="747298" y="758137"/>
                  <a:pt x="759539" y="745896"/>
                  <a:pt x="759539" y="730796"/>
                </a:cubicBezTo>
                <a:cubicBezTo>
                  <a:pt x="759539" y="715696"/>
                  <a:pt x="747298" y="703455"/>
                  <a:pt x="732198" y="703455"/>
                </a:cubicBezTo>
                <a:close/>
                <a:moveTo>
                  <a:pt x="967150" y="703455"/>
                </a:moveTo>
                <a:cubicBezTo>
                  <a:pt x="952050" y="703455"/>
                  <a:pt x="939809" y="715696"/>
                  <a:pt x="939809" y="730796"/>
                </a:cubicBezTo>
                <a:cubicBezTo>
                  <a:pt x="939809" y="745896"/>
                  <a:pt x="952050" y="758137"/>
                  <a:pt x="967150" y="758137"/>
                </a:cubicBezTo>
                <a:cubicBezTo>
                  <a:pt x="982250" y="758137"/>
                  <a:pt x="994491" y="745896"/>
                  <a:pt x="994491" y="730796"/>
                </a:cubicBezTo>
                <a:cubicBezTo>
                  <a:pt x="994491" y="715696"/>
                  <a:pt x="982250" y="703455"/>
                  <a:pt x="967150" y="703455"/>
                </a:cubicBezTo>
                <a:close/>
                <a:moveTo>
                  <a:pt x="1202103" y="703455"/>
                </a:moveTo>
                <a:cubicBezTo>
                  <a:pt x="1187003" y="703455"/>
                  <a:pt x="1174762" y="715696"/>
                  <a:pt x="1174762" y="730796"/>
                </a:cubicBezTo>
                <a:cubicBezTo>
                  <a:pt x="1174762" y="745896"/>
                  <a:pt x="1187003" y="758137"/>
                  <a:pt x="1202103" y="758137"/>
                </a:cubicBezTo>
                <a:cubicBezTo>
                  <a:pt x="1217203" y="758137"/>
                  <a:pt x="1229444" y="745896"/>
                  <a:pt x="1229444" y="730796"/>
                </a:cubicBezTo>
                <a:cubicBezTo>
                  <a:pt x="1229444" y="715696"/>
                  <a:pt x="1217203" y="703455"/>
                  <a:pt x="1202103" y="703455"/>
                </a:cubicBezTo>
                <a:close/>
                <a:moveTo>
                  <a:pt x="1437055" y="703455"/>
                </a:moveTo>
                <a:cubicBezTo>
                  <a:pt x="1421955" y="703455"/>
                  <a:pt x="1409714" y="715696"/>
                  <a:pt x="1409714" y="730796"/>
                </a:cubicBezTo>
                <a:cubicBezTo>
                  <a:pt x="1409714" y="745896"/>
                  <a:pt x="1421955" y="758137"/>
                  <a:pt x="1437055" y="758137"/>
                </a:cubicBezTo>
                <a:cubicBezTo>
                  <a:pt x="1452155" y="758137"/>
                  <a:pt x="1464396" y="745896"/>
                  <a:pt x="1464396" y="730796"/>
                </a:cubicBezTo>
                <a:cubicBezTo>
                  <a:pt x="1464396" y="715696"/>
                  <a:pt x="1452155" y="703455"/>
                  <a:pt x="1437055" y="703455"/>
                </a:cubicBezTo>
                <a:close/>
                <a:moveTo>
                  <a:pt x="1672007" y="703455"/>
                </a:moveTo>
                <a:cubicBezTo>
                  <a:pt x="1656907" y="703455"/>
                  <a:pt x="1644666" y="715696"/>
                  <a:pt x="1644666" y="730796"/>
                </a:cubicBezTo>
                <a:cubicBezTo>
                  <a:pt x="1644666" y="745896"/>
                  <a:pt x="1656907" y="758137"/>
                  <a:pt x="1672007" y="758137"/>
                </a:cubicBezTo>
                <a:cubicBezTo>
                  <a:pt x="1687107" y="758137"/>
                  <a:pt x="1699348" y="745896"/>
                  <a:pt x="1699348" y="730796"/>
                </a:cubicBezTo>
                <a:cubicBezTo>
                  <a:pt x="1699348" y="715696"/>
                  <a:pt x="1687107" y="703455"/>
                  <a:pt x="1672007" y="703455"/>
                </a:cubicBezTo>
                <a:close/>
                <a:moveTo>
                  <a:pt x="1906960" y="703455"/>
                </a:moveTo>
                <a:cubicBezTo>
                  <a:pt x="1891860" y="703455"/>
                  <a:pt x="1879619" y="715696"/>
                  <a:pt x="1879619" y="730796"/>
                </a:cubicBezTo>
                <a:cubicBezTo>
                  <a:pt x="1879619" y="745896"/>
                  <a:pt x="1891860" y="758137"/>
                  <a:pt x="1906960" y="758137"/>
                </a:cubicBezTo>
                <a:cubicBezTo>
                  <a:pt x="1922060" y="758137"/>
                  <a:pt x="1934301" y="745896"/>
                  <a:pt x="1934301" y="730796"/>
                </a:cubicBezTo>
                <a:cubicBezTo>
                  <a:pt x="1934301" y="715696"/>
                  <a:pt x="1922060" y="703455"/>
                  <a:pt x="1906960" y="703455"/>
                </a:cubicBezTo>
                <a:close/>
                <a:moveTo>
                  <a:pt x="2141912" y="703455"/>
                </a:moveTo>
                <a:cubicBezTo>
                  <a:pt x="2126812" y="703455"/>
                  <a:pt x="2114571" y="715696"/>
                  <a:pt x="2114571" y="730796"/>
                </a:cubicBezTo>
                <a:cubicBezTo>
                  <a:pt x="2114571" y="745896"/>
                  <a:pt x="2126812" y="758137"/>
                  <a:pt x="2141912" y="758137"/>
                </a:cubicBezTo>
                <a:cubicBezTo>
                  <a:pt x="2157012" y="758137"/>
                  <a:pt x="2169253" y="745896"/>
                  <a:pt x="2169253" y="730796"/>
                </a:cubicBezTo>
                <a:cubicBezTo>
                  <a:pt x="2169253" y="715696"/>
                  <a:pt x="2157012" y="703455"/>
                  <a:pt x="2141912" y="703455"/>
                </a:cubicBezTo>
                <a:close/>
                <a:moveTo>
                  <a:pt x="2376864" y="703455"/>
                </a:moveTo>
                <a:cubicBezTo>
                  <a:pt x="2361764" y="703455"/>
                  <a:pt x="2349523" y="715696"/>
                  <a:pt x="2349523" y="730796"/>
                </a:cubicBezTo>
                <a:cubicBezTo>
                  <a:pt x="2349523" y="745896"/>
                  <a:pt x="2361764" y="758137"/>
                  <a:pt x="2376864" y="758137"/>
                </a:cubicBezTo>
                <a:cubicBezTo>
                  <a:pt x="2391964" y="758137"/>
                  <a:pt x="2404205" y="745896"/>
                  <a:pt x="2404205" y="730796"/>
                </a:cubicBezTo>
                <a:cubicBezTo>
                  <a:pt x="2404205" y="715696"/>
                  <a:pt x="2391964" y="703455"/>
                  <a:pt x="2376864" y="703455"/>
                </a:cubicBezTo>
                <a:close/>
                <a:moveTo>
                  <a:pt x="2611817" y="703455"/>
                </a:moveTo>
                <a:cubicBezTo>
                  <a:pt x="2596717" y="703455"/>
                  <a:pt x="2584476" y="715696"/>
                  <a:pt x="2584476" y="730796"/>
                </a:cubicBezTo>
                <a:cubicBezTo>
                  <a:pt x="2584476" y="745896"/>
                  <a:pt x="2596717" y="758137"/>
                  <a:pt x="2611817" y="758137"/>
                </a:cubicBezTo>
                <a:cubicBezTo>
                  <a:pt x="2626917" y="758137"/>
                  <a:pt x="2639158" y="745896"/>
                  <a:pt x="2639158" y="730796"/>
                </a:cubicBezTo>
                <a:cubicBezTo>
                  <a:pt x="2639158" y="715696"/>
                  <a:pt x="2626917" y="703455"/>
                  <a:pt x="2611817" y="703455"/>
                </a:cubicBezTo>
                <a:close/>
                <a:moveTo>
                  <a:pt x="2846769" y="703455"/>
                </a:moveTo>
                <a:cubicBezTo>
                  <a:pt x="2831669" y="703455"/>
                  <a:pt x="2819428" y="715696"/>
                  <a:pt x="2819428" y="730796"/>
                </a:cubicBezTo>
                <a:cubicBezTo>
                  <a:pt x="2819428" y="745896"/>
                  <a:pt x="2831669" y="758137"/>
                  <a:pt x="2846769" y="758137"/>
                </a:cubicBezTo>
                <a:cubicBezTo>
                  <a:pt x="2861869" y="758137"/>
                  <a:pt x="2874110" y="745896"/>
                  <a:pt x="2874110" y="730796"/>
                </a:cubicBezTo>
                <a:cubicBezTo>
                  <a:pt x="2874110" y="715696"/>
                  <a:pt x="2861869" y="703455"/>
                  <a:pt x="2846769" y="703455"/>
                </a:cubicBezTo>
                <a:close/>
                <a:moveTo>
                  <a:pt x="3081721" y="703455"/>
                </a:moveTo>
                <a:cubicBezTo>
                  <a:pt x="3066621" y="703455"/>
                  <a:pt x="3054380" y="715696"/>
                  <a:pt x="3054380" y="730796"/>
                </a:cubicBezTo>
                <a:cubicBezTo>
                  <a:pt x="3054380" y="745896"/>
                  <a:pt x="3066621" y="758137"/>
                  <a:pt x="3081721" y="758137"/>
                </a:cubicBezTo>
                <a:cubicBezTo>
                  <a:pt x="3096821" y="758137"/>
                  <a:pt x="3109062" y="745896"/>
                  <a:pt x="3109062" y="730796"/>
                </a:cubicBezTo>
                <a:cubicBezTo>
                  <a:pt x="3109062" y="715696"/>
                  <a:pt x="3096821" y="703455"/>
                  <a:pt x="3081721" y="703455"/>
                </a:cubicBezTo>
                <a:close/>
                <a:moveTo>
                  <a:pt x="3316674" y="703455"/>
                </a:moveTo>
                <a:cubicBezTo>
                  <a:pt x="3301574" y="703455"/>
                  <a:pt x="3289333" y="715696"/>
                  <a:pt x="3289333" y="730796"/>
                </a:cubicBezTo>
                <a:cubicBezTo>
                  <a:pt x="3289333" y="745896"/>
                  <a:pt x="3301574" y="758137"/>
                  <a:pt x="3316674" y="758137"/>
                </a:cubicBezTo>
                <a:cubicBezTo>
                  <a:pt x="3331774" y="758137"/>
                  <a:pt x="3344015" y="745896"/>
                  <a:pt x="3344015" y="730796"/>
                </a:cubicBezTo>
                <a:cubicBezTo>
                  <a:pt x="3344015" y="715696"/>
                  <a:pt x="3331774" y="703455"/>
                  <a:pt x="3316674" y="703455"/>
                </a:cubicBezTo>
                <a:close/>
                <a:moveTo>
                  <a:pt x="3551626" y="703455"/>
                </a:moveTo>
                <a:cubicBezTo>
                  <a:pt x="3536526" y="703455"/>
                  <a:pt x="3524285" y="715696"/>
                  <a:pt x="3524285" y="730796"/>
                </a:cubicBezTo>
                <a:cubicBezTo>
                  <a:pt x="3524285" y="745896"/>
                  <a:pt x="3536526" y="758137"/>
                  <a:pt x="3551626" y="758137"/>
                </a:cubicBezTo>
                <a:cubicBezTo>
                  <a:pt x="3566726" y="758137"/>
                  <a:pt x="3578967" y="745896"/>
                  <a:pt x="3578967" y="730796"/>
                </a:cubicBezTo>
                <a:cubicBezTo>
                  <a:pt x="3578967" y="715696"/>
                  <a:pt x="3566726" y="703455"/>
                  <a:pt x="3551626" y="703455"/>
                </a:cubicBezTo>
                <a:close/>
                <a:moveTo>
                  <a:pt x="3786578" y="703455"/>
                </a:moveTo>
                <a:cubicBezTo>
                  <a:pt x="3771478" y="703455"/>
                  <a:pt x="3759237" y="715696"/>
                  <a:pt x="3759237" y="730796"/>
                </a:cubicBezTo>
                <a:cubicBezTo>
                  <a:pt x="3759237" y="745896"/>
                  <a:pt x="3771478" y="758137"/>
                  <a:pt x="3786578" y="758137"/>
                </a:cubicBezTo>
                <a:cubicBezTo>
                  <a:pt x="3801678" y="758137"/>
                  <a:pt x="3813919" y="745896"/>
                  <a:pt x="3813919" y="730796"/>
                </a:cubicBezTo>
                <a:cubicBezTo>
                  <a:pt x="3813919" y="715696"/>
                  <a:pt x="3801678" y="703455"/>
                  <a:pt x="3786578" y="703455"/>
                </a:cubicBezTo>
                <a:close/>
                <a:moveTo>
                  <a:pt x="4021530" y="703455"/>
                </a:moveTo>
                <a:cubicBezTo>
                  <a:pt x="4006430" y="703455"/>
                  <a:pt x="3994189" y="715696"/>
                  <a:pt x="3994189" y="730796"/>
                </a:cubicBezTo>
                <a:cubicBezTo>
                  <a:pt x="3994189" y="745896"/>
                  <a:pt x="4006430" y="758137"/>
                  <a:pt x="4021530" y="758137"/>
                </a:cubicBezTo>
                <a:cubicBezTo>
                  <a:pt x="4036630" y="758137"/>
                  <a:pt x="4048871" y="745896"/>
                  <a:pt x="4048871" y="730796"/>
                </a:cubicBezTo>
                <a:cubicBezTo>
                  <a:pt x="4048871" y="715696"/>
                  <a:pt x="4036630" y="703455"/>
                  <a:pt x="4021530" y="703455"/>
                </a:cubicBezTo>
                <a:close/>
                <a:moveTo>
                  <a:pt x="4256483" y="703455"/>
                </a:moveTo>
                <a:cubicBezTo>
                  <a:pt x="4241383" y="703455"/>
                  <a:pt x="4229142" y="715696"/>
                  <a:pt x="4229142" y="730796"/>
                </a:cubicBezTo>
                <a:cubicBezTo>
                  <a:pt x="4229142" y="745896"/>
                  <a:pt x="4241383" y="758137"/>
                  <a:pt x="4256483" y="758137"/>
                </a:cubicBezTo>
                <a:cubicBezTo>
                  <a:pt x="4271583" y="758137"/>
                  <a:pt x="4283824" y="745896"/>
                  <a:pt x="4283824" y="730796"/>
                </a:cubicBezTo>
                <a:cubicBezTo>
                  <a:pt x="4283824" y="715696"/>
                  <a:pt x="4271583" y="703455"/>
                  <a:pt x="4256483" y="703455"/>
                </a:cubicBezTo>
                <a:close/>
                <a:moveTo>
                  <a:pt x="4491435" y="703455"/>
                </a:moveTo>
                <a:cubicBezTo>
                  <a:pt x="4476335" y="703455"/>
                  <a:pt x="4464094" y="715696"/>
                  <a:pt x="4464094" y="730796"/>
                </a:cubicBezTo>
                <a:cubicBezTo>
                  <a:pt x="4464094" y="745896"/>
                  <a:pt x="4476335" y="758137"/>
                  <a:pt x="4491435" y="758137"/>
                </a:cubicBezTo>
                <a:cubicBezTo>
                  <a:pt x="4506535" y="758137"/>
                  <a:pt x="4518776" y="745896"/>
                  <a:pt x="4518776" y="730796"/>
                </a:cubicBezTo>
                <a:cubicBezTo>
                  <a:pt x="4518776" y="715696"/>
                  <a:pt x="4506535" y="703455"/>
                  <a:pt x="4491435" y="703455"/>
                </a:cubicBezTo>
                <a:close/>
                <a:moveTo>
                  <a:pt x="27341" y="527591"/>
                </a:moveTo>
                <a:cubicBezTo>
                  <a:pt x="12241" y="527591"/>
                  <a:pt x="0" y="539832"/>
                  <a:pt x="0" y="554932"/>
                </a:cubicBezTo>
                <a:cubicBezTo>
                  <a:pt x="0" y="570032"/>
                  <a:pt x="12241" y="582273"/>
                  <a:pt x="27341" y="582273"/>
                </a:cubicBezTo>
                <a:cubicBezTo>
                  <a:pt x="42441" y="582273"/>
                  <a:pt x="54682" y="570032"/>
                  <a:pt x="54682" y="554932"/>
                </a:cubicBezTo>
                <a:cubicBezTo>
                  <a:pt x="54682" y="539832"/>
                  <a:pt x="42441" y="527591"/>
                  <a:pt x="27341" y="527591"/>
                </a:cubicBezTo>
                <a:close/>
                <a:moveTo>
                  <a:pt x="262293" y="527591"/>
                </a:moveTo>
                <a:cubicBezTo>
                  <a:pt x="247193" y="527591"/>
                  <a:pt x="234952" y="539832"/>
                  <a:pt x="234952" y="554932"/>
                </a:cubicBezTo>
                <a:cubicBezTo>
                  <a:pt x="234952" y="570032"/>
                  <a:pt x="247193" y="582273"/>
                  <a:pt x="262293" y="582273"/>
                </a:cubicBezTo>
                <a:cubicBezTo>
                  <a:pt x="277393" y="582273"/>
                  <a:pt x="289634" y="570032"/>
                  <a:pt x="289634" y="554932"/>
                </a:cubicBezTo>
                <a:cubicBezTo>
                  <a:pt x="289634" y="539832"/>
                  <a:pt x="277393" y="527591"/>
                  <a:pt x="262293" y="527591"/>
                </a:cubicBezTo>
                <a:close/>
                <a:moveTo>
                  <a:pt x="497246" y="527591"/>
                </a:moveTo>
                <a:cubicBezTo>
                  <a:pt x="482146" y="527591"/>
                  <a:pt x="469905" y="539832"/>
                  <a:pt x="469905" y="554932"/>
                </a:cubicBezTo>
                <a:cubicBezTo>
                  <a:pt x="469905" y="570032"/>
                  <a:pt x="482146" y="582273"/>
                  <a:pt x="497246" y="582273"/>
                </a:cubicBezTo>
                <a:cubicBezTo>
                  <a:pt x="512346" y="582273"/>
                  <a:pt x="524587" y="570032"/>
                  <a:pt x="524587" y="554932"/>
                </a:cubicBezTo>
                <a:cubicBezTo>
                  <a:pt x="524587" y="539832"/>
                  <a:pt x="512346" y="527591"/>
                  <a:pt x="497246" y="527591"/>
                </a:cubicBezTo>
                <a:close/>
                <a:moveTo>
                  <a:pt x="732198" y="527591"/>
                </a:moveTo>
                <a:cubicBezTo>
                  <a:pt x="717098" y="527591"/>
                  <a:pt x="704857" y="539832"/>
                  <a:pt x="704857" y="554932"/>
                </a:cubicBezTo>
                <a:cubicBezTo>
                  <a:pt x="704857" y="570032"/>
                  <a:pt x="717098" y="582273"/>
                  <a:pt x="732198" y="582273"/>
                </a:cubicBezTo>
                <a:cubicBezTo>
                  <a:pt x="747298" y="582273"/>
                  <a:pt x="759539" y="570032"/>
                  <a:pt x="759539" y="554932"/>
                </a:cubicBezTo>
                <a:cubicBezTo>
                  <a:pt x="759539" y="539832"/>
                  <a:pt x="747298" y="527591"/>
                  <a:pt x="732198" y="527591"/>
                </a:cubicBezTo>
                <a:close/>
                <a:moveTo>
                  <a:pt x="967150" y="527591"/>
                </a:moveTo>
                <a:cubicBezTo>
                  <a:pt x="952050" y="527591"/>
                  <a:pt x="939809" y="539832"/>
                  <a:pt x="939809" y="554932"/>
                </a:cubicBezTo>
                <a:cubicBezTo>
                  <a:pt x="939809" y="570032"/>
                  <a:pt x="952050" y="582273"/>
                  <a:pt x="967150" y="582273"/>
                </a:cubicBezTo>
                <a:cubicBezTo>
                  <a:pt x="982250" y="582273"/>
                  <a:pt x="994491" y="570032"/>
                  <a:pt x="994491" y="554932"/>
                </a:cubicBezTo>
                <a:cubicBezTo>
                  <a:pt x="994491" y="539832"/>
                  <a:pt x="982250" y="527591"/>
                  <a:pt x="967150" y="527591"/>
                </a:cubicBezTo>
                <a:close/>
                <a:moveTo>
                  <a:pt x="1202103" y="527591"/>
                </a:moveTo>
                <a:cubicBezTo>
                  <a:pt x="1187003" y="527591"/>
                  <a:pt x="1174762" y="539832"/>
                  <a:pt x="1174762" y="554932"/>
                </a:cubicBezTo>
                <a:cubicBezTo>
                  <a:pt x="1174762" y="570032"/>
                  <a:pt x="1187003" y="582273"/>
                  <a:pt x="1202103" y="582273"/>
                </a:cubicBezTo>
                <a:cubicBezTo>
                  <a:pt x="1217203" y="582273"/>
                  <a:pt x="1229444" y="570032"/>
                  <a:pt x="1229444" y="554932"/>
                </a:cubicBezTo>
                <a:cubicBezTo>
                  <a:pt x="1229444" y="539832"/>
                  <a:pt x="1217203" y="527591"/>
                  <a:pt x="1202103" y="527591"/>
                </a:cubicBezTo>
                <a:close/>
                <a:moveTo>
                  <a:pt x="1437055" y="527591"/>
                </a:moveTo>
                <a:cubicBezTo>
                  <a:pt x="1421955" y="527591"/>
                  <a:pt x="1409714" y="539832"/>
                  <a:pt x="1409714" y="554932"/>
                </a:cubicBezTo>
                <a:cubicBezTo>
                  <a:pt x="1409714" y="570032"/>
                  <a:pt x="1421955" y="582273"/>
                  <a:pt x="1437055" y="582273"/>
                </a:cubicBezTo>
                <a:cubicBezTo>
                  <a:pt x="1452155" y="582273"/>
                  <a:pt x="1464396" y="570032"/>
                  <a:pt x="1464396" y="554932"/>
                </a:cubicBezTo>
                <a:cubicBezTo>
                  <a:pt x="1464396" y="539832"/>
                  <a:pt x="1452155" y="527591"/>
                  <a:pt x="1437055" y="527591"/>
                </a:cubicBezTo>
                <a:close/>
                <a:moveTo>
                  <a:pt x="1672007" y="527591"/>
                </a:moveTo>
                <a:cubicBezTo>
                  <a:pt x="1656907" y="527591"/>
                  <a:pt x="1644666" y="539832"/>
                  <a:pt x="1644666" y="554932"/>
                </a:cubicBezTo>
                <a:cubicBezTo>
                  <a:pt x="1644666" y="570032"/>
                  <a:pt x="1656907" y="582273"/>
                  <a:pt x="1672007" y="582273"/>
                </a:cubicBezTo>
                <a:cubicBezTo>
                  <a:pt x="1687107" y="582273"/>
                  <a:pt x="1699348" y="570032"/>
                  <a:pt x="1699348" y="554932"/>
                </a:cubicBezTo>
                <a:cubicBezTo>
                  <a:pt x="1699348" y="539832"/>
                  <a:pt x="1687107" y="527591"/>
                  <a:pt x="1672007" y="527591"/>
                </a:cubicBezTo>
                <a:close/>
                <a:moveTo>
                  <a:pt x="1906960" y="527591"/>
                </a:moveTo>
                <a:cubicBezTo>
                  <a:pt x="1891860" y="527591"/>
                  <a:pt x="1879619" y="539832"/>
                  <a:pt x="1879619" y="554932"/>
                </a:cubicBezTo>
                <a:cubicBezTo>
                  <a:pt x="1879619" y="570032"/>
                  <a:pt x="1891860" y="582273"/>
                  <a:pt x="1906960" y="582273"/>
                </a:cubicBezTo>
                <a:cubicBezTo>
                  <a:pt x="1922060" y="582273"/>
                  <a:pt x="1934301" y="570032"/>
                  <a:pt x="1934301" y="554932"/>
                </a:cubicBezTo>
                <a:cubicBezTo>
                  <a:pt x="1934301" y="539832"/>
                  <a:pt x="1922060" y="527591"/>
                  <a:pt x="1906960" y="527591"/>
                </a:cubicBezTo>
                <a:close/>
                <a:moveTo>
                  <a:pt x="2141912" y="527591"/>
                </a:moveTo>
                <a:cubicBezTo>
                  <a:pt x="2126812" y="527591"/>
                  <a:pt x="2114571" y="539832"/>
                  <a:pt x="2114571" y="554932"/>
                </a:cubicBezTo>
                <a:cubicBezTo>
                  <a:pt x="2114571" y="570032"/>
                  <a:pt x="2126812" y="582273"/>
                  <a:pt x="2141912" y="582273"/>
                </a:cubicBezTo>
                <a:cubicBezTo>
                  <a:pt x="2157012" y="582273"/>
                  <a:pt x="2169253" y="570032"/>
                  <a:pt x="2169253" y="554932"/>
                </a:cubicBezTo>
                <a:cubicBezTo>
                  <a:pt x="2169253" y="539832"/>
                  <a:pt x="2157012" y="527591"/>
                  <a:pt x="2141912" y="527591"/>
                </a:cubicBezTo>
                <a:close/>
                <a:moveTo>
                  <a:pt x="2376864" y="527591"/>
                </a:moveTo>
                <a:cubicBezTo>
                  <a:pt x="2361764" y="527591"/>
                  <a:pt x="2349523" y="539832"/>
                  <a:pt x="2349523" y="554932"/>
                </a:cubicBezTo>
                <a:cubicBezTo>
                  <a:pt x="2349523" y="570032"/>
                  <a:pt x="2361764" y="582273"/>
                  <a:pt x="2376864" y="582273"/>
                </a:cubicBezTo>
                <a:cubicBezTo>
                  <a:pt x="2391964" y="582273"/>
                  <a:pt x="2404205" y="570032"/>
                  <a:pt x="2404205" y="554932"/>
                </a:cubicBezTo>
                <a:cubicBezTo>
                  <a:pt x="2404205" y="539832"/>
                  <a:pt x="2391964" y="527591"/>
                  <a:pt x="2376864" y="527591"/>
                </a:cubicBezTo>
                <a:close/>
                <a:moveTo>
                  <a:pt x="2611817" y="527591"/>
                </a:moveTo>
                <a:cubicBezTo>
                  <a:pt x="2596717" y="527591"/>
                  <a:pt x="2584476" y="539832"/>
                  <a:pt x="2584476" y="554932"/>
                </a:cubicBezTo>
                <a:cubicBezTo>
                  <a:pt x="2584476" y="570032"/>
                  <a:pt x="2596717" y="582273"/>
                  <a:pt x="2611817" y="582273"/>
                </a:cubicBezTo>
                <a:cubicBezTo>
                  <a:pt x="2626917" y="582273"/>
                  <a:pt x="2639158" y="570032"/>
                  <a:pt x="2639158" y="554932"/>
                </a:cubicBezTo>
                <a:cubicBezTo>
                  <a:pt x="2639158" y="539832"/>
                  <a:pt x="2626917" y="527591"/>
                  <a:pt x="2611817" y="527591"/>
                </a:cubicBezTo>
                <a:close/>
                <a:moveTo>
                  <a:pt x="2846769" y="527591"/>
                </a:moveTo>
                <a:cubicBezTo>
                  <a:pt x="2831669" y="527591"/>
                  <a:pt x="2819428" y="539832"/>
                  <a:pt x="2819428" y="554932"/>
                </a:cubicBezTo>
                <a:cubicBezTo>
                  <a:pt x="2819428" y="570032"/>
                  <a:pt x="2831669" y="582273"/>
                  <a:pt x="2846769" y="582273"/>
                </a:cubicBezTo>
                <a:cubicBezTo>
                  <a:pt x="2861869" y="582273"/>
                  <a:pt x="2874110" y="570032"/>
                  <a:pt x="2874110" y="554932"/>
                </a:cubicBezTo>
                <a:cubicBezTo>
                  <a:pt x="2874110" y="539832"/>
                  <a:pt x="2861869" y="527591"/>
                  <a:pt x="2846769" y="527591"/>
                </a:cubicBezTo>
                <a:close/>
                <a:moveTo>
                  <a:pt x="3081721" y="527591"/>
                </a:moveTo>
                <a:cubicBezTo>
                  <a:pt x="3066621" y="527591"/>
                  <a:pt x="3054380" y="539832"/>
                  <a:pt x="3054380" y="554932"/>
                </a:cubicBezTo>
                <a:cubicBezTo>
                  <a:pt x="3054380" y="570032"/>
                  <a:pt x="3066621" y="582273"/>
                  <a:pt x="3081721" y="582273"/>
                </a:cubicBezTo>
                <a:cubicBezTo>
                  <a:pt x="3096821" y="582273"/>
                  <a:pt x="3109062" y="570032"/>
                  <a:pt x="3109062" y="554932"/>
                </a:cubicBezTo>
                <a:cubicBezTo>
                  <a:pt x="3109062" y="539832"/>
                  <a:pt x="3096821" y="527591"/>
                  <a:pt x="3081721" y="527591"/>
                </a:cubicBezTo>
                <a:close/>
                <a:moveTo>
                  <a:pt x="3316674" y="527591"/>
                </a:moveTo>
                <a:cubicBezTo>
                  <a:pt x="3301574" y="527591"/>
                  <a:pt x="3289333" y="539832"/>
                  <a:pt x="3289333" y="554932"/>
                </a:cubicBezTo>
                <a:cubicBezTo>
                  <a:pt x="3289333" y="570032"/>
                  <a:pt x="3301574" y="582273"/>
                  <a:pt x="3316674" y="582273"/>
                </a:cubicBezTo>
                <a:cubicBezTo>
                  <a:pt x="3331774" y="582273"/>
                  <a:pt x="3344015" y="570032"/>
                  <a:pt x="3344015" y="554932"/>
                </a:cubicBezTo>
                <a:cubicBezTo>
                  <a:pt x="3344015" y="539832"/>
                  <a:pt x="3331774" y="527591"/>
                  <a:pt x="3316674" y="527591"/>
                </a:cubicBezTo>
                <a:close/>
                <a:moveTo>
                  <a:pt x="3551626" y="527591"/>
                </a:moveTo>
                <a:cubicBezTo>
                  <a:pt x="3536526" y="527591"/>
                  <a:pt x="3524285" y="539832"/>
                  <a:pt x="3524285" y="554932"/>
                </a:cubicBezTo>
                <a:cubicBezTo>
                  <a:pt x="3524285" y="570032"/>
                  <a:pt x="3536526" y="582273"/>
                  <a:pt x="3551626" y="582273"/>
                </a:cubicBezTo>
                <a:cubicBezTo>
                  <a:pt x="3566726" y="582273"/>
                  <a:pt x="3578967" y="570032"/>
                  <a:pt x="3578967" y="554932"/>
                </a:cubicBezTo>
                <a:cubicBezTo>
                  <a:pt x="3578967" y="539832"/>
                  <a:pt x="3566726" y="527591"/>
                  <a:pt x="3551626" y="527591"/>
                </a:cubicBezTo>
                <a:close/>
                <a:moveTo>
                  <a:pt x="3786578" y="527591"/>
                </a:moveTo>
                <a:cubicBezTo>
                  <a:pt x="3771478" y="527591"/>
                  <a:pt x="3759237" y="539832"/>
                  <a:pt x="3759237" y="554932"/>
                </a:cubicBezTo>
                <a:cubicBezTo>
                  <a:pt x="3759237" y="570032"/>
                  <a:pt x="3771478" y="582273"/>
                  <a:pt x="3786578" y="582273"/>
                </a:cubicBezTo>
                <a:cubicBezTo>
                  <a:pt x="3801678" y="582273"/>
                  <a:pt x="3813919" y="570032"/>
                  <a:pt x="3813919" y="554932"/>
                </a:cubicBezTo>
                <a:cubicBezTo>
                  <a:pt x="3813919" y="539832"/>
                  <a:pt x="3801678" y="527591"/>
                  <a:pt x="3786578" y="527591"/>
                </a:cubicBezTo>
                <a:close/>
                <a:moveTo>
                  <a:pt x="4021530" y="527591"/>
                </a:moveTo>
                <a:cubicBezTo>
                  <a:pt x="4006430" y="527591"/>
                  <a:pt x="3994189" y="539832"/>
                  <a:pt x="3994189" y="554932"/>
                </a:cubicBezTo>
                <a:cubicBezTo>
                  <a:pt x="3994189" y="570032"/>
                  <a:pt x="4006430" y="582273"/>
                  <a:pt x="4021530" y="582273"/>
                </a:cubicBezTo>
                <a:cubicBezTo>
                  <a:pt x="4036630" y="582273"/>
                  <a:pt x="4048871" y="570032"/>
                  <a:pt x="4048871" y="554932"/>
                </a:cubicBezTo>
                <a:cubicBezTo>
                  <a:pt x="4048871" y="539832"/>
                  <a:pt x="4036630" y="527591"/>
                  <a:pt x="4021530" y="527591"/>
                </a:cubicBezTo>
                <a:close/>
                <a:moveTo>
                  <a:pt x="4256483" y="527591"/>
                </a:moveTo>
                <a:cubicBezTo>
                  <a:pt x="4241383" y="527591"/>
                  <a:pt x="4229142" y="539832"/>
                  <a:pt x="4229142" y="554932"/>
                </a:cubicBezTo>
                <a:cubicBezTo>
                  <a:pt x="4229142" y="570032"/>
                  <a:pt x="4241383" y="582273"/>
                  <a:pt x="4256483" y="582273"/>
                </a:cubicBezTo>
                <a:cubicBezTo>
                  <a:pt x="4271583" y="582273"/>
                  <a:pt x="4283824" y="570032"/>
                  <a:pt x="4283824" y="554932"/>
                </a:cubicBezTo>
                <a:cubicBezTo>
                  <a:pt x="4283824" y="539832"/>
                  <a:pt x="4271583" y="527591"/>
                  <a:pt x="4256483" y="527591"/>
                </a:cubicBezTo>
                <a:close/>
                <a:moveTo>
                  <a:pt x="4491435" y="527591"/>
                </a:moveTo>
                <a:cubicBezTo>
                  <a:pt x="4476335" y="527591"/>
                  <a:pt x="4464094" y="539832"/>
                  <a:pt x="4464094" y="554932"/>
                </a:cubicBezTo>
                <a:cubicBezTo>
                  <a:pt x="4464094" y="570032"/>
                  <a:pt x="4476335" y="582273"/>
                  <a:pt x="4491435" y="582273"/>
                </a:cubicBezTo>
                <a:cubicBezTo>
                  <a:pt x="4506535" y="582273"/>
                  <a:pt x="4518776" y="570032"/>
                  <a:pt x="4518776" y="554932"/>
                </a:cubicBezTo>
                <a:cubicBezTo>
                  <a:pt x="4518776" y="539832"/>
                  <a:pt x="4506535" y="527591"/>
                  <a:pt x="4491435" y="527591"/>
                </a:cubicBezTo>
                <a:close/>
                <a:moveTo>
                  <a:pt x="27341" y="351727"/>
                </a:moveTo>
                <a:cubicBezTo>
                  <a:pt x="12241" y="351727"/>
                  <a:pt x="0" y="363968"/>
                  <a:pt x="0" y="379068"/>
                </a:cubicBezTo>
                <a:cubicBezTo>
                  <a:pt x="0" y="394168"/>
                  <a:pt x="12241" y="406409"/>
                  <a:pt x="27341" y="406409"/>
                </a:cubicBezTo>
                <a:cubicBezTo>
                  <a:pt x="42441" y="406409"/>
                  <a:pt x="54682" y="394168"/>
                  <a:pt x="54682" y="379068"/>
                </a:cubicBezTo>
                <a:cubicBezTo>
                  <a:pt x="54682" y="363968"/>
                  <a:pt x="42441" y="351727"/>
                  <a:pt x="27341" y="351727"/>
                </a:cubicBezTo>
                <a:close/>
                <a:moveTo>
                  <a:pt x="262293" y="351727"/>
                </a:moveTo>
                <a:cubicBezTo>
                  <a:pt x="247193" y="351727"/>
                  <a:pt x="234952" y="363968"/>
                  <a:pt x="234952" y="379068"/>
                </a:cubicBezTo>
                <a:cubicBezTo>
                  <a:pt x="234952" y="394168"/>
                  <a:pt x="247193" y="406409"/>
                  <a:pt x="262293" y="406409"/>
                </a:cubicBezTo>
                <a:cubicBezTo>
                  <a:pt x="277393" y="406409"/>
                  <a:pt x="289634" y="394168"/>
                  <a:pt x="289634" y="379068"/>
                </a:cubicBezTo>
                <a:cubicBezTo>
                  <a:pt x="289634" y="363968"/>
                  <a:pt x="277393" y="351727"/>
                  <a:pt x="262293" y="351727"/>
                </a:cubicBezTo>
                <a:close/>
                <a:moveTo>
                  <a:pt x="497246" y="351727"/>
                </a:moveTo>
                <a:cubicBezTo>
                  <a:pt x="482146" y="351727"/>
                  <a:pt x="469905" y="363968"/>
                  <a:pt x="469905" y="379068"/>
                </a:cubicBezTo>
                <a:cubicBezTo>
                  <a:pt x="469905" y="394168"/>
                  <a:pt x="482146" y="406409"/>
                  <a:pt x="497246" y="406409"/>
                </a:cubicBezTo>
                <a:cubicBezTo>
                  <a:pt x="512346" y="406409"/>
                  <a:pt x="524587" y="394168"/>
                  <a:pt x="524587" y="379068"/>
                </a:cubicBezTo>
                <a:cubicBezTo>
                  <a:pt x="524587" y="363968"/>
                  <a:pt x="512346" y="351727"/>
                  <a:pt x="497246" y="351727"/>
                </a:cubicBezTo>
                <a:close/>
                <a:moveTo>
                  <a:pt x="732198" y="351727"/>
                </a:moveTo>
                <a:cubicBezTo>
                  <a:pt x="717098" y="351727"/>
                  <a:pt x="704857" y="363968"/>
                  <a:pt x="704857" y="379068"/>
                </a:cubicBezTo>
                <a:cubicBezTo>
                  <a:pt x="704857" y="394168"/>
                  <a:pt x="717098" y="406409"/>
                  <a:pt x="732198" y="406409"/>
                </a:cubicBezTo>
                <a:cubicBezTo>
                  <a:pt x="747298" y="406409"/>
                  <a:pt x="759539" y="394168"/>
                  <a:pt x="759539" y="379068"/>
                </a:cubicBezTo>
                <a:cubicBezTo>
                  <a:pt x="759539" y="363968"/>
                  <a:pt x="747298" y="351727"/>
                  <a:pt x="732198" y="351727"/>
                </a:cubicBezTo>
                <a:close/>
                <a:moveTo>
                  <a:pt x="967150" y="351727"/>
                </a:moveTo>
                <a:cubicBezTo>
                  <a:pt x="952050" y="351727"/>
                  <a:pt x="939809" y="363968"/>
                  <a:pt x="939809" y="379068"/>
                </a:cubicBezTo>
                <a:cubicBezTo>
                  <a:pt x="939809" y="394168"/>
                  <a:pt x="952050" y="406409"/>
                  <a:pt x="967150" y="406409"/>
                </a:cubicBezTo>
                <a:cubicBezTo>
                  <a:pt x="982250" y="406409"/>
                  <a:pt x="994491" y="394168"/>
                  <a:pt x="994491" y="379068"/>
                </a:cubicBezTo>
                <a:cubicBezTo>
                  <a:pt x="994491" y="363968"/>
                  <a:pt x="982250" y="351727"/>
                  <a:pt x="967150" y="351727"/>
                </a:cubicBezTo>
                <a:close/>
                <a:moveTo>
                  <a:pt x="1202103" y="351727"/>
                </a:moveTo>
                <a:cubicBezTo>
                  <a:pt x="1187003" y="351727"/>
                  <a:pt x="1174762" y="363968"/>
                  <a:pt x="1174762" y="379068"/>
                </a:cubicBezTo>
                <a:cubicBezTo>
                  <a:pt x="1174762" y="394168"/>
                  <a:pt x="1187003" y="406409"/>
                  <a:pt x="1202103" y="406409"/>
                </a:cubicBezTo>
                <a:cubicBezTo>
                  <a:pt x="1217203" y="406409"/>
                  <a:pt x="1229444" y="394168"/>
                  <a:pt x="1229444" y="379068"/>
                </a:cubicBezTo>
                <a:cubicBezTo>
                  <a:pt x="1229444" y="363968"/>
                  <a:pt x="1217203" y="351727"/>
                  <a:pt x="1202103" y="351727"/>
                </a:cubicBezTo>
                <a:close/>
                <a:moveTo>
                  <a:pt x="1437055" y="351727"/>
                </a:moveTo>
                <a:cubicBezTo>
                  <a:pt x="1421955" y="351727"/>
                  <a:pt x="1409714" y="363968"/>
                  <a:pt x="1409714" y="379068"/>
                </a:cubicBezTo>
                <a:cubicBezTo>
                  <a:pt x="1409714" y="394168"/>
                  <a:pt x="1421955" y="406409"/>
                  <a:pt x="1437055" y="406409"/>
                </a:cubicBezTo>
                <a:cubicBezTo>
                  <a:pt x="1452155" y="406409"/>
                  <a:pt x="1464396" y="394168"/>
                  <a:pt x="1464396" y="379068"/>
                </a:cubicBezTo>
                <a:cubicBezTo>
                  <a:pt x="1464396" y="363968"/>
                  <a:pt x="1452155" y="351727"/>
                  <a:pt x="1437055" y="351727"/>
                </a:cubicBezTo>
                <a:close/>
                <a:moveTo>
                  <a:pt x="1672007" y="351727"/>
                </a:moveTo>
                <a:cubicBezTo>
                  <a:pt x="1656907" y="351727"/>
                  <a:pt x="1644666" y="363968"/>
                  <a:pt x="1644666" y="379068"/>
                </a:cubicBezTo>
                <a:cubicBezTo>
                  <a:pt x="1644666" y="394168"/>
                  <a:pt x="1656907" y="406409"/>
                  <a:pt x="1672007" y="406409"/>
                </a:cubicBezTo>
                <a:cubicBezTo>
                  <a:pt x="1687107" y="406409"/>
                  <a:pt x="1699348" y="394168"/>
                  <a:pt x="1699348" y="379068"/>
                </a:cubicBezTo>
                <a:cubicBezTo>
                  <a:pt x="1699348" y="363968"/>
                  <a:pt x="1687107" y="351727"/>
                  <a:pt x="1672007" y="351727"/>
                </a:cubicBezTo>
                <a:close/>
                <a:moveTo>
                  <a:pt x="1906960" y="351727"/>
                </a:moveTo>
                <a:cubicBezTo>
                  <a:pt x="1891860" y="351727"/>
                  <a:pt x="1879619" y="363968"/>
                  <a:pt x="1879619" y="379068"/>
                </a:cubicBezTo>
                <a:cubicBezTo>
                  <a:pt x="1879619" y="394168"/>
                  <a:pt x="1891860" y="406409"/>
                  <a:pt x="1906960" y="406409"/>
                </a:cubicBezTo>
                <a:cubicBezTo>
                  <a:pt x="1922060" y="406409"/>
                  <a:pt x="1934301" y="394168"/>
                  <a:pt x="1934301" y="379068"/>
                </a:cubicBezTo>
                <a:cubicBezTo>
                  <a:pt x="1934301" y="363968"/>
                  <a:pt x="1922060" y="351727"/>
                  <a:pt x="1906960" y="351727"/>
                </a:cubicBezTo>
                <a:close/>
                <a:moveTo>
                  <a:pt x="2141912" y="351727"/>
                </a:moveTo>
                <a:cubicBezTo>
                  <a:pt x="2126812" y="351727"/>
                  <a:pt x="2114571" y="363968"/>
                  <a:pt x="2114571" y="379068"/>
                </a:cubicBezTo>
                <a:cubicBezTo>
                  <a:pt x="2114571" y="394168"/>
                  <a:pt x="2126812" y="406409"/>
                  <a:pt x="2141912" y="406409"/>
                </a:cubicBezTo>
                <a:cubicBezTo>
                  <a:pt x="2157012" y="406409"/>
                  <a:pt x="2169253" y="394168"/>
                  <a:pt x="2169253" y="379068"/>
                </a:cubicBezTo>
                <a:cubicBezTo>
                  <a:pt x="2169253" y="363968"/>
                  <a:pt x="2157012" y="351727"/>
                  <a:pt x="2141912" y="351727"/>
                </a:cubicBezTo>
                <a:close/>
                <a:moveTo>
                  <a:pt x="2376864" y="351727"/>
                </a:moveTo>
                <a:cubicBezTo>
                  <a:pt x="2361764" y="351727"/>
                  <a:pt x="2349523" y="363968"/>
                  <a:pt x="2349523" y="379068"/>
                </a:cubicBezTo>
                <a:cubicBezTo>
                  <a:pt x="2349523" y="394168"/>
                  <a:pt x="2361764" y="406409"/>
                  <a:pt x="2376864" y="406409"/>
                </a:cubicBezTo>
                <a:cubicBezTo>
                  <a:pt x="2391964" y="406409"/>
                  <a:pt x="2404205" y="394168"/>
                  <a:pt x="2404205" y="379068"/>
                </a:cubicBezTo>
                <a:cubicBezTo>
                  <a:pt x="2404205" y="363968"/>
                  <a:pt x="2391964" y="351727"/>
                  <a:pt x="2376864" y="351727"/>
                </a:cubicBezTo>
                <a:close/>
                <a:moveTo>
                  <a:pt x="2611817" y="351727"/>
                </a:moveTo>
                <a:cubicBezTo>
                  <a:pt x="2596717" y="351727"/>
                  <a:pt x="2584476" y="363968"/>
                  <a:pt x="2584476" y="379068"/>
                </a:cubicBezTo>
                <a:cubicBezTo>
                  <a:pt x="2584476" y="394168"/>
                  <a:pt x="2596717" y="406409"/>
                  <a:pt x="2611817" y="406409"/>
                </a:cubicBezTo>
                <a:cubicBezTo>
                  <a:pt x="2626917" y="406409"/>
                  <a:pt x="2639158" y="394168"/>
                  <a:pt x="2639158" y="379068"/>
                </a:cubicBezTo>
                <a:cubicBezTo>
                  <a:pt x="2639158" y="363968"/>
                  <a:pt x="2626917" y="351727"/>
                  <a:pt x="2611817" y="351727"/>
                </a:cubicBezTo>
                <a:close/>
                <a:moveTo>
                  <a:pt x="2846769" y="351727"/>
                </a:moveTo>
                <a:cubicBezTo>
                  <a:pt x="2831669" y="351727"/>
                  <a:pt x="2819428" y="363968"/>
                  <a:pt x="2819428" y="379068"/>
                </a:cubicBezTo>
                <a:cubicBezTo>
                  <a:pt x="2819428" y="394168"/>
                  <a:pt x="2831669" y="406409"/>
                  <a:pt x="2846769" y="406409"/>
                </a:cubicBezTo>
                <a:cubicBezTo>
                  <a:pt x="2861869" y="406409"/>
                  <a:pt x="2874110" y="394168"/>
                  <a:pt x="2874110" y="379068"/>
                </a:cubicBezTo>
                <a:cubicBezTo>
                  <a:pt x="2874110" y="363968"/>
                  <a:pt x="2861869" y="351727"/>
                  <a:pt x="2846769" y="351727"/>
                </a:cubicBezTo>
                <a:close/>
                <a:moveTo>
                  <a:pt x="3081721" y="351727"/>
                </a:moveTo>
                <a:cubicBezTo>
                  <a:pt x="3066621" y="351727"/>
                  <a:pt x="3054380" y="363968"/>
                  <a:pt x="3054380" y="379068"/>
                </a:cubicBezTo>
                <a:cubicBezTo>
                  <a:pt x="3054380" y="394168"/>
                  <a:pt x="3066621" y="406409"/>
                  <a:pt x="3081721" y="406409"/>
                </a:cubicBezTo>
                <a:cubicBezTo>
                  <a:pt x="3096821" y="406409"/>
                  <a:pt x="3109062" y="394168"/>
                  <a:pt x="3109062" y="379068"/>
                </a:cubicBezTo>
                <a:cubicBezTo>
                  <a:pt x="3109062" y="363968"/>
                  <a:pt x="3096821" y="351727"/>
                  <a:pt x="3081721" y="351727"/>
                </a:cubicBezTo>
                <a:close/>
                <a:moveTo>
                  <a:pt x="3316674" y="351727"/>
                </a:moveTo>
                <a:cubicBezTo>
                  <a:pt x="3301574" y="351727"/>
                  <a:pt x="3289333" y="363968"/>
                  <a:pt x="3289333" y="379068"/>
                </a:cubicBezTo>
                <a:cubicBezTo>
                  <a:pt x="3289333" y="394168"/>
                  <a:pt x="3301574" y="406409"/>
                  <a:pt x="3316674" y="406409"/>
                </a:cubicBezTo>
                <a:cubicBezTo>
                  <a:pt x="3331774" y="406409"/>
                  <a:pt x="3344015" y="394168"/>
                  <a:pt x="3344015" y="379068"/>
                </a:cubicBezTo>
                <a:cubicBezTo>
                  <a:pt x="3344015" y="363968"/>
                  <a:pt x="3331774" y="351727"/>
                  <a:pt x="3316674" y="351727"/>
                </a:cubicBezTo>
                <a:close/>
                <a:moveTo>
                  <a:pt x="3551626" y="351727"/>
                </a:moveTo>
                <a:cubicBezTo>
                  <a:pt x="3536526" y="351727"/>
                  <a:pt x="3524285" y="363968"/>
                  <a:pt x="3524285" y="379068"/>
                </a:cubicBezTo>
                <a:cubicBezTo>
                  <a:pt x="3524285" y="394168"/>
                  <a:pt x="3536526" y="406409"/>
                  <a:pt x="3551626" y="406409"/>
                </a:cubicBezTo>
                <a:cubicBezTo>
                  <a:pt x="3566726" y="406409"/>
                  <a:pt x="3578967" y="394168"/>
                  <a:pt x="3578967" y="379068"/>
                </a:cubicBezTo>
                <a:cubicBezTo>
                  <a:pt x="3578967" y="363968"/>
                  <a:pt x="3566726" y="351727"/>
                  <a:pt x="3551626" y="351727"/>
                </a:cubicBezTo>
                <a:close/>
                <a:moveTo>
                  <a:pt x="3786578" y="351727"/>
                </a:moveTo>
                <a:cubicBezTo>
                  <a:pt x="3771478" y="351727"/>
                  <a:pt x="3759237" y="363968"/>
                  <a:pt x="3759237" y="379068"/>
                </a:cubicBezTo>
                <a:cubicBezTo>
                  <a:pt x="3759237" y="394168"/>
                  <a:pt x="3771478" y="406409"/>
                  <a:pt x="3786578" y="406409"/>
                </a:cubicBezTo>
                <a:cubicBezTo>
                  <a:pt x="3801678" y="406409"/>
                  <a:pt x="3813919" y="394168"/>
                  <a:pt x="3813919" y="379068"/>
                </a:cubicBezTo>
                <a:cubicBezTo>
                  <a:pt x="3813919" y="363968"/>
                  <a:pt x="3801678" y="351727"/>
                  <a:pt x="3786578" y="351727"/>
                </a:cubicBezTo>
                <a:close/>
                <a:moveTo>
                  <a:pt x="4021530" y="351727"/>
                </a:moveTo>
                <a:cubicBezTo>
                  <a:pt x="4006430" y="351727"/>
                  <a:pt x="3994189" y="363968"/>
                  <a:pt x="3994189" y="379068"/>
                </a:cubicBezTo>
                <a:cubicBezTo>
                  <a:pt x="3994189" y="394168"/>
                  <a:pt x="4006430" y="406409"/>
                  <a:pt x="4021530" y="406409"/>
                </a:cubicBezTo>
                <a:cubicBezTo>
                  <a:pt x="4036630" y="406409"/>
                  <a:pt x="4048871" y="394168"/>
                  <a:pt x="4048871" y="379068"/>
                </a:cubicBezTo>
                <a:cubicBezTo>
                  <a:pt x="4048871" y="363968"/>
                  <a:pt x="4036630" y="351727"/>
                  <a:pt x="4021530" y="351727"/>
                </a:cubicBezTo>
                <a:close/>
                <a:moveTo>
                  <a:pt x="4256483" y="351727"/>
                </a:moveTo>
                <a:cubicBezTo>
                  <a:pt x="4241383" y="351727"/>
                  <a:pt x="4229142" y="363968"/>
                  <a:pt x="4229142" y="379068"/>
                </a:cubicBezTo>
                <a:cubicBezTo>
                  <a:pt x="4229142" y="394168"/>
                  <a:pt x="4241383" y="406409"/>
                  <a:pt x="4256483" y="406409"/>
                </a:cubicBezTo>
                <a:cubicBezTo>
                  <a:pt x="4271583" y="406409"/>
                  <a:pt x="4283824" y="394168"/>
                  <a:pt x="4283824" y="379068"/>
                </a:cubicBezTo>
                <a:cubicBezTo>
                  <a:pt x="4283824" y="363968"/>
                  <a:pt x="4271583" y="351727"/>
                  <a:pt x="4256483" y="351727"/>
                </a:cubicBezTo>
                <a:close/>
                <a:moveTo>
                  <a:pt x="4491435" y="351727"/>
                </a:moveTo>
                <a:cubicBezTo>
                  <a:pt x="4476335" y="351727"/>
                  <a:pt x="4464094" y="363968"/>
                  <a:pt x="4464094" y="379068"/>
                </a:cubicBezTo>
                <a:cubicBezTo>
                  <a:pt x="4464094" y="394168"/>
                  <a:pt x="4476335" y="406409"/>
                  <a:pt x="4491435" y="406409"/>
                </a:cubicBezTo>
                <a:cubicBezTo>
                  <a:pt x="4506535" y="406409"/>
                  <a:pt x="4518776" y="394168"/>
                  <a:pt x="4518776" y="379068"/>
                </a:cubicBezTo>
                <a:cubicBezTo>
                  <a:pt x="4518776" y="363968"/>
                  <a:pt x="4506535" y="351727"/>
                  <a:pt x="4491435" y="351727"/>
                </a:cubicBezTo>
                <a:close/>
                <a:moveTo>
                  <a:pt x="27341" y="175864"/>
                </a:moveTo>
                <a:cubicBezTo>
                  <a:pt x="12241" y="175864"/>
                  <a:pt x="0" y="188105"/>
                  <a:pt x="0" y="203205"/>
                </a:cubicBezTo>
                <a:cubicBezTo>
                  <a:pt x="0" y="218305"/>
                  <a:pt x="12241" y="230546"/>
                  <a:pt x="27341" y="230546"/>
                </a:cubicBezTo>
                <a:cubicBezTo>
                  <a:pt x="42441" y="230546"/>
                  <a:pt x="54682" y="218305"/>
                  <a:pt x="54682" y="203205"/>
                </a:cubicBezTo>
                <a:cubicBezTo>
                  <a:pt x="54682" y="188105"/>
                  <a:pt x="42441" y="175864"/>
                  <a:pt x="27341" y="175864"/>
                </a:cubicBezTo>
                <a:close/>
                <a:moveTo>
                  <a:pt x="262293" y="175864"/>
                </a:moveTo>
                <a:cubicBezTo>
                  <a:pt x="247193" y="175864"/>
                  <a:pt x="234952" y="188105"/>
                  <a:pt x="234952" y="203205"/>
                </a:cubicBezTo>
                <a:cubicBezTo>
                  <a:pt x="234952" y="218305"/>
                  <a:pt x="247193" y="230546"/>
                  <a:pt x="262293" y="230546"/>
                </a:cubicBezTo>
                <a:cubicBezTo>
                  <a:pt x="277393" y="230546"/>
                  <a:pt x="289634" y="218305"/>
                  <a:pt x="289634" y="203205"/>
                </a:cubicBezTo>
                <a:cubicBezTo>
                  <a:pt x="289634" y="188105"/>
                  <a:pt x="277393" y="175864"/>
                  <a:pt x="262293" y="175864"/>
                </a:cubicBezTo>
                <a:close/>
                <a:moveTo>
                  <a:pt x="497246" y="175864"/>
                </a:moveTo>
                <a:cubicBezTo>
                  <a:pt x="482146" y="175864"/>
                  <a:pt x="469905" y="188105"/>
                  <a:pt x="469905" y="203205"/>
                </a:cubicBezTo>
                <a:cubicBezTo>
                  <a:pt x="469905" y="218305"/>
                  <a:pt x="482146" y="230546"/>
                  <a:pt x="497246" y="230546"/>
                </a:cubicBezTo>
                <a:cubicBezTo>
                  <a:pt x="512346" y="230546"/>
                  <a:pt x="524587" y="218305"/>
                  <a:pt x="524587" y="203205"/>
                </a:cubicBezTo>
                <a:cubicBezTo>
                  <a:pt x="524587" y="188105"/>
                  <a:pt x="512346" y="175864"/>
                  <a:pt x="497246" y="175864"/>
                </a:cubicBezTo>
                <a:close/>
                <a:moveTo>
                  <a:pt x="732198" y="175864"/>
                </a:moveTo>
                <a:cubicBezTo>
                  <a:pt x="717098" y="175864"/>
                  <a:pt x="704857" y="188105"/>
                  <a:pt x="704857" y="203205"/>
                </a:cubicBezTo>
                <a:cubicBezTo>
                  <a:pt x="704857" y="218305"/>
                  <a:pt x="717098" y="230546"/>
                  <a:pt x="732198" y="230546"/>
                </a:cubicBezTo>
                <a:cubicBezTo>
                  <a:pt x="747298" y="230546"/>
                  <a:pt x="759539" y="218305"/>
                  <a:pt x="759539" y="203205"/>
                </a:cubicBezTo>
                <a:cubicBezTo>
                  <a:pt x="759539" y="188105"/>
                  <a:pt x="747298" y="175864"/>
                  <a:pt x="732198" y="175864"/>
                </a:cubicBezTo>
                <a:close/>
                <a:moveTo>
                  <a:pt x="967150" y="175864"/>
                </a:moveTo>
                <a:cubicBezTo>
                  <a:pt x="952050" y="175864"/>
                  <a:pt x="939809" y="188105"/>
                  <a:pt x="939809" y="203205"/>
                </a:cubicBezTo>
                <a:cubicBezTo>
                  <a:pt x="939809" y="218305"/>
                  <a:pt x="952050" y="230546"/>
                  <a:pt x="967150" y="230546"/>
                </a:cubicBezTo>
                <a:cubicBezTo>
                  <a:pt x="982250" y="230546"/>
                  <a:pt x="994491" y="218305"/>
                  <a:pt x="994491" y="203205"/>
                </a:cubicBezTo>
                <a:cubicBezTo>
                  <a:pt x="994491" y="188105"/>
                  <a:pt x="982250" y="175864"/>
                  <a:pt x="967150" y="175864"/>
                </a:cubicBezTo>
                <a:close/>
                <a:moveTo>
                  <a:pt x="1202103" y="175864"/>
                </a:moveTo>
                <a:cubicBezTo>
                  <a:pt x="1187003" y="175864"/>
                  <a:pt x="1174762" y="188105"/>
                  <a:pt x="1174762" y="203205"/>
                </a:cubicBezTo>
                <a:cubicBezTo>
                  <a:pt x="1174762" y="218305"/>
                  <a:pt x="1187003" y="230546"/>
                  <a:pt x="1202103" y="230546"/>
                </a:cubicBezTo>
                <a:cubicBezTo>
                  <a:pt x="1217203" y="230546"/>
                  <a:pt x="1229444" y="218305"/>
                  <a:pt x="1229444" y="203205"/>
                </a:cubicBezTo>
                <a:cubicBezTo>
                  <a:pt x="1229444" y="188105"/>
                  <a:pt x="1217203" y="175864"/>
                  <a:pt x="1202103" y="175864"/>
                </a:cubicBezTo>
                <a:close/>
                <a:moveTo>
                  <a:pt x="1437055" y="175864"/>
                </a:moveTo>
                <a:cubicBezTo>
                  <a:pt x="1421955" y="175864"/>
                  <a:pt x="1409714" y="188105"/>
                  <a:pt x="1409714" y="203205"/>
                </a:cubicBezTo>
                <a:cubicBezTo>
                  <a:pt x="1409714" y="218305"/>
                  <a:pt x="1421955" y="230546"/>
                  <a:pt x="1437055" y="230546"/>
                </a:cubicBezTo>
                <a:cubicBezTo>
                  <a:pt x="1452155" y="230546"/>
                  <a:pt x="1464396" y="218305"/>
                  <a:pt x="1464396" y="203205"/>
                </a:cubicBezTo>
                <a:cubicBezTo>
                  <a:pt x="1464396" y="188105"/>
                  <a:pt x="1452155" y="175864"/>
                  <a:pt x="1437055" y="175864"/>
                </a:cubicBezTo>
                <a:close/>
                <a:moveTo>
                  <a:pt x="1672007" y="175864"/>
                </a:moveTo>
                <a:cubicBezTo>
                  <a:pt x="1656907" y="175864"/>
                  <a:pt x="1644666" y="188105"/>
                  <a:pt x="1644666" y="203205"/>
                </a:cubicBezTo>
                <a:cubicBezTo>
                  <a:pt x="1644666" y="218305"/>
                  <a:pt x="1656907" y="230546"/>
                  <a:pt x="1672007" y="230546"/>
                </a:cubicBezTo>
                <a:cubicBezTo>
                  <a:pt x="1687107" y="230546"/>
                  <a:pt x="1699348" y="218305"/>
                  <a:pt x="1699348" y="203205"/>
                </a:cubicBezTo>
                <a:cubicBezTo>
                  <a:pt x="1699348" y="188105"/>
                  <a:pt x="1687107" y="175864"/>
                  <a:pt x="1672007" y="175864"/>
                </a:cubicBezTo>
                <a:close/>
                <a:moveTo>
                  <a:pt x="1906960" y="175864"/>
                </a:moveTo>
                <a:cubicBezTo>
                  <a:pt x="1891860" y="175864"/>
                  <a:pt x="1879619" y="188105"/>
                  <a:pt x="1879619" y="203205"/>
                </a:cubicBezTo>
                <a:cubicBezTo>
                  <a:pt x="1879619" y="218305"/>
                  <a:pt x="1891860" y="230546"/>
                  <a:pt x="1906960" y="230546"/>
                </a:cubicBezTo>
                <a:cubicBezTo>
                  <a:pt x="1922060" y="230546"/>
                  <a:pt x="1934301" y="218305"/>
                  <a:pt x="1934301" y="203205"/>
                </a:cubicBezTo>
                <a:cubicBezTo>
                  <a:pt x="1934301" y="188105"/>
                  <a:pt x="1922060" y="175864"/>
                  <a:pt x="1906960" y="175864"/>
                </a:cubicBezTo>
                <a:close/>
                <a:moveTo>
                  <a:pt x="2141912" y="175864"/>
                </a:moveTo>
                <a:cubicBezTo>
                  <a:pt x="2126812" y="175864"/>
                  <a:pt x="2114571" y="188105"/>
                  <a:pt x="2114571" y="203205"/>
                </a:cubicBezTo>
                <a:cubicBezTo>
                  <a:pt x="2114571" y="218305"/>
                  <a:pt x="2126812" y="230546"/>
                  <a:pt x="2141912" y="230546"/>
                </a:cubicBezTo>
                <a:cubicBezTo>
                  <a:pt x="2157012" y="230546"/>
                  <a:pt x="2169253" y="218305"/>
                  <a:pt x="2169253" y="203205"/>
                </a:cubicBezTo>
                <a:cubicBezTo>
                  <a:pt x="2169253" y="188105"/>
                  <a:pt x="2157012" y="175864"/>
                  <a:pt x="2141912" y="175864"/>
                </a:cubicBezTo>
                <a:close/>
                <a:moveTo>
                  <a:pt x="2376864" y="175864"/>
                </a:moveTo>
                <a:cubicBezTo>
                  <a:pt x="2361764" y="175864"/>
                  <a:pt x="2349523" y="188105"/>
                  <a:pt x="2349523" y="203205"/>
                </a:cubicBezTo>
                <a:cubicBezTo>
                  <a:pt x="2349523" y="218305"/>
                  <a:pt x="2361764" y="230546"/>
                  <a:pt x="2376864" y="230546"/>
                </a:cubicBezTo>
                <a:cubicBezTo>
                  <a:pt x="2391964" y="230546"/>
                  <a:pt x="2404205" y="218305"/>
                  <a:pt x="2404205" y="203205"/>
                </a:cubicBezTo>
                <a:cubicBezTo>
                  <a:pt x="2404205" y="188105"/>
                  <a:pt x="2391964" y="175864"/>
                  <a:pt x="2376864" y="175864"/>
                </a:cubicBezTo>
                <a:close/>
                <a:moveTo>
                  <a:pt x="2611817" y="175864"/>
                </a:moveTo>
                <a:cubicBezTo>
                  <a:pt x="2596717" y="175864"/>
                  <a:pt x="2584476" y="188105"/>
                  <a:pt x="2584476" y="203205"/>
                </a:cubicBezTo>
                <a:cubicBezTo>
                  <a:pt x="2584476" y="218305"/>
                  <a:pt x="2596717" y="230546"/>
                  <a:pt x="2611817" y="230546"/>
                </a:cubicBezTo>
                <a:cubicBezTo>
                  <a:pt x="2626917" y="230546"/>
                  <a:pt x="2639158" y="218305"/>
                  <a:pt x="2639158" y="203205"/>
                </a:cubicBezTo>
                <a:cubicBezTo>
                  <a:pt x="2639158" y="188105"/>
                  <a:pt x="2626917" y="175864"/>
                  <a:pt x="2611817" y="175864"/>
                </a:cubicBezTo>
                <a:close/>
                <a:moveTo>
                  <a:pt x="2846769" y="175864"/>
                </a:moveTo>
                <a:cubicBezTo>
                  <a:pt x="2831669" y="175864"/>
                  <a:pt x="2819428" y="188105"/>
                  <a:pt x="2819428" y="203205"/>
                </a:cubicBezTo>
                <a:cubicBezTo>
                  <a:pt x="2819428" y="218305"/>
                  <a:pt x="2831669" y="230546"/>
                  <a:pt x="2846769" y="230546"/>
                </a:cubicBezTo>
                <a:cubicBezTo>
                  <a:pt x="2861869" y="230546"/>
                  <a:pt x="2874110" y="218305"/>
                  <a:pt x="2874110" y="203205"/>
                </a:cubicBezTo>
                <a:cubicBezTo>
                  <a:pt x="2874110" y="188105"/>
                  <a:pt x="2861869" y="175864"/>
                  <a:pt x="2846769" y="175864"/>
                </a:cubicBezTo>
                <a:close/>
                <a:moveTo>
                  <a:pt x="3081721" y="175864"/>
                </a:moveTo>
                <a:cubicBezTo>
                  <a:pt x="3066621" y="175864"/>
                  <a:pt x="3054380" y="188105"/>
                  <a:pt x="3054380" y="203205"/>
                </a:cubicBezTo>
                <a:cubicBezTo>
                  <a:pt x="3054380" y="218305"/>
                  <a:pt x="3066621" y="230546"/>
                  <a:pt x="3081721" y="230546"/>
                </a:cubicBezTo>
                <a:cubicBezTo>
                  <a:pt x="3096821" y="230546"/>
                  <a:pt x="3109062" y="218305"/>
                  <a:pt x="3109062" y="203205"/>
                </a:cubicBezTo>
                <a:cubicBezTo>
                  <a:pt x="3109062" y="188105"/>
                  <a:pt x="3096821" y="175864"/>
                  <a:pt x="3081721" y="175864"/>
                </a:cubicBezTo>
                <a:close/>
                <a:moveTo>
                  <a:pt x="3316674" y="175864"/>
                </a:moveTo>
                <a:cubicBezTo>
                  <a:pt x="3301574" y="175864"/>
                  <a:pt x="3289333" y="188105"/>
                  <a:pt x="3289333" y="203205"/>
                </a:cubicBezTo>
                <a:cubicBezTo>
                  <a:pt x="3289333" y="218305"/>
                  <a:pt x="3301574" y="230546"/>
                  <a:pt x="3316674" y="230546"/>
                </a:cubicBezTo>
                <a:cubicBezTo>
                  <a:pt x="3331774" y="230546"/>
                  <a:pt x="3344015" y="218305"/>
                  <a:pt x="3344015" y="203205"/>
                </a:cubicBezTo>
                <a:cubicBezTo>
                  <a:pt x="3344015" y="188105"/>
                  <a:pt x="3331774" y="175864"/>
                  <a:pt x="3316674" y="175864"/>
                </a:cubicBezTo>
                <a:close/>
                <a:moveTo>
                  <a:pt x="3551626" y="175864"/>
                </a:moveTo>
                <a:cubicBezTo>
                  <a:pt x="3536526" y="175864"/>
                  <a:pt x="3524285" y="188105"/>
                  <a:pt x="3524285" y="203205"/>
                </a:cubicBezTo>
                <a:cubicBezTo>
                  <a:pt x="3524285" y="218305"/>
                  <a:pt x="3536526" y="230546"/>
                  <a:pt x="3551626" y="230546"/>
                </a:cubicBezTo>
                <a:cubicBezTo>
                  <a:pt x="3566726" y="230546"/>
                  <a:pt x="3578967" y="218305"/>
                  <a:pt x="3578967" y="203205"/>
                </a:cubicBezTo>
                <a:cubicBezTo>
                  <a:pt x="3578967" y="188105"/>
                  <a:pt x="3566726" y="175864"/>
                  <a:pt x="3551626" y="175864"/>
                </a:cubicBezTo>
                <a:close/>
                <a:moveTo>
                  <a:pt x="3786578" y="175864"/>
                </a:moveTo>
                <a:cubicBezTo>
                  <a:pt x="3771478" y="175864"/>
                  <a:pt x="3759237" y="188105"/>
                  <a:pt x="3759237" y="203205"/>
                </a:cubicBezTo>
                <a:cubicBezTo>
                  <a:pt x="3759237" y="218305"/>
                  <a:pt x="3771478" y="230546"/>
                  <a:pt x="3786578" y="230546"/>
                </a:cubicBezTo>
                <a:cubicBezTo>
                  <a:pt x="3801678" y="230546"/>
                  <a:pt x="3813919" y="218305"/>
                  <a:pt x="3813919" y="203205"/>
                </a:cubicBezTo>
                <a:cubicBezTo>
                  <a:pt x="3813919" y="188105"/>
                  <a:pt x="3801678" y="175864"/>
                  <a:pt x="3786578" y="175864"/>
                </a:cubicBezTo>
                <a:close/>
                <a:moveTo>
                  <a:pt x="4021530" y="175864"/>
                </a:moveTo>
                <a:cubicBezTo>
                  <a:pt x="4006430" y="175864"/>
                  <a:pt x="3994189" y="188105"/>
                  <a:pt x="3994189" y="203205"/>
                </a:cubicBezTo>
                <a:cubicBezTo>
                  <a:pt x="3994189" y="218305"/>
                  <a:pt x="4006430" y="230546"/>
                  <a:pt x="4021530" y="230546"/>
                </a:cubicBezTo>
                <a:cubicBezTo>
                  <a:pt x="4036630" y="230546"/>
                  <a:pt x="4048871" y="218305"/>
                  <a:pt x="4048871" y="203205"/>
                </a:cubicBezTo>
                <a:cubicBezTo>
                  <a:pt x="4048871" y="188105"/>
                  <a:pt x="4036630" y="175864"/>
                  <a:pt x="4021530" y="175864"/>
                </a:cubicBezTo>
                <a:close/>
                <a:moveTo>
                  <a:pt x="4256483" y="175864"/>
                </a:moveTo>
                <a:cubicBezTo>
                  <a:pt x="4241383" y="175864"/>
                  <a:pt x="4229142" y="188105"/>
                  <a:pt x="4229142" y="203205"/>
                </a:cubicBezTo>
                <a:cubicBezTo>
                  <a:pt x="4229142" y="218305"/>
                  <a:pt x="4241383" y="230546"/>
                  <a:pt x="4256483" y="230546"/>
                </a:cubicBezTo>
                <a:cubicBezTo>
                  <a:pt x="4271583" y="230546"/>
                  <a:pt x="4283824" y="218305"/>
                  <a:pt x="4283824" y="203205"/>
                </a:cubicBezTo>
                <a:cubicBezTo>
                  <a:pt x="4283824" y="188105"/>
                  <a:pt x="4271583" y="175864"/>
                  <a:pt x="4256483" y="175864"/>
                </a:cubicBezTo>
                <a:close/>
                <a:moveTo>
                  <a:pt x="4491435" y="175864"/>
                </a:moveTo>
                <a:cubicBezTo>
                  <a:pt x="4476335" y="175864"/>
                  <a:pt x="4464094" y="188105"/>
                  <a:pt x="4464094" y="203205"/>
                </a:cubicBezTo>
                <a:cubicBezTo>
                  <a:pt x="4464094" y="218305"/>
                  <a:pt x="4476335" y="230546"/>
                  <a:pt x="4491435" y="230546"/>
                </a:cubicBezTo>
                <a:cubicBezTo>
                  <a:pt x="4506535" y="230546"/>
                  <a:pt x="4518776" y="218305"/>
                  <a:pt x="4518776" y="203205"/>
                </a:cubicBezTo>
                <a:cubicBezTo>
                  <a:pt x="4518776" y="188105"/>
                  <a:pt x="4506535" y="175864"/>
                  <a:pt x="4491435" y="175864"/>
                </a:cubicBezTo>
                <a:close/>
                <a:moveTo>
                  <a:pt x="27341" y="0"/>
                </a:moveTo>
                <a:cubicBezTo>
                  <a:pt x="12241" y="0"/>
                  <a:pt x="0" y="12241"/>
                  <a:pt x="0" y="27341"/>
                </a:cubicBezTo>
                <a:cubicBezTo>
                  <a:pt x="0" y="42441"/>
                  <a:pt x="12241" y="54682"/>
                  <a:pt x="27341" y="54682"/>
                </a:cubicBezTo>
                <a:cubicBezTo>
                  <a:pt x="42441" y="54682"/>
                  <a:pt x="54682" y="42441"/>
                  <a:pt x="54682" y="27341"/>
                </a:cubicBezTo>
                <a:cubicBezTo>
                  <a:pt x="54682" y="12241"/>
                  <a:pt x="42441" y="0"/>
                  <a:pt x="27341" y="0"/>
                </a:cubicBezTo>
                <a:close/>
                <a:moveTo>
                  <a:pt x="262293" y="0"/>
                </a:moveTo>
                <a:cubicBezTo>
                  <a:pt x="247193" y="0"/>
                  <a:pt x="234952" y="12241"/>
                  <a:pt x="234952" y="27341"/>
                </a:cubicBezTo>
                <a:cubicBezTo>
                  <a:pt x="234952" y="42441"/>
                  <a:pt x="247193" y="54682"/>
                  <a:pt x="262293" y="54682"/>
                </a:cubicBezTo>
                <a:cubicBezTo>
                  <a:pt x="277393" y="54682"/>
                  <a:pt x="289634" y="42441"/>
                  <a:pt x="289634" y="27341"/>
                </a:cubicBezTo>
                <a:cubicBezTo>
                  <a:pt x="289634" y="12241"/>
                  <a:pt x="277393" y="0"/>
                  <a:pt x="262293" y="0"/>
                </a:cubicBezTo>
                <a:close/>
                <a:moveTo>
                  <a:pt x="497246" y="0"/>
                </a:moveTo>
                <a:cubicBezTo>
                  <a:pt x="482146" y="0"/>
                  <a:pt x="469905" y="12241"/>
                  <a:pt x="469905" y="27341"/>
                </a:cubicBezTo>
                <a:cubicBezTo>
                  <a:pt x="469905" y="42441"/>
                  <a:pt x="482146" y="54682"/>
                  <a:pt x="497246" y="54682"/>
                </a:cubicBezTo>
                <a:cubicBezTo>
                  <a:pt x="512346" y="54682"/>
                  <a:pt x="524587" y="42441"/>
                  <a:pt x="524587" y="27341"/>
                </a:cubicBezTo>
                <a:cubicBezTo>
                  <a:pt x="524587" y="12241"/>
                  <a:pt x="512346" y="0"/>
                  <a:pt x="497246" y="0"/>
                </a:cubicBezTo>
                <a:close/>
                <a:moveTo>
                  <a:pt x="732198" y="0"/>
                </a:moveTo>
                <a:cubicBezTo>
                  <a:pt x="717098" y="0"/>
                  <a:pt x="704857" y="12241"/>
                  <a:pt x="704857" y="27341"/>
                </a:cubicBezTo>
                <a:cubicBezTo>
                  <a:pt x="704857" y="42441"/>
                  <a:pt x="717098" y="54682"/>
                  <a:pt x="732198" y="54682"/>
                </a:cubicBezTo>
                <a:cubicBezTo>
                  <a:pt x="747298" y="54682"/>
                  <a:pt x="759539" y="42441"/>
                  <a:pt x="759539" y="27341"/>
                </a:cubicBezTo>
                <a:cubicBezTo>
                  <a:pt x="759539" y="12241"/>
                  <a:pt x="747298" y="0"/>
                  <a:pt x="732198" y="0"/>
                </a:cubicBezTo>
                <a:close/>
                <a:moveTo>
                  <a:pt x="967150" y="0"/>
                </a:moveTo>
                <a:cubicBezTo>
                  <a:pt x="952050" y="0"/>
                  <a:pt x="939809" y="12241"/>
                  <a:pt x="939809" y="27341"/>
                </a:cubicBezTo>
                <a:cubicBezTo>
                  <a:pt x="939809" y="42441"/>
                  <a:pt x="952050" y="54682"/>
                  <a:pt x="967150" y="54682"/>
                </a:cubicBezTo>
                <a:cubicBezTo>
                  <a:pt x="982250" y="54682"/>
                  <a:pt x="994491" y="42441"/>
                  <a:pt x="994491" y="27341"/>
                </a:cubicBezTo>
                <a:cubicBezTo>
                  <a:pt x="994491" y="12241"/>
                  <a:pt x="982250" y="0"/>
                  <a:pt x="967150" y="0"/>
                </a:cubicBezTo>
                <a:close/>
                <a:moveTo>
                  <a:pt x="1202103" y="0"/>
                </a:moveTo>
                <a:cubicBezTo>
                  <a:pt x="1187003" y="0"/>
                  <a:pt x="1174762" y="12241"/>
                  <a:pt x="1174762" y="27341"/>
                </a:cubicBezTo>
                <a:cubicBezTo>
                  <a:pt x="1174762" y="42441"/>
                  <a:pt x="1187003" y="54682"/>
                  <a:pt x="1202103" y="54682"/>
                </a:cubicBezTo>
                <a:cubicBezTo>
                  <a:pt x="1217203" y="54682"/>
                  <a:pt x="1229444" y="42441"/>
                  <a:pt x="1229444" y="27341"/>
                </a:cubicBezTo>
                <a:cubicBezTo>
                  <a:pt x="1229444" y="12241"/>
                  <a:pt x="1217203" y="0"/>
                  <a:pt x="1202103" y="0"/>
                </a:cubicBezTo>
                <a:close/>
                <a:moveTo>
                  <a:pt x="1437055" y="0"/>
                </a:moveTo>
                <a:cubicBezTo>
                  <a:pt x="1421955" y="0"/>
                  <a:pt x="1409714" y="12241"/>
                  <a:pt x="1409714" y="27341"/>
                </a:cubicBezTo>
                <a:cubicBezTo>
                  <a:pt x="1409714" y="42441"/>
                  <a:pt x="1421955" y="54682"/>
                  <a:pt x="1437055" y="54682"/>
                </a:cubicBezTo>
                <a:cubicBezTo>
                  <a:pt x="1452155" y="54682"/>
                  <a:pt x="1464396" y="42441"/>
                  <a:pt x="1464396" y="27341"/>
                </a:cubicBezTo>
                <a:cubicBezTo>
                  <a:pt x="1464396" y="12241"/>
                  <a:pt x="1452155" y="0"/>
                  <a:pt x="1437055" y="0"/>
                </a:cubicBezTo>
                <a:close/>
                <a:moveTo>
                  <a:pt x="1672007" y="0"/>
                </a:moveTo>
                <a:cubicBezTo>
                  <a:pt x="1656907" y="0"/>
                  <a:pt x="1644666" y="12241"/>
                  <a:pt x="1644666" y="27341"/>
                </a:cubicBezTo>
                <a:cubicBezTo>
                  <a:pt x="1644666" y="42441"/>
                  <a:pt x="1656907" y="54682"/>
                  <a:pt x="1672007" y="54682"/>
                </a:cubicBezTo>
                <a:cubicBezTo>
                  <a:pt x="1687107" y="54682"/>
                  <a:pt x="1699348" y="42441"/>
                  <a:pt x="1699348" y="27341"/>
                </a:cubicBezTo>
                <a:cubicBezTo>
                  <a:pt x="1699348" y="12241"/>
                  <a:pt x="1687107" y="0"/>
                  <a:pt x="1672007" y="0"/>
                </a:cubicBezTo>
                <a:close/>
                <a:moveTo>
                  <a:pt x="1906960" y="0"/>
                </a:moveTo>
                <a:cubicBezTo>
                  <a:pt x="1891860" y="0"/>
                  <a:pt x="1879619" y="12241"/>
                  <a:pt x="1879619" y="27341"/>
                </a:cubicBezTo>
                <a:cubicBezTo>
                  <a:pt x="1879619" y="42441"/>
                  <a:pt x="1891860" y="54682"/>
                  <a:pt x="1906960" y="54682"/>
                </a:cubicBezTo>
                <a:cubicBezTo>
                  <a:pt x="1922060" y="54682"/>
                  <a:pt x="1934301" y="42441"/>
                  <a:pt x="1934301" y="27341"/>
                </a:cubicBezTo>
                <a:cubicBezTo>
                  <a:pt x="1934301" y="12241"/>
                  <a:pt x="1922060" y="0"/>
                  <a:pt x="1906960" y="0"/>
                </a:cubicBezTo>
                <a:close/>
                <a:moveTo>
                  <a:pt x="2141912" y="0"/>
                </a:moveTo>
                <a:cubicBezTo>
                  <a:pt x="2126812" y="0"/>
                  <a:pt x="2114571" y="12241"/>
                  <a:pt x="2114571" y="27341"/>
                </a:cubicBezTo>
                <a:cubicBezTo>
                  <a:pt x="2114571" y="42441"/>
                  <a:pt x="2126812" y="54682"/>
                  <a:pt x="2141912" y="54682"/>
                </a:cubicBezTo>
                <a:cubicBezTo>
                  <a:pt x="2157012" y="54682"/>
                  <a:pt x="2169253" y="42441"/>
                  <a:pt x="2169253" y="27341"/>
                </a:cubicBezTo>
                <a:cubicBezTo>
                  <a:pt x="2169253" y="12241"/>
                  <a:pt x="2157012" y="0"/>
                  <a:pt x="2141912" y="0"/>
                </a:cubicBezTo>
                <a:close/>
                <a:moveTo>
                  <a:pt x="2376864" y="0"/>
                </a:moveTo>
                <a:cubicBezTo>
                  <a:pt x="2361764" y="0"/>
                  <a:pt x="2349523" y="12241"/>
                  <a:pt x="2349523" y="27341"/>
                </a:cubicBezTo>
                <a:cubicBezTo>
                  <a:pt x="2349523" y="42441"/>
                  <a:pt x="2361764" y="54682"/>
                  <a:pt x="2376864" y="54682"/>
                </a:cubicBezTo>
                <a:cubicBezTo>
                  <a:pt x="2391964" y="54682"/>
                  <a:pt x="2404205" y="42441"/>
                  <a:pt x="2404205" y="27341"/>
                </a:cubicBezTo>
                <a:cubicBezTo>
                  <a:pt x="2404205" y="12241"/>
                  <a:pt x="2391964" y="0"/>
                  <a:pt x="2376864" y="0"/>
                </a:cubicBezTo>
                <a:close/>
                <a:moveTo>
                  <a:pt x="2611817" y="0"/>
                </a:moveTo>
                <a:cubicBezTo>
                  <a:pt x="2596717" y="0"/>
                  <a:pt x="2584476" y="12241"/>
                  <a:pt x="2584476" y="27341"/>
                </a:cubicBezTo>
                <a:cubicBezTo>
                  <a:pt x="2584476" y="42441"/>
                  <a:pt x="2596717" y="54682"/>
                  <a:pt x="2611817" y="54682"/>
                </a:cubicBezTo>
                <a:cubicBezTo>
                  <a:pt x="2626917" y="54682"/>
                  <a:pt x="2639158" y="42441"/>
                  <a:pt x="2639158" y="27341"/>
                </a:cubicBezTo>
                <a:cubicBezTo>
                  <a:pt x="2639158" y="12241"/>
                  <a:pt x="2626917" y="0"/>
                  <a:pt x="2611817" y="0"/>
                </a:cubicBezTo>
                <a:close/>
                <a:moveTo>
                  <a:pt x="2846769" y="0"/>
                </a:moveTo>
                <a:cubicBezTo>
                  <a:pt x="2831669" y="0"/>
                  <a:pt x="2819428" y="12241"/>
                  <a:pt x="2819428" y="27341"/>
                </a:cubicBezTo>
                <a:cubicBezTo>
                  <a:pt x="2819428" y="42441"/>
                  <a:pt x="2831669" y="54682"/>
                  <a:pt x="2846769" y="54682"/>
                </a:cubicBezTo>
                <a:cubicBezTo>
                  <a:pt x="2861869" y="54682"/>
                  <a:pt x="2874110" y="42441"/>
                  <a:pt x="2874110" y="27341"/>
                </a:cubicBezTo>
                <a:cubicBezTo>
                  <a:pt x="2874110" y="12241"/>
                  <a:pt x="2861869" y="0"/>
                  <a:pt x="2846769" y="0"/>
                </a:cubicBezTo>
                <a:close/>
                <a:moveTo>
                  <a:pt x="3081721" y="0"/>
                </a:moveTo>
                <a:cubicBezTo>
                  <a:pt x="3066621" y="0"/>
                  <a:pt x="3054380" y="12241"/>
                  <a:pt x="3054380" y="27341"/>
                </a:cubicBezTo>
                <a:cubicBezTo>
                  <a:pt x="3054380" y="42441"/>
                  <a:pt x="3066621" y="54682"/>
                  <a:pt x="3081721" y="54682"/>
                </a:cubicBezTo>
                <a:cubicBezTo>
                  <a:pt x="3096821" y="54682"/>
                  <a:pt x="3109062" y="42441"/>
                  <a:pt x="3109062" y="27341"/>
                </a:cubicBezTo>
                <a:cubicBezTo>
                  <a:pt x="3109062" y="12241"/>
                  <a:pt x="3096821" y="0"/>
                  <a:pt x="3081721" y="0"/>
                </a:cubicBezTo>
                <a:close/>
                <a:moveTo>
                  <a:pt x="3316674" y="0"/>
                </a:moveTo>
                <a:cubicBezTo>
                  <a:pt x="3301574" y="0"/>
                  <a:pt x="3289333" y="12241"/>
                  <a:pt x="3289333" y="27341"/>
                </a:cubicBezTo>
                <a:cubicBezTo>
                  <a:pt x="3289333" y="42441"/>
                  <a:pt x="3301574" y="54682"/>
                  <a:pt x="3316674" y="54682"/>
                </a:cubicBezTo>
                <a:cubicBezTo>
                  <a:pt x="3331774" y="54682"/>
                  <a:pt x="3344015" y="42441"/>
                  <a:pt x="3344015" y="27341"/>
                </a:cubicBezTo>
                <a:cubicBezTo>
                  <a:pt x="3344015" y="12241"/>
                  <a:pt x="3331774" y="0"/>
                  <a:pt x="3316674" y="0"/>
                </a:cubicBezTo>
                <a:close/>
                <a:moveTo>
                  <a:pt x="3551626" y="0"/>
                </a:moveTo>
                <a:cubicBezTo>
                  <a:pt x="3536526" y="0"/>
                  <a:pt x="3524285" y="12241"/>
                  <a:pt x="3524285" y="27341"/>
                </a:cubicBezTo>
                <a:cubicBezTo>
                  <a:pt x="3524285" y="42441"/>
                  <a:pt x="3536526" y="54682"/>
                  <a:pt x="3551626" y="54682"/>
                </a:cubicBezTo>
                <a:cubicBezTo>
                  <a:pt x="3566726" y="54682"/>
                  <a:pt x="3578967" y="42441"/>
                  <a:pt x="3578967" y="27341"/>
                </a:cubicBezTo>
                <a:cubicBezTo>
                  <a:pt x="3578967" y="12241"/>
                  <a:pt x="3566726" y="0"/>
                  <a:pt x="3551626" y="0"/>
                </a:cubicBezTo>
                <a:close/>
                <a:moveTo>
                  <a:pt x="3786578" y="0"/>
                </a:moveTo>
                <a:cubicBezTo>
                  <a:pt x="3771478" y="0"/>
                  <a:pt x="3759237" y="12241"/>
                  <a:pt x="3759237" y="27341"/>
                </a:cubicBezTo>
                <a:cubicBezTo>
                  <a:pt x="3759237" y="42441"/>
                  <a:pt x="3771478" y="54682"/>
                  <a:pt x="3786578" y="54682"/>
                </a:cubicBezTo>
                <a:cubicBezTo>
                  <a:pt x="3801678" y="54682"/>
                  <a:pt x="3813919" y="42441"/>
                  <a:pt x="3813919" y="27341"/>
                </a:cubicBezTo>
                <a:cubicBezTo>
                  <a:pt x="3813919" y="12241"/>
                  <a:pt x="3801678" y="0"/>
                  <a:pt x="3786578" y="0"/>
                </a:cubicBezTo>
                <a:close/>
                <a:moveTo>
                  <a:pt x="4021530" y="0"/>
                </a:moveTo>
                <a:cubicBezTo>
                  <a:pt x="4006430" y="0"/>
                  <a:pt x="3994189" y="12241"/>
                  <a:pt x="3994189" y="27341"/>
                </a:cubicBezTo>
                <a:cubicBezTo>
                  <a:pt x="3994189" y="42441"/>
                  <a:pt x="4006430" y="54682"/>
                  <a:pt x="4021530" y="54682"/>
                </a:cubicBezTo>
                <a:cubicBezTo>
                  <a:pt x="4036630" y="54682"/>
                  <a:pt x="4048871" y="42441"/>
                  <a:pt x="4048871" y="27341"/>
                </a:cubicBezTo>
                <a:cubicBezTo>
                  <a:pt x="4048871" y="12241"/>
                  <a:pt x="4036630" y="0"/>
                  <a:pt x="4021530" y="0"/>
                </a:cubicBezTo>
                <a:close/>
                <a:moveTo>
                  <a:pt x="4256483" y="0"/>
                </a:moveTo>
                <a:cubicBezTo>
                  <a:pt x="4241383" y="0"/>
                  <a:pt x="4229142" y="12241"/>
                  <a:pt x="4229142" y="27341"/>
                </a:cubicBezTo>
                <a:cubicBezTo>
                  <a:pt x="4229142" y="42441"/>
                  <a:pt x="4241383" y="54682"/>
                  <a:pt x="4256483" y="54682"/>
                </a:cubicBezTo>
                <a:cubicBezTo>
                  <a:pt x="4271583" y="54682"/>
                  <a:pt x="4283824" y="42441"/>
                  <a:pt x="4283824" y="27341"/>
                </a:cubicBezTo>
                <a:cubicBezTo>
                  <a:pt x="4283824" y="12241"/>
                  <a:pt x="4271583" y="0"/>
                  <a:pt x="4256483" y="0"/>
                </a:cubicBezTo>
                <a:close/>
                <a:moveTo>
                  <a:pt x="4491435" y="0"/>
                </a:moveTo>
                <a:cubicBezTo>
                  <a:pt x="4476335" y="0"/>
                  <a:pt x="4464094" y="12241"/>
                  <a:pt x="4464094" y="27341"/>
                </a:cubicBezTo>
                <a:cubicBezTo>
                  <a:pt x="4464094" y="42441"/>
                  <a:pt x="4476335" y="54682"/>
                  <a:pt x="4491435" y="54682"/>
                </a:cubicBezTo>
                <a:cubicBezTo>
                  <a:pt x="4506535" y="54682"/>
                  <a:pt x="4518776" y="42441"/>
                  <a:pt x="4518776" y="27341"/>
                </a:cubicBezTo>
                <a:cubicBezTo>
                  <a:pt x="4518776" y="12241"/>
                  <a:pt x="4506535" y="0"/>
                  <a:pt x="449143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98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637031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>
            <a:extLst>
              <a:ext uri="{FF2B5EF4-FFF2-40B4-BE49-F238E27FC236}">
                <a16:creationId xmlns:a16="http://schemas.microsoft.com/office/drawing/2014/main" id="{C7E5E50F-3351-4A05-8C1D-BDC806D0A9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7AF06F63-EB62-4D33-80BE-97F8A1083F5C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68000">
                <a:srgbClr val="024291">
                  <a:alpha val="60000"/>
                </a:srgbClr>
              </a:gs>
              <a:gs pos="0">
                <a:srgbClr val="024291">
                  <a:alpha val="3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A0C5A062-7A5B-405F-B3B4-2C0F160A3EBC}"/>
              </a:ext>
            </a:extLst>
          </p:cNvPr>
          <p:cNvSpPr/>
          <p:nvPr/>
        </p:nvSpPr>
        <p:spPr>
          <a:xfrm>
            <a:off x="0" y="1649921"/>
            <a:ext cx="12191999" cy="3768738"/>
          </a:xfrm>
          <a:custGeom>
            <a:avLst/>
            <a:gdLst/>
            <a:ahLst/>
            <a:cxnLst/>
            <a:rect l="l" t="t" r="r" b="b"/>
            <a:pathLst>
              <a:path w="12192000" h="3768739">
                <a:moveTo>
                  <a:pt x="4507826" y="804391"/>
                </a:moveTo>
                <a:cubicBezTo>
                  <a:pt x="4413744" y="807542"/>
                  <a:pt x="4342688" y="839664"/>
                  <a:pt x="4294657" y="900755"/>
                </a:cubicBezTo>
                <a:cubicBezTo>
                  <a:pt x="4246625" y="961846"/>
                  <a:pt x="4222532" y="1033001"/>
                  <a:pt x="4222380" y="1114219"/>
                </a:cubicBezTo>
                <a:cubicBezTo>
                  <a:pt x="4222634" y="1195641"/>
                  <a:pt x="4247133" y="1267608"/>
                  <a:pt x="4295876" y="1330123"/>
                </a:cubicBezTo>
                <a:cubicBezTo>
                  <a:pt x="4344620" y="1392637"/>
                  <a:pt x="4416082" y="1425572"/>
                  <a:pt x="4510265" y="1428926"/>
                </a:cubicBezTo>
                <a:cubicBezTo>
                  <a:pt x="4604447" y="1425572"/>
                  <a:pt x="4675911" y="1392637"/>
                  <a:pt x="4724652" y="1330123"/>
                </a:cubicBezTo>
                <a:cubicBezTo>
                  <a:pt x="4773395" y="1267608"/>
                  <a:pt x="4797893" y="1195641"/>
                  <a:pt x="4798147" y="1114219"/>
                </a:cubicBezTo>
                <a:cubicBezTo>
                  <a:pt x="4797792" y="1033001"/>
                  <a:pt x="4772888" y="961846"/>
                  <a:pt x="4723433" y="900755"/>
                </a:cubicBezTo>
                <a:cubicBezTo>
                  <a:pt x="4673978" y="839664"/>
                  <a:pt x="4602109" y="807542"/>
                  <a:pt x="4507826" y="804391"/>
                </a:cubicBezTo>
                <a:close/>
                <a:moveTo>
                  <a:pt x="7264981" y="748308"/>
                </a:moveTo>
                <a:cubicBezTo>
                  <a:pt x="7186855" y="750190"/>
                  <a:pt x="7122911" y="773284"/>
                  <a:pt x="7073148" y="817589"/>
                </a:cubicBezTo>
                <a:cubicBezTo>
                  <a:pt x="7023385" y="861894"/>
                  <a:pt x="6995428" y="916118"/>
                  <a:pt x="6989278" y="980261"/>
                </a:cubicBezTo>
                <a:lnTo>
                  <a:pt x="7504085" y="980261"/>
                </a:lnTo>
                <a:cubicBezTo>
                  <a:pt x="7504035" y="915050"/>
                  <a:pt x="7484007" y="860520"/>
                  <a:pt x="7444005" y="816673"/>
                </a:cubicBezTo>
                <a:cubicBezTo>
                  <a:pt x="7404001" y="772826"/>
                  <a:pt x="7344327" y="750038"/>
                  <a:pt x="7264981" y="748308"/>
                </a:cubicBezTo>
                <a:close/>
                <a:moveTo>
                  <a:pt x="1962822" y="336218"/>
                </a:moveTo>
                <a:lnTo>
                  <a:pt x="1962822" y="743736"/>
                </a:lnTo>
                <a:lnTo>
                  <a:pt x="2138499" y="743736"/>
                </a:lnTo>
                <a:cubicBezTo>
                  <a:pt x="2219323" y="745210"/>
                  <a:pt x="2288862" y="730671"/>
                  <a:pt x="2347116" y="700117"/>
                </a:cubicBezTo>
                <a:cubicBezTo>
                  <a:pt x="2405370" y="669563"/>
                  <a:pt x="2435869" y="614150"/>
                  <a:pt x="2438614" y="533877"/>
                </a:cubicBezTo>
                <a:cubicBezTo>
                  <a:pt x="2435717" y="453045"/>
                  <a:pt x="2405523" y="399359"/>
                  <a:pt x="2348031" y="372822"/>
                </a:cubicBezTo>
                <a:cubicBezTo>
                  <a:pt x="2290539" y="346285"/>
                  <a:pt x="2223135" y="334083"/>
                  <a:pt x="2145819" y="336218"/>
                </a:cubicBezTo>
                <a:close/>
                <a:moveTo>
                  <a:pt x="1546160" y="24"/>
                </a:moveTo>
                <a:lnTo>
                  <a:pt x="2179978" y="24"/>
                </a:lnTo>
                <a:cubicBezTo>
                  <a:pt x="2307325" y="-730"/>
                  <a:pt x="2421688" y="15937"/>
                  <a:pt x="2523069" y="50023"/>
                </a:cubicBezTo>
                <a:cubicBezTo>
                  <a:pt x="2624449" y="84109"/>
                  <a:pt x="2704828" y="140139"/>
                  <a:pt x="2764205" y="218113"/>
                </a:cubicBezTo>
                <a:cubicBezTo>
                  <a:pt x="2823583" y="296087"/>
                  <a:pt x="2853940" y="400528"/>
                  <a:pt x="2855276" y="531437"/>
                </a:cubicBezTo>
                <a:cubicBezTo>
                  <a:pt x="2853504" y="664037"/>
                  <a:pt x="2821041" y="770258"/>
                  <a:pt x="2757888" y="850100"/>
                </a:cubicBezTo>
                <a:cubicBezTo>
                  <a:pt x="2694735" y="929942"/>
                  <a:pt x="2611527" y="987568"/>
                  <a:pt x="2508265" y="1022979"/>
                </a:cubicBezTo>
                <a:cubicBezTo>
                  <a:pt x="2405002" y="1058389"/>
                  <a:pt x="2292320" y="1075748"/>
                  <a:pt x="2170218" y="1075054"/>
                </a:cubicBezTo>
                <a:lnTo>
                  <a:pt x="1962822" y="1075054"/>
                </a:lnTo>
                <a:lnTo>
                  <a:pt x="1962822" y="1638059"/>
                </a:lnTo>
                <a:lnTo>
                  <a:pt x="2981539" y="1638059"/>
                </a:lnTo>
                <a:lnTo>
                  <a:pt x="2981539" y="512057"/>
                </a:lnTo>
                <a:lnTo>
                  <a:pt x="3366513" y="512057"/>
                </a:lnTo>
                <a:lnTo>
                  <a:pt x="3366513" y="687469"/>
                </a:lnTo>
                <a:lnTo>
                  <a:pt x="3371386" y="687469"/>
                </a:lnTo>
                <a:cubicBezTo>
                  <a:pt x="3402472" y="625445"/>
                  <a:pt x="3446361" y="575299"/>
                  <a:pt x="3503053" y="537029"/>
                </a:cubicBezTo>
                <a:cubicBezTo>
                  <a:pt x="3559745" y="498760"/>
                  <a:pt x="3625582" y="479067"/>
                  <a:pt x="3700563" y="477950"/>
                </a:cubicBezTo>
                <a:cubicBezTo>
                  <a:pt x="3716768" y="477900"/>
                  <a:pt x="3732516" y="478610"/>
                  <a:pt x="3747807" y="480081"/>
                </a:cubicBezTo>
                <a:cubicBezTo>
                  <a:pt x="3763097" y="481553"/>
                  <a:pt x="3775797" y="484090"/>
                  <a:pt x="3785907" y="487694"/>
                </a:cubicBezTo>
                <a:lnTo>
                  <a:pt x="3768838" y="838529"/>
                </a:lnTo>
                <a:cubicBezTo>
                  <a:pt x="3750550" y="833754"/>
                  <a:pt x="3732871" y="830502"/>
                  <a:pt x="3715803" y="828775"/>
                </a:cubicBezTo>
                <a:cubicBezTo>
                  <a:pt x="3698734" y="827048"/>
                  <a:pt x="3682275" y="826235"/>
                  <a:pt x="3666425" y="826337"/>
                </a:cubicBezTo>
                <a:cubicBezTo>
                  <a:pt x="3595350" y="827887"/>
                  <a:pt x="3538906" y="844294"/>
                  <a:pt x="3497092" y="875556"/>
                </a:cubicBezTo>
                <a:cubicBezTo>
                  <a:pt x="3455278" y="906819"/>
                  <a:pt x="3425385" y="943636"/>
                  <a:pt x="3407413" y="986007"/>
                </a:cubicBezTo>
                <a:cubicBezTo>
                  <a:pt x="3389441" y="1028378"/>
                  <a:pt x="3380681" y="1067001"/>
                  <a:pt x="3381132" y="1101876"/>
                </a:cubicBezTo>
                <a:lnTo>
                  <a:pt x="3381132" y="1638059"/>
                </a:lnTo>
                <a:lnTo>
                  <a:pt x="4095209" y="1638059"/>
                </a:lnTo>
                <a:lnTo>
                  <a:pt x="4034208" y="1588746"/>
                </a:lnTo>
                <a:cubicBezTo>
                  <a:pt x="3993764" y="1551237"/>
                  <a:pt x="3958402" y="1508206"/>
                  <a:pt x="3928121" y="1459654"/>
                </a:cubicBezTo>
                <a:cubicBezTo>
                  <a:pt x="3867559" y="1362550"/>
                  <a:pt x="3836512" y="1247405"/>
                  <a:pt x="3834980" y="1114219"/>
                </a:cubicBezTo>
                <a:cubicBezTo>
                  <a:pt x="3836512" y="981155"/>
                  <a:pt x="3867559" y="866854"/>
                  <a:pt x="3928121" y="771316"/>
                </a:cubicBezTo>
                <a:cubicBezTo>
                  <a:pt x="3988683" y="675778"/>
                  <a:pt x="4069571" y="602325"/>
                  <a:pt x="4170783" y="550957"/>
                </a:cubicBezTo>
                <a:cubicBezTo>
                  <a:pt x="4271996" y="499588"/>
                  <a:pt x="4384343" y="473627"/>
                  <a:pt x="4507826" y="473074"/>
                </a:cubicBezTo>
                <a:cubicBezTo>
                  <a:pt x="4632105" y="473627"/>
                  <a:pt x="4745024" y="499588"/>
                  <a:pt x="4846583" y="550957"/>
                </a:cubicBezTo>
                <a:cubicBezTo>
                  <a:pt x="4948141" y="602325"/>
                  <a:pt x="5029241" y="675778"/>
                  <a:pt x="5089878" y="771316"/>
                </a:cubicBezTo>
                <a:cubicBezTo>
                  <a:pt x="5150516" y="866854"/>
                  <a:pt x="5181593" y="981155"/>
                  <a:pt x="5183110" y="1114219"/>
                </a:cubicBezTo>
                <a:cubicBezTo>
                  <a:pt x="5181593" y="1247405"/>
                  <a:pt x="5150516" y="1362550"/>
                  <a:pt x="5089878" y="1459654"/>
                </a:cubicBezTo>
                <a:cubicBezTo>
                  <a:pt x="5059559" y="1508206"/>
                  <a:pt x="5024125" y="1551237"/>
                  <a:pt x="4983576" y="1588746"/>
                </a:cubicBezTo>
                <a:lnTo>
                  <a:pt x="4922402" y="1638059"/>
                </a:lnTo>
                <a:lnTo>
                  <a:pt x="5631305" y="1638059"/>
                </a:lnTo>
                <a:lnTo>
                  <a:pt x="5574504" y="1593011"/>
                </a:lnTo>
                <a:cubicBezTo>
                  <a:pt x="5534111" y="1556073"/>
                  <a:pt x="5499034" y="1513547"/>
                  <a:pt x="5469273" y="1465431"/>
                </a:cubicBezTo>
                <a:cubicBezTo>
                  <a:pt x="5409751" y="1369200"/>
                  <a:pt x="5379337" y="1253756"/>
                  <a:pt x="5378029" y="1119098"/>
                </a:cubicBezTo>
                <a:cubicBezTo>
                  <a:pt x="5379397" y="986740"/>
                  <a:pt x="5409962" y="872377"/>
                  <a:pt x="5469724" y="776011"/>
                </a:cubicBezTo>
                <a:cubicBezTo>
                  <a:pt x="5529487" y="679645"/>
                  <a:pt x="5610242" y="605228"/>
                  <a:pt x="5711990" y="552762"/>
                </a:cubicBezTo>
                <a:cubicBezTo>
                  <a:pt x="5813739" y="500295"/>
                  <a:pt x="5928275" y="473733"/>
                  <a:pt x="6055600" y="473074"/>
                </a:cubicBezTo>
                <a:cubicBezTo>
                  <a:pt x="6144195" y="473784"/>
                  <a:pt x="6229132" y="488807"/>
                  <a:pt x="6310412" y="518143"/>
                </a:cubicBezTo>
                <a:cubicBezTo>
                  <a:pt x="6391692" y="547479"/>
                  <a:pt x="6457123" y="586864"/>
                  <a:pt x="6506703" y="636298"/>
                </a:cubicBezTo>
                <a:lnTo>
                  <a:pt x="6275056" y="904414"/>
                </a:lnTo>
                <a:cubicBezTo>
                  <a:pt x="6252043" y="874733"/>
                  <a:pt x="6221258" y="851150"/>
                  <a:pt x="6182701" y="833666"/>
                </a:cubicBezTo>
                <a:cubicBezTo>
                  <a:pt x="6144144" y="816182"/>
                  <a:pt x="6104215" y="807236"/>
                  <a:pt x="6062915" y="806830"/>
                </a:cubicBezTo>
                <a:cubicBezTo>
                  <a:pt x="5977622" y="809320"/>
                  <a:pt x="5909854" y="840323"/>
                  <a:pt x="5859614" y="899840"/>
                </a:cubicBezTo>
                <a:cubicBezTo>
                  <a:pt x="5809372" y="959356"/>
                  <a:pt x="5783667" y="1032442"/>
                  <a:pt x="5782499" y="1119098"/>
                </a:cubicBezTo>
                <a:cubicBezTo>
                  <a:pt x="5783414" y="1205653"/>
                  <a:pt x="5809017" y="1278333"/>
                  <a:pt x="5859309" y="1337137"/>
                </a:cubicBezTo>
                <a:cubicBezTo>
                  <a:pt x="5909601" y="1395941"/>
                  <a:pt x="5979095" y="1426538"/>
                  <a:pt x="6067792" y="1428926"/>
                </a:cubicBezTo>
                <a:cubicBezTo>
                  <a:pt x="6108991" y="1428825"/>
                  <a:pt x="6149122" y="1421099"/>
                  <a:pt x="6188188" y="1405750"/>
                </a:cubicBezTo>
                <a:cubicBezTo>
                  <a:pt x="6227253" y="1390401"/>
                  <a:pt x="6259460" y="1368038"/>
                  <a:pt x="6284809" y="1338662"/>
                </a:cubicBezTo>
                <a:lnTo>
                  <a:pt x="6506703" y="1609204"/>
                </a:lnTo>
                <a:lnTo>
                  <a:pt x="6468251" y="1638059"/>
                </a:lnTo>
                <a:lnTo>
                  <a:pt x="6854342" y="1638059"/>
                </a:lnTo>
                <a:lnTo>
                  <a:pt x="6803548" y="1598193"/>
                </a:lnTo>
                <a:cubicBezTo>
                  <a:pt x="6763495" y="1561917"/>
                  <a:pt x="6728523" y="1519950"/>
                  <a:pt x="6698632" y="1472292"/>
                </a:cubicBezTo>
                <a:cubicBezTo>
                  <a:pt x="6638851" y="1376976"/>
                  <a:pt x="6608225" y="1260862"/>
                  <a:pt x="6606754" y="1123950"/>
                </a:cubicBezTo>
                <a:cubicBezTo>
                  <a:pt x="6608030" y="990755"/>
                  <a:pt x="6637422" y="875609"/>
                  <a:pt x="6694932" y="778509"/>
                </a:cubicBezTo>
                <a:cubicBezTo>
                  <a:pt x="6752441" y="681410"/>
                  <a:pt x="6830411" y="606398"/>
                  <a:pt x="6928841" y="553472"/>
                </a:cubicBezTo>
                <a:cubicBezTo>
                  <a:pt x="7027270" y="500546"/>
                  <a:pt x="7138504" y="473747"/>
                  <a:pt x="7262541" y="473074"/>
                </a:cubicBezTo>
                <a:cubicBezTo>
                  <a:pt x="7444774" y="474686"/>
                  <a:pt x="7591158" y="532963"/>
                  <a:pt x="7701694" y="647903"/>
                </a:cubicBezTo>
                <a:cubicBezTo>
                  <a:pt x="7812230" y="762843"/>
                  <a:pt x="7868992" y="924773"/>
                  <a:pt x="7871979" y="1133691"/>
                </a:cubicBezTo>
                <a:cubicBezTo>
                  <a:pt x="7872030" y="1149674"/>
                  <a:pt x="7871928" y="1165808"/>
                  <a:pt x="7871674" y="1182095"/>
                </a:cubicBezTo>
                <a:cubicBezTo>
                  <a:pt x="7871421" y="1198382"/>
                  <a:pt x="7870711" y="1213908"/>
                  <a:pt x="7869544" y="1228673"/>
                </a:cubicBezTo>
                <a:lnTo>
                  <a:pt x="6989278" y="1228673"/>
                </a:lnTo>
                <a:cubicBezTo>
                  <a:pt x="6997716" y="1296988"/>
                  <a:pt x="7029638" y="1352027"/>
                  <a:pt x="7085042" y="1393789"/>
                </a:cubicBezTo>
                <a:cubicBezTo>
                  <a:pt x="7140447" y="1435551"/>
                  <a:pt x="7205306" y="1457017"/>
                  <a:pt x="7279621" y="1458187"/>
                </a:cubicBezTo>
                <a:cubicBezTo>
                  <a:pt x="7342956" y="1457475"/>
                  <a:pt x="7396834" y="1445470"/>
                  <a:pt x="7441252" y="1422173"/>
                </a:cubicBezTo>
                <a:cubicBezTo>
                  <a:pt x="7485672" y="1398876"/>
                  <a:pt x="7521234" y="1368559"/>
                  <a:pt x="7547940" y="1331222"/>
                </a:cubicBezTo>
                <a:lnTo>
                  <a:pt x="7825688" y="1506907"/>
                </a:lnTo>
                <a:cubicBezTo>
                  <a:pt x="7796861" y="1548522"/>
                  <a:pt x="7763613" y="1585264"/>
                  <a:pt x="7725944" y="1617135"/>
                </a:cubicBezTo>
                <a:lnTo>
                  <a:pt x="7693324" y="1638059"/>
                </a:lnTo>
                <a:lnTo>
                  <a:pt x="8077036" y="1638059"/>
                </a:lnTo>
                <a:lnTo>
                  <a:pt x="7995804" y="1577562"/>
                </a:lnTo>
                <a:lnTo>
                  <a:pt x="8220010" y="1341086"/>
                </a:lnTo>
                <a:cubicBezTo>
                  <a:pt x="8255994" y="1380930"/>
                  <a:pt x="8299755" y="1413456"/>
                  <a:pt x="8351293" y="1438663"/>
                </a:cubicBezTo>
                <a:cubicBezTo>
                  <a:pt x="8402831" y="1463871"/>
                  <a:pt x="8458209" y="1476881"/>
                  <a:pt x="8517428" y="1477694"/>
                </a:cubicBezTo>
                <a:cubicBezTo>
                  <a:pt x="8552273" y="1478203"/>
                  <a:pt x="8584523" y="1470478"/>
                  <a:pt x="8614179" y="1454520"/>
                </a:cubicBezTo>
                <a:cubicBezTo>
                  <a:pt x="8643836" y="1438562"/>
                  <a:pt x="8659604" y="1411321"/>
                  <a:pt x="8661486" y="1372798"/>
                </a:cubicBezTo>
                <a:cubicBezTo>
                  <a:pt x="8661792" y="1336359"/>
                  <a:pt x="8642259" y="1308611"/>
                  <a:pt x="8602890" y="1289553"/>
                </a:cubicBezTo>
                <a:cubicBezTo>
                  <a:pt x="8563522" y="1270494"/>
                  <a:pt x="8502490" y="1251894"/>
                  <a:pt x="8419794" y="1233750"/>
                </a:cubicBezTo>
                <a:cubicBezTo>
                  <a:pt x="8362508" y="1221342"/>
                  <a:pt x="8307073" y="1201977"/>
                  <a:pt x="8253488" y="1175655"/>
                </a:cubicBezTo>
                <a:cubicBezTo>
                  <a:pt x="8199903" y="1149333"/>
                  <a:pt x="8155656" y="1112441"/>
                  <a:pt x="8120750" y="1064977"/>
                </a:cubicBezTo>
                <a:cubicBezTo>
                  <a:pt x="8085843" y="1017513"/>
                  <a:pt x="8067766" y="955865"/>
                  <a:pt x="8066517" y="880031"/>
                </a:cubicBezTo>
                <a:cubicBezTo>
                  <a:pt x="8068455" y="783698"/>
                  <a:pt x="8094899" y="705560"/>
                  <a:pt x="8145846" y="645617"/>
                </a:cubicBezTo>
                <a:cubicBezTo>
                  <a:pt x="8196794" y="585674"/>
                  <a:pt x="8260616" y="541844"/>
                  <a:pt x="8337315" y="514128"/>
                </a:cubicBezTo>
                <a:cubicBezTo>
                  <a:pt x="8414012" y="486411"/>
                  <a:pt x="8491956" y="472727"/>
                  <a:pt x="8571144" y="473074"/>
                </a:cubicBezTo>
                <a:cubicBezTo>
                  <a:pt x="8662960" y="473175"/>
                  <a:pt x="8751846" y="487587"/>
                  <a:pt x="8837803" y="516309"/>
                </a:cubicBezTo>
                <a:cubicBezTo>
                  <a:pt x="8923760" y="545031"/>
                  <a:pt x="8997374" y="587455"/>
                  <a:pt x="9058642" y="643580"/>
                </a:cubicBezTo>
                <a:lnTo>
                  <a:pt x="8839349" y="870273"/>
                </a:lnTo>
                <a:cubicBezTo>
                  <a:pt x="8807170" y="839018"/>
                  <a:pt x="8769196" y="813099"/>
                  <a:pt x="8725424" y="792517"/>
                </a:cubicBezTo>
                <a:cubicBezTo>
                  <a:pt x="8681652" y="771935"/>
                  <a:pt x="8635109" y="761262"/>
                  <a:pt x="8585794" y="760500"/>
                </a:cubicBezTo>
                <a:cubicBezTo>
                  <a:pt x="8546372" y="760144"/>
                  <a:pt x="8511680" y="767564"/>
                  <a:pt x="8481718" y="782759"/>
                </a:cubicBezTo>
                <a:cubicBezTo>
                  <a:pt x="8451757" y="797954"/>
                  <a:pt x="8435988" y="823060"/>
                  <a:pt x="8434411" y="858076"/>
                </a:cubicBezTo>
                <a:cubicBezTo>
                  <a:pt x="8433902" y="890907"/>
                  <a:pt x="8451401" y="915505"/>
                  <a:pt x="8486906" y="931869"/>
                </a:cubicBezTo>
                <a:cubicBezTo>
                  <a:pt x="8522413" y="948234"/>
                  <a:pt x="8578978" y="964294"/>
                  <a:pt x="8656603" y="980048"/>
                </a:cubicBezTo>
                <a:cubicBezTo>
                  <a:pt x="8719684" y="993300"/>
                  <a:pt x="8780598" y="1013959"/>
                  <a:pt x="8839346" y="1042028"/>
                </a:cubicBezTo>
                <a:cubicBezTo>
                  <a:pt x="8898092" y="1070097"/>
                  <a:pt x="8946552" y="1109007"/>
                  <a:pt x="8984724" y="1158760"/>
                </a:cubicBezTo>
                <a:cubicBezTo>
                  <a:pt x="9022895" y="1208513"/>
                  <a:pt x="9042657" y="1272540"/>
                  <a:pt x="9044011" y="1350843"/>
                </a:cubicBezTo>
                <a:cubicBezTo>
                  <a:pt x="9042208" y="1452638"/>
                  <a:pt x="9015764" y="1533936"/>
                  <a:pt x="8964680" y="1594738"/>
                </a:cubicBezTo>
                <a:lnTo>
                  <a:pt x="8916615" y="1638059"/>
                </a:lnTo>
                <a:lnTo>
                  <a:pt x="9229561" y="1638059"/>
                </a:lnTo>
                <a:lnTo>
                  <a:pt x="9148328" y="1577562"/>
                </a:lnTo>
                <a:lnTo>
                  <a:pt x="9372534" y="1341086"/>
                </a:lnTo>
                <a:cubicBezTo>
                  <a:pt x="9408519" y="1380930"/>
                  <a:pt x="9452280" y="1413456"/>
                  <a:pt x="9503818" y="1438663"/>
                </a:cubicBezTo>
                <a:cubicBezTo>
                  <a:pt x="9555356" y="1463871"/>
                  <a:pt x="9610734" y="1476881"/>
                  <a:pt x="9669953" y="1477694"/>
                </a:cubicBezTo>
                <a:cubicBezTo>
                  <a:pt x="9704798" y="1478203"/>
                  <a:pt x="9737048" y="1470478"/>
                  <a:pt x="9766704" y="1454520"/>
                </a:cubicBezTo>
                <a:cubicBezTo>
                  <a:pt x="9796361" y="1438562"/>
                  <a:pt x="9812130" y="1411321"/>
                  <a:pt x="9814011" y="1372798"/>
                </a:cubicBezTo>
                <a:cubicBezTo>
                  <a:pt x="9814317" y="1336359"/>
                  <a:pt x="9794784" y="1308611"/>
                  <a:pt x="9755416" y="1289553"/>
                </a:cubicBezTo>
                <a:cubicBezTo>
                  <a:pt x="9716047" y="1270494"/>
                  <a:pt x="9655015" y="1251894"/>
                  <a:pt x="9572320" y="1233750"/>
                </a:cubicBezTo>
                <a:cubicBezTo>
                  <a:pt x="9515033" y="1221342"/>
                  <a:pt x="9459598" y="1201977"/>
                  <a:pt x="9406012" y="1175655"/>
                </a:cubicBezTo>
                <a:cubicBezTo>
                  <a:pt x="9352428" y="1149333"/>
                  <a:pt x="9308180" y="1112441"/>
                  <a:pt x="9273274" y="1064977"/>
                </a:cubicBezTo>
                <a:cubicBezTo>
                  <a:pt x="9238368" y="1017513"/>
                  <a:pt x="9220291" y="955865"/>
                  <a:pt x="9219042" y="880031"/>
                </a:cubicBezTo>
                <a:cubicBezTo>
                  <a:pt x="9220980" y="783698"/>
                  <a:pt x="9247424" y="705560"/>
                  <a:pt x="9298371" y="645617"/>
                </a:cubicBezTo>
                <a:cubicBezTo>
                  <a:pt x="9349318" y="585674"/>
                  <a:pt x="9413141" y="541844"/>
                  <a:pt x="9489840" y="514128"/>
                </a:cubicBezTo>
                <a:cubicBezTo>
                  <a:pt x="9566538" y="486411"/>
                  <a:pt x="9644480" y="472727"/>
                  <a:pt x="9723669" y="473074"/>
                </a:cubicBezTo>
                <a:cubicBezTo>
                  <a:pt x="9815485" y="473175"/>
                  <a:pt x="9904371" y="487587"/>
                  <a:pt x="9990328" y="516309"/>
                </a:cubicBezTo>
                <a:cubicBezTo>
                  <a:pt x="10076286" y="545031"/>
                  <a:pt x="10149899" y="587455"/>
                  <a:pt x="10211166" y="643580"/>
                </a:cubicBezTo>
                <a:lnTo>
                  <a:pt x="9991874" y="870273"/>
                </a:lnTo>
                <a:cubicBezTo>
                  <a:pt x="9959696" y="839018"/>
                  <a:pt x="9921721" y="813099"/>
                  <a:pt x="9877949" y="792517"/>
                </a:cubicBezTo>
                <a:cubicBezTo>
                  <a:pt x="9834177" y="771935"/>
                  <a:pt x="9787634" y="761262"/>
                  <a:pt x="9738320" y="760500"/>
                </a:cubicBezTo>
                <a:cubicBezTo>
                  <a:pt x="9698897" y="760144"/>
                  <a:pt x="9664204" y="767564"/>
                  <a:pt x="9634243" y="782759"/>
                </a:cubicBezTo>
                <a:cubicBezTo>
                  <a:pt x="9604282" y="797954"/>
                  <a:pt x="9588512" y="823060"/>
                  <a:pt x="9586936" y="858076"/>
                </a:cubicBezTo>
                <a:cubicBezTo>
                  <a:pt x="9586427" y="890907"/>
                  <a:pt x="9603926" y="915505"/>
                  <a:pt x="9639432" y="931869"/>
                </a:cubicBezTo>
                <a:cubicBezTo>
                  <a:pt x="9674938" y="948234"/>
                  <a:pt x="9731503" y="964294"/>
                  <a:pt x="9809128" y="980048"/>
                </a:cubicBezTo>
                <a:cubicBezTo>
                  <a:pt x="9872209" y="993300"/>
                  <a:pt x="9933123" y="1013959"/>
                  <a:pt x="9991870" y="1042028"/>
                </a:cubicBezTo>
                <a:cubicBezTo>
                  <a:pt x="10050617" y="1070097"/>
                  <a:pt x="10099077" y="1109007"/>
                  <a:pt x="10137249" y="1158760"/>
                </a:cubicBezTo>
                <a:cubicBezTo>
                  <a:pt x="10175420" y="1208513"/>
                  <a:pt x="10195182" y="1272540"/>
                  <a:pt x="10196536" y="1350843"/>
                </a:cubicBezTo>
                <a:cubicBezTo>
                  <a:pt x="10194732" y="1452638"/>
                  <a:pt x="10168289" y="1533936"/>
                  <a:pt x="10117205" y="1594738"/>
                </a:cubicBezTo>
                <a:lnTo>
                  <a:pt x="10069140" y="1638059"/>
                </a:lnTo>
                <a:lnTo>
                  <a:pt x="12192000" y="1638059"/>
                </a:lnTo>
                <a:lnTo>
                  <a:pt x="12192000" y="3768739"/>
                </a:lnTo>
                <a:lnTo>
                  <a:pt x="0" y="3768739"/>
                </a:lnTo>
                <a:lnTo>
                  <a:pt x="0" y="1638059"/>
                </a:lnTo>
                <a:lnTo>
                  <a:pt x="1546160" y="1638059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alpha val="30000"/>
                </a:srgbClr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C14DA88-7B04-42C1-ADBE-555A97A2E817}"/>
              </a:ext>
            </a:extLst>
          </p:cNvPr>
          <p:cNvSpPr/>
          <p:nvPr/>
        </p:nvSpPr>
        <p:spPr>
          <a:xfrm>
            <a:off x="4208302" y="589553"/>
            <a:ext cx="3775393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商业模式流程图</a:t>
            </a:r>
            <a:endParaRPr kumimoji="0" lang="en-US" altLang="zh-CN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40" name="等腰三角形 8">
            <a:extLst>
              <a:ext uri="{FF2B5EF4-FFF2-40B4-BE49-F238E27FC236}">
                <a16:creationId xmlns:a16="http://schemas.microsoft.com/office/drawing/2014/main" id="{A5DF94A9-7EEF-498E-A03F-1AE4CD8FF80F}"/>
              </a:ext>
            </a:extLst>
          </p:cNvPr>
          <p:cNvSpPr/>
          <p:nvPr/>
        </p:nvSpPr>
        <p:spPr>
          <a:xfrm rot="5400000">
            <a:off x="8494367" y="3076431"/>
            <a:ext cx="2728630" cy="3003240"/>
          </a:xfrm>
          <a:custGeom>
            <a:avLst/>
            <a:gdLst>
              <a:gd name="connsiteX0" fmla="*/ 0 w 2260600"/>
              <a:gd name="connsiteY0" fmla="*/ 2216374 h 2216374"/>
              <a:gd name="connsiteX1" fmla="*/ 1130300 w 2260600"/>
              <a:gd name="connsiteY1" fmla="*/ 0 h 2216374"/>
              <a:gd name="connsiteX2" fmla="*/ 2260600 w 2260600"/>
              <a:gd name="connsiteY2" fmla="*/ 2216374 h 2216374"/>
              <a:gd name="connsiteX3" fmla="*/ 0 w 2260600"/>
              <a:gd name="connsiteY3" fmla="*/ 2216374 h 2216374"/>
              <a:gd name="connsiteX0" fmla="*/ 24634 w 2309868"/>
              <a:gd name="connsiteY0" fmla="*/ 2216374 h 2216374"/>
              <a:gd name="connsiteX1" fmla="*/ 1154934 w 2309868"/>
              <a:gd name="connsiteY1" fmla="*/ 0 h 2216374"/>
              <a:gd name="connsiteX2" fmla="*/ 2285234 w 2309868"/>
              <a:gd name="connsiteY2" fmla="*/ 2216374 h 2216374"/>
              <a:gd name="connsiteX3" fmla="*/ 24634 w 2309868"/>
              <a:gd name="connsiteY3" fmla="*/ 2216374 h 2216374"/>
              <a:gd name="connsiteX0" fmla="*/ 24634 w 2493316"/>
              <a:gd name="connsiteY0" fmla="*/ 2216374 h 2216374"/>
              <a:gd name="connsiteX1" fmla="*/ 1154934 w 2493316"/>
              <a:gd name="connsiteY1" fmla="*/ 0 h 2216374"/>
              <a:gd name="connsiteX2" fmla="*/ 2285234 w 2493316"/>
              <a:gd name="connsiteY2" fmla="*/ 2216374 h 2216374"/>
              <a:gd name="connsiteX3" fmla="*/ 24634 w 2493316"/>
              <a:gd name="connsiteY3" fmla="*/ 2216374 h 2216374"/>
              <a:gd name="connsiteX0" fmla="*/ 208082 w 2676764"/>
              <a:gd name="connsiteY0" fmla="*/ 2216374 h 2216374"/>
              <a:gd name="connsiteX1" fmla="*/ 1338382 w 2676764"/>
              <a:gd name="connsiteY1" fmla="*/ 0 h 2216374"/>
              <a:gd name="connsiteX2" fmla="*/ 2468682 w 2676764"/>
              <a:gd name="connsiteY2" fmla="*/ 2216374 h 2216374"/>
              <a:gd name="connsiteX3" fmla="*/ 208082 w 2676764"/>
              <a:gd name="connsiteY3" fmla="*/ 2216374 h 2216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6764" h="2216374">
                <a:moveTo>
                  <a:pt x="208082" y="2216374"/>
                </a:moveTo>
                <a:cubicBezTo>
                  <a:pt x="-545451" y="2216374"/>
                  <a:pt x="961615" y="0"/>
                  <a:pt x="1338382" y="0"/>
                </a:cubicBezTo>
                <a:cubicBezTo>
                  <a:pt x="1715149" y="0"/>
                  <a:pt x="3222215" y="2216374"/>
                  <a:pt x="2468682" y="2216374"/>
                </a:cubicBezTo>
                <a:lnTo>
                  <a:pt x="208082" y="2216374"/>
                </a:lnTo>
                <a:close/>
              </a:path>
            </a:pathLst>
          </a:cu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bg1">
                <a:alpha val="47000"/>
              </a:schemeClr>
            </a:solidFill>
          </a:ln>
          <a:effectLst>
            <a:outerShdw blurRad="1270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39" name="等腰三角形 8">
            <a:extLst>
              <a:ext uri="{FF2B5EF4-FFF2-40B4-BE49-F238E27FC236}">
                <a16:creationId xmlns:a16="http://schemas.microsoft.com/office/drawing/2014/main" id="{C61639CD-AC3D-41F0-B8D3-F5EA43D71714}"/>
              </a:ext>
            </a:extLst>
          </p:cNvPr>
          <p:cNvSpPr/>
          <p:nvPr/>
        </p:nvSpPr>
        <p:spPr>
          <a:xfrm rot="5400000">
            <a:off x="6077352" y="3076431"/>
            <a:ext cx="2728630" cy="3003240"/>
          </a:xfrm>
          <a:custGeom>
            <a:avLst/>
            <a:gdLst>
              <a:gd name="connsiteX0" fmla="*/ 0 w 2260600"/>
              <a:gd name="connsiteY0" fmla="*/ 2216374 h 2216374"/>
              <a:gd name="connsiteX1" fmla="*/ 1130300 w 2260600"/>
              <a:gd name="connsiteY1" fmla="*/ 0 h 2216374"/>
              <a:gd name="connsiteX2" fmla="*/ 2260600 w 2260600"/>
              <a:gd name="connsiteY2" fmla="*/ 2216374 h 2216374"/>
              <a:gd name="connsiteX3" fmla="*/ 0 w 2260600"/>
              <a:gd name="connsiteY3" fmla="*/ 2216374 h 2216374"/>
              <a:gd name="connsiteX0" fmla="*/ 24634 w 2309868"/>
              <a:gd name="connsiteY0" fmla="*/ 2216374 h 2216374"/>
              <a:gd name="connsiteX1" fmla="*/ 1154934 w 2309868"/>
              <a:gd name="connsiteY1" fmla="*/ 0 h 2216374"/>
              <a:gd name="connsiteX2" fmla="*/ 2285234 w 2309868"/>
              <a:gd name="connsiteY2" fmla="*/ 2216374 h 2216374"/>
              <a:gd name="connsiteX3" fmla="*/ 24634 w 2309868"/>
              <a:gd name="connsiteY3" fmla="*/ 2216374 h 2216374"/>
              <a:gd name="connsiteX0" fmla="*/ 24634 w 2493316"/>
              <a:gd name="connsiteY0" fmla="*/ 2216374 h 2216374"/>
              <a:gd name="connsiteX1" fmla="*/ 1154934 w 2493316"/>
              <a:gd name="connsiteY1" fmla="*/ 0 h 2216374"/>
              <a:gd name="connsiteX2" fmla="*/ 2285234 w 2493316"/>
              <a:gd name="connsiteY2" fmla="*/ 2216374 h 2216374"/>
              <a:gd name="connsiteX3" fmla="*/ 24634 w 2493316"/>
              <a:gd name="connsiteY3" fmla="*/ 2216374 h 2216374"/>
              <a:gd name="connsiteX0" fmla="*/ 208082 w 2676764"/>
              <a:gd name="connsiteY0" fmla="*/ 2216374 h 2216374"/>
              <a:gd name="connsiteX1" fmla="*/ 1338382 w 2676764"/>
              <a:gd name="connsiteY1" fmla="*/ 0 h 2216374"/>
              <a:gd name="connsiteX2" fmla="*/ 2468682 w 2676764"/>
              <a:gd name="connsiteY2" fmla="*/ 2216374 h 2216374"/>
              <a:gd name="connsiteX3" fmla="*/ 208082 w 2676764"/>
              <a:gd name="connsiteY3" fmla="*/ 2216374 h 2216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6764" h="2216374">
                <a:moveTo>
                  <a:pt x="208082" y="2216374"/>
                </a:moveTo>
                <a:cubicBezTo>
                  <a:pt x="-545451" y="2216374"/>
                  <a:pt x="961615" y="0"/>
                  <a:pt x="1338382" y="0"/>
                </a:cubicBezTo>
                <a:cubicBezTo>
                  <a:pt x="1715149" y="0"/>
                  <a:pt x="3222215" y="2216374"/>
                  <a:pt x="2468682" y="2216374"/>
                </a:cubicBezTo>
                <a:lnTo>
                  <a:pt x="208082" y="2216374"/>
                </a:lnTo>
                <a:close/>
              </a:path>
            </a:pathLst>
          </a:cu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bg1">
                <a:alpha val="47000"/>
              </a:schemeClr>
            </a:solidFill>
          </a:ln>
          <a:effectLst>
            <a:outerShdw blurRad="1270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38" name="等腰三角形 8">
            <a:extLst>
              <a:ext uri="{FF2B5EF4-FFF2-40B4-BE49-F238E27FC236}">
                <a16:creationId xmlns:a16="http://schemas.microsoft.com/office/drawing/2014/main" id="{6F09B859-0932-4BF9-BE06-AD0405BFEF24}"/>
              </a:ext>
            </a:extLst>
          </p:cNvPr>
          <p:cNvSpPr/>
          <p:nvPr/>
        </p:nvSpPr>
        <p:spPr>
          <a:xfrm rot="5400000">
            <a:off x="3660337" y="3076431"/>
            <a:ext cx="2728630" cy="3003240"/>
          </a:xfrm>
          <a:custGeom>
            <a:avLst/>
            <a:gdLst>
              <a:gd name="connsiteX0" fmla="*/ 0 w 2260600"/>
              <a:gd name="connsiteY0" fmla="*/ 2216374 h 2216374"/>
              <a:gd name="connsiteX1" fmla="*/ 1130300 w 2260600"/>
              <a:gd name="connsiteY1" fmla="*/ 0 h 2216374"/>
              <a:gd name="connsiteX2" fmla="*/ 2260600 w 2260600"/>
              <a:gd name="connsiteY2" fmla="*/ 2216374 h 2216374"/>
              <a:gd name="connsiteX3" fmla="*/ 0 w 2260600"/>
              <a:gd name="connsiteY3" fmla="*/ 2216374 h 2216374"/>
              <a:gd name="connsiteX0" fmla="*/ 24634 w 2309868"/>
              <a:gd name="connsiteY0" fmla="*/ 2216374 h 2216374"/>
              <a:gd name="connsiteX1" fmla="*/ 1154934 w 2309868"/>
              <a:gd name="connsiteY1" fmla="*/ 0 h 2216374"/>
              <a:gd name="connsiteX2" fmla="*/ 2285234 w 2309868"/>
              <a:gd name="connsiteY2" fmla="*/ 2216374 h 2216374"/>
              <a:gd name="connsiteX3" fmla="*/ 24634 w 2309868"/>
              <a:gd name="connsiteY3" fmla="*/ 2216374 h 2216374"/>
              <a:gd name="connsiteX0" fmla="*/ 24634 w 2493316"/>
              <a:gd name="connsiteY0" fmla="*/ 2216374 h 2216374"/>
              <a:gd name="connsiteX1" fmla="*/ 1154934 w 2493316"/>
              <a:gd name="connsiteY1" fmla="*/ 0 h 2216374"/>
              <a:gd name="connsiteX2" fmla="*/ 2285234 w 2493316"/>
              <a:gd name="connsiteY2" fmla="*/ 2216374 h 2216374"/>
              <a:gd name="connsiteX3" fmla="*/ 24634 w 2493316"/>
              <a:gd name="connsiteY3" fmla="*/ 2216374 h 2216374"/>
              <a:gd name="connsiteX0" fmla="*/ 208082 w 2676764"/>
              <a:gd name="connsiteY0" fmla="*/ 2216374 h 2216374"/>
              <a:gd name="connsiteX1" fmla="*/ 1338382 w 2676764"/>
              <a:gd name="connsiteY1" fmla="*/ 0 h 2216374"/>
              <a:gd name="connsiteX2" fmla="*/ 2468682 w 2676764"/>
              <a:gd name="connsiteY2" fmla="*/ 2216374 h 2216374"/>
              <a:gd name="connsiteX3" fmla="*/ 208082 w 2676764"/>
              <a:gd name="connsiteY3" fmla="*/ 2216374 h 2216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6764" h="2216374">
                <a:moveTo>
                  <a:pt x="208082" y="2216374"/>
                </a:moveTo>
                <a:cubicBezTo>
                  <a:pt x="-545451" y="2216374"/>
                  <a:pt x="961615" y="0"/>
                  <a:pt x="1338382" y="0"/>
                </a:cubicBezTo>
                <a:cubicBezTo>
                  <a:pt x="1715149" y="0"/>
                  <a:pt x="3222215" y="2216374"/>
                  <a:pt x="2468682" y="2216374"/>
                </a:cubicBezTo>
                <a:lnTo>
                  <a:pt x="208082" y="2216374"/>
                </a:lnTo>
                <a:close/>
              </a:path>
            </a:pathLst>
          </a:cu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bg1">
                <a:alpha val="47000"/>
              </a:schemeClr>
            </a:solidFill>
          </a:ln>
          <a:effectLst>
            <a:outerShdw blurRad="1270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9" name="等腰三角形 8">
            <a:extLst>
              <a:ext uri="{FF2B5EF4-FFF2-40B4-BE49-F238E27FC236}">
                <a16:creationId xmlns:a16="http://schemas.microsoft.com/office/drawing/2014/main" id="{8A6C4576-658F-4284-A2D7-837AC1289CAA}"/>
              </a:ext>
            </a:extLst>
          </p:cNvPr>
          <p:cNvSpPr/>
          <p:nvPr/>
        </p:nvSpPr>
        <p:spPr>
          <a:xfrm rot="5400000">
            <a:off x="1243323" y="3076431"/>
            <a:ext cx="2728630" cy="3003240"/>
          </a:xfrm>
          <a:custGeom>
            <a:avLst/>
            <a:gdLst>
              <a:gd name="connsiteX0" fmla="*/ 0 w 2260600"/>
              <a:gd name="connsiteY0" fmla="*/ 2216374 h 2216374"/>
              <a:gd name="connsiteX1" fmla="*/ 1130300 w 2260600"/>
              <a:gd name="connsiteY1" fmla="*/ 0 h 2216374"/>
              <a:gd name="connsiteX2" fmla="*/ 2260600 w 2260600"/>
              <a:gd name="connsiteY2" fmla="*/ 2216374 h 2216374"/>
              <a:gd name="connsiteX3" fmla="*/ 0 w 2260600"/>
              <a:gd name="connsiteY3" fmla="*/ 2216374 h 2216374"/>
              <a:gd name="connsiteX0" fmla="*/ 24634 w 2309868"/>
              <a:gd name="connsiteY0" fmla="*/ 2216374 h 2216374"/>
              <a:gd name="connsiteX1" fmla="*/ 1154934 w 2309868"/>
              <a:gd name="connsiteY1" fmla="*/ 0 h 2216374"/>
              <a:gd name="connsiteX2" fmla="*/ 2285234 w 2309868"/>
              <a:gd name="connsiteY2" fmla="*/ 2216374 h 2216374"/>
              <a:gd name="connsiteX3" fmla="*/ 24634 w 2309868"/>
              <a:gd name="connsiteY3" fmla="*/ 2216374 h 2216374"/>
              <a:gd name="connsiteX0" fmla="*/ 24634 w 2493316"/>
              <a:gd name="connsiteY0" fmla="*/ 2216374 h 2216374"/>
              <a:gd name="connsiteX1" fmla="*/ 1154934 w 2493316"/>
              <a:gd name="connsiteY1" fmla="*/ 0 h 2216374"/>
              <a:gd name="connsiteX2" fmla="*/ 2285234 w 2493316"/>
              <a:gd name="connsiteY2" fmla="*/ 2216374 h 2216374"/>
              <a:gd name="connsiteX3" fmla="*/ 24634 w 2493316"/>
              <a:gd name="connsiteY3" fmla="*/ 2216374 h 2216374"/>
              <a:gd name="connsiteX0" fmla="*/ 208082 w 2676764"/>
              <a:gd name="connsiteY0" fmla="*/ 2216374 h 2216374"/>
              <a:gd name="connsiteX1" fmla="*/ 1338382 w 2676764"/>
              <a:gd name="connsiteY1" fmla="*/ 0 h 2216374"/>
              <a:gd name="connsiteX2" fmla="*/ 2468682 w 2676764"/>
              <a:gd name="connsiteY2" fmla="*/ 2216374 h 2216374"/>
              <a:gd name="connsiteX3" fmla="*/ 208082 w 2676764"/>
              <a:gd name="connsiteY3" fmla="*/ 2216374 h 2216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6764" h="2216374">
                <a:moveTo>
                  <a:pt x="208082" y="2216374"/>
                </a:moveTo>
                <a:cubicBezTo>
                  <a:pt x="-545451" y="2216374"/>
                  <a:pt x="961615" y="0"/>
                  <a:pt x="1338382" y="0"/>
                </a:cubicBezTo>
                <a:cubicBezTo>
                  <a:pt x="1715149" y="0"/>
                  <a:pt x="3222215" y="2216374"/>
                  <a:pt x="2468682" y="2216374"/>
                </a:cubicBezTo>
                <a:lnTo>
                  <a:pt x="208082" y="2216374"/>
                </a:lnTo>
                <a:close/>
              </a:path>
            </a:pathLst>
          </a:cu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bg1">
                <a:alpha val="47000"/>
              </a:schemeClr>
            </a:solidFill>
          </a:ln>
          <a:effectLst>
            <a:outerShdw blurRad="1270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08EB6261-8173-403B-B5D6-0BC8CC28E32D}"/>
              </a:ext>
            </a:extLst>
          </p:cNvPr>
          <p:cNvSpPr/>
          <p:nvPr/>
        </p:nvSpPr>
        <p:spPr>
          <a:xfrm>
            <a:off x="1341151" y="4067240"/>
            <a:ext cx="208787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"/>
                <a:ea typeface="思源黑体 CN Light"/>
                <a:cs typeface="+mn-cs"/>
              </a:rPr>
              <a:t>本地营销的前期研发和资源准备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205B8A15-9F75-4C4D-9718-4BA11251C24A}"/>
              </a:ext>
            </a:extLst>
          </p:cNvPr>
          <p:cNvSpPr/>
          <p:nvPr/>
        </p:nvSpPr>
        <p:spPr>
          <a:xfrm>
            <a:off x="3871070" y="4257724"/>
            <a:ext cx="2239272" cy="4158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"/>
                <a:ea typeface="思源黑体 CN Light"/>
                <a:cs typeface="+mn-cs"/>
              </a:rPr>
              <a:t>本地作品制作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AF3961C-B5D8-4EE5-9F59-1CCB2D734914}"/>
              </a:ext>
            </a:extLst>
          </p:cNvPr>
          <p:cNvSpPr/>
          <p:nvPr/>
        </p:nvSpPr>
        <p:spPr>
          <a:xfrm>
            <a:off x="8670028" y="3867185"/>
            <a:ext cx="1995835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"/>
                <a:ea typeface="思源黑体 CN Light"/>
                <a:cs typeface="+mn-cs"/>
              </a:rPr>
              <a:t>本地衍生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"/>
                <a:ea typeface="思源黑体 CN Light"/>
                <a:cs typeface="+mn-cs"/>
              </a:rPr>
              <a:t>二次营销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"/>
                <a:ea typeface="思源黑体 CN Light"/>
                <a:cs typeface="+mn-cs"/>
              </a:rPr>
              <a:t>影片衍生品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"/>
                <a:ea typeface="思源黑体 CN Light"/>
                <a:cs typeface="+mn-cs"/>
              </a:rPr>
              <a:t>艺人经纪、商演等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08F5459-4F95-4B69-A000-F36584A39303}"/>
              </a:ext>
            </a:extLst>
          </p:cNvPr>
          <p:cNvSpPr/>
          <p:nvPr/>
        </p:nvSpPr>
        <p:spPr>
          <a:xfrm>
            <a:off x="6176721" y="4046604"/>
            <a:ext cx="2256633" cy="8381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"/>
                <a:ea typeface="思源黑体 CN Light"/>
                <a:cs typeface="+mn-cs"/>
              </a:rPr>
              <a:t>本地发行和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"/>
              <a:ea typeface="思源黑体 CN Light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"/>
                <a:ea typeface="思源黑体 CN Light"/>
                <a:cs typeface="+mn-cs"/>
              </a:rPr>
              <a:t>本地票房营销</a:t>
            </a:r>
          </a:p>
        </p:txBody>
      </p:sp>
    </p:spTree>
    <p:extLst>
      <p:ext uri="{BB962C8B-B14F-4D97-AF65-F5344CB8AC3E}">
        <p14:creationId xmlns:p14="http://schemas.microsoft.com/office/powerpoint/2010/main" val="451162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217B45F2-C3E0-49BA-81C8-628308EC8D2A}"/>
              </a:ext>
            </a:extLst>
          </p:cNvPr>
          <p:cNvSpPr/>
          <p:nvPr/>
        </p:nvSpPr>
        <p:spPr>
          <a:xfrm>
            <a:off x="601980" y="5306890"/>
            <a:ext cx="10988040" cy="759106"/>
          </a:xfrm>
          <a:prstGeom prst="roundRect">
            <a:avLst>
              <a:gd name="adj" fmla="val 12867"/>
            </a:avLst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/>
              <a:ea typeface="微软雅黑 Light"/>
              <a:cs typeface="+mn-cs"/>
            </a:endParaRPr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2986146C-BD62-4B5C-8678-5B004B8E8256}"/>
              </a:ext>
            </a:extLst>
          </p:cNvPr>
          <p:cNvSpPr/>
          <p:nvPr/>
        </p:nvSpPr>
        <p:spPr>
          <a:xfrm>
            <a:off x="601980" y="2620963"/>
            <a:ext cx="10988040" cy="2388800"/>
          </a:xfrm>
          <a:prstGeom prst="roundRect">
            <a:avLst>
              <a:gd name="adj" fmla="val 6020"/>
            </a:avLst>
          </a:prstGeom>
          <a:gradFill>
            <a:gsLst>
              <a:gs pos="0">
                <a:srgbClr val="FFA43F"/>
              </a:gs>
              <a:gs pos="96000">
                <a:srgbClr val="EF0300">
                  <a:alpha val="8500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/>
              <a:ea typeface="微软雅黑 Light"/>
              <a:cs typeface="+mn-cs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FA88C84C-C685-4056-8209-BC7A4D11CF85}"/>
              </a:ext>
            </a:extLst>
          </p:cNvPr>
          <p:cNvSpPr/>
          <p:nvPr/>
        </p:nvSpPr>
        <p:spPr>
          <a:xfrm>
            <a:off x="601980" y="1562101"/>
            <a:ext cx="10988040" cy="759106"/>
          </a:xfrm>
          <a:prstGeom prst="roundRect">
            <a:avLst>
              <a:gd name="adj" fmla="val 12867"/>
            </a:avLst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 Light"/>
              <a:ea typeface="微软雅黑 Light"/>
              <a:cs typeface="+mn-cs"/>
            </a:endParaRPr>
          </a:p>
        </p:txBody>
      </p:sp>
      <p:sp>
        <p:nvSpPr>
          <p:cNvPr id="35" name="TextBox 1"/>
          <p:cNvSpPr txBox="1"/>
          <p:nvPr/>
        </p:nvSpPr>
        <p:spPr>
          <a:xfrm>
            <a:off x="3336270" y="676417"/>
            <a:ext cx="5519460" cy="492443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algn="ctr">
              <a:defRPr sz="2800">
                <a:gradFill>
                  <a:gsLst>
                    <a:gs pos="0">
                      <a:srgbClr val="FF9521"/>
                    </a:gs>
                    <a:gs pos="83000">
                      <a:srgbClr val="EC291A"/>
                    </a:gs>
                  </a:gsLst>
                  <a:lin ang="2700000" scaled="0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9521"/>
                    </a:gs>
                    <a:gs pos="83000">
                      <a:srgbClr val="EC291A"/>
                    </a:gs>
                  </a:gsLst>
                  <a:lin ang="2700000" scaled="0"/>
                </a:gra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从线上到线下全面抓住用户行为场景</a:t>
            </a:r>
          </a:p>
        </p:txBody>
      </p:sp>
      <p:sp>
        <p:nvSpPr>
          <p:cNvPr id="37" name="TextBox 11"/>
          <p:cNvSpPr txBox="1"/>
          <p:nvPr/>
        </p:nvSpPr>
        <p:spPr>
          <a:xfrm>
            <a:off x="1166940" y="5555117"/>
            <a:ext cx="16421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精准曝光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思源黑体 CN Regular" panose="020B0500000000000000" pitchFamily="34" charset="-122"/>
              <a:ea typeface="思源黑体 CN Regular" panose="020B0500000000000000" pitchFamily="34" charset="-122"/>
              <a:cs typeface="+mn-cs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308272" y="5555117"/>
            <a:ext cx="15772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主动参与</a:t>
            </a:r>
          </a:p>
        </p:txBody>
      </p:sp>
      <p:sp>
        <p:nvSpPr>
          <p:cNvPr id="47" name="矩形 46"/>
          <p:cNvSpPr/>
          <p:nvPr/>
        </p:nvSpPr>
        <p:spPr>
          <a:xfrm>
            <a:off x="5593298" y="5555117"/>
            <a:ext cx="1005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深度体验</a:t>
            </a:r>
          </a:p>
        </p:txBody>
      </p:sp>
      <p:sp>
        <p:nvSpPr>
          <p:cNvPr id="48" name="矩形 47"/>
          <p:cNvSpPr/>
          <p:nvPr/>
        </p:nvSpPr>
        <p:spPr>
          <a:xfrm>
            <a:off x="7646987" y="5555117"/>
            <a:ext cx="1005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高效导流</a:t>
            </a:r>
          </a:p>
        </p:txBody>
      </p:sp>
      <p:sp>
        <p:nvSpPr>
          <p:cNvPr id="49" name="矩形 48"/>
          <p:cNvSpPr/>
          <p:nvPr/>
        </p:nvSpPr>
        <p:spPr>
          <a:xfrm>
            <a:off x="9700675" y="5555117"/>
            <a:ext cx="1005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粉丝经济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思源黑体 CN Regular" panose="020B0500000000000000" pitchFamily="34" charset="-122"/>
              <a:ea typeface="思源黑体 CN Regular" panose="020B0500000000000000" pitchFamily="34" charset="-122"/>
              <a:cs typeface="+mn-cs"/>
            </a:endParaRPr>
          </a:p>
        </p:txBody>
      </p:sp>
      <p:sp>
        <p:nvSpPr>
          <p:cNvPr id="50" name="TextBox 11"/>
          <p:cNvSpPr txBox="1"/>
          <p:nvPr/>
        </p:nvSpPr>
        <p:spPr>
          <a:xfrm>
            <a:off x="1520822" y="1810328"/>
            <a:ext cx="934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知晓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思源黑体 CN Regular" panose="020B0500000000000000" pitchFamily="34" charset="-122"/>
              <a:ea typeface="思源黑体 CN Regular" panose="020B0500000000000000" pitchFamily="34" charset="-122"/>
              <a:cs typeface="+mn-cs"/>
            </a:endParaRPr>
          </a:p>
        </p:txBody>
      </p:sp>
      <p:sp>
        <p:nvSpPr>
          <p:cNvPr id="51" name="TextBox 11"/>
          <p:cNvSpPr txBox="1"/>
          <p:nvPr/>
        </p:nvSpPr>
        <p:spPr>
          <a:xfrm>
            <a:off x="3561946" y="1810328"/>
            <a:ext cx="934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参与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思源黑体 CN Regular" panose="020B0500000000000000" pitchFamily="34" charset="-122"/>
              <a:ea typeface="思源黑体 CN Regular" panose="020B0500000000000000" pitchFamily="34" charset="-122"/>
              <a:cs typeface="+mn-cs"/>
            </a:endParaRPr>
          </a:p>
        </p:txBody>
      </p:sp>
      <p:sp>
        <p:nvSpPr>
          <p:cNvPr id="52" name="TextBox 11"/>
          <p:cNvSpPr txBox="1"/>
          <p:nvPr/>
        </p:nvSpPr>
        <p:spPr>
          <a:xfrm>
            <a:off x="5603070" y="1810328"/>
            <a:ext cx="934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体验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思源黑体 CN Regular" panose="020B0500000000000000" pitchFamily="34" charset="-122"/>
              <a:ea typeface="思源黑体 CN Regular" panose="020B0500000000000000" pitchFamily="34" charset="-122"/>
              <a:cs typeface="+mn-cs"/>
            </a:endParaRPr>
          </a:p>
        </p:txBody>
      </p:sp>
      <p:sp>
        <p:nvSpPr>
          <p:cNvPr id="53" name="TextBox 11"/>
          <p:cNvSpPr txBox="1"/>
          <p:nvPr/>
        </p:nvSpPr>
        <p:spPr>
          <a:xfrm>
            <a:off x="7644194" y="1810328"/>
            <a:ext cx="934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关注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思源黑体 CN Regular" panose="020B0500000000000000" pitchFamily="34" charset="-122"/>
              <a:ea typeface="思源黑体 CN Regular" panose="020B0500000000000000" pitchFamily="34" charset="-122"/>
              <a:cs typeface="+mn-cs"/>
            </a:endParaRPr>
          </a:p>
        </p:txBody>
      </p:sp>
      <p:sp>
        <p:nvSpPr>
          <p:cNvPr id="54" name="TextBox 11"/>
          <p:cNvSpPr txBox="1"/>
          <p:nvPr/>
        </p:nvSpPr>
        <p:spPr>
          <a:xfrm>
            <a:off x="9685319" y="1810328"/>
            <a:ext cx="934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连接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思源黑体 CN Regular" panose="020B0500000000000000" pitchFamily="34" charset="-122"/>
              <a:ea typeface="思源黑体 CN Regular" panose="020B0500000000000000" pitchFamily="34" charset="-122"/>
              <a:cs typeface="+mn-cs"/>
            </a:endParaRPr>
          </a:p>
        </p:txBody>
      </p:sp>
      <p:sp>
        <p:nvSpPr>
          <p:cNvPr id="55" name="文本框 54"/>
          <p:cNvSpPr txBox="1"/>
          <p:nvPr/>
        </p:nvSpPr>
        <p:spPr>
          <a:xfrm>
            <a:off x="798254" y="1424926"/>
            <a:ext cx="1292734" cy="340519"/>
          </a:xfrm>
          <a:prstGeom prst="roundRect">
            <a:avLst/>
          </a:prstGeom>
          <a:solidFill>
            <a:schemeClr val="bg1"/>
          </a:solidFill>
          <a:effectLst>
            <a:outerShdw blurRad="152400" dist="50800" dir="2700000" algn="tl" rotWithShape="0">
              <a:prstClr val="black">
                <a:alpha val="13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用户行为路径</a:t>
            </a:r>
          </a:p>
        </p:txBody>
      </p:sp>
      <p:sp>
        <p:nvSpPr>
          <p:cNvPr id="56" name="文本框 55"/>
          <p:cNvSpPr txBox="1"/>
          <p:nvPr/>
        </p:nvSpPr>
        <p:spPr>
          <a:xfrm>
            <a:off x="798254" y="5155630"/>
            <a:ext cx="1292735" cy="340519"/>
          </a:xfrm>
          <a:prstGeom prst="roundRect">
            <a:avLst/>
          </a:prstGeom>
          <a:solidFill>
            <a:schemeClr val="bg1"/>
          </a:solidFill>
          <a:effectLst>
            <a:outerShdw blurRad="152400" dist="50800" dir="2700000" algn="tl" rotWithShape="0">
              <a:prstClr val="black">
                <a:alpha val="13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实惠商业模式</a:t>
            </a:r>
          </a:p>
        </p:txBody>
      </p:sp>
      <p:sp>
        <p:nvSpPr>
          <p:cNvPr id="57" name="文本框 56"/>
          <p:cNvSpPr txBox="1"/>
          <p:nvPr/>
        </p:nvSpPr>
        <p:spPr>
          <a:xfrm>
            <a:off x="798254" y="2443165"/>
            <a:ext cx="1292735" cy="340519"/>
          </a:xfrm>
          <a:prstGeom prst="roundRect">
            <a:avLst/>
          </a:prstGeom>
          <a:solidFill>
            <a:schemeClr val="bg1"/>
          </a:solidFill>
          <a:effectLst>
            <a:outerShdw blurRad="152400" dist="50800" dir="2700000" algn="tl" rotWithShape="0">
              <a:prstClr val="black">
                <a:alpha val="13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实惠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APP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功能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ABEA8AEB-E0AB-42E6-BCAD-8195E7EAC25D}"/>
              </a:ext>
            </a:extLst>
          </p:cNvPr>
          <p:cNvSpPr/>
          <p:nvPr/>
        </p:nvSpPr>
        <p:spPr>
          <a:xfrm>
            <a:off x="5285521" y="420456"/>
            <a:ext cx="16209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实惠的商业逻辑</a:t>
            </a: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914F7245-ABC3-44EF-BC2B-3EC7142021B5}"/>
              </a:ext>
            </a:extLst>
          </p:cNvPr>
          <p:cNvGrpSpPr/>
          <p:nvPr/>
        </p:nvGrpSpPr>
        <p:grpSpPr>
          <a:xfrm rot="5400000">
            <a:off x="3082376" y="1867021"/>
            <a:ext cx="97419" cy="225167"/>
            <a:chOff x="2500095" y="2302106"/>
            <a:chExt cx="877758" cy="2028786"/>
          </a:xfrm>
          <a:solidFill>
            <a:schemeClr val="bg1">
              <a:lumMod val="65000"/>
              <a:alpha val="57000"/>
            </a:schemeClr>
          </a:solidFill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861B595D-95E1-46D3-A311-F943C6E9B61E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62" name="平行四边形 61">
              <a:extLst>
                <a:ext uri="{FF2B5EF4-FFF2-40B4-BE49-F238E27FC236}">
                  <a16:creationId xmlns:a16="http://schemas.microsoft.com/office/drawing/2014/main" id="{047B2C9B-44C0-470B-BB5C-2700576698CC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63" name="平行四边形 62">
              <a:extLst>
                <a:ext uri="{FF2B5EF4-FFF2-40B4-BE49-F238E27FC236}">
                  <a16:creationId xmlns:a16="http://schemas.microsoft.com/office/drawing/2014/main" id="{300D9621-F1EF-45E1-A8C2-3F8AA4A6D2AF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3E5F7CF2-AAC0-4F70-A94A-CBF496D2E432}"/>
              </a:ext>
            </a:extLst>
          </p:cNvPr>
          <p:cNvGrpSpPr/>
          <p:nvPr/>
        </p:nvGrpSpPr>
        <p:grpSpPr>
          <a:xfrm rot="5400000">
            <a:off x="3082376" y="5622569"/>
            <a:ext cx="97419" cy="225167"/>
            <a:chOff x="2500095" y="2302106"/>
            <a:chExt cx="877758" cy="2028786"/>
          </a:xfrm>
          <a:solidFill>
            <a:schemeClr val="bg1">
              <a:lumMod val="65000"/>
              <a:alpha val="57000"/>
            </a:schemeClr>
          </a:solidFill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4EF1B5A5-759A-4244-9E1D-CAA204A9D0A9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74" name="平行四边形 73">
              <a:extLst>
                <a:ext uri="{FF2B5EF4-FFF2-40B4-BE49-F238E27FC236}">
                  <a16:creationId xmlns:a16="http://schemas.microsoft.com/office/drawing/2014/main" id="{72B0BFD4-CFD4-4A4C-97BD-3E2C1EF0CFA3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75" name="平行四边形 74">
              <a:extLst>
                <a:ext uri="{FF2B5EF4-FFF2-40B4-BE49-F238E27FC236}">
                  <a16:creationId xmlns:a16="http://schemas.microsoft.com/office/drawing/2014/main" id="{36BB5B74-61F0-404C-BDB9-EA88924F9B3C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76" name="组合 75">
            <a:extLst>
              <a:ext uri="{FF2B5EF4-FFF2-40B4-BE49-F238E27FC236}">
                <a16:creationId xmlns:a16="http://schemas.microsoft.com/office/drawing/2014/main" id="{124FFD9F-3AFC-4F7C-84B9-E6DBB15EFB64}"/>
              </a:ext>
            </a:extLst>
          </p:cNvPr>
          <p:cNvGrpSpPr/>
          <p:nvPr/>
        </p:nvGrpSpPr>
        <p:grpSpPr>
          <a:xfrm rot="5400000">
            <a:off x="5113659" y="1867021"/>
            <a:ext cx="97419" cy="225167"/>
            <a:chOff x="2500095" y="2302106"/>
            <a:chExt cx="877758" cy="2028786"/>
          </a:xfrm>
          <a:solidFill>
            <a:schemeClr val="bg1">
              <a:lumMod val="65000"/>
              <a:alpha val="57000"/>
            </a:schemeClr>
          </a:solidFill>
        </p:grpSpPr>
        <p:sp>
          <p:nvSpPr>
            <p:cNvPr id="77" name="矩形 76">
              <a:extLst>
                <a:ext uri="{FF2B5EF4-FFF2-40B4-BE49-F238E27FC236}">
                  <a16:creationId xmlns:a16="http://schemas.microsoft.com/office/drawing/2014/main" id="{BF366605-4053-4C5A-89FA-AECD82B66008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78" name="平行四边形 77">
              <a:extLst>
                <a:ext uri="{FF2B5EF4-FFF2-40B4-BE49-F238E27FC236}">
                  <a16:creationId xmlns:a16="http://schemas.microsoft.com/office/drawing/2014/main" id="{39C71AE2-C25D-461F-821D-32894F451E38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79" name="平行四边形 78">
              <a:extLst>
                <a:ext uri="{FF2B5EF4-FFF2-40B4-BE49-F238E27FC236}">
                  <a16:creationId xmlns:a16="http://schemas.microsoft.com/office/drawing/2014/main" id="{ECD492B4-770B-4ACA-961A-D93430BB4C01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5FD63649-5224-4891-AA83-2EDF2941FDED}"/>
              </a:ext>
            </a:extLst>
          </p:cNvPr>
          <p:cNvGrpSpPr/>
          <p:nvPr/>
        </p:nvGrpSpPr>
        <p:grpSpPr>
          <a:xfrm rot="5400000">
            <a:off x="5113659" y="5622569"/>
            <a:ext cx="97419" cy="225167"/>
            <a:chOff x="2500095" y="2302106"/>
            <a:chExt cx="877758" cy="2028786"/>
          </a:xfrm>
          <a:solidFill>
            <a:schemeClr val="bg1">
              <a:lumMod val="65000"/>
              <a:alpha val="57000"/>
            </a:schemeClr>
          </a:solidFill>
        </p:grpSpPr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18D29113-9690-48E0-9F7B-C276D8A7560D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86" name="平行四边形 85">
              <a:extLst>
                <a:ext uri="{FF2B5EF4-FFF2-40B4-BE49-F238E27FC236}">
                  <a16:creationId xmlns:a16="http://schemas.microsoft.com/office/drawing/2014/main" id="{5F7A4603-7768-4C09-BD42-1E4ACB583989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87" name="平行四边形 86">
              <a:extLst>
                <a:ext uri="{FF2B5EF4-FFF2-40B4-BE49-F238E27FC236}">
                  <a16:creationId xmlns:a16="http://schemas.microsoft.com/office/drawing/2014/main" id="{A3444970-3883-4FB6-8C12-1468FD2942AF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1D68E9FA-4B8C-4E36-B249-2AC3EBE5581C}"/>
              </a:ext>
            </a:extLst>
          </p:cNvPr>
          <p:cNvGrpSpPr/>
          <p:nvPr/>
        </p:nvGrpSpPr>
        <p:grpSpPr>
          <a:xfrm rot="5400000">
            <a:off x="7109719" y="1867021"/>
            <a:ext cx="97419" cy="225167"/>
            <a:chOff x="2500095" y="2302106"/>
            <a:chExt cx="877758" cy="2028786"/>
          </a:xfrm>
          <a:solidFill>
            <a:schemeClr val="bg1">
              <a:lumMod val="65000"/>
              <a:alpha val="57000"/>
            </a:schemeClr>
          </a:solidFill>
        </p:grpSpPr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CEDD8C52-30D6-446C-A499-9D520715E102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90" name="平行四边形 89">
              <a:extLst>
                <a:ext uri="{FF2B5EF4-FFF2-40B4-BE49-F238E27FC236}">
                  <a16:creationId xmlns:a16="http://schemas.microsoft.com/office/drawing/2014/main" id="{2591D54A-BF53-4A55-82F7-FAB9A8B73B41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91" name="平行四边形 90">
              <a:extLst>
                <a:ext uri="{FF2B5EF4-FFF2-40B4-BE49-F238E27FC236}">
                  <a16:creationId xmlns:a16="http://schemas.microsoft.com/office/drawing/2014/main" id="{ABE0B1BE-BE57-4901-9B88-981CBF57EF08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96" name="组合 95">
            <a:extLst>
              <a:ext uri="{FF2B5EF4-FFF2-40B4-BE49-F238E27FC236}">
                <a16:creationId xmlns:a16="http://schemas.microsoft.com/office/drawing/2014/main" id="{04064539-A41F-4D1C-9AC3-8C424B85237D}"/>
              </a:ext>
            </a:extLst>
          </p:cNvPr>
          <p:cNvGrpSpPr/>
          <p:nvPr/>
        </p:nvGrpSpPr>
        <p:grpSpPr>
          <a:xfrm rot="5400000">
            <a:off x="7109719" y="5622569"/>
            <a:ext cx="97419" cy="225167"/>
            <a:chOff x="2500095" y="2302106"/>
            <a:chExt cx="877758" cy="2028786"/>
          </a:xfrm>
          <a:solidFill>
            <a:schemeClr val="bg1">
              <a:lumMod val="65000"/>
              <a:alpha val="57000"/>
            </a:schemeClr>
          </a:solidFill>
        </p:grpSpPr>
        <p:sp>
          <p:nvSpPr>
            <p:cNvPr id="97" name="矩形 96">
              <a:extLst>
                <a:ext uri="{FF2B5EF4-FFF2-40B4-BE49-F238E27FC236}">
                  <a16:creationId xmlns:a16="http://schemas.microsoft.com/office/drawing/2014/main" id="{17D40A35-7CAC-441A-ADA1-A8102B0528DB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98" name="平行四边形 97">
              <a:extLst>
                <a:ext uri="{FF2B5EF4-FFF2-40B4-BE49-F238E27FC236}">
                  <a16:creationId xmlns:a16="http://schemas.microsoft.com/office/drawing/2014/main" id="{0B6721F2-B212-4BB6-98EF-AAB71E137800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99" name="平行四边形 98">
              <a:extLst>
                <a:ext uri="{FF2B5EF4-FFF2-40B4-BE49-F238E27FC236}">
                  <a16:creationId xmlns:a16="http://schemas.microsoft.com/office/drawing/2014/main" id="{DF080E94-DDF8-4B93-8738-084A510F487D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100" name="组合 99">
            <a:extLst>
              <a:ext uri="{FF2B5EF4-FFF2-40B4-BE49-F238E27FC236}">
                <a16:creationId xmlns:a16="http://schemas.microsoft.com/office/drawing/2014/main" id="{39748D91-40FD-42CB-9F35-F64C1BE174E0}"/>
              </a:ext>
            </a:extLst>
          </p:cNvPr>
          <p:cNvGrpSpPr/>
          <p:nvPr/>
        </p:nvGrpSpPr>
        <p:grpSpPr>
          <a:xfrm rot="5400000">
            <a:off x="9153044" y="1867021"/>
            <a:ext cx="97419" cy="225167"/>
            <a:chOff x="2500095" y="2302106"/>
            <a:chExt cx="877758" cy="2028786"/>
          </a:xfrm>
          <a:solidFill>
            <a:schemeClr val="bg1">
              <a:lumMod val="65000"/>
              <a:alpha val="57000"/>
            </a:schemeClr>
          </a:solidFill>
        </p:grpSpPr>
        <p:sp>
          <p:nvSpPr>
            <p:cNvPr id="101" name="矩形 100">
              <a:extLst>
                <a:ext uri="{FF2B5EF4-FFF2-40B4-BE49-F238E27FC236}">
                  <a16:creationId xmlns:a16="http://schemas.microsoft.com/office/drawing/2014/main" id="{84865C0A-3565-4BBA-8224-8B0DFAC21BCD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102" name="平行四边形 101">
              <a:extLst>
                <a:ext uri="{FF2B5EF4-FFF2-40B4-BE49-F238E27FC236}">
                  <a16:creationId xmlns:a16="http://schemas.microsoft.com/office/drawing/2014/main" id="{BEA93C91-015B-4403-882F-CD7883257898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103" name="平行四边形 102">
              <a:extLst>
                <a:ext uri="{FF2B5EF4-FFF2-40B4-BE49-F238E27FC236}">
                  <a16:creationId xmlns:a16="http://schemas.microsoft.com/office/drawing/2014/main" id="{2CFD5F9E-F88D-46F0-8105-50D85AA5BAE2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sp>
        <p:nvSpPr>
          <p:cNvPr id="36" name="圆角矩形 35"/>
          <p:cNvSpPr/>
          <p:nvPr/>
        </p:nvSpPr>
        <p:spPr>
          <a:xfrm>
            <a:off x="1087746" y="3077374"/>
            <a:ext cx="1801755" cy="1129003"/>
          </a:xfrm>
          <a:prstGeom prst="rect">
            <a:avLst/>
          </a:prstGeom>
          <a:noFill/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定位社区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颗粒度</a:t>
            </a:r>
          </a:p>
        </p:txBody>
      </p:sp>
      <p:sp>
        <p:nvSpPr>
          <p:cNvPr id="39" name="圆角矩形 38"/>
          <p:cNvSpPr/>
          <p:nvPr/>
        </p:nvSpPr>
        <p:spPr>
          <a:xfrm>
            <a:off x="3141435" y="3077374"/>
            <a:ext cx="1801755" cy="1129003"/>
          </a:xfrm>
          <a:prstGeom prst="rect">
            <a:avLst/>
          </a:prstGeom>
          <a:noFill/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摇一摇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老虎机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品牌大乐透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</p:txBody>
      </p:sp>
      <p:sp>
        <p:nvSpPr>
          <p:cNvPr id="41" name="圆角矩形 40"/>
          <p:cNvSpPr/>
          <p:nvPr/>
        </p:nvSpPr>
        <p:spPr>
          <a:xfrm>
            <a:off x="5195124" y="3077374"/>
            <a:ext cx="1801755" cy="1129003"/>
          </a:xfrm>
          <a:prstGeom prst="rect">
            <a:avLst/>
          </a:prstGeom>
          <a:noFill/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物流配送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到店领取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注销核对</a:t>
            </a:r>
          </a:p>
        </p:txBody>
      </p:sp>
      <p:sp>
        <p:nvSpPr>
          <p:cNvPr id="43" name="圆角矩形 42"/>
          <p:cNvSpPr/>
          <p:nvPr/>
        </p:nvSpPr>
        <p:spPr>
          <a:xfrm>
            <a:off x="7248812" y="3077375"/>
            <a:ext cx="1801755" cy="1129003"/>
          </a:xfrm>
          <a:prstGeom prst="rect">
            <a:avLst/>
          </a:prstGeom>
          <a:noFill/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闪购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优惠券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商户摇奖器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9302500" y="3077375"/>
            <a:ext cx="1801755" cy="1129003"/>
          </a:xfrm>
          <a:prstGeom prst="rect">
            <a:avLst/>
          </a:prstGeom>
          <a:noFill/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参与活动用户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rPr>
              <a:t>自动订阅商户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14F5D90-AF92-480B-A990-1AECC0C2D33F}"/>
              </a:ext>
            </a:extLst>
          </p:cNvPr>
          <p:cNvSpPr/>
          <p:nvPr/>
        </p:nvSpPr>
        <p:spPr>
          <a:xfrm>
            <a:off x="1572118" y="4214799"/>
            <a:ext cx="1005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宣传推广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97A1A3E-12E8-4498-95D3-2A76ED352202}"/>
              </a:ext>
            </a:extLst>
          </p:cNvPr>
          <p:cNvSpPr/>
          <p:nvPr/>
        </p:nvSpPr>
        <p:spPr>
          <a:xfrm>
            <a:off x="3434651" y="4214799"/>
            <a:ext cx="12105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多趣味参与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2D86DA5-C3C1-4C7C-B31F-1FCC8419534C}"/>
              </a:ext>
            </a:extLst>
          </p:cNvPr>
          <p:cNvSpPr/>
          <p:nvPr/>
        </p:nvSpPr>
        <p:spPr>
          <a:xfrm>
            <a:off x="5490706" y="4214799"/>
            <a:ext cx="12105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多方式体验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 Light"/>
              <a:ea typeface="微软雅黑 Light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8BE829C-5DFC-4A0D-81CA-3493A2645D44}"/>
              </a:ext>
            </a:extLst>
          </p:cNvPr>
          <p:cNvSpPr/>
          <p:nvPr/>
        </p:nvSpPr>
        <p:spPr>
          <a:xfrm>
            <a:off x="7300932" y="4214799"/>
            <a:ext cx="16209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进一步拉近用户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F7E804A-A38B-4E68-9365-0B4042D94F46}"/>
              </a:ext>
            </a:extLst>
          </p:cNvPr>
          <p:cNvSpPr/>
          <p:nvPr/>
        </p:nvSpPr>
        <p:spPr>
          <a:xfrm>
            <a:off x="9187713" y="4214799"/>
            <a:ext cx="20313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rPr>
              <a:t>达成营销关系链搭建</a:t>
            </a:r>
          </a:p>
        </p:txBody>
      </p: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6BB7DADB-5821-4C2E-8BC8-793179A4889E}"/>
              </a:ext>
            </a:extLst>
          </p:cNvPr>
          <p:cNvGrpSpPr/>
          <p:nvPr/>
        </p:nvGrpSpPr>
        <p:grpSpPr>
          <a:xfrm rot="5400000">
            <a:off x="3082376" y="3440887"/>
            <a:ext cx="97419" cy="225167"/>
            <a:chOff x="2500095" y="2302106"/>
            <a:chExt cx="877758" cy="2028786"/>
          </a:xfrm>
          <a:solidFill>
            <a:schemeClr val="bg1">
              <a:alpha val="87000"/>
            </a:schemeClr>
          </a:solidFill>
        </p:grpSpPr>
        <p:sp>
          <p:nvSpPr>
            <p:cNvPr id="69" name="矩形 68">
              <a:extLst>
                <a:ext uri="{FF2B5EF4-FFF2-40B4-BE49-F238E27FC236}">
                  <a16:creationId xmlns:a16="http://schemas.microsoft.com/office/drawing/2014/main" id="{0B76DC06-6286-4C83-B1A4-36293DB766D6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70" name="平行四边形 69">
              <a:extLst>
                <a:ext uri="{FF2B5EF4-FFF2-40B4-BE49-F238E27FC236}">
                  <a16:creationId xmlns:a16="http://schemas.microsoft.com/office/drawing/2014/main" id="{DB921DB9-5A7F-4B2A-B301-FE2D9F615A59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71" name="平行四边形 70">
              <a:extLst>
                <a:ext uri="{FF2B5EF4-FFF2-40B4-BE49-F238E27FC236}">
                  <a16:creationId xmlns:a16="http://schemas.microsoft.com/office/drawing/2014/main" id="{A73E2CEF-FA91-4A45-8FA4-DC3C7AB5DEFC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FDD4EFB0-A355-4353-98F3-5EE5E1DA5A9F}"/>
              </a:ext>
            </a:extLst>
          </p:cNvPr>
          <p:cNvGrpSpPr/>
          <p:nvPr/>
        </p:nvGrpSpPr>
        <p:grpSpPr>
          <a:xfrm rot="5400000">
            <a:off x="5113659" y="3440887"/>
            <a:ext cx="97419" cy="225167"/>
            <a:chOff x="2500095" y="2302106"/>
            <a:chExt cx="877758" cy="2028786"/>
          </a:xfrm>
          <a:solidFill>
            <a:schemeClr val="bg1">
              <a:alpha val="87000"/>
            </a:schemeClr>
          </a:solidFill>
        </p:grpSpPr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2555E8C4-E552-4C75-9111-D8E50EA08747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82" name="平行四边形 81">
              <a:extLst>
                <a:ext uri="{FF2B5EF4-FFF2-40B4-BE49-F238E27FC236}">
                  <a16:creationId xmlns:a16="http://schemas.microsoft.com/office/drawing/2014/main" id="{482D378F-634A-463D-B997-B6DB18852F65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83" name="平行四边形 82">
              <a:extLst>
                <a:ext uri="{FF2B5EF4-FFF2-40B4-BE49-F238E27FC236}">
                  <a16:creationId xmlns:a16="http://schemas.microsoft.com/office/drawing/2014/main" id="{2E012EAD-4EEF-4B74-BFF7-389B5A9E9625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92" name="组合 91">
            <a:extLst>
              <a:ext uri="{FF2B5EF4-FFF2-40B4-BE49-F238E27FC236}">
                <a16:creationId xmlns:a16="http://schemas.microsoft.com/office/drawing/2014/main" id="{EFB1F886-382F-4B7F-9DF7-301ECFB01231}"/>
              </a:ext>
            </a:extLst>
          </p:cNvPr>
          <p:cNvGrpSpPr/>
          <p:nvPr/>
        </p:nvGrpSpPr>
        <p:grpSpPr>
          <a:xfrm rot="5400000">
            <a:off x="7109719" y="3440887"/>
            <a:ext cx="97419" cy="225167"/>
            <a:chOff x="2500095" y="2302106"/>
            <a:chExt cx="877758" cy="2028786"/>
          </a:xfrm>
          <a:solidFill>
            <a:schemeClr val="bg1">
              <a:alpha val="87000"/>
            </a:schemeClr>
          </a:solidFill>
        </p:grpSpPr>
        <p:sp>
          <p:nvSpPr>
            <p:cNvPr id="93" name="矩形 92">
              <a:extLst>
                <a:ext uri="{FF2B5EF4-FFF2-40B4-BE49-F238E27FC236}">
                  <a16:creationId xmlns:a16="http://schemas.microsoft.com/office/drawing/2014/main" id="{EFA500C7-2B37-4EB2-AE62-609D28F3982F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94" name="平行四边形 93">
              <a:extLst>
                <a:ext uri="{FF2B5EF4-FFF2-40B4-BE49-F238E27FC236}">
                  <a16:creationId xmlns:a16="http://schemas.microsoft.com/office/drawing/2014/main" id="{F0FF557D-68BA-44E7-937D-2B448C2BDD4E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95" name="平行四边形 94">
              <a:extLst>
                <a:ext uri="{FF2B5EF4-FFF2-40B4-BE49-F238E27FC236}">
                  <a16:creationId xmlns:a16="http://schemas.microsoft.com/office/drawing/2014/main" id="{763F34DD-863B-44B2-846E-BDF545C3B5F3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104" name="组合 103">
            <a:extLst>
              <a:ext uri="{FF2B5EF4-FFF2-40B4-BE49-F238E27FC236}">
                <a16:creationId xmlns:a16="http://schemas.microsoft.com/office/drawing/2014/main" id="{2AC55658-F2A7-4633-8FD0-8085C7F13211}"/>
              </a:ext>
            </a:extLst>
          </p:cNvPr>
          <p:cNvGrpSpPr/>
          <p:nvPr/>
        </p:nvGrpSpPr>
        <p:grpSpPr>
          <a:xfrm rot="5400000">
            <a:off x="9153044" y="3440887"/>
            <a:ext cx="97419" cy="225167"/>
            <a:chOff x="2500095" y="2302106"/>
            <a:chExt cx="877758" cy="2028786"/>
          </a:xfrm>
          <a:solidFill>
            <a:schemeClr val="bg1">
              <a:alpha val="87000"/>
            </a:schemeClr>
          </a:solidFill>
        </p:grpSpPr>
        <p:sp>
          <p:nvSpPr>
            <p:cNvPr id="105" name="矩形 104">
              <a:extLst>
                <a:ext uri="{FF2B5EF4-FFF2-40B4-BE49-F238E27FC236}">
                  <a16:creationId xmlns:a16="http://schemas.microsoft.com/office/drawing/2014/main" id="{D0C58F15-910C-423C-AC0E-BD3BBD9445C4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106" name="平行四边形 105">
              <a:extLst>
                <a:ext uri="{FF2B5EF4-FFF2-40B4-BE49-F238E27FC236}">
                  <a16:creationId xmlns:a16="http://schemas.microsoft.com/office/drawing/2014/main" id="{A9EF5842-FD09-4D5B-8DEF-C6FF1A1A37C3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107" name="平行四边形 106">
              <a:extLst>
                <a:ext uri="{FF2B5EF4-FFF2-40B4-BE49-F238E27FC236}">
                  <a16:creationId xmlns:a16="http://schemas.microsoft.com/office/drawing/2014/main" id="{A0D039C6-7C46-4719-9BB9-591C32885929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  <p:grpSp>
        <p:nvGrpSpPr>
          <p:cNvPr id="108" name="组合 107">
            <a:extLst>
              <a:ext uri="{FF2B5EF4-FFF2-40B4-BE49-F238E27FC236}">
                <a16:creationId xmlns:a16="http://schemas.microsoft.com/office/drawing/2014/main" id="{5D1EFBB4-4D75-4B68-93A4-F18C9D206368}"/>
              </a:ext>
            </a:extLst>
          </p:cNvPr>
          <p:cNvGrpSpPr/>
          <p:nvPr/>
        </p:nvGrpSpPr>
        <p:grpSpPr>
          <a:xfrm rot="5400000">
            <a:off x="9153044" y="5622569"/>
            <a:ext cx="97419" cy="225167"/>
            <a:chOff x="2500095" y="2302106"/>
            <a:chExt cx="877758" cy="2028786"/>
          </a:xfrm>
          <a:solidFill>
            <a:schemeClr val="bg1">
              <a:lumMod val="65000"/>
              <a:alpha val="57000"/>
            </a:schemeClr>
          </a:solidFill>
        </p:grpSpPr>
        <p:sp>
          <p:nvSpPr>
            <p:cNvPr id="109" name="矩形 108">
              <a:extLst>
                <a:ext uri="{FF2B5EF4-FFF2-40B4-BE49-F238E27FC236}">
                  <a16:creationId xmlns:a16="http://schemas.microsoft.com/office/drawing/2014/main" id="{0C403338-8D8B-4D91-A8CC-1C5B5FB6BEC7}"/>
                </a:ext>
              </a:extLst>
            </p:cNvPr>
            <p:cNvSpPr/>
            <p:nvPr/>
          </p:nvSpPr>
          <p:spPr>
            <a:xfrm>
              <a:off x="2805050" y="2451935"/>
              <a:ext cx="265463" cy="18789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110" name="平行四边形 109">
              <a:extLst>
                <a:ext uri="{FF2B5EF4-FFF2-40B4-BE49-F238E27FC236}">
                  <a16:creationId xmlns:a16="http://schemas.microsoft.com/office/drawing/2014/main" id="{272F42CB-7712-4A4C-A47C-6D00ACD29439}"/>
                </a:ext>
              </a:extLst>
            </p:cNvPr>
            <p:cNvSpPr/>
            <p:nvPr/>
          </p:nvSpPr>
          <p:spPr>
            <a:xfrm rot="5400000">
              <a:off x="2790821" y="2449066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  <p:sp>
          <p:nvSpPr>
            <p:cNvPr id="111" name="平行四边形 110">
              <a:extLst>
                <a:ext uri="{FF2B5EF4-FFF2-40B4-BE49-F238E27FC236}">
                  <a16:creationId xmlns:a16="http://schemas.microsoft.com/office/drawing/2014/main" id="{A088FEA9-5A66-40F8-9B7B-793325FD8AD2}"/>
                </a:ext>
              </a:extLst>
            </p:cNvPr>
            <p:cNvSpPr/>
            <p:nvPr/>
          </p:nvSpPr>
          <p:spPr>
            <a:xfrm rot="16200000" flipH="1">
              <a:off x="2353135" y="2449067"/>
              <a:ext cx="733992" cy="440072"/>
            </a:xfrm>
            <a:prstGeom prst="parallelogram">
              <a:avLst>
                <a:gd name="adj" fmla="val 1041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 Light"/>
                <a:ea typeface="微软雅黑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567345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F1F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图片 51">
            <a:extLst>
              <a:ext uri="{FF2B5EF4-FFF2-40B4-BE49-F238E27FC236}">
                <a16:creationId xmlns:a16="http://schemas.microsoft.com/office/drawing/2014/main" id="{B91AF4CA-FA91-4FA8-9A61-CAD77F96C3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635" b="455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3" name="矩形 52">
            <a:extLst>
              <a:ext uri="{FF2B5EF4-FFF2-40B4-BE49-F238E27FC236}">
                <a16:creationId xmlns:a16="http://schemas.microsoft.com/office/drawing/2014/main" id="{51A420B9-5842-46CE-B913-20F1AD6D81B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F1F4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E07312-1122-4CA4-ACA0-C8D2D26C967E}"/>
              </a:ext>
            </a:extLst>
          </p:cNvPr>
          <p:cNvSpPr/>
          <p:nvPr/>
        </p:nvSpPr>
        <p:spPr>
          <a:xfrm>
            <a:off x="849773" y="929868"/>
            <a:ext cx="18261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EC492"/>
                    </a:gs>
                    <a:gs pos="100000">
                      <a:srgbClr val="FAEFE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活动流程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643EAB2C-E35B-4A8D-843B-8281C44ABB98}"/>
              </a:ext>
            </a:extLst>
          </p:cNvPr>
          <p:cNvGrpSpPr/>
          <p:nvPr/>
        </p:nvGrpSpPr>
        <p:grpSpPr>
          <a:xfrm>
            <a:off x="1004342" y="2125728"/>
            <a:ext cx="10211658" cy="3678797"/>
            <a:chOff x="2310043" y="1711177"/>
            <a:chExt cx="6075844" cy="2188851"/>
          </a:xfrm>
          <a:noFill/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3F0E09E-74D3-4FB1-B11F-8BDFB3686342}"/>
                </a:ext>
              </a:extLst>
            </p:cNvPr>
            <p:cNvSpPr/>
            <p:nvPr/>
          </p:nvSpPr>
          <p:spPr>
            <a:xfrm>
              <a:off x="2310043" y="1711177"/>
              <a:ext cx="6075844" cy="1903182"/>
            </a:xfrm>
            <a:custGeom>
              <a:avLst/>
              <a:gdLst>
                <a:gd name="connsiteX0" fmla="*/ 2163830 w 6075844"/>
                <a:gd name="connsiteY0" fmla="*/ 733 h 1905423"/>
                <a:gd name="connsiteX1" fmla="*/ 3443057 w 6075844"/>
                <a:gd name="connsiteY1" fmla="*/ 83754 h 1905423"/>
                <a:gd name="connsiteX2" fmla="*/ 4501390 w 6075844"/>
                <a:gd name="connsiteY2" fmla="*/ 655254 h 1905423"/>
                <a:gd name="connsiteX3" fmla="*/ 4696124 w 6075844"/>
                <a:gd name="connsiteY3" fmla="*/ 672188 h 1905423"/>
                <a:gd name="connsiteX4" fmla="*/ 5983057 w 6075844"/>
                <a:gd name="connsiteY4" fmla="*/ 1040488 h 1905423"/>
                <a:gd name="connsiteX5" fmla="*/ 6033857 w 6075844"/>
                <a:gd name="connsiteY5" fmla="*/ 1810955 h 1905423"/>
                <a:gd name="connsiteX6" fmla="*/ 5276090 w 6075844"/>
                <a:gd name="connsiteY6" fmla="*/ 1891388 h 1905423"/>
                <a:gd name="connsiteX7" fmla="*/ 5218777 w 6075844"/>
                <a:gd name="connsiteY7" fmla="*/ 1892368 h 1905423"/>
                <a:gd name="connsiteX8" fmla="*/ 5239987 w 6075844"/>
                <a:gd name="connsiteY8" fmla="*/ 1824042 h 1905423"/>
                <a:gd name="connsiteX9" fmla="*/ 5250694 w 6075844"/>
                <a:gd name="connsiteY9" fmla="*/ 1717823 h 1905423"/>
                <a:gd name="connsiteX10" fmla="*/ 4723644 w 6075844"/>
                <a:gd name="connsiteY10" fmla="*/ 1190773 h 1905423"/>
                <a:gd name="connsiteX11" fmla="*/ 4196594 w 6075844"/>
                <a:gd name="connsiteY11" fmla="*/ 1717823 h 1905423"/>
                <a:gd name="connsiteX12" fmla="*/ 4207302 w 6075844"/>
                <a:gd name="connsiteY12" fmla="*/ 1824042 h 1905423"/>
                <a:gd name="connsiteX13" fmla="*/ 4231560 w 6075844"/>
                <a:gd name="connsiteY13" fmla="*/ 1902188 h 1905423"/>
                <a:gd name="connsiteX14" fmla="*/ 4066850 w 6075844"/>
                <a:gd name="connsiteY14" fmla="*/ 1903182 h 1905423"/>
                <a:gd name="connsiteX15" fmla="*/ 1457624 w 6075844"/>
                <a:gd name="connsiteY15" fmla="*/ 1899854 h 1905423"/>
                <a:gd name="connsiteX16" fmla="*/ 1415712 w 6075844"/>
                <a:gd name="connsiteY16" fmla="*/ 1897048 h 1905423"/>
                <a:gd name="connsiteX17" fmla="*/ 1438374 w 6075844"/>
                <a:gd name="connsiteY17" fmla="*/ 1824042 h 1905423"/>
                <a:gd name="connsiteX18" fmla="*/ 1449082 w 6075844"/>
                <a:gd name="connsiteY18" fmla="*/ 1717823 h 1905423"/>
                <a:gd name="connsiteX19" fmla="*/ 922032 w 6075844"/>
                <a:gd name="connsiteY19" fmla="*/ 1190773 h 1905423"/>
                <a:gd name="connsiteX20" fmla="*/ 394982 w 6075844"/>
                <a:gd name="connsiteY20" fmla="*/ 1717823 h 1905423"/>
                <a:gd name="connsiteX21" fmla="*/ 405420 w 6075844"/>
                <a:gd name="connsiteY21" fmla="*/ 1821367 h 1905423"/>
                <a:gd name="connsiteX22" fmla="*/ 47924 w 6075844"/>
                <a:gd name="connsiteY22" fmla="*/ 1726288 h 1905423"/>
                <a:gd name="connsiteX23" fmla="*/ 1357 w 6075844"/>
                <a:gd name="connsiteY23" fmla="*/ 1400321 h 1905423"/>
                <a:gd name="connsiteX24" fmla="*/ 98724 w 6075844"/>
                <a:gd name="connsiteY24" fmla="*/ 1269088 h 1905423"/>
                <a:gd name="connsiteX25" fmla="*/ 149524 w 6075844"/>
                <a:gd name="connsiteY25" fmla="*/ 811888 h 1905423"/>
                <a:gd name="connsiteX26" fmla="*/ 543224 w 6075844"/>
                <a:gd name="connsiteY26" fmla="*/ 227688 h 1905423"/>
                <a:gd name="connsiteX27" fmla="*/ 488190 w 6075844"/>
                <a:gd name="connsiteY27" fmla="*/ 176888 h 1905423"/>
                <a:gd name="connsiteX28" fmla="*/ 2163830 w 6075844"/>
                <a:gd name="connsiteY28" fmla="*/ 733 h 1905423"/>
                <a:gd name="connsiteX0" fmla="*/ 2163830 w 6075844"/>
                <a:gd name="connsiteY0" fmla="*/ 733 h 1903182"/>
                <a:gd name="connsiteX1" fmla="*/ 3443057 w 6075844"/>
                <a:gd name="connsiteY1" fmla="*/ 83754 h 1903182"/>
                <a:gd name="connsiteX2" fmla="*/ 4501390 w 6075844"/>
                <a:gd name="connsiteY2" fmla="*/ 655254 h 1903182"/>
                <a:gd name="connsiteX3" fmla="*/ 4696124 w 6075844"/>
                <a:gd name="connsiteY3" fmla="*/ 672188 h 1903182"/>
                <a:gd name="connsiteX4" fmla="*/ 5983057 w 6075844"/>
                <a:gd name="connsiteY4" fmla="*/ 1040488 h 1903182"/>
                <a:gd name="connsiteX5" fmla="*/ 6033857 w 6075844"/>
                <a:gd name="connsiteY5" fmla="*/ 1810955 h 1903182"/>
                <a:gd name="connsiteX6" fmla="*/ 5276090 w 6075844"/>
                <a:gd name="connsiteY6" fmla="*/ 1891388 h 1903182"/>
                <a:gd name="connsiteX7" fmla="*/ 5218777 w 6075844"/>
                <a:gd name="connsiteY7" fmla="*/ 1892368 h 1903182"/>
                <a:gd name="connsiteX8" fmla="*/ 5239987 w 6075844"/>
                <a:gd name="connsiteY8" fmla="*/ 1824042 h 1903182"/>
                <a:gd name="connsiteX9" fmla="*/ 5250694 w 6075844"/>
                <a:gd name="connsiteY9" fmla="*/ 1717823 h 1903182"/>
                <a:gd name="connsiteX10" fmla="*/ 4723644 w 6075844"/>
                <a:gd name="connsiteY10" fmla="*/ 1190773 h 1903182"/>
                <a:gd name="connsiteX11" fmla="*/ 4196594 w 6075844"/>
                <a:gd name="connsiteY11" fmla="*/ 1717823 h 1903182"/>
                <a:gd name="connsiteX12" fmla="*/ 4207302 w 6075844"/>
                <a:gd name="connsiteY12" fmla="*/ 1824042 h 1903182"/>
                <a:gd name="connsiteX13" fmla="*/ 4231560 w 6075844"/>
                <a:gd name="connsiteY13" fmla="*/ 1902188 h 1903182"/>
                <a:gd name="connsiteX14" fmla="*/ 4066850 w 6075844"/>
                <a:gd name="connsiteY14" fmla="*/ 1903182 h 1903182"/>
                <a:gd name="connsiteX15" fmla="*/ 1457624 w 6075844"/>
                <a:gd name="connsiteY15" fmla="*/ 1899854 h 1903182"/>
                <a:gd name="connsiteX16" fmla="*/ 1415712 w 6075844"/>
                <a:gd name="connsiteY16" fmla="*/ 1897048 h 1903182"/>
                <a:gd name="connsiteX17" fmla="*/ 1438374 w 6075844"/>
                <a:gd name="connsiteY17" fmla="*/ 1824042 h 1903182"/>
                <a:gd name="connsiteX18" fmla="*/ 1449082 w 6075844"/>
                <a:gd name="connsiteY18" fmla="*/ 1717823 h 1903182"/>
                <a:gd name="connsiteX19" fmla="*/ 922032 w 6075844"/>
                <a:gd name="connsiteY19" fmla="*/ 1190773 h 1903182"/>
                <a:gd name="connsiteX20" fmla="*/ 394982 w 6075844"/>
                <a:gd name="connsiteY20" fmla="*/ 1717823 h 1903182"/>
                <a:gd name="connsiteX21" fmla="*/ 405420 w 6075844"/>
                <a:gd name="connsiteY21" fmla="*/ 1821367 h 1903182"/>
                <a:gd name="connsiteX22" fmla="*/ 47924 w 6075844"/>
                <a:gd name="connsiteY22" fmla="*/ 1726288 h 1903182"/>
                <a:gd name="connsiteX23" fmla="*/ 1357 w 6075844"/>
                <a:gd name="connsiteY23" fmla="*/ 1400321 h 1903182"/>
                <a:gd name="connsiteX24" fmla="*/ 98724 w 6075844"/>
                <a:gd name="connsiteY24" fmla="*/ 1269088 h 1903182"/>
                <a:gd name="connsiteX25" fmla="*/ 149524 w 6075844"/>
                <a:gd name="connsiteY25" fmla="*/ 811888 h 1903182"/>
                <a:gd name="connsiteX26" fmla="*/ 543224 w 6075844"/>
                <a:gd name="connsiteY26" fmla="*/ 227688 h 1903182"/>
                <a:gd name="connsiteX27" fmla="*/ 488190 w 6075844"/>
                <a:gd name="connsiteY27" fmla="*/ 176888 h 1903182"/>
                <a:gd name="connsiteX28" fmla="*/ 2163830 w 6075844"/>
                <a:gd name="connsiteY28" fmla="*/ 733 h 1903182"/>
                <a:gd name="connsiteX0" fmla="*/ 2163830 w 6075844"/>
                <a:gd name="connsiteY0" fmla="*/ 733 h 1903182"/>
                <a:gd name="connsiteX1" fmla="*/ 3443057 w 6075844"/>
                <a:gd name="connsiteY1" fmla="*/ 83754 h 1903182"/>
                <a:gd name="connsiteX2" fmla="*/ 4501390 w 6075844"/>
                <a:gd name="connsiteY2" fmla="*/ 655254 h 1903182"/>
                <a:gd name="connsiteX3" fmla="*/ 4696124 w 6075844"/>
                <a:gd name="connsiteY3" fmla="*/ 672188 h 1903182"/>
                <a:gd name="connsiteX4" fmla="*/ 5983057 w 6075844"/>
                <a:gd name="connsiteY4" fmla="*/ 1040488 h 1903182"/>
                <a:gd name="connsiteX5" fmla="*/ 6033857 w 6075844"/>
                <a:gd name="connsiteY5" fmla="*/ 1810955 h 1903182"/>
                <a:gd name="connsiteX6" fmla="*/ 5276090 w 6075844"/>
                <a:gd name="connsiteY6" fmla="*/ 1891388 h 1903182"/>
                <a:gd name="connsiteX7" fmla="*/ 5218777 w 6075844"/>
                <a:gd name="connsiteY7" fmla="*/ 1892368 h 1903182"/>
                <a:gd name="connsiteX8" fmla="*/ 5239987 w 6075844"/>
                <a:gd name="connsiteY8" fmla="*/ 1824042 h 1903182"/>
                <a:gd name="connsiteX9" fmla="*/ 5250694 w 6075844"/>
                <a:gd name="connsiteY9" fmla="*/ 1717823 h 1903182"/>
                <a:gd name="connsiteX10" fmla="*/ 4723644 w 6075844"/>
                <a:gd name="connsiteY10" fmla="*/ 1190773 h 1903182"/>
                <a:gd name="connsiteX11" fmla="*/ 4196594 w 6075844"/>
                <a:gd name="connsiteY11" fmla="*/ 1717823 h 1903182"/>
                <a:gd name="connsiteX12" fmla="*/ 4207302 w 6075844"/>
                <a:gd name="connsiteY12" fmla="*/ 1824042 h 1903182"/>
                <a:gd name="connsiteX13" fmla="*/ 4231560 w 6075844"/>
                <a:gd name="connsiteY13" fmla="*/ 1902188 h 1903182"/>
                <a:gd name="connsiteX14" fmla="*/ 4066850 w 6075844"/>
                <a:gd name="connsiteY14" fmla="*/ 1903182 h 1903182"/>
                <a:gd name="connsiteX15" fmla="*/ 1457624 w 6075844"/>
                <a:gd name="connsiteY15" fmla="*/ 1899854 h 1903182"/>
                <a:gd name="connsiteX16" fmla="*/ 1415712 w 6075844"/>
                <a:gd name="connsiteY16" fmla="*/ 1897048 h 1903182"/>
                <a:gd name="connsiteX17" fmla="*/ 1438374 w 6075844"/>
                <a:gd name="connsiteY17" fmla="*/ 1824042 h 1903182"/>
                <a:gd name="connsiteX18" fmla="*/ 1449082 w 6075844"/>
                <a:gd name="connsiteY18" fmla="*/ 1717823 h 1903182"/>
                <a:gd name="connsiteX19" fmla="*/ 922032 w 6075844"/>
                <a:gd name="connsiteY19" fmla="*/ 1190773 h 1903182"/>
                <a:gd name="connsiteX20" fmla="*/ 394982 w 6075844"/>
                <a:gd name="connsiteY20" fmla="*/ 1717823 h 1903182"/>
                <a:gd name="connsiteX21" fmla="*/ 405420 w 6075844"/>
                <a:gd name="connsiteY21" fmla="*/ 1821367 h 1903182"/>
                <a:gd name="connsiteX22" fmla="*/ 47924 w 6075844"/>
                <a:gd name="connsiteY22" fmla="*/ 1726288 h 1903182"/>
                <a:gd name="connsiteX23" fmla="*/ 1357 w 6075844"/>
                <a:gd name="connsiteY23" fmla="*/ 1400321 h 1903182"/>
                <a:gd name="connsiteX24" fmla="*/ 98724 w 6075844"/>
                <a:gd name="connsiteY24" fmla="*/ 1269088 h 1903182"/>
                <a:gd name="connsiteX25" fmla="*/ 149524 w 6075844"/>
                <a:gd name="connsiteY25" fmla="*/ 811888 h 1903182"/>
                <a:gd name="connsiteX26" fmla="*/ 543224 w 6075844"/>
                <a:gd name="connsiteY26" fmla="*/ 227688 h 1903182"/>
                <a:gd name="connsiteX27" fmla="*/ 488190 w 6075844"/>
                <a:gd name="connsiteY27" fmla="*/ 176888 h 1903182"/>
                <a:gd name="connsiteX28" fmla="*/ 2163830 w 6075844"/>
                <a:gd name="connsiteY28" fmla="*/ 733 h 1903182"/>
                <a:gd name="connsiteX0" fmla="*/ 2163830 w 6075844"/>
                <a:gd name="connsiteY0" fmla="*/ 733 h 1903182"/>
                <a:gd name="connsiteX1" fmla="*/ 3443057 w 6075844"/>
                <a:gd name="connsiteY1" fmla="*/ 83754 h 1903182"/>
                <a:gd name="connsiteX2" fmla="*/ 4501390 w 6075844"/>
                <a:gd name="connsiteY2" fmla="*/ 655254 h 1903182"/>
                <a:gd name="connsiteX3" fmla="*/ 4696124 w 6075844"/>
                <a:gd name="connsiteY3" fmla="*/ 672188 h 1903182"/>
                <a:gd name="connsiteX4" fmla="*/ 5983057 w 6075844"/>
                <a:gd name="connsiteY4" fmla="*/ 1040488 h 1903182"/>
                <a:gd name="connsiteX5" fmla="*/ 6033857 w 6075844"/>
                <a:gd name="connsiteY5" fmla="*/ 1810955 h 1903182"/>
                <a:gd name="connsiteX6" fmla="*/ 5276090 w 6075844"/>
                <a:gd name="connsiteY6" fmla="*/ 1891388 h 1903182"/>
                <a:gd name="connsiteX7" fmla="*/ 5218777 w 6075844"/>
                <a:gd name="connsiteY7" fmla="*/ 1892368 h 1903182"/>
                <a:gd name="connsiteX8" fmla="*/ 5239987 w 6075844"/>
                <a:gd name="connsiteY8" fmla="*/ 1824042 h 1903182"/>
                <a:gd name="connsiteX9" fmla="*/ 5250694 w 6075844"/>
                <a:gd name="connsiteY9" fmla="*/ 1717823 h 1903182"/>
                <a:gd name="connsiteX10" fmla="*/ 4723644 w 6075844"/>
                <a:gd name="connsiteY10" fmla="*/ 1190773 h 1903182"/>
                <a:gd name="connsiteX11" fmla="*/ 4196594 w 6075844"/>
                <a:gd name="connsiteY11" fmla="*/ 1717823 h 1903182"/>
                <a:gd name="connsiteX12" fmla="*/ 4207302 w 6075844"/>
                <a:gd name="connsiteY12" fmla="*/ 1824042 h 1903182"/>
                <a:gd name="connsiteX13" fmla="*/ 4231560 w 6075844"/>
                <a:gd name="connsiteY13" fmla="*/ 1902188 h 1903182"/>
                <a:gd name="connsiteX14" fmla="*/ 4066850 w 6075844"/>
                <a:gd name="connsiteY14" fmla="*/ 1903182 h 1903182"/>
                <a:gd name="connsiteX15" fmla="*/ 1457624 w 6075844"/>
                <a:gd name="connsiteY15" fmla="*/ 1899854 h 1903182"/>
                <a:gd name="connsiteX16" fmla="*/ 1415712 w 6075844"/>
                <a:gd name="connsiteY16" fmla="*/ 1897048 h 1903182"/>
                <a:gd name="connsiteX17" fmla="*/ 1438374 w 6075844"/>
                <a:gd name="connsiteY17" fmla="*/ 1824042 h 1903182"/>
                <a:gd name="connsiteX18" fmla="*/ 1449082 w 6075844"/>
                <a:gd name="connsiteY18" fmla="*/ 1717823 h 1903182"/>
                <a:gd name="connsiteX19" fmla="*/ 922032 w 6075844"/>
                <a:gd name="connsiteY19" fmla="*/ 1190773 h 1903182"/>
                <a:gd name="connsiteX20" fmla="*/ 394982 w 6075844"/>
                <a:gd name="connsiteY20" fmla="*/ 1717823 h 1903182"/>
                <a:gd name="connsiteX21" fmla="*/ 405420 w 6075844"/>
                <a:gd name="connsiteY21" fmla="*/ 1821367 h 1903182"/>
                <a:gd name="connsiteX22" fmla="*/ 47924 w 6075844"/>
                <a:gd name="connsiteY22" fmla="*/ 1726288 h 1903182"/>
                <a:gd name="connsiteX23" fmla="*/ 1357 w 6075844"/>
                <a:gd name="connsiteY23" fmla="*/ 1400321 h 1903182"/>
                <a:gd name="connsiteX24" fmla="*/ 98724 w 6075844"/>
                <a:gd name="connsiteY24" fmla="*/ 1269088 h 1903182"/>
                <a:gd name="connsiteX25" fmla="*/ 149524 w 6075844"/>
                <a:gd name="connsiteY25" fmla="*/ 811888 h 1903182"/>
                <a:gd name="connsiteX26" fmla="*/ 543224 w 6075844"/>
                <a:gd name="connsiteY26" fmla="*/ 227688 h 1903182"/>
                <a:gd name="connsiteX27" fmla="*/ 488190 w 6075844"/>
                <a:gd name="connsiteY27" fmla="*/ 176888 h 1903182"/>
                <a:gd name="connsiteX28" fmla="*/ 2163830 w 6075844"/>
                <a:gd name="connsiteY28" fmla="*/ 733 h 1903182"/>
                <a:gd name="connsiteX0" fmla="*/ 2163830 w 6075844"/>
                <a:gd name="connsiteY0" fmla="*/ 733 h 1903182"/>
                <a:gd name="connsiteX1" fmla="*/ 3443057 w 6075844"/>
                <a:gd name="connsiteY1" fmla="*/ 83754 h 1903182"/>
                <a:gd name="connsiteX2" fmla="*/ 4501390 w 6075844"/>
                <a:gd name="connsiteY2" fmla="*/ 655254 h 1903182"/>
                <a:gd name="connsiteX3" fmla="*/ 4788621 w 6075844"/>
                <a:gd name="connsiteY3" fmla="*/ 688045 h 1903182"/>
                <a:gd name="connsiteX4" fmla="*/ 5983057 w 6075844"/>
                <a:gd name="connsiteY4" fmla="*/ 1040488 h 1903182"/>
                <a:gd name="connsiteX5" fmla="*/ 6033857 w 6075844"/>
                <a:gd name="connsiteY5" fmla="*/ 1810955 h 1903182"/>
                <a:gd name="connsiteX6" fmla="*/ 5276090 w 6075844"/>
                <a:gd name="connsiteY6" fmla="*/ 1891388 h 1903182"/>
                <a:gd name="connsiteX7" fmla="*/ 5218777 w 6075844"/>
                <a:gd name="connsiteY7" fmla="*/ 1892368 h 1903182"/>
                <a:gd name="connsiteX8" fmla="*/ 5239987 w 6075844"/>
                <a:gd name="connsiteY8" fmla="*/ 1824042 h 1903182"/>
                <a:gd name="connsiteX9" fmla="*/ 5250694 w 6075844"/>
                <a:gd name="connsiteY9" fmla="*/ 1717823 h 1903182"/>
                <a:gd name="connsiteX10" fmla="*/ 4723644 w 6075844"/>
                <a:gd name="connsiteY10" fmla="*/ 1190773 h 1903182"/>
                <a:gd name="connsiteX11" fmla="*/ 4196594 w 6075844"/>
                <a:gd name="connsiteY11" fmla="*/ 1717823 h 1903182"/>
                <a:gd name="connsiteX12" fmla="*/ 4207302 w 6075844"/>
                <a:gd name="connsiteY12" fmla="*/ 1824042 h 1903182"/>
                <a:gd name="connsiteX13" fmla="*/ 4231560 w 6075844"/>
                <a:gd name="connsiteY13" fmla="*/ 1902188 h 1903182"/>
                <a:gd name="connsiteX14" fmla="*/ 4066850 w 6075844"/>
                <a:gd name="connsiteY14" fmla="*/ 1903182 h 1903182"/>
                <a:gd name="connsiteX15" fmla="*/ 1457624 w 6075844"/>
                <a:gd name="connsiteY15" fmla="*/ 1899854 h 1903182"/>
                <a:gd name="connsiteX16" fmla="*/ 1415712 w 6075844"/>
                <a:gd name="connsiteY16" fmla="*/ 1897048 h 1903182"/>
                <a:gd name="connsiteX17" fmla="*/ 1438374 w 6075844"/>
                <a:gd name="connsiteY17" fmla="*/ 1824042 h 1903182"/>
                <a:gd name="connsiteX18" fmla="*/ 1449082 w 6075844"/>
                <a:gd name="connsiteY18" fmla="*/ 1717823 h 1903182"/>
                <a:gd name="connsiteX19" fmla="*/ 922032 w 6075844"/>
                <a:gd name="connsiteY19" fmla="*/ 1190773 h 1903182"/>
                <a:gd name="connsiteX20" fmla="*/ 394982 w 6075844"/>
                <a:gd name="connsiteY20" fmla="*/ 1717823 h 1903182"/>
                <a:gd name="connsiteX21" fmla="*/ 405420 w 6075844"/>
                <a:gd name="connsiteY21" fmla="*/ 1821367 h 1903182"/>
                <a:gd name="connsiteX22" fmla="*/ 47924 w 6075844"/>
                <a:gd name="connsiteY22" fmla="*/ 1726288 h 1903182"/>
                <a:gd name="connsiteX23" fmla="*/ 1357 w 6075844"/>
                <a:gd name="connsiteY23" fmla="*/ 1400321 h 1903182"/>
                <a:gd name="connsiteX24" fmla="*/ 98724 w 6075844"/>
                <a:gd name="connsiteY24" fmla="*/ 1269088 h 1903182"/>
                <a:gd name="connsiteX25" fmla="*/ 149524 w 6075844"/>
                <a:gd name="connsiteY25" fmla="*/ 811888 h 1903182"/>
                <a:gd name="connsiteX26" fmla="*/ 543224 w 6075844"/>
                <a:gd name="connsiteY26" fmla="*/ 227688 h 1903182"/>
                <a:gd name="connsiteX27" fmla="*/ 488190 w 6075844"/>
                <a:gd name="connsiteY27" fmla="*/ 176888 h 1903182"/>
                <a:gd name="connsiteX28" fmla="*/ 2163830 w 6075844"/>
                <a:gd name="connsiteY28" fmla="*/ 733 h 1903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075844" h="1903182">
                  <a:moveTo>
                    <a:pt x="2163830" y="733"/>
                  </a:moveTo>
                  <a:cubicBezTo>
                    <a:pt x="2566427" y="-4484"/>
                    <a:pt x="2999087" y="17609"/>
                    <a:pt x="3443057" y="83754"/>
                  </a:cubicBezTo>
                  <a:cubicBezTo>
                    <a:pt x="3795835" y="248854"/>
                    <a:pt x="4148612" y="464754"/>
                    <a:pt x="4501390" y="655254"/>
                  </a:cubicBezTo>
                  <a:cubicBezTo>
                    <a:pt x="4566301" y="671446"/>
                    <a:pt x="4712254" y="672568"/>
                    <a:pt x="4788621" y="688045"/>
                  </a:cubicBezTo>
                  <a:cubicBezTo>
                    <a:pt x="4979325" y="726695"/>
                    <a:pt x="5537146" y="862688"/>
                    <a:pt x="5983057" y="1040488"/>
                  </a:cubicBezTo>
                  <a:cubicBezTo>
                    <a:pt x="6108646" y="1309305"/>
                    <a:pt x="6086774" y="1691717"/>
                    <a:pt x="6033857" y="1810955"/>
                  </a:cubicBezTo>
                  <a:cubicBezTo>
                    <a:pt x="5923791" y="1864577"/>
                    <a:pt x="6038795" y="1876572"/>
                    <a:pt x="5276090" y="1891388"/>
                  </a:cubicBezTo>
                  <a:lnTo>
                    <a:pt x="5218777" y="1892368"/>
                  </a:lnTo>
                  <a:lnTo>
                    <a:pt x="5239987" y="1824042"/>
                  </a:lnTo>
                  <a:cubicBezTo>
                    <a:pt x="5247007" y="1789732"/>
                    <a:pt x="5250694" y="1754208"/>
                    <a:pt x="5250694" y="1717823"/>
                  </a:cubicBezTo>
                  <a:cubicBezTo>
                    <a:pt x="5250694" y="1426741"/>
                    <a:pt x="5014726" y="1190773"/>
                    <a:pt x="4723644" y="1190773"/>
                  </a:cubicBezTo>
                  <a:cubicBezTo>
                    <a:pt x="4432562" y="1190773"/>
                    <a:pt x="4196594" y="1426741"/>
                    <a:pt x="4196594" y="1717823"/>
                  </a:cubicBezTo>
                  <a:cubicBezTo>
                    <a:pt x="4196594" y="1754208"/>
                    <a:pt x="4200281" y="1789732"/>
                    <a:pt x="4207302" y="1824042"/>
                  </a:cubicBezTo>
                  <a:lnTo>
                    <a:pt x="4231560" y="1902188"/>
                  </a:lnTo>
                  <a:lnTo>
                    <a:pt x="4066850" y="1903182"/>
                  </a:lnTo>
                  <a:lnTo>
                    <a:pt x="1457624" y="1899854"/>
                  </a:lnTo>
                  <a:lnTo>
                    <a:pt x="1415712" y="1897048"/>
                  </a:lnTo>
                  <a:lnTo>
                    <a:pt x="1438374" y="1824042"/>
                  </a:lnTo>
                  <a:cubicBezTo>
                    <a:pt x="1445395" y="1789732"/>
                    <a:pt x="1449082" y="1754208"/>
                    <a:pt x="1449082" y="1717823"/>
                  </a:cubicBezTo>
                  <a:cubicBezTo>
                    <a:pt x="1449082" y="1426741"/>
                    <a:pt x="1213114" y="1190773"/>
                    <a:pt x="922032" y="1190773"/>
                  </a:cubicBezTo>
                  <a:cubicBezTo>
                    <a:pt x="630950" y="1190773"/>
                    <a:pt x="394982" y="1426741"/>
                    <a:pt x="394982" y="1717823"/>
                  </a:cubicBezTo>
                  <a:lnTo>
                    <a:pt x="405420" y="1821367"/>
                  </a:lnTo>
                  <a:lnTo>
                    <a:pt x="47924" y="1726288"/>
                  </a:lnTo>
                  <a:cubicBezTo>
                    <a:pt x="7002" y="1617632"/>
                    <a:pt x="-4287" y="1508977"/>
                    <a:pt x="1357" y="1400321"/>
                  </a:cubicBezTo>
                  <a:lnTo>
                    <a:pt x="98724" y="1269088"/>
                  </a:lnTo>
                  <a:cubicBezTo>
                    <a:pt x="102957" y="1146321"/>
                    <a:pt x="102957" y="998155"/>
                    <a:pt x="149524" y="811888"/>
                  </a:cubicBezTo>
                  <a:cubicBezTo>
                    <a:pt x="246891" y="612922"/>
                    <a:pt x="378124" y="418187"/>
                    <a:pt x="543224" y="227688"/>
                  </a:cubicBezTo>
                  <a:lnTo>
                    <a:pt x="488190" y="176888"/>
                  </a:lnTo>
                  <a:cubicBezTo>
                    <a:pt x="905350" y="93985"/>
                    <a:pt x="1492836" y="9429"/>
                    <a:pt x="2163830" y="733"/>
                  </a:cubicBezTo>
                  <a:close/>
                </a:path>
              </a:pathLst>
            </a:custGeom>
            <a:grpFill/>
            <a:ln w="41275">
              <a:gradFill flip="none" rotWithShape="1">
                <a:gsLst>
                  <a:gs pos="69000">
                    <a:srgbClr val="F3D6B3">
                      <a:alpha val="20000"/>
                    </a:srgbClr>
                  </a:gs>
                  <a:gs pos="0">
                    <a:srgbClr val="F7E4CD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3113AC6C-EB9F-4508-BB0E-7EFA0BB1CC95}"/>
                </a:ext>
              </a:extLst>
            </p:cNvPr>
            <p:cNvSpPr/>
            <p:nvPr/>
          </p:nvSpPr>
          <p:spPr>
            <a:xfrm>
              <a:off x="2801493" y="3036910"/>
              <a:ext cx="863118" cy="863118"/>
            </a:xfrm>
            <a:prstGeom prst="ellipse">
              <a:avLst/>
            </a:prstGeom>
            <a:grpFill/>
            <a:ln w="41275">
              <a:gradFill flip="none" rotWithShape="1">
                <a:gsLst>
                  <a:gs pos="100000">
                    <a:srgbClr val="F3D6B3">
                      <a:alpha val="20000"/>
                    </a:srgbClr>
                  </a:gs>
                  <a:gs pos="0">
                    <a:srgbClr val="F7E4CD">
                      <a:alpha val="20000"/>
                    </a:srgbClr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4E39F68A-8D76-4136-A75E-9333AA88570C}"/>
                </a:ext>
              </a:extLst>
            </p:cNvPr>
            <p:cNvSpPr/>
            <p:nvPr/>
          </p:nvSpPr>
          <p:spPr>
            <a:xfrm>
              <a:off x="6601224" y="3036910"/>
              <a:ext cx="863118" cy="863118"/>
            </a:xfrm>
            <a:prstGeom prst="ellipse">
              <a:avLst/>
            </a:prstGeom>
            <a:grpFill/>
            <a:ln w="41275">
              <a:gradFill flip="none" rotWithShape="1">
                <a:gsLst>
                  <a:gs pos="100000">
                    <a:srgbClr val="F3D6B3">
                      <a:alpha val="20000"/>
                    </a:srgbClr>
                  </a:gs>
                  <a:gs pos="0">
                    <a:srgbClr val="F7E4CD">
                      <a:alpha val="20000"/>
                    </a:srgbClr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9" name="椭圆 8">
            <a:extLst>
              <a:ext uri="{FF2B5EF4-FFF2-40B4-BE49-F238E27FC236}">
                <a16:creationId xmlns:a16="http://schemas.microsoft.com/office/drawing/2014/main" id="{14E16BB3-DC4F-4425-89E1-91EE7A3620E7}"/>
              </a:ext>
            </a:extLst>
          </p:cNvPr>
          <p:cNvSpPr/>
          <p:nvPr/>
        </p:nvSpPr>
        <p:spPr>
          <a:xfrm>
            <a:off x="1237595" y="3375099"/>
            <a:ext cx="107802" cy="107802"/>
          </a:xfrm>
          <a:prstGeom prst="ellipse">
            <a:avLst/>
          </a:prstGeom>
          <a:solidFill>
            <a:srgbClr val="F1CF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F2C9FAE6-B714-4989-9924-725485DAD7F7}"/>
              </a:ext>
            </a:extLst>
          </p:cNvPr>
          <p:cNvSpPr/>
          <p:nvPr/>
        </p:nvSpPr>
        <p:spPr>
          <a:xfrm>
            <a:off x="3140214" y="2168332"/>
            <a:ext cx="107802" cy="107802"/>
          </a:xfrm>
          <a:prstGeom prst="ellipse">
            <a:avLst/>
          </a:prstGeom>
          <a:solidFill>
            <a:srgbClr val="F1CFA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9D7797B2-163D-413F-AD95-FC8937080A74}"/>
              </a:ext>
            </a:extLst>
          </p:cNvPr>
          <p:cNvSpPr/>
          <p:nvPr/>
        </p:nvSpPr>
        <p:spPr>
          <a:xfrm>
            <a:off x="5042833" y="2074280"/>
            <a:ext cx="107802" cy="107802"/>
          </a:xfrm>
          <a:prstGeom prst="ellipse">
            <a:avLst/>
          </a:prstGeom>
          <a:solidFill>
            <a:srgbClr val="F1CFA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0E8249E8-27B0-4580-89DE-6E6D71CB256C}"/>
              </a:ext>
            </a:extLst>
          </p:cNvPr>
          <p:cNvSpPr/>
          <p:nvPr/>
        </p:nvSpPr>
        <p:spPr>
          <a:xfrm>
            <a:off x="6945452" y="2318483"/>
            <a:ext cx="107802" cy="107802"/>
          </a:xfrm>
          <a:prstGeom prst="ellipse">
            <a:avLst/>
          </a:prstGeom>
          <a:solidFill>
            <a:srgbClr val="F1CFA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CBBF8BCD-A740-4BB5-813B-AF86219B5CD1}"/>
              </a:ext>
            </a:extLst>
          </p:cNvPr>
          <p:cNvSpPr/>
          <p:nvPr/>
        </p:nvSpPr>
        <p:spPr>
          <a:xfrm>
            <a:off x="8848071" y="3199656"/>
            <a:ext cx="107802" cy="107802"/>
          </a:xfrm>
          <a:prstGeom prst="ellipse">
            <a:avLst/>
          </a:prstGeom>
          <a:solidFill>
            <a:srgbClr val="F1CFA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F19E5314-5687-40B5-9A30-A5926DC02C5C}"/>
              </a:ext>
            </a:extLst>
          </p:cNvPr>
          <p:cNvSpPr/>
          <p:nvPr/>
        </p:nvSpPr>
        <p:spPr>
          <a:xfrm>
            <a:off x="10750688" y="3735189"/>
            <a:ext cx="107802" cy="107802"/>
          </a:xfrm>
          <a:prstGeom prst="ellipse">
            <a:avLst/>
          </a:prstGeom>
          <a:solidFill>
            <a:srgbClr val="F1CF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9CB9E5A-EEC8-45A4-B82F-420CE90DCD44}"/>
              </a:ext>
            </a:extLst>
          </p:cNvPr>
          <p:cNvCxnSpPr/>
          <p:nvPr/>
        </p:nvCxnSpPr>
        <p:spPr>
          <a:xfrm>
            <a:off x="1291496" y="3435875"/>
            <a:ext cx="0" cy="969401"/>
          </a:xfrm>
          <a:prstGeom prst="line">
            <a:avLst/>
          </a:prstGeom>
          <a:ln w="19050">
            <a:solidFill>
              <a:srgbClr val="F1CFA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2B9B0B02-8509-4F60-B021-8EFA21A02C14}"/>
              </a:ext>
            </a:extLst>
          </p:cNvPr>
          <p:cNvCxnSpPr>
            <a:cxnSpLocks/>
          </p:cNvCxnSpPr>
          <p:nvPr/>
        </p:nvCxnSpPr>
        <p:spPr>
          <a:xfrm>
            <a:off x="3194115" y="2209630"/>
            <a:ext cx="0" cy="969401"/>
          </a:xfrm>
          <a:prstGeom prst="line">
            <a:avLst/>
          </a:prstGeom>
          <a:ln w="19050">
            <a:solidFill>
              <a:srgbClr val="F1CFA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DA241856-6019-4E99-8064-1FA0F82D1906}"/>
              </a:ext>
            </a:extLst>
          </p:cNvPr>
          <p:cNvCxnSpPr/>
          <p:nvPr/>
        </p:nvCxnSpPr>
        <p:spPr>
          <a:xfrm>
            <a:off x="5096734" y="2132603"/>
            <a:ext cx="0" cy="969401"/>
          </a:xfrm>
          <a:prstGeom prst="line">
            <a:avLst/>
          </a:prstGeom>
          <a:ln w="19050">
            <a:solidFill>
              <a:srgbClr val="F1CFA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0CF2C09C-4BC5-4A44-881B-C0828B36848C}"/>
              </a:ext>
            </a:extLst>
          </p:cNvPr>
          <p:cNvCxnSpPr/>
          <p:nvPr/>
        </p:nvCxnSpPr>
        <p:spPr>
          <a:xfrm>
            <a:off x="6995798" y="2385035"/>
            <a:ext cx="0" cy="969401"/>
          </a:xfrm>
          <a:prstGeom prst="line">
            <a:avLst/>
          </a:prstGeom>
          <a:ln w="19050">
            <a:solidFill>
              <a:srgbClr val="F1CFA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30E93069-C313-4D0A-B4F4-69F020F4C405}"/>
              </a:ext>
            </a:extLst>
          </p:cNvPr>
          <p:cNvCxnSpPr/>
          <p:nvPr/>
        </p:nvCxnSpPr>
        <p:spPr>
          <a:xfrm>
            <a:off x="8897434" y="3260432"/>
            <a:ext cx="0" cy="969401"/>
          </a:xfrm>
          <a:prstGeom prst="line">
            <a:avLst/>
          </a:prstGeom>
          <a:ln w="19050">
            <a:solidFill>
              <a:srgbClr val="F1CFA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7E27ACA7-15CA-4541-B396-7508A48675B8}"/>
              </a:ext>
            </a:extLst>
          </p:cNvPr>
          <p:cNvCxnSpPr/>
          <p:nvPr/>
        </p:nvCxnSpPr>
        <p:spPr>
          <a:xfrm>
            <a:off x="10797714" y="3801741"/>
            <a:ext cx="0" cy="969401"/>
          </a:xfrm>
          <a:prstGeom prst="line">
            <a:avLst/>
          </a:prstGeom>
          <a:ln w="19050">
            <a:solidFill>
              <a:srgbClr val="F1CFA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2DC81F92-562C-44BE-B4AC-1184393D8A1D}"/>
              </a:ext>
            </a:extLst>
          </p:cNvPr>
          <p:cNvSpPr txBox="1"/>
          <p:nvPr/>
        </p:nvSpPr>
        <p:spPr>
          <a:xfrm>
            <a:off x="737498" y="445246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宾客签到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E58905E5-F38F-496D-9DBF-65FED18973E0}"/>
              </a:ext>
            </a:extLst>
          </p:cNvPr>
          <p:cNvSpPr txBox="1"/>
          <p:nvPr/>
        </p:nvSpPr>
        <p:spPr>
          <a:xfrm>
            <a:off x="2636796" y="325470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自由交流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51FAC1CC-902C-498D-835C-0ECE78937CFB}"/>
              </a:ext>
            </a:extLst>
          </p:cNvPr>
          <p:cNvSpPr txBox="1"/>
          <p:nvPr/>
        </p:nvSpPr>
        <p:spPr>
          <a:xfrm>
            <a:off x="4535628" y="316720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节目表演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84B1D8D2-FA21-4DD1-860B-33BD95B86D16}"/>
              </a:ext>
            </a:extLst>
          </p:cNvPr>
          <p:cNvSpPr txBox="1"/>
          <p:nvPr/>
        </p:nvSpPr>
        <p:spPr>
          <a:xfrm>
            <a:off x="6451013" y="344430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品酒交流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F5553DA-D95B-48B3-A9EE-EFEBB87F4847}"/>
              </a:ext>
            </a:extLst>
          </p:cNvPr>
          <p:cNvSpPr txBox="1"/>
          <p:nvPr/>
        </p:nvSpPr>
        <p:spPr>
          <a:xfrm>
            <a:off x="8347974" y="428842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新车介绍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C1F21050-D114-43F0-8C44-DE4086DBAEA7}"/>
              </a:ext>
            </a:extLst>
          </p:cNvPr>
          <p:cNvSpPr txBox="1"/>
          <p:nvPr/>
        </p:nvSpPr>
        <p:spPr>
          <a:xfrm>
            <a:off x="10250591" y="485881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思源宋体 CN Heavy" panose="02020900000000000000" pitchFamily="18" charset="-122"/>
                <a:ea typeface="思源宋体 CN Heavy" panose="02020900000000000000" pitchFamily="18" charset="-122"/>
                <a:cs typeface="+mn-cs"/>
              </a:rPr>
              <a:t>新车鉴赏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B8929ACB-ACFC-4C25-A0A8-F7703DA92444}"/>
              </a:ext>
            </a:extLst>
          </p:cNvPr>
          <p:cNvSpPr/>
          <p:nvPr/>
        </p:nvSpPr>
        <p:spPr>
          <a:xfrm>
            <a:off x="6468147" y="3813306"/>
            <a:ext cx="1370888" cy="6093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苹方 中等" panose="020B0400000000000000" pitchFamily="34" charset="-122"/>
                <a:ea typeface="苹方 中等" panose="020B0400000000000000" pitchFamily="34" charset="-122"/>
                <a:cs typeface="+mn-cs"/>
              </a:rPr>
              <a:t>品鉴交流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1CFA5"/>
              </a:solidFill>
              <a:effectLst/>
              <a:uLnTx/>
              <a:uFillTx/>
              <a:latin typeface="苹方 中等" panose="020B0400000000000000" pitchFamily="34" charset="-122"/>
              <a:ea typeface="苹方 中等" panose="020B0400000000000000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苹方 中等" panose="020B0400000000000000" pitchFamily="34" charset="-122"/>
                <a:ea typeface="苹方 中等" panose="020B0400000000000000" pitchFamily="34" charset="-122"/>
                <a:cs typeface="+mn-cs"/>
              </a:rPr>
              <a:t>酒知识传递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B961A047-3268-4FB3-9630-A7F4FF4A8F49}"/>
              </a:ext>
            </a:extLst>
          </p:cNvPr>
          <p:cNvSpPr/>
          <p:nvPr/>
        </p:nvSpPr>
        <p:spPr>
          <a:xfrm>
            <a:off x="10254530" y="5224300"/>
            <a:ext cx="1550424" cy="6093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苹方 中等" panose="020B0400000000000000" pitchFamily="34" charset="-122"/>
                <a:ea typeface="苹方 中等" panose="020B0400000000000000" pitchFamily="34" charset="-122"/>
                <a:cs typeface="+mn-cs"/>
              </a:rPr>
              <a:t>客户赏车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1CFA5"/>
              </a:solidFill>
              <a:effectLst/>
              <a:uLnTx/>
              <a:uFillTx/>
              <a:latin typeface="苹方 中等" panose="020B0400000000000000" pitchFamily="34" charset="-122"/>
              <a:ea typeface="苹方 中等" panose="020B0400000000000000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苹方 中等" panose="020B0400000000000000" pitchFamily="34" charset="-122"/>
                <a:ea typeface="苹方 中等" panose="020B0400000000000000" pitchFamily="34" charset="-122"/>
                <a:cs typeface="+mn-cs"/>
              </a:rPr>
              <a:t>销售沟通达成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52B50DA8-787B-4DDE-AE15-18F4F7DF7D53}"/>
              </a:ext>
            </a:extLst>
          </p:cNvPr>
          <p:cNvSpPr/>
          <p:nvPr/>
        </p:nvSpPr>
        <p:spPr>
          <a:xfrm>
            <a:off x="8351541" y="4657755"/>
            <a:ext cx="1550424" cy="867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苹方 中等" panose="020B0400000000000000" pitchFamily="34" charset="-122"/>
                <a:ea typeface="苹方 中等" panose="020B0400000000000000" pitchFamily="34" charset="-122"/>
                <a:cs typeface="+mn-cs"/>
              </a:rPr>
              <a:t>新车介绍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1CFA5"/>
              </a:solidFill>
              <a:effectLst/>
              <a:uLnTx/>
              <a:uFillTx/>
              <a:latin typeface="苹方 中等" panose="020B0400000000000000" pitchFamily="34" charset="-122"/>
              <a:ea typeface="苹方 中等" panose="020B0400000000000000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苹方 中等" panose="020B0400000000000000" pitchFamily="34" charset="-122"/>
                <a:ea typeface="苹方 中等" panose="020B0400000000000000" pitchFamily="34" charset="-122"/>
                <a:cs typeface="+mn-cs"/>
              </a:rPr>
              <a:t>浙江之信精致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1CFA5"/>
              </a:solidFill>
              <a:effectLst/>
              <a:uLnTx/>
              <a:uFillTx/>
              <a:latin typeface="苹方 中等" panose="020B0400000000000000" pitchFamily="34" charset="-122"/>
              <a:ea typeface="苹方 中等" panose="020B0400000000000000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苹方 中等" panose="020B0400000000000000" pitchFamily="34" charset="-122"/>
                <a:ea typeface="苹方 中等" panose="020B0400000000000000" pitchFamily="34" charset="-122"/>
                <a:cs typeface="+mn-cs"/>
              </a:rPr>
              <a:t> 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1CFA5"/>
                </a:solidFill>
                <a:effectLst/>
                <a:uLnTx/>
                <a:uFillTx/>
                <a:latin typeface="苹方 中等" panose="020B0400000000000000" pitchFamily="34" charset="-122"/>
                <a:ea typeface="苹方 中等" panose="020B0400000000000000" pitchFamily="34" charset="-122"/>
                <a:cs typeface="+mn-cs"/>
              </a:rPr>
              <a:t>服务理念传递</a:t>
            </a:r>
          </a:p>
        </p:txBody>
      </p:sp>
    </p:spTree>
    <p:extLst>
      <p:ext uri="{BB962C8B-B14F-4D97-AF65-F5344CB8AC3E}">
        <p14:creationId xmlns:p14="http://schemas.microsoft.com/office/powerpoint/2010/main" val="13263166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5000">
              <a:schemeClr val="bg1">
                <a:alpha val="0"/>
              </a:schemeClr>
            </a:gs>
            <a:gs pos="15000">
              <a:schemeClr val="bg1">
                <a:alpha val="10000"/>
              </a:schemeClr>
            </a:gs>
            <a:gs pos="50000">
              <a:schemeClr val="bg1"/>
            </a:gs>
            <a:gs pos="0">
              <a:schemeClr val="accent1">
                <a:alpha val="30000"/>
              </a:schemeClr>
            </a:gs>
            <a:gs pos="100000">
              <a:schemeClr val="accent1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箭头: 五边形 1">
            <a:extLst>
              <a:ext uri="{FF2B5EF4-FFF2-40B4-BE49-F238E27FC236}">
                <a16:creationId xmlns:a16="http://schemas.microsoft.com/office/drawing/2014/main" id="{37F0831A-0A0C-49FF-822A-57B1BA80D2FD}"/>
              </a:ext>
            </a:extLst>
          </p:cNvPr>
          <p:cNvSpPr/>
          <p:nvPr/>
        </p:nvSpPr>
        <p:spPr>
          <a:xfrm>
            <a:off x="-12691" y="1666527"/>
            <a:ext cx="11857037" cy="4369755"/>
          </a:xfrm>
          <a:prstGeom prst="homePlate">
            <a:avLst>
              <a:gd name="adj" fmla="val 15456"/>
            </a:avLst>
          </a:prstGeom>
          <a:solidFill>
            <a:schemeClr val="accent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8" name="矩形 1">
            <a:extLst>
              <a:ext uri="{FF2B5EF4-FFF2-40B4-BE49-F238E27FC236}">
                <a16:creationId xmlns:a16="http://schemas.microsoft.com/office/drawing/2014/main" id="{318626F9-E54A-4895-A34F-CD4EA144AEC7}"/>
              </a:ext>
            </a:extLst>
          </p:cNvPr>
          <p:cNvSpPr/>
          <p:nvPr/>
        </p:nvSpPr>
        <p:spPr>
          <a:xfrm>
            <a:off x="9832258" y="3512192"/>
            <a:ext cx="1720645" cy="6784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0" name="矩形 2">
            <a:extLst>
              <a:ext uri="{FF2B5EF4-FFF2-40B4-BE49-F238E27FC236}">
                <a16:creationId xmlns:a16="http://schemas.microsoft.com/office/drawing/2014/main" id="{2F67C863-A238-46E5-99F2-23D30FC92831}"/>
              </a:ext>
            </a:extLst>
          </p:cNvPr>
          <p:cNvSpPr/>
          <p:nvPr/>
        </p:nvSpPr>
        <p:spPr>
          <a:xfrm>
            <a:off x="762369" y="3797405"/>
            <a:ext cx="10418018" cy="1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3" name="箭头: V 形 1">
            <a:extLst>
              <a:ext uri="{FF2B5EF4-FFF2-40B4-BE49-F238E27FC236}">
                <a16:creationId xmlns:a16="http://schemas.microsoft.com/office/drawing/2014/main" id="{1D26A321-E93E-4EA0-8752-E395A6E9AE13}"/>
              </a:ext>
            </a:extLst>
          </p:cNvPr>
          <p:cNvSpPr/>
          <p:nvPr/>
        </p:nvSpPr>
        <p:spPr>
          <a:xfrm>
            <a:off x="563539" y="3402155"/>
            <a:ext cx="412788" cy="898500"/>
          </a:xfrm>
          <a:prstGeom prst="chevron">
            <a:avLst>
              <a:gd name="adj" fmla="val 36450"/>
            </a:avLst>
          </a:prstGeom>
          <a:gradFill flip="none" rotWithShape="1">
            <a:gsLst>
              <a:gs pos="100000">
                <a:schemeClr val="accent4"/>
              </a:gs>
              <a:gs pos="0">
                <a:schemeClr val="accent3"/>
              </a:gs>
            </a:gsLst>
            <a:lin ang="10800000" scaled="1"/>
            <a:tileRect/>
          </a:gradFill>
          <a:ln>
            <a:noFill/>
          </a:ln>
          <a:effectLst>
            <a:outerShdw blurRad="381000" dist="127000" dir="5400000" algn="ctr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17" name="箭头: V 形 2">
            <a:extLst>
              <a:ext uri="{FF2B5EF4-FFF2-40B4-BE49-F238E27FC236}">
                <a16:creationId xmlns:a16="http://schemas.microsoft.com/office/drawing/2014/main" id="{7580A473-5A38-443B-8FF9-E46ADA9BE6FA}"/>
              </a:ext>
            </a:extLst>
          </p:cNvPr>
          <p:cNvSpPr/>
          <p:nvPr/>
        </p:nvSpPr>
        <p:spPr>
          <a:xfrm>
            <a:off x="11297146" y="3402155"/>
            <a:ext cx="412788" cy="898500"/>
          </a:xfrm>
          <a:prstGeom prst="chevron">
            <a:avLst>
              <a:gd name="adj" fmla="val 36450"/>
            </a:avLst>
          </a:prstGeom>
          <a:gradFill flip="none" rotWithShape="1">
            <a:gsLst>
              <a:gs pos="100000">
                <a:schemeClr val="accent4"/>
              </a:gs>
              <a:gs pos="0">
                <a:schemeClr val="accent3"/>
              </a:gs>
            </a:gsLst>
            <a:lin ang="10800000" scaled="1"/>
            <a:tileRect/>
          </a:gradFill>
          <a:ln>
            <a:noFill/>
          </a:ln>
          <a:effectLst>
            <a:outerShdw blurRad="381000" dist="127000" dir="5400000" algn="ctr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19" name="文本框 1">
            <a:extLst>
              <a:ext uri="{FF2B5EF4-FFF2-40B4-BE49-F238E27FC236}">
                <a16:creationId xmlns:a16="http://schemas.microsoft.com/office/drawing/2014/main" id="{1A89667C-FC69-4B3C-90F5-5C42057B41FF}"/>
              </a:ext>
            </a:extLst>
          </p:cNvPr>
          <p:cNvSpPr txBox="1"/>
          <p:nvPr/>
        </p:nvSpPr>
        <p:spPr>
          <a:xfrm>
            <a:off x="10101214" y="3666739"/>
            <a:ext cx="11959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bg1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0A0B1320-C004-49D0-813A-03875B419F9A}"/>
              </a:ext>
            </a:extLst>
          </p:cNvPr>
          <p:cNvSpPr/>
          <p:nvPr/>
        </p:nvSpPr>
        <p:spPr>
          <a:xfrm>
            <a:off x="2850029" y="3500405"/>
            <a:ext cx="702000" cy="70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/>
                <a:ea typeface="思源宋体 Light" panose="02020300000000000000" pitchFamily="18" charset="-122"/>
                <a:cs typeface="+mn-cs"/>
              </a:rPr>
              <a:t>01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550F4FB9-13CD-411D-8D18-6BD1EE0C703F}"/>
              </a:ext>
            </a:extLst>
          </p:cNvPr>
          <p:cNvSpPr/>
          <p:nvPr/>
        </p:nvSpPr>
        <p:spPr>
          <a:xfrm>
            <a:off x="2924871" y="3575247"/>
            <a:ext cx="552318" cy="552318"/>
          </a:xfrm>
          <a:prstGeom prst="ellipse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F2FEB96C-1579-42F1-9A38-753A7131FE52}"/>
              </a:ext>
            </a:extLst>
          </p:cNvPr>
          <p:cNvSpPr/>
          <p:nvPr/>
        </p:nvSpPr>
        <p:spPr>
          <a:xfrm>
            <a:off x="5840986" y="3500405"/>
            <a:ext cx="702000" cy="70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/>
                <a:ea typeface="思源宋体 Light" panose="02020300000000000000" pitchFamily="18" charset="-122"/>
                <a:cs typeface="+mn-cs"/>
              </a:rPr>
              <a:t>02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95250CD1-0B3B-4936-BE6D-F11BC11AEEF0}"/>
              </a:ext>
            </a:extLst>
          </p:cNvPr>
          <p:cNvSpPr/>
          <p:nvPr/>
        </p:nvSpPr>
        <p:spPr>
          <a:xfrm>
            <a:off x="5915828" y="3575247"/>
            <a:ext cx="552318" cy="552318"/>
          </a:xfrm>
          <a:prstGeom prst="ellipse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DFE43606-CED3-4B75-AA4D-7F2867AA6167}"/>
              </a:ext>
            </a:extLst>
          </p:cNvPr>
          <p:cNvSpPr/>
          <p:nvPr/>
        </p:nvSpPr>
        <p:spPr>
          <a:xfrm>
            <a:off x="9003055" y="3500405"/>
            <a:ext cx="702000" cy="70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/>
                <a:ea typeface="思源宋体 Light" panose="02020300000000000000" pitchFamily="18" charset="-122"/>
                <a:cs typeface="+mn-cs"/>
              </a:rPr>
              <a:t>03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69AD262B-A1B7-48E7-BEB1-7D71E4B04F35}"/>
              </a:ext>
            </a:extLst>
          </p:cNvPr>
          <p:cNvSpPr/>
          <p:nvPr/>
        </p:nvSpPr>
        <p:spPr>
          <a:xfrm>
            <a:off x="9077897" y="3575247"/>
            <a:ext cx="552318" cy="552318"/>
          </a:xfrm>
          <a:prstGeom prst="ellipse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4" name="箭头: V 形 3">
            <a:extLst>
              <a:ext uri="{FF2B5EF4-FFF2-40B4-BE49-F238E27FC236}">
                <a16:creationId xmlns:a16="http://schemas.microsoft.com/office/drawing/2014/main" id="{746E7634-7F8B-4E37-BA76-9E2B73F9C64E}"/>
              </a:ext>
            </a:extLst>
          </p:cNvPr>
          <p:cNvSpPr/>
          <p:nvPr/>
        </p:nvSpPr>
        <p:spPr>
          <a:xfrm>
            <a:off x="3142649" y="2861405"/>
            <a:ext cx="702000" cy="1980000"/>
          </a:xfrm>
          <a:prstGeom prst="chevron">
            <a:avLst>
              <a:gd name="adj" fmla="val 45962"/>
            </a:avLst>
          </a:prstGeom>
          <a:gradFill flip="none" rotWithShape="1">
            <a:gsLst>
              <a:gs pos="100000">
                <a:schemeClr val="accent4"/>
              </a:gs>
              <a:gs pos="0">
                <a:schemeClr val="accent3"/>
              </a:gs>
            </a:gsLst>
            <a:lin ang="10800000" scaled="1"/>
            <a:tileRect/>
          </a:gradFill>
          <a:ln>
            <a:noFill/>
          </a:ln>
          <a:effectLst>
            <a:outerShdw blurRad="381000" dist="127000" dir="5400000" algn="ctr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15" name="箭头: V 形 4">
            <a:extLst>
              <a:ext uri="{FF2B5EF4-FFF2-40B4-BE49-F238E27FC236}">
                <a16:creationId xmlns:a16="http://schemas.microsoft.com/office/drawing/2014/main" id="{6804358B-7488-4332-B853-B305072CD161}"/>
              </a:ext>
            </a:extLst>
          </p:cNvPr>
          <p:cNvSpPr/>
          <p:nvPr/>
        </p:nvSpPr>
        <p:spPr>
          <a:xfrm>
            <a:off x="6010971" y="2501405"/>
            <a:ext cx="882000" cy="2700000"/>
          </a:xfrm>
          <a:prstGeom prst="chevron">
            <a:avLst>
              <a:gd name="adj" fmla="val 50486"/>
            </a:avLst>
          </a:prstGeom>
          <a:gradFill flip="none" rotWithShape="1">
            <a:gsLst>
              <a:gs pos="100000">
                <a:schemeClr val="accent4"/>
              </a:gs>
              <a:gs pos="0">
                <a:schemeClr val="accent3"/>
              </a:gs>
            </a:gsLst>
            <a:lin ang="10800000" scaled="1"/>
            <a:tileRect/>
          </a:gradFill>
          <a:ln>
            <a:noFill/>
          </a:ln>
          <a:effectLst>
            <a:outerShdw blurRad="381000" dist="127000" dir="5400000" algn="ctr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16" name="箭头: V 形 5">
            <a:extLst>
              <a:ext uri="{FF2B5EF4-FFF2-40B4-BE49-F238E27FC236}">
                <a16:creationId xmlns:a16="http://schemas.microsoft.com/office/drawing/2014/main" id="{111F67DF-7801-48FF-91FB-3376185C0EDE}"/>
              </a:ext>
            </a:extLst>
          </p:cNvPr>
          <p:cNvSpPr/>
          <p:nvPr/>
        </p:nvSpPr>
        <p:spPr>
          <a:xfrm>
            <a:off x="9059293" y="2141405"/>
            <a:ext cx="1062000" cy="3420000"/>
          </a:xfrm>
          <a:prstGeom prst="chevron">
            <a:avLst>
              <a:gd name="adj" fmla="val 53713"/>
            </a:avLst>
          </a:prstGeom>
          <a:gradFill flip="none" rotWithShape="1">
            <a:gsLst>
              <a:gs pos="100000">
                <a:schemeClr val="accent4"/>
              </a:gs>
              <a:gs pos="0">
                <a:schemeClr val="accent3"/>
              </a:gs>
            </a:gsLst>
            <a:lin ang="10800000" scaled="1"/>
            <a:tileRect/>
          </a:gradFill>
          <a:ln>
            <a:noFill/>
          </a:ln>
          <a:effectLst>
            <a:outerShdw blurRad="381000" dist="127000" dir="5400000" algn="ctr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E7CAF4EB-0870-423C-9BDD-F8D8EA5F39D3}"/>
              </a:ext>
            </a:extLst>
          </p:cNvPr>
          <p:cNvSpPr txBox="1"/>
          <p:nvPr/>
        </p:nvSpPr>
        <p:spPr>
          <a:xfrm>
            <a:off x="1508454" y="2476966"/>
            <a:ext cx="13047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A3B23FD-96EB-4CD8-B344-5C046FC43CF3}"/>
              </a:ext>
            </a:extLst>
          </p:cNvPr>
          <p:cNvSpPr txBox="1"/>
          <p:nvPr/>
        </p:nvSpPr>
        <p:spPr>
          <a:xfrm>
            <a:off x="1254822" y="2811828"/>
            <a:ext cx="1526245" cy="5214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accent6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上千款模板素材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Light" panose="02020300000000000000" pitchFamily="18" charset="-122"/>
              <a:ea typeface="思源宋体 Light" panose="02020300000000000000" pitchFamily="18" charset="-122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总有一款适合你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Light" panose="02020300000000000000" pitchFamily="18" charset="-122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1B89FE5E-0215-46D1-B5AC-973BED2C6458}"/>
              </a:ext>
            </a:extLst>
          </p:cNvPr>
          <p:cNvSpPr txBox="1"/>
          <p:nvPr/>
        </p:nvSpPr>
        <p:spPr>
          <a:xfrm>
            <a:off x="1476310" y="5167217"/>
            <a:ext cx="13047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059A4E17-7691-4FC4-8190-A31AD38DA8EA}"/>
              </a:ext>
            </a:extLst>
          </p:cNvPr>
          <p:cNvSpPr txBox="1"/>
          <p:nvPr/>
        </p:nvSpPr>
        <p:spPr>
          <a:xfrm>
            <a:off x="1254822" y="4525076"/>
            <a:ext cx="1526245" cy="5214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accent6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上千款模板素材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Light" panose="02020300000000000000" pitchFamily="18" charset="-122"/>
              <a:ea typeface="思源宋体 Light" panose="02020300000000000000" pitchFamily="18" charset="-122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总有一款适合你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Light" panose="02020300000000000000" pitchFamily="18" charset="-122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F1F1A764-F3E7-4DF8-B03C-4BA327148FB0}"/>
              </a:ext>
            </a:extLst>
          </p:cNvPr>
          <p:cNvSpPr txBox="1"/>
          <p:nvPr/>
        </p:nvSpPr>
        <p:spPr>
          <a:xfrm>
            <a:off x="4504300" y="2118119"/>
            <a:ext cx="13047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A323127B-BACE-48B5-AEE3-A44706CFA246}"/>
              </a:ext>
            </a:extLst>
          </p:cNvPr>
          <p:cNvSpPr txBox="1"/>
          <p:nvPr/>
        </p:nvSpPr>
        <p:spPr>
          <a:xfrm>
            <a:off x="3858232" y="2488662"/>
            <a:ext cx="1843588" cy="798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r">
              <a:lnSpc>
                <a:spcPct val="150000"/>
              </a:lnSpc>
              <a:defRPr sz="1400">
                <a:solidFill>
                  <a:schemeClr val="accent6"/>
                </a:solidFill>
                <a:latin typeface="思源宋体 Light" panose="02020300000000000000" pitchFamily="18" charset="-122"/>
                <a:ea typeface="思源宋体 Light" panose="02020300000000000000" pitchFamily="18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找到适合的模板。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A7BA168F-0E5B-4F44-AD2B-77D689BEA081}"/>
              </a:ext>
            </a:extLst>
          </p:cNvPr>
          <p:cNvSpPr txBox="1"/>
          <p:nvPr/>
        </p:nvSpPr>
        <p:spPr>
          <a:xfrm>
            <a:off x="4504300" y="5466703"/>
            <a:ext cx="13047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7DEF8514-F832-4937-9FAD-E1017A32FED4}"/>
              </a:ext>
            </a:extLst>
          </p:cNvPr>
          <p:cNvSpPr txBox="1"/>
          <p:nvPr/>
        </p:nvSpPr>
        <p:spPr>
          <a:xfrm>
            <a:off x="3920575" y="4525076"/>
            <a:ext cx="1843588" cy="798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r">
              <a:lnSpc>
                <a:spcPct val="150000"/>
              </a:lnSpc>
              <a:defRPr sz="1400">
                <a:solidFill>
                  <a:schemeClr val="accent6"/>
                </a:solidFill>
                <a:latin typeface="思源宋体 Light" panose="02020300000000000000" pitchFamily="18" charset="-122"/>
                <a:ea typeface="思源宋体 Light" panose="02020300000000000000" pitchFamily="18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找到适合的模板。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904E7768-7047-4123-A4F7-7EB5F4E5B045}"/>
              </a:ext>
            </a:extLst>
          </p:cNvPr>
          <p:cNvSpPr txBox="1"/>
          <p:nvPr/>
        </p:nvSpPr>
        <p:spPr>
          <a:xfrm>
            <a:off x="7501823" y="1831020"/>
            <a:ext cx="13047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A9C94B15-E39C-4C9A-B6F2-59E1187A184D}"/>
              </a:ext>
            </a:extLst>
          </p:cNvPr>
          <p:cNvSpPr txBox="1"/>
          <p:nvPr/>
        </p:nvSpPr>
        <p:spPr>
          <a:xfrm>
            <a:off x="6836291" y="2165882"/>
            <a:ext cx="1968273" cy="10754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r">
              <a:lnSpc>
                <a:spcPct val="150000"/>
              </a:lnSpc>
              <a:defRPr sz="1400">
                <a:solidFill>
                  <a:schemeClr val="accent6"/>
                </a:solidFill>
                <a:latin typeface="思源宋体 Light" panose="02020300000000000000" pitchFamily="18" charset="-122"/>
                <a:ea typeface="思源宋体 Light" panose="02020300000000000000" pitchFamily="18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借助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DF8C75F3-8C7F-4242-8672-95305DC6233B}"/>
              </a:ext>
            </a:extLst>
          </p:cNvPr>
          <p:cNvSpPr txBox="1"/>
          <p:nvPr/>
        </p:nvSpPr>
        <p:spPr>
          <a:xfrm>
            <a:off x="7501823" y="5719905"/>
            <a:ext cx="13047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FE6F137A-C0C9-4DD6-85FE-974DB93DE50D}"/>
              </a:ext>
            </a:extLst>
          </p:cNvPr>
          <p:cNvSpPr txBox="1"/>
          <p:nvPr/>
        </p:nvSpPr>
        <p:spPr>
          <a:xfrm>
            <a:off x="6836291" y="4525076"/>
            <a:ext cx="1968273" cy="10754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r">
              <a:lnSpc>
                <a:spcPct val="150000"/>
              </a:lnSpc>
              <a:defRPr sz="1400">
                <a:solidFill>
                  <a:schemeClr val="accent6"/>
                </a:solidFill>
                <a:latin typeface="思源宋体 Light" panose="02020300000000000000" pitchFamily="18" charset="-122"/>
                <a:ea typeface="思源宋体 Light" panose="02020300000000000000" pitchFamily="18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借助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Light" panose="02020300000000000000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4557336F-D303-49BA-9457-D37339594A34}"/>
              </a:ext>
            </a:extLst>
          </p:cNvPr>
          <p:cNvSpPr/>
          <p:nvPr/>
        </p:nvSpPr>
        <p:spPr>
          <a:xfrm>
            <a:off x="3122362" y="2329930"/>
            <a:ext cx="407281" cy="407281"/>
          </a:xfrm>
          <a:custGeom>
            <a:avLst/>
            <a:gdLst>
              <a:gd name="connsiteX0" fmla="*/ 30450 w 730800"/>
              <a:gd name="connsiteY0" fmla="*/ 669900 h 730800"/>
              <a:gd name="connsiteX1" fmla="*/ 274050 w 730800"/>
              <a:gd name="connsiteY1" fmla="*/ 669900 h 730800"/>
              <a:gd name="connsiteX2" fmla="*/ 304500 w 730800"/>
              <a:gd name="connsiteY2" fmla="*/ 700350 h 730800"/>
              <a:gd name="connsiteX3" fmla="*/ 274050 w 730800"/>
              <a:gd name="connsiteY3" fmla="*/ 730800 h 730800"/>
              <a:gd name="connsiteX4" fmla="*/ 30450 w 730800"/>
              <a:gd name="connsiteY4" fmla="*/ 730800 h 730800"/>
              <a:gd name="connsiteX5" fmla="*/ 0 w 730800"/>
              <a:gd name="connsiteY5" fmla="*/ 700350 h 730800"/>
              <a:gd name="connsiteX6" fmla="*/ 30450 w 730800"/>
              <a:gd name="connsiteY6" fmla="*/ 669900 h 730800"/>
              <a:gd name="connsiteX7" fmla="*/ 30450 w 730800"/>
              <a:gd name="connsiteY7" fmla="*/ 548100 h 730800"/>
              <a:gd name="connsiteX8" fmla="*/ 213150 w 730800"/>
              <a:gd name="connsiteY8" fmla="*/ 548100 h 730800"/>
              <a:gd name="connsiteX9" fmla="*/ 243600 w 730800"/>
              <a:gd name="connsiteY9" fmla="*/ 578550 h 730800"/>
              <a:gd name="connsiteX10" fmla="*/ 213150 w 730800"/>
              <a:gd name="connsiteY10" fmla="*/ 609000 h 730800"/>
              <a:gd name="connsiteX11" fmla="*/ 30450 w 730800"/>
              <a:gd name="connsiteY11" fmla="*/ 609000 h 730800"/>
              <a:gd name="connsiteX12" fmla="*/ 0 w 730800"/>
              <a:gd name="connsiteY12" fmla="*/ 578550 h 730800"/>
              <a:gd name="connsiteX13" fmla="*/ 30450 w 730800"/>
              <a:gd name="connsiteY13" fmla="*/ 548100 h 730800"/>
              <a:gd name="connsiteX14" fmla="*/ 30450 w 730800"/>
              <a:gd name="connsiteY14" fmla="*/ 426300 h 730800"/>
              <a:gd name="connsiteX15" fmla="*/ 152250 w 730800"/>
              <a:gd name="connsiteY15" fmla="*/ 426300 h 730800"/>
              <a:gd name="connsiteX16" fmla="*/ 182700 w 730800"/>
              <a:gd name="connsiteY16" fmla="*/ 456750 h 730800"/>
              <a:gd name="connsiteX17" fmla="*/ 152250 w 730800"/>
              <a:gd name="connsiteY17" fmla="*/ 487200 h 730800"/>
              <a:gd name="connsiteX18" fmla="*/ 30450 w 730800"/>
              <a:gd name="connsiteY18" fmla="*/ 487200 h 730800"/>
              <a:gd name="connsiteX19" fmla="*/ 0 w 730800"/>
              <a:gd name="connsiteY19" fmla="*/ 456750 h 730800"/>
              <a:gd name="connsiteX20" fmla="*/ 30450 w 730800"/>
              <a:gd name="connsiteY20" fmla="*/ 426300 h 730800"/>
              <a:gd name="connsiteX21" fmla="*/ 365400 w 730800"/>
              <a:gd name="connsiteY21" fmla="*/ 182700 h 730800"/>
              <a:gd name="connsiteX22" fmla="*/ 334950 w 730800"/>
              <a:gd name="connsiteY22" fmla="*/ 213150 h 730800"/>
              <a:gd name="connsiteX23" fmla="*/ 334950 w 730800"/>
              <a:gd name="connsiteY23" fmla="*/ 365400 h 730800"/>
              <a:gd name="connsiteX24" fmla="*/ 343872 w 730800"/>
              <a:gd name="connsiteY24" fmla="*/ 386928 h 730800"/>
              <a:gd name="connsiteX25" fmla="*/ 435222 w 730800"/>
              <a:gd name="connsiteY25" fmla="*/ 478278 h 730800"/>
              <a:gd name="connsiteX26" fmla="*/ 478278 w 730800"/>
              <a:gd name="connsiteY26" fmla="*/ 478278 h 730800"/>
              <a:gd name="connsiteX27" fmla="*/ 478278 w 730800"/>
              <a:gd name="connsiteY27" fmla="*/ 435222 h 730800"/>
              <a:gd name="connsiteX28" fmla="*/ 395850 w 730800"/>
              <a:gd name="connsiteY28" fmla="*/ 352794 h 730800"/>
              <a:gd name="connsiteX29" fmla="*/ 395850 w 730800"/>
              <a:gd name="connsiteY29" fmla="*/ 213150 h 730800"/>
              <a:gd name="connsiteX30" fmla="*/ 365400 w 730800"/>
              <a:gd name="connsiteY30" fmla="*/ 182700 h 730800"/>
              <a:gd name="connsiteX31" fmla="*/ 365400 w 730800"/>
              <a:gd name="connsiteY31" fmla="*/ 0 h 730800"/>
              <a:gd name="connsiteX32" fmla="*/ 730800 w 730800"/>
              <a:gd name="connsiteY32" fmla="*/ 365400 h 730800"/>
              <a:gd name="connsiteX33" fmla="*/ 365400 w 730800"/>
              <a:gd name="connsiteY33" fmla="*/ 730800 h 730800"/>
              <a:gd name="connsiteX34" fmla="*/ 359889 w 730800"/>
              <a:gd name="connsiteY34" fmla="*/ 730526 h 730800"/>
              <a:gd name="connsiteX35" fmla="*/ 362617 w 730800"/>
              <a:gd name="connsiteY35" fmla="*/ 721738 h 730800"/>
              <a:gd name="connsiteX36" fmla="*/ 297801 w 730800"/>
              <a:gd name="connsiteY36" fmla="*/ 612532 h 730800"/>
              <a:gd name="connsiteX37" fmla="*/ 301529 w 730800"/>
              <a:gd name="connsiteY37" fmla="*/ 601348 h 730800"/>
              <a:gd name="connsiteX38" fmla="*/ 236901 w 730800"/>
              <a:gd name="connsiteY38" fmla="*/ 490732 h 730800"/>
              <a:gd name="connsiteX39" fmla="*/ 243603 w 730800"/>
              <a:gd name="connsiteY39" fmla="*/ 456138 h 730800"/>
              <a:gd name="connsiteX40" fmla="*/ 152250 w 730800"/>
              <a:gd name="connsiteY40" fmla="*/ 365400 h 730800"/>
              <a:gd name="connsiteX41" fmla="*/ 30450 w 730800"/>
              <a:gd name="connsiteY41" fmla="*/ 365400 h 730800"/>
              <a:gd name="connsiteX42" fmla="*/ 274 w 730800"/>
              <a:gd name="connsiteY42" fmla="*/ 370911 h 730800"/>
              <a:gd name="connsiteX43" fmla="*/ 0 w 730800"/>
              <a:gd name="connsiteY43" fmla="*/ 365400 h 730800"/>
              <a:gd name="connsiteX44" fmla="*/ 365400 w 730800"/>
              <a:gd name="connsiteY44" fmla="*/ 0 h 73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730800" h="730800">
                <a:moveTo>
                  <a:pt x="30450" y="669900"/>
                </a:moveTo>
                <a:lnTo>
                  <a:pt x="274050" y="669900"/>
                </a:lnTo>
                <a:cubicBezTo>
                  <a:pt x="290867" y="669900"/>
                  <a:pt x="304500" y="683532"/>
                  <a:pt x="304500" y="700350"/>
                </a:cubicBezTo>
                <a:cubicBezTo>
                  <a:pt x="304500" y="717168"/>
                  <a:pt x="290867" y="730800"/>
                  <a:pt x="274050" y="730800"/>
                </a:cubicBezTo>
                <a:lnTo>
                  <a:pt x="30450" y="730800"/>
                </a:lnTo>
                <a:cubicBezTo>
                  <a:pt x="13633" y="730800"/>
                  <a:pt x="0" y="717168"/>
                  <a:pt x="0" y="700350"/>
                </a:cubicBezTo>
                <a:cubicBezTo>
                  <a:pt x="0" y="683532"/>
                  <a:pt x="13633" y="669900"/>
                  <a:pt x="30450" y="669900"/>
                </a:cubicBezTo>
                <a:close/>
                <a:moveTo>
                  <a:pt x="30450" y="548100"/>
                </a:moveTo>
                <a:lnTo>
                  <a:pt x="213150" y="548100"/>
                </a:lnTo>
                <a:cubicBezTo>
                  <a:pt x="229967" y="548100"/>
                  <a:pt x="243600" y="561732"/>
                  <a:pt x="243600" y="578550"/>
                </a:cubicBezTo>
                <a:cubicBezTo>
                  <a:pt x="243600" y="595368"/>
                  <a:pt x="229967" y="609000"/>
                  <a:pt x="213150" y="609000"/>
                </a:cubicBezTo>
                <a:lnTo>
                  <a:pt x="30450" y="609000"/>
                </a:lnTo>
                <a:cubicBezTo>
                  <a:pt x="13633" y="609000"/>
                  <a:pt x="0" y="595368"/>
                  <a:pt x="0" y="578550"/>
                </a:cubicBezTo>
                <a:cubicBezTo>
                  <a:pt x="0" y="561732"/>
                  <a:pt x="13633" y="548100"/>
                  <a:pt x="30450" y="548100"/>
                </a:cubicBezTo>
                <a:close/>
                <a:moveTo>
                  <a:pt x="30450" y="426300"/>
                </a:moveTo>
                <a:lnTo>
                  <a:pt x="152250" y="426300"/>
                </a:lnTo>
                <a:cubicBezTo>
                  <a:pt x="169067" y="426300"/>
                  <a:pt x="182700" y="439932"/>
                  <a:pt x="182700" y="456750"/>
                </a:cubicBezTo>
                <a:cubicBezTo>
                  <a:pt x="182700" y="473568"/>
                  <a:pt x="169067" y="487200"/>
                  <a:pt x="152250" y="487200"/>
                </a:cubicBezTo>
                <a:lnTo>
                  <a:pt x="30450" y="487200"/>
                </a:lnTo>
                <a:cubicBezTo>
                  <a:pt x="13633" y="487200"/>
                  <a:pt x="0" y="473568"/>
                  <a:pt x="0" y="456750"/>
                </a:cubicBezTo>
                <a:cubicBezTo>
                  <a:pt x="0" y="439932"/>
                  <a:pt x="13633" y="426300"/>
                  <a:pt x="30450" y="426300"/>
                </a:cubicBezTo>
                <a:close/>
                <a:moveTo>
                  <a:pt x="365400" y="182700"/>
                </a:moveTo>
                <a:cubicBezTo>
                  <a:pt x="348582" y="182700"/>
                  <a:pt x="334950" y="196333"/>
                  <a:pt x="334950" y="213150"/>
                </a:cubicBezTo>
                <a:lnTo>
                  <a:pt x="334950" y="365400"/>
                </a:lnTo>
                <a:cubicBezTo>
                  <a:pt x="334953" y="373475"/>
                  <a:pt x="338162" y="381219"/>
                  <a:pt x="343872" y="386928"/>
                </a:cubicBezTo>
                <a:lnTo>
                  <a:pt x="435222" y="478278"/>
                </a:lnTo>
                <a:cubicBezTo>
                  <a:pt x="447113" y="490166"/>
                  <a:pt x="466387" y="490166"/>
                  <a:pt x="478278" y="478278"/>
                </a:cubicBezTo>
                <a:cubicBezTo>
                  <a:pt x="490166" y="466387"/>
                  <a:pt x="490166" y="447113"/>
                  <a:pt x="478278" y="435222"/>
                </a:cubicBezTo>
                <a:lnTo>
                  <a:pt x="395850" y="352794"/>
                </a:lnTo>
                <a:lnTo>
                  <a:pt x="395850" y="213150"/>
                </a:lnTo>
                <a:cubicBezTo>
                  <a:pt x="395850" y="196333"/>
                  <a:pt x="382218" y="182700"/>
                  <a:pt x="365400" y="182700"/>
                </a:cubicBezTo>
                <a:close/>
                <a:moveTo>
                  <a:pt x="365400" y="0"/>
                </a:moveTo>
                <a:cubicBezTo>
                  <a:pt x="567204" y="0"/>
                  <a:pt x="730800" y="163595"/>
                  <a:pt x="730800" y="365400"/>
                </a:cubicBezTo>
                <a:cubicBezTo>
                  <a:pt x="730800" y="567204"/>
                  <a:pt x="567204" y="730800"/>
                  <a:pt x="365400" y="730800"/>
                </a:cubicBezTo>
                <a:cubicBezTo>
                  <a:pt x="363543" y="730800"/>
                  <a:pt x="361746" y="730526"/>
                  <a:pt x="359889" y="730526"/>
                </a:cubicBezTo>
                <a:cubicBezTo>
                  <a:pt x="360948" y="727645"/>
                  <a:pt x="361859" y="724713"/>
                  <a:pt x="362617" y="721738"/>
                </a:cubicBezTo>
                <a:cubicBezTo>
                  <a:pt x="374876" y="673682"/>
                  <a:pt x="345857" y="624791"/>
                  <a:pt x="297801" y="612532"/>
                </a:cubicBezTo>
                <a:cubicBezTo>
                  <a:pt x="299285" y="608890"/>
                  <a:pt x="300531" y="605154"/>
                  <a:pt x="301529" y="601348"/>
                </a:cubicBezTo>
                <a:cubicBezTo>
                  <a:pt x="314229" y="552957"/>
                  <a:pt x="285293" y="503430"/>
                  <a:pt x="236901" y="490732"/>
                </a:cubicBezTo>
                <a:cubicBezTo>
                  <a:pt x="241367" y="479746"/>
                  <a:pt x="243644" y="467995"/>
                  <a:pt x="243603" y="456138"/>
                </a:cubicBezTo>
                <a:cubicBezTo>
                  <a:pt x="243433" y="405853"/>
                  <a:pt x="202533" y="365229"/>
                  <a:pt x="152250" y="365400"/>
                </a:cubicBezTo>
                <a:lnTo>
                  <a:pt x="30450" y="365400"/>
                </a:lnTo>
                <a:cubicBezTo>
                  <a:pt x="20151" y="365504"/>
                  <a:pt x="9945" y="367367"/>
                  <a:pt x="274" y="370911"/>
                </a:cubicBezTo>
                <a:cubicBezTo>
                  <a:pt x="244" y="369054"/>
                  <a:pt x="0" y="367257"/>
                  <a:pt x="0" y="365400"/>
                </a:cubicBezTo>
                <a:cubicBezTo>
                  <a:pt x="0" y="163595"/>
                  <a:pt x="163595" y="0"/>
                  <a:pt x="36540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>
                  <a:alpha val="1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1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81E067AB-0272-4C65-B3F3-80275098F0A5}"/>
              </a:ext>
            </a:extLst>
          </p:cNvPr>
          <p:cNvSpPr/>
          <p:nvPr/>
        </p:nvSpPr>
        <p:spPr>
          <a:xfrm>
            <a:off x="3122362" y="4965599"/>
            <a:ext cx="407281" cy="407281"/>
          </a:xfrm>
          <a:custGeom>
            <a:avLst/>
            <a:gdLst>
              <a:gd name="connsiteX0" fmla="*/ 30450 w 730800"/>
              <a:gd name="connsiteY0" fmla="*/ 669900 h 730800"/>
              <a:gd name="connsiteX1" fmla="*/ 274050 w 730800"/>
              <a:gd name="connsiteY1" fmla="*/ 669900 h 730800"/>
              <a:gd name="connsiteX2" fmla="*/ 304500 w 730800"/>
              <a:gd name="connsiteY2" fmla="*/ 700350 h 730800"/>
              <a:gd name="connsiteX3" fmla="*/ 274050 w 730800"/>
              <a:gd name="connsiteY3" fmla="*/ 730800 h 730800"/>
              <a:gd name="connsiteX4" fmla="*/ 30450 w 730800"/>
              <a:gd name="connsiteY4" fmla="*/ 730800 h 730800"/>
              <a:gd name="connsiteX5" fmla="*/ 0 w 730800"/>
              <a:gd name="connsiteY5" fmla="*/ 700350 h 730800"/>
              <a:gd name="connsiteX6" fmla="*/ 30450 w 730800"/>
              <a:gd name="connsiteY6" fmla="*/ 669900 h 730800"/>
              <a:gd name="connsiteX7" fmla="*/ 30450 w 730800"/>
              <a:gd name="connsiteY7" fmla="*/ 548100 h 730800"/>
              <a:gd name="connsiteX8" fmla="*/ 213150 w 730800"/>
              <a:gd name="connsiteY8" fmla="*/ 548100 h 730800"/>
              <a:gd name="connsiteX9" fmla="*/ 243600 w 730800"/>
              <a:gd name="connsiteY9" fmla="*/ 578550 h 730800"/>
              <a:gd name="connsiteX10" fmla="*/ 213150 w 730800"/>
              <a:gd name="connsiteY10" fmla="*/ 609000 h 730800"/>
              <a:gd name="connsiteX11" fmla="*/ 30450 w 730800"/>
              <a:gd name="connsiteY11" fmla="*/ 609000 h 730800"/>
              <a:gd name="connsiteX12" fmla="*/ 0 w 730800"/>
              <a:gd name="connsiteY12" fmla="*/ 578550 h 730800"/>
              <a:gd name="connsiteX13" fmla="*/ 30450 w 730800"/>
              <a:gd name="connsiteY13" fmla="*/ 548100 h 730800"/>
              <a:gd name="connsiteX14" fmla="*/ 30450 w 730800"/>
              <a:gd name="connsiteY14" fmla="*/ 426300 h 730800"/>
              <a:gd name="connsiteX15" fmla="*/ 152250 w 730800"/>
              <a:gd name="connsiteY15" fmla="*/ 426300 h 730800"/>
              <a:gd name="connsiteX16" fmla="*/ 182700 w 730800"/>
              <a:gd name="connsiteY16" fmla="*/ 456750 h 730800"/>
              <a:gd name="connsiteX17" fmla="*/ 152250 w 730800"/>
              <a:gd name="connsiteY17" fmla="*/ 487200 h 730800"/>
              <a:gd name="connsiteX18" fmla="*/ 30450 w 730800"/>
              <a:gd name="connsiteY18" fmla="*/ 487200 h 730800"/>
              <a:gd name="connsiteX19" fmla="*/ 0 w 730800"/>
              <a:gd name="connsiteY19" fmla="*/ 456750 h 730800"/>
              <a:gd name="connsiteX20" fmla="*/ 30450 w 730800"/>
              <a:gd name="connsiteY20" fmla="*/ 426300 h 730800"/>
              <a:gd name="connsiteX21" fmla="*/ 365400 w 730800"/>
              <a:gd name="connsiteY21" fmla="*/ 182700 h 730800"/>
              <a:gd name="connsiteX22" fmla="*/ 334950 w 730800"/>
              <a:gd name="connsiteY22" fmla="*/ 213150 h 730800"/>
              <a:gd name="connsiteX23" fmla="*/ 334950 w 730800"/>
              <a:gd name="connsiteY23" fmla="*/ 365400 h 730800"/>
              <a:gd name="connsiteX24" fmla="*/ 343872 w 730800"/>
              <a:gd name="connsiteY24" fmla="*/ 386928 h 730800"/>
              <a:gd name="connsiteX25" fmla="*/ 435222 w 730800"/>
              <a:gd name="connsiteY25" fmla="*/ 478278 h 730800"/>
              <a:gd name="connsiteX26" fmla="*/ 478278 w 730800"/>
              <a:gd name="connsiteY26" fmla="*/ 478278 h 730800"/>
              <a:gd name="connsiteX27" fmla="*/ 478278 w 730800"/>
              <a:gd name="connsiteY27" fmla="*/ 435222 h 730800"/>
              <a:gd name="connsiteX28" fmla="*/ 395850 w 730800"/>
              <a:gd name="connsiteY28" fmla="*/ 352794 h 730800"/>
              <a:gd name="connsiteX29" fmla="*/ 395850 w 730800"/>
              <a:gd name="connsiteY29" fmla="*/ 213150 h 730800"/>
              <a:gd name="connsiteX30" fmla="*/ 365400 w 730800"/>
              <a:gd name="connsiteY30" fmla="*/ 182700 h 730800"/>
              <a:gd name="connsiteX31" fmla="*/ 365400 w 730800"/>
              <a:gd name="connsiteY31" fmla="*/ 0 h 730800"/>
              <a:gd name="connsiteX32" fmla="*/ 730800 w 730800"/>
              <a:gd name="connsiteY32" fmla="*/ 365400 h 730800"/>
              <a:gd name="connsiteX33" fmla="*/ 365400 w 730800"/>
              <a:gd name="connsiteY33" fmla="*/ 730800 h 730800"/>
              <a:gd name="connsiteX34" fmla="*/ 359889 w 730800"/>
              <a:gd name="connsiteY34" fmla="*/ 730526 h 730800"/>
              <a:gd name="connsiteX35" fmla="*/ 362617 w 730800"/>
              <a:gd name="connsiteY35" fmla="*/ 721738 h 730800"/>
              <a:gd name="connsiteX36" fmla="*/ 297801 w 730800"/>
              <a:gd name="connsiteY36" fmla="*/ 612532 h 730800"/>
              <a:gd name="connsiteX37" fmla="*/ 301529 w 730800"/>
              <a:gd name="connsiteY37" fmla="*/ 601348 h 730800"/>
              <a:gd name="connsiteX38" fmla="*/ 236901 w 730800"/>
              <a:gd name="connsiteY38" fmla="*/ 490732 h 730800"/>
              <a:gd name="connsiteX39" fmla="*/ 243603 w 730800"/>
              <a:gd name="connsiteY39" fmla="*/ 456138 h 730800"/>
              <a:gd name="connsiteX40" fmla="*/ 152250 w 730800"/>
              <a:gd name="connsiteY40" fmla="*/ 365400 h 730800"/>
              <a:gd name="connsiteX41" fmla="*/ 30450 w 730800"/>
              <a:gd name="connsiteY41" fmla="*/ 365400 h 730800"/>
              <a:gd name="connsiteX42" fmla="*/ 274 w 730800"/>
              <a:gd name="connsiteY42" fmla="*/ 370911 h 730800"/>
              <a:gd name="connsiteX43" fmla="*/ 0 w 730800"/>
              <a:gd name="connsiteY43" fmla="*/ 365400 h 730800"/>
              <a:gd name="connsiteX44" fmla="*/ 365400 w 730800"/>
              <a:gd name="connsiteY44" fmla="*/ 0 h 73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730800" h="730800">
                <a:moveTo>
                  <a:pt x="30450" y="669900"/>
                </a:moveTo>
                <a:lnTo>
                  <a:pt x="274050" y="669900"/>
                </a:lnTo>
                <a:cubicBezTo>
                  <a:pt x="290867" y="669900"/>
                  <a:pt x="304500" y="683532"/>
                  <a:pt x="304500" y="700350"/>
                </a:cubicBezTo>
                <a:cubicBezTo>
                  <a:pt x="304500" y="717168"/>
                  <a:pt x="290867" y="730800"/>
                  <a:pt x="274050" y="730800"/>
                </a:cubicBezTo>
                <a:lnTo>
                  <a:pt x="30450" y="730800"/>
                </a:lnTo>
                <a:cubicBezTo>
                  <a:pt x="13633" y="730800"/>
                  <a:pt x="0" y="717168"/>
                  <a:pt x="0" y="700350"/>
                </a:cubicBezTo>
                <a:cubicBezTo>
                  <a:pt x="0" y="683532"/>
                  <a:pt x="13633" y="669900"/>
                  <a:pt x="30450" y="669900"/>
                </a:cubicBezTo>
                <a:close/>
                <a:moveTo>
                  <a:pt x="30450" y="548100"/>
                </a:moveTo>
                <a:lnTo>
                  <a:pt x="213150" y="548100"/>
                </a:lnTo>
                <a:cubicBezTo>
                  <a:pt x="229967" y="548100"/>
                  <a:pt x="243600" y="561732"/>
                  <a:pt x="243600" y="578550"/>
                </a:cubicBezTo>
                <a:cubicBezTo>
                  <a:pt x="243600" y="595368"/>
                  <a:pt x="229967" y="609000"/>
                  <a:pt x="213150" y="609000"/>
                </a:cubicBezTo>
                <a:lnTo>
                  <a:pt x="30450" y="609000"/>
                </a:lnTo>
                <a:cubicBezTo>
                  <a:pt x="13633" y="609000"/>
                  <a:pt x="0" y="595368"/>
                  <a:pt x="0" y="578550"/>
                </a:cubicBezTo>
                <a:cubicBezTo>
                  <a:pt x="0" y="561732"/>
                  <a:pt x="13633" y="548100"/>
                  <a:pt x="30450" y="548100"/>
                </a:cubicBezTo>
                <a:close/>
                <a:moveTo>
                  <a:pt x="30450" y="426300"/>
                </a:moveTo>
                <a:lnTo>
                  <a:pt x="152250" y="426300"/>
                </a:lnTo>
                <a:cubicBezTo>
                  <a:pt x="169067" y="426300"/>
                  <a:pt x="182700" y="439932"/>
                  <a:pt x="182700" y="456750"/>
                </a:cubicBezTo>
                <a:cubicBezTo>
                  <a:pt x="182700" y="473568"/>
                  <a:pt x="169067" y="487200"/>
                  <a:pt x="152250" y="487200"/>
                </a:cubicBezTo>
                <a:lnTo>
                  <a:pt x="30450" y="487200"/>
                </a:lnTo>
                <a:cubicBezTo>
                  <a:pt x="13633" y="487200"/>
                  <a:pt x="0" y="473568"/>
                  <a:pt x="0" y="456750"/>
                </a:cubicBezTo>
                <a:cubicBezTo>
                  <a:pt x="0" y="439932"/>
                  <a:pt x="13633" y="426300"/>
                  <a:pt x="30450" y="426300"/>
                </a:cubicBezTo>
                <a:close/>
                <a:moveTo>
                  <a:pt x="365400" y="182700"/>
                </a:moveTo>
                <a:cubicBezTo>
                  <a:pt x="348582" y="182700"/>
                  <a:pt x="334950" y="196333"/>
                  <a:pt x="334950" y="213150"/>
                </a:cubicBezTo>
                <a:lnTo>
                  <a:pt x="334950" y="365400"/>
                </a:lnTo>
                <a:cubicBezTo>
                  <a:pt x="334953" y="373475"/>
                  <a:pt x="338162" y="381219"/>
                  <a:pt x="343872" y="386928"/>
                </a:cubicBezTo>
                <a:lnTo>
                  <a:pt x="435222" y="478278"/>
                </a:lnTo>
                <a:cubicBezTo>
                  <a:pt x="447113" y="490166"/>
                  <a:pt x="466387" y="490166"/>
                  <a:pt x="478278" y="478278"/>
                </a:cubicBezTo>
                <a:cubicBezTo>
                  <a:pt x="490166" y="466387"/>
                  <a:pt x="490166" y="447113"/>
                  <a:pt x="478278" y="435222"/>
                </a:cubicBezTo>
                <a:lnTo>
                  <a:pt x="395850" y="352794"/>
                </a:lnTo>
                <a:lnTo>
                  <a:pt x="395850" y="213150"/>
                </a:lnTo>
                <a:cubicBezTo>
                  <a:pt x="395850" y="196333"/>
                  <a:pt x="382218" y="182700"/>
                  <a:pt x="365400" y="182700"/>
                </a:cubicBezTo>
                <a:close/>
                <a:moveTo>
                  <a:pt x="365400" y="0"/>
                </a:moveTo>
                <a:cubicBezTo>
                  <a:pt x="567204" y="0"/>
                  <a:pt x="730800" y="163595"/>
                  <a:pt x="730800" y="365400"/>
                </a:cubicBezTo>
                <a:cubicBezTo>
                  <a:pt x="730800" y="567204"/>
                  <a:pt x="567204" y="730800"/>
                  <a:pt x="365400" y="730800"/>
                </a:cubicBezTo>
                <a:cubicBezTo>
                  <a:pt x="363543" y="730800"/>
                  <a:pt x="361746" y="730526"/>
                  <a:pt x="359889" y="730526"/>
                </a:cubicBezTo>
                <a:cubicBezTo>
                  <a:pt x="360948" y="727645"/>
                  <a:pt x="361859" y="724713"/>
                  <a:pt x="362617" y="721738"/>
                </a:cubicBezTo>
                <a:cubicBezTo>
                  <a:pt x="374876" y="673682"/>
                  <a:pt x="345857" y="624791"/>
                  <a:pt x="297801" y="612532"/>
                </a:cubicBezTo>
                <a:cubicBezTo>
                  <a:pt x="299285" y="608890"/>
                  <a:pt x="300531" y="605154"/>
                  <a:pt x="301529" y="601348"/>
                </a:cubicBezTo>
                <a:cubicBezTo>
                  <a:pt x="314229" y="552957"/>
                  <a:pt x="285293" y="503430"/>
                  <a:pt x="236901" y="490732"/>
                </a:cubicBezTo>
                <a:cubicBezTo>
                  <a:pt x="241367" y="479746"/>
                  <a:pt x="243644" y="467995"/>
                  <a:pt x="243603" y="456138"/>
                </a:cubicBezTo>
                <a:cubicBezTo>
                  <a:pt x="243433" y="405853"/>
                  <a:pt x="202533" y="365229"/>
                  <a:pt x="152250" y="365400"/>
                </a:cubicBezTo>
                <a:lnTo>
                  <a:pt x="30450" y="365400"/>
                </a:lnTo>
                <a:cubicBezTo>
                  <a:pt x="20151" y="365504"/>
                  <a:pt x="9945" y="367367"/>
                  <a:pt x="274" y="370911"/>
                </a:cubicBezTo>
                <a:cubicBezTo>
                  <a:pt x="244" y="369054"/>
                  <a:pt x="0" y="367257"/>
                  <a:pt x="0" y="365400"/>
                </a:cubicBezTo>
                <a:cubicBezTo>
                  <a:pt x="0" y="163595"/>
                  <a:pt x="163595" y="0"/>
                  <a:pt x="36540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>
                  <a:alpha val="1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1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59" name="任意多边形: 形状 58">
            <a:extLst>
              <a:ext uri="{FF2B5EF4-FFF2-40B4-BE49-F238E27FC236}">
                <a16:creationId xmlns:a16="http://schemas.microsoft.com/office/drawing/2014/main" id="{D2CA865D-CB2B-43B2-9857-2EE6184693E4}"/>
              </a:ext>
            </a:extLst>
          </p:cNvPr>
          <p:cNvSpPr/>
          <p:nvPr/>
        </p:nvSpPr>
        <p:spPr>
          <a:xfrm>
            <a:off x="6051864" y="1959108"/>
            <a:ext cx="406800" cy="406800"/>
          </a:xfrm>
          <a:custGeom>
            <a:avLst/>
            <a:gdLst>
              <a:gd name="connsiteX0" fmla="*/ 274050 w 730865"/>
              <a:gd name="connsiteY0" fmla="*/ 426299 h 730799"/>
              <a:gd name="connsiteX1" fmla="*/ 548099 w 730865"/>
              <a:gd name="connsiteY1" fmla="*/ 700349 h 730799"/>
              <a:gd name="connsiteX2" fmla="*/ 517649 w 730865"/>
              <a:gd name="connsiteY2" fmla="*/ 730799 h 730799"/>
              <a:gd name="connsiteX3" fmla="*/ 30450 w 730865"/>
              <a:gd name="connsiteY3" fmla="*/ 730799 h 730799"/>
              <a:gd name="connsiteX4" fmla="*/ 0 w 730865"/>
              <a:gd name="connsiteY4" fmla="*/ 700349 h 730799"/>
              <a:gd name="connsiteX5" fmla="*/ 274050 w 730865"/>
              <a:gd name="connsiteY5" fmla="*/ 426299 h 730799"/>
              <a:gd name="connsiteX6" fmla="*/ 548098 w 730865"/>
              <a:gd name="connsiteY6" fmla="*/ 239794 h 730799"/>
              <a:gd name="connsiteX7" fmla="*/ 608998 w 730865"/>
              <a:gd name="connsiteY7" fmla="*/ 306784 h 730799"/>
              <a:gd name="connsiteX8" fmla="*/ 669899 w 730865"/>
              <a:gd name="connsiteY8" fmla="*/ 239794 h 730799"/>
              <a:gd name="connsiteX9" fmla="*/ 730798 w 730865"/>
              <a:gd name="connsiteY9" fmla="*/ 306784 h 730799"/>
              <a:gd name="connsiteX10" fmla="*/ 627876 w 730865"/>
              <a:gd name="connsiteY10" fmla="*/ 448650 h 730799"/>
              <a:gd name="connsiteX11" fmla="*/ 590119 w 730865"/>
              <a:gd name="connsiteY11" fmla="*/ 448650 h 730799"/>
              <a:gd name="connsiteX12" fmla="*/ 487197 w 730865"/>
              <a:gd name="connsiteY12" fmla="*/ 306784 h 730799"/>
              <a:gd name="connsiteX13" fmla="*/ 548098 w 730865"/>
              <a:gd name="connsiteY13" fmla="*/ 239794 h 730799"/>
              <a:gd name="connsiteX14" fmla="*/ 274050 w 730865"/>
              <a:gd name="connsiteY14" fmla="*/ 0 h 730799"/>
              <a:gd name="connsiteX15" fmla="*/ 456750 w 730865"/>
              <a:gd name="connsiteY15" fmla="*/ 182700 h 730799"/>
              <a:gd name="connsiteX16" fmla="*/ 274050 w 730865"/>
              <a:gd name="connsiteY16" fmla="*/ 365400 h 730799"/>
              <a:gd name="connsiteX17" fmla="*/ 91350 w 730865"/>
              <a:gd name="connsiteY17" fmla="*/ 182700 h 730799"/>
              <a:gd name="connsiteX18" fmla="*/ 274050 w 730865"/>
              <a:gd name="connsiteY18" fmla="*/ 0 h 730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0865" h="730799">
                <a:moveTo>
                  <a:pt x="274050" y="426299"/>
                </a:moveTo>
                <a:cubicBezTo>
                  <a:pt x="425327" y="426485"/>
                  <a:pt x="547916" y="549072"/>
                  <a:pt x="548099" y="700349"/>
                </a:cubicBezTo>
                <a:cubicBezTo>
                  <a:pt x="548099" y="717166"/>
                  <a:pt x="534466" y="730799"/>
                  <a:pt x="517649" y="730799"/>
                </a:cubicBezTo>
                <a:lnTo>
                  <a:pt x="30450" y="730799"/>
                </a:lnTo>
                <a:cubicBezTo>
                  <a:pt x="13633" y="730799"/>
                  <a:pt x="0" y="717166"/>
                  <a:pt x="0" y="700349"/>
                </a:cubicBezTo>
                <a:cubicBezTo>
                  <a:pt x="184" y="549072"/>
                  <a:pt x="122773" y="426485"/>
                  <a:pt x="274050" y="426299"/>
                </a:cubicBezTo>
                <a:close/>
                <a:moveTo>
                  <a:pt x="548098" y="239794"/>
                </a:moveTo>
                <a:cubicBezTo>
                  <a:pt x="583379" y="241551"/>
                  <a:pt x="610601" y="271497"/>
                  <a:pt x="608998" y="306784"/>
                </a:cubicBezTo>
                <a:cubicBezTo>
                  <a:pt x="607395" y="271497"/>
                  <a:pt x="634619" y="241551"/>
                  <a:pt x="669899" y="239794"/>
                </a:cubicBezTo>
                <a:cubicBezTo>
                  <a:pt x="705180" y="241551"/>
                  <a:pt x="732402" y="271495"/>
                  <a:pt x="730798" y="306784"/>
                </a:cubicBezTo>
                <a:cubicBezTo>
                  <a:pt x="730798" y="359462"/>
                  <a:pt x="662103" y="421245"/>
                  <a:pt x="627876" y="448650"/>
                </a:cubicBezTo>
                <a:cubicBezTo>
                  <a:pt x="616842" y="457485"/>
                  <a:pt x="601154" y="457485"/>
                  <a:pt x="590119" y="448650"/>
                </a:cubicBezTo>
                <a:cubicBezTo>
                  <a:pt x="555892" y="421184"/>
                  <a:pt x="487197" y="359462"/>
                  <a:pt x="487197" y="306784"/>
                </a:cubicBezTo>
                <a:cubicBezTo>
                  <a:pt x="485594" y="271497"/>
                  <a:pt x="512818" y="241551"/>
                  <a:pt x="548098" y="239794"/>
                </a:cubicBezTo>
                <a:close/>
                <a:moveTo>
                  <a:pt x="274050" y="0"/>
                </a:moveTo>
                <a:cubicBezTo>
                  <a:pt x="374952" y="0"/>
                  <a:pt x="456750" y="81798"/>
                  <a:pt x="456750" y="182700"/>
                </a:cubicBezTo>
                <a:cubicBezTo>
                  <a:pt x="456750" y="283602"/>
                  <a:pt x="374952" y="365400"/>
                  <a:pt x="274050" y="365400"/>
                </a:cubicBezTo>
                <a:cubicBezTo>
                  <a:pt x="173148" y="365400"/>
                  <a:pt x="91350" y="283602"/>
                  <a:pt x="91350" y="182700"/>
                </a:cubicBezTo>
                <a:cubicBezTo>
                  <a:pt x="91350" y="81798"/>
                  <a:pt x="173148" y="0"/>
                  <a:pt x="27405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>
                  <a:alpha val="1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1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D8497CB9-62AF-4B56-9C78-628778BDEAC8}"/>
              </a:ext>
            </a:extLst>
          </p:cNvPr>
          <p:cNvSpPr/>
          <p:nvPr/>
        </p:nvSpPr>
        <p:spPr>
          <a:xfrm>
            <a:off x="6051864" y="5336902"/>
            <a:ext cx="406800" cy="406800"/>
          </a:xfrm>
          <a:custGeom>
            <a:avLst/>
            <a:gdLst>
              <a:gd name="connsiteX0" fmla="*/ 274050 w 730865"/>
              <a:gd name="connsiteY0" fmla="*/ 426299 h 730799"/>
              <a:gd name="connsiteX1" fmla="*/ 548099 w 730865"/>
              <a:gd name="connsiteY1" fmla="*/ 700349 h 730799"/>
              <a:gd name="connsiteX2" fmla="*/ 517649 w 730865"/>
              <a:gd name="connsiteY2" fmla="*/ 730799 h 730799"/>
              <a:gd name="connsiteX3" fmla="*/ 30450 w 730865"/>
              <a:gd name="connsiteY3" fmla="*/ 730799 h 730799"/>
              <a:gd name="connsiteX4" fmla="*/ 0 w 730865"/>
              <a:gd name="connsiteY4" fmla="*/ 700349 h 730799"/>
              <a:gd name="connsiteX5" fmla="*/ 274050 w 730865"/>
              <a:gd name="connsiteY5" fmla="*/ 426299 h 730799"/>
              <a:gd name="connsiteX6" fmla="*/ 548098 w 730865"/>
              <a:gd name="connsiteY6" fmla="*/ 239794 h 730799"/>
              <a:gd name="connsiteX7" fmla="*/ 608998 w 730865"/>
              <a:gd name="connsiteY7" fmla="*/ 306784 h 730799"/>
              <a:gd name="connsiteX8" fmla="*/ 669899 w 730865"/>
              <a:gd name="connsiteY8" fmla="*/ 239794 h 730799"/>
              <a:gd name="connsiteX9" fmla="*/ 730798 w 730865"/>
              <a:gd name="connsiteY9" fmla="*/ 306784 h 730799"/>
              <a:gd name="connsiteX10" fmla="*/ 627876 w 730865"/>
              <a:gd name="connsiteY10" fmla="*/ 448650 h 730799"/>
              <a:gd name="connsiteX11" fmla="*/ 590119 w 730865"/>
              <a:gd name="connsiteY11" fmla="*/ 448650 h 730799"/>
              <a:gd name="connsiteX12" fmla="*/ 487197 w 730865"/>
              <a:gd name="connsiteY12" fmla="*/ 306784 h 730799"/>
              <a:gd name="connsiteX13" fmla="*/ 548098 w 730865"/>
              <a:gd name="connsiteY13" fmla="*/ 239794 h 730799"/>
              <a:gd name="connsiteX14" fmla="*/ 274050 w 730865"/>
              <a:gd name="connsiteY14" fmla="*/ 0 h 730799"/>
              <a:gd name="connsiteX15" fmla="*/ 456750 w 730865"/>
              <a:gd name="connsiteY15" fmla="*/ 182700 h 730799"/>
              <a:gd name="connsiteX16" fmla="*/ 274050 w 730865"/>
              <a:gd name="connsiteY16" fmla="*/ 365400 h 730799"/>
              <a:gd name="connsiteX17" fmla="*/ 91350 w 730865"/>
              <a:gd name="connsiteY17" fmla="*/ 182700 h 730799"/>
              <a:gd name="connsiteX18" fmla="*/ 274050 w 730865"/>
              <a:gd name="connsiteY18" fmla="*/ 0 h 730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0865" h="730799">
                <a:moveTo>
                  <a:pt x="274050" y="426299"/>
                </a:moveTo>
                <a:cubicBezTo>
                  <a:pt x="425327" y="426485"/>
                  <a:pt x="547916" y="549072"/>
                  <a:pt x="548099" y="700349"/>
                </a:cubicBezTo>
                <a:cubicBezTo>
                  <a:pt x="548099" y="717166"/>
                  <a:pt x="534466" y="730799"/>
                  <a:pt x="517649" y="730799"/>
                </a:cubicBezTo>
                <a:lnTo>
                  <a:pt x="30450" y="730799"/>
                </a:lnTo>
                <a:cubicBezTo>
                  <a:pt x="13633" y="730799"/>
                  <a:pt x="0" y="717166"/>
                  <a:pt x="0" y="700349"/>
                </a:cubicBezTo>
                <a:cubicBezTo>
                  <a:pt x="184" y="549072"/>
                  <a:pt x="122773" y="426485"/>
                  <a:pt x="274050" y="426299"/>
                </a:cubicBezTo>
                <a:close/>
                <a:moveTo>
                  <a:pt x="548098" y="239794"/>
                </a:moveTo>
                <a:cubicBezTo>
                  <a:pt x="583379" y="241551"/>
                  <a:pt x="610601" y="271497"/>
                  <a:pt x="608998" y="306784"/>
                </a:cubicBezTo>
                <a:cubicBezTo>
                  <a:pt x="607395" y="271497"/>
                  <a:pt x="634619" y="241551"/>
                  <a:pt x="669899" y="239794"/>
                </a:cubicBezTo>
                <a:cubicBezTo>
                  <a:pt x="705180" y="241551"/>
                  <a:pt x="732402" y="271495"/>
                  <a:pt x="730798" y="306784"/>
                </a:cubicBezTo>
                <a:cubicBezTo>
                  <a:pt x="730798" y="359462"/>
                  <a:pt x="662103" y="421245"/>
                  <a:pt x="627876" y="448650"/>
                </a:cubicBezTo>
                <a:cubicBezTo>
                  <a:pt x="616842" y="457485"/>
                  <a:pt x="601154" y="457485"/>
                  <a:pt x="590119" y="448650"/>
                </a:cubicBezTo>
                <a:cubicBezTo>
                  <a:pt x="555892" y="421184"/>
                  <a:pt x="487197" y="359462"/>
                  <a:pt x="487197" y="306784"/>
                </a:cubicBezTo>
                <a:cubicBezTo>
                  <a:pt x="485594" y="271497"/>
                  <a:pt x="512818" y="241551"/>
                  <a:pt x="548098" y="239794"/>
                </a:cubicBezTo>
                <a:close/>
                <a:moveTo>
                  <a:pt x="274050" y="0"/>
                </a:moveTo>
                <a:cubicBezTo>
                  <a:pt x="374952" y="0"/>
                  <a:pt x="456750" y="81798"/>
                  <a:pt x="456750" y="182700"/>
                </a:cubicBezTo>
                <a:cubicBezTo>
                  <a:pt x="456750" y="283602"/>
                  <a:pt x="374952" y="365400"/>
                  <a:pt x="274050" y="365400"/>
                </a:cubicBezTo>
                <a:cubicBezTo>
                  <a:pt x="173148" y="365400"/>
                  <a:pt x="91350" y="283602"/>
                  <a:pt x="91350" y="182700"/>
                </a:cubicBezTo>
                <a:cubicBezTo>
                  <a:pt x="91350" y="81798"/>
                  <a:pt x="173148" y="0"/>
                  <a:pt x="27405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>
                  <a:alpha val="1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1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67E31B4D-35F4-4C26-A8CC-9E4B17EF3C26}"/>
              </a:ext>
            </a:extLst>
          </p:cNvPr>
          <p:cNvSpPr/>
          <p:nvPr/>
        </p:nvSpPr>
        <p:spPr>
          <a:xfrm>
            <a:off x="9077897" y="1653193"/>
            <a:ext cx="406800" cy="406800"/>
          </a:xfrm>
          <a:custGeom>
            <a:avLst/>
            <a:gdLst>
              <a:gd name="connsiteX0" fmla="*/ 245303 w 518401"/>
              <a:gd name="connsiteY0" fmla="*/ 264602 h 518367"/>
              <a:gd name="connsiteX1" fmla="*/ 151892 w 518401"/>
              <a:gd name="connsiteY1" fmla="*/ 345016 h 518367"/>
              <a:gd name="connsiteX2" fmla="*/ 167335 w 518401"/>
              <a:gd name="connsiteY2" fmla="*/ 371390 h 518367"/>
              <a:gd name="connsiteX3" fmla="*/ 193709 w 518401"/>
              <a:gd name="connsiteY3" fmla="*/ 355946 h 518367"/>
              <a:gd name="connsiteX4" fmla="*/ 239171 w 518401"/>
              <a:gd name="connsiteY4" fmla="*/ 310484 h 518367"/>
              <a:gd name="connsiteX5" fmla="*/ 324670 w 518401"/>
              <a:gd name="connsiteY5" fmla="*/ 355946 h 518367"/>
              <a:gd name="connsiteX6" fmla="*/ 324709 w 518401"/>
              <a:gd name="connsiteY6" fmla="*/ 356103 h 518367"/>
              <a:gd name="connsiteX7" fmla="*/ 350979 w 518401"/>
              <a:gd name="connsiteY7" fmla="*/ 371693 h 518367"/>
              <a:gd name="connsiteX8" fmla="*/ 366531 w 518401"/>
              <a:gd name="connsiteY8" fmla="*/ 345016 h 518367"/>
              <a:gd name="connsiteX9" fmla="*/ 289453 w 518401"/>
              <a:gd name="connsiteY9" fmla="*/ 267939 h 518367"/>
              <a:gd name="connsiteX10" fmla="*/ 245303 w 518401"/>
              <a:gd name="connsiteY10" fmla="*/ 264602 h 518367"/>
              <a:gd name="connsiteX11" fmla="*/ 259200 w 518401"/>
              <a:gd name="connsiteY11" fmla="*/ 105823 h 518367"/>
              <a:gd name="connsiteX12" fmla="*/ 292097 w 518401"/>
              <a:gd name="connsiteY12" fmla="*/ 138720 h 518367"/>
              <a:gd name="connsiteX13" fmla="*/ 259200 w 518401"/>
              <a:gd name="connsiteY13" fmla="*/ 171617 h 518367"/>
              <a:gd name="connsiteX14" fmla="*/ 226303 w 518401"/>
              <a:gd name="connsiteY14" fmla="*/ 138720 h 518367"/>
              <a:gd name="connsiteX15" fmla="*/ 259200 w 518401"/>
              <a:gd name="connsiteY15" fmla="*/ 105823 h 518367"/>
              <a:gd name="connsiteX16" fmla="*/ 259201 w 518401"/>
              <a:gd name="connsiteY16" fmla="*/ 65707 h 518367"/>
              <a:gd name="connsiteX17" fmla="*/ 259201 w 518401"/>
              <a:gd name="connsiteY17" fmla="*/ 219068 h 518367"/>
              <a:gd name="connsiteX18" fmla="*/ 259201 w 518401"/>
              <a:gd name="connsiteY18" fmla="*/ 65707 h 518367"/>
              <a:gd name="connsiteX19" fmla="*/ 86400 w 518401"/>
              <a:gd name="connsiteY19" fmla="*/ 0 h 518367"/>
              <a:gd name="connsiteX20" fmla="*/ 432001 w 518401"/>
              <a:gd name="connsiteY20" fmla="*/ 0 h 518367"/>
              <a:gd name="connsiteX21" fmla="*/ 518400 w 518401"/>
              <a:gd name="connsiteY21" fmla="*/ 87610 h 518367"/>
              <a:gd name="connsiteX22" fmla="*/ 518400 w 518401"/>
              <a:gd name="connsiteY22" fmla="*/ 350460 h 518367"/>
              <a:gd name="connsiteX23" fmla="*/ 432000 w 518401"/>
              <a:gd name="connsiteY23" fmla="*/ 438091 h 518367"/>
              <a:gd name="connsiteX24" fmla="*/ 370375 w 518401"/>
              <a:gd name="connsiteY24" fmla="*/ 438091 h 518367"/>
              <a:gd name="connsiteX25" fmla="*/ 287323 w 518401"/>
              <a:gd name="connsiteY25" fmla="*/ 507729 h 518367"/>
              <a:gd name="connsiteX26" fmla="*/ 230493 w 518401"/>
              <a:gd name="connsiteY26" fmla="*/ 507232 h 518367"/>
              <a:gd name="connsiteX27" fmla="*/ 149537 w 518401"/>
              <a:gd name="connsiteY27" fmla="*/ 438112 h 518367"/>
              <a:gd name="connsiteX28" fmla="*/ 86400 w 518401"/>
              <a:gd name="connsiteY28" fmla="*/ 438112 h 518367"/>
              <a:gd name="connsiteX29" fmla="*/ 1 w 518401"/>
              <a:gd name="connsiteY29" fmla="*/ 350481 h 518367"/>
              <a:gd name="connsiteX30" fmla="*/ 1 w 518401"/>
              <a:gd name="connsiteY30" fmla="*/ 87610 h 518367"/>
              <a:gd name="connsiteX31" fmla="*/ 86400 w 518401"/>
              <a:gd name="connsiteY31" fmla="*/ 0 h 518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18401" h="518367">
                <a:moveTo>
                  <a:pt x="245303" y="264602"/>
                </a:moveTo>
                <a:cubicBezTo>
                  <a:pt x="202193" y="270039"/>
                  <a:pt x="164418" y="300564"/>
                  <a:pt x="151892" y="345016"/>
                </a:cubicBezTo>
                <a:cubicBezTo>
                  <a:pt x="148874" y="356564"/>
                  <a:pt x="155788" y="368372"/>
                  <a:pt x="167335" y="371390"/>
                </a:cubicBezTo>
                <a:cubicBezTo>
                  <a:pt x="178883" y="374408"/>
                  <a:pt x="190691" y="367494"/>
                  <a:pt x="193709" y="355946"/>
                </a:cubicBezTo>
                <a:cubicBezTo>
                  <a:pt x="200364" y="334178"/>
                  <a:pt x="217403" y="317139"/>
                  <a:pt x="239171" y="310484"/>
                </a:cubicBezTo>
                <a:cubicBezTo>
                  <a:pt x="275335" y="299429"/>
                  <a:pt x="313614" y="319783"/>
                  <a:pt x="324670" y="355946"/>
                </a:cubicBezTo>
                <a:cubicBezTo>
                  <a:pt x="324683" y="355999"/>
                  <a:pt x="324696" y="356051"/>
                  <a:pt x="324709" y="356103"/>
                </a:cubicBezTo>
                <a:cubicBezTo>
                  <a:pt x="327659" y="367662"/>
                  <a:pt x="339420" y="374642"/>
                  <a:pt x="350979" y="371693"/>
                </a:cubicBezTo>
                <a:cubicBezTo>
                  <a:pt x="362600" y="368568"/>
                  <a:pt x="369538" y="356668"/>
                  <a:pt x="366531" y="345016"/>
                </a:cubicBezTo>
                <a:cubicBezTo>
                  <a:pt x="356004" y="307660"/>
                  <a:pt x="326809" y="278466"/>
                  <a:pt x="289453" y="267939"/>
                </a:cubicBezTo>
                <a:cubicBezTo>
                  <a:pt x="274636" y="263764"/>
                  <a:pt x="259673" y="262789"/>
                  <a:pt x="245303" y="264602"/>
                </a:cubicBezTo>
                <a:close/>
                <a:moveTo>
                  <a:pt x="259200" y="105823"/>
                </a:moveTo>
                <a:cubicBezTo>
                  <a:pt x="277368" y="105823"/>
                  <a:pt x="292097" y="120552"/>
                  <a:pt x="292097" y="138720"/>
                </a:cubicBezTo>
                <a:cubicBezTo>
                  <a:pt x="292097" y="156888"/>
                  <a:pt x="277368" y="171617"/>
                  <a:pt x="259200" y="171617"/>
                </a:cubicBezTo>
                <a:cubicBezTo>
                  <a:pt x="241032" y="171617"/>
                  <a:pt x="226303" y="156888"/>
                  <a:pt x="226303" y="138720"/>
                </a:cubicBezTo>
                <a:cubicBezTo>
                  <a:pt x="226303" y="120552"/>
                  <a:pt x="241032" y="105823"/>
                  <a:pt x="259200" y="105823"/>
                </a:cubicBezTo>
                <a:close/>
                <a:moveTo>
                  <a:pt x="259201" y="65707"/>
                </a:moveTo>
                <a:cubicBezTo>
                  <a:pt x="159538" y="68407"/>
                  <a:pt x="159517" y="216410"/>
                  <a:pt x="259201" y="219068"/>
                </a:cubicBezTo>
                <a:cubicBezTo>
                  <a:pt x="358863" y="216411"/>
                  <a:pt x="358884" y="68343"/>
                  <a:pt x="259201" y="65707"/>
                </a:cubicBezTo>
                <a:close/>
                <a:moveTo>
                  <a:pt x="86400" y="0"/>
                </a:moveTo>
                <a:lnTo>
                  <a:pt x="432001" y="0"/>
                </a:lnTo>
                <a:cubicBezTo>
                  <a:pt x="480033" y="380"/>
                  <a:pt x="518688" y="39577"/>
                  <a:pt x="518400" y="87610"/>
                </a:cubicBezTo>
                <a:lnTo>
                  <a:pt x="518400" y="350460"/>
                </a:lnTo>
                <a:cubicBezTo>
                  <a:pt x="518687" y="398496"/>
                  <a:pt x="480035" y="437699"/>
                  <a:pt x="432000" y="438091"/>
                </a:cubicBezTo>
                <a:lnTo>
                  <a:pt x="370375" y="438091"/>
                </a:lnTo>
                <a:lnTo>
                  <a:pt x="287323" y="507729"/>
                </a:lnTo>
                <a:cubicBezTo>
                  <a:pt x="271033" y="522102"/>
                  <a:pt x="246529" y="521887"/>
                  <a:pt x="230493" y="507232"/>
                </a:cubicBezTo>
                <a:lnTo>
                  <a:pt x="149537" y="438112"/>
                </a:lnTo>
                <a:lnTo>
                  <a:pt x="86400" y="438112"/>
                </a:lnTo>
                <a:cubicBezTo>
                  <a:pt x="38365" y="437720"/>
                  <a:pt x="-287" y="398517"/>
                  <a:pt x="1" y="350481"/>
                </a:cubicBezTo>
                <a:lnTo>
                  <a:pt x="1" y="87610"/>
                </a:lnTo>
                <a:cubicBezTo>
                  <a:pt x="-287" y="39577"/>
                  <a:pt x="38368" y="380"/>
                  <a:pt x="8640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>
                  <a:alpha val="1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1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25C0C40D-4D1B-4B20-8B7A-7308DE5E1F2F}"/>
              </a:ext>
            </a:extLst>
          </p:cNvPr>
          <p:cNvSpPr/>
          <p:nvPr/>
        </p:nvSpPr>
        <p:spPr>
          <a:xfrm>
            <a:off x="9077897" y="5642817"/>
            <a:ext cx="406800" cy="406800"/>
          </a:xfrm>
          <a:custGeom>
            <a:avLst/>
            <a:gdLst>
              <a:gd name="connsiteX0" fmla="*/ 245303 w 518401"/>
              <a:gd name="connsiteY0" fmla="*/ 264602 h 518367"/>
              <a:gd name="connsiteX1" fmla="*/ 151892 w 518401"/>
              <a:gd name="connsiteY1" fmla="*/ 345016 h 518367"/>
              <a:gd name="connsiteX2" fmla="*/ 167335 w 518401"/>
              <a:gd name="connsiteY2" fmla="*/ 371390 h 518367"/>
              <a:gd name="connsiteX3" fmla="*/ 193709 w 518401"/>
              <a:gd name="connsiteY3" fmla="*/ 355946 h 518367"/>
              <a:gd name="connsiteX4" fmla="*/ 239171 w 518401"/>
              <a:gd name="connsiteY4" fmla="*/ 310484 h 518367"/>
              <a:gd name="connsiteX5" fmla="*/ 324670 w 518401"/>
              <a:gd name="connsiteY5" fmla="*/ 355946 h 518367"/>
              <a:gd name="connsiteX6" fmla="*/ 324709 w 518401"/>
              <a:gd name="connsiteY6" fmla="*/ 356103 h 518367"/>
              <a:gd name="connsiteX7" fmla="*/ 350979 w 518401"/>
              <a:gd name="connsiteY7" fmla="*/ 371693 h 518367"/>
              <a:gd name="connsiteX8" fmla="*/ 366531 w 518401"/>
              <a:gd name="connsiteY8" fmla="*/ 345016 h 518367"/>
              <a:gd name="connsiteX9" fmla="*/ 289453 w 518401"/>
              <a:gd name="connsiteY9" fmla="*/ 267939 h 518367"/>
              <a:gd name="connsiteX10" fmla="*/ 245303 w 518401"/>
              <a:gd name="connsiteY10" fmla="*/ 264602 h 518367"/>
              <a:gd name="connsiteX11" fmla="*/ 259200 w 518401"/>
              <a:gd name="connsiteY11" fmla="*/ 105823 h 518367"/>
              <a:gd name="connsiteX12" fmla="*/ 292097 w 518401"/>
              <a:gd name="connsiteY12" fmla="*/ 138720 h 518367"/>
              <a:gd name="connsiteX13" fmla="*/ 259200 w 518401"/>
              <a:gd name="connsiteY13" fmla="*/ 171617 h 518367"/>
              <a:gd name="connsiteX14" fmla="*/ 226303 w 518401"/>
              <a:gd name="connsiteY14" fmla="*/ 138720 h 518367"/>
              <a:gd name="connsiteX15" fmla="*/ 259200 w 518401"/>
              <a:gd name="connsiteY15" fmla="*/ 105823 h 518367"/>
              <a:gd name="connsiteX16" fmla="*/ 259201 w 518401"/>
              <a:gd name="connsiteY16" fmla="*/ 65707 h 518367"/>
              <a:gd name="connsiteX17" fmla="*/ 259201 w 518401"/>
              <a:gd name="connsiteY17" fmla="*/ 219068 h 518367"/>
              <a:gd name="connsiteX18" fmla="*/ 259201 w 518401"/>
              <a:gd name="connsiteY18" fmla="*/ 65707 h 518367"/>
              <a:gd name="connsiteX19" fmla="*/ 86400 w 518401"/>
              <a:gd name="connsiteY19" fmla="*/ 0 h 518367"/>
              <a:gd name="connsiteX20" fmla="*/ 432001 w 518401"/>
              <a:gd name="connsiteY20" fmla="*/ 0 h 518367"/>
              <a:gd name="connsiteX21" fmla="*/ 518400 w 518401"/>
              <a:gd name="connsiteY21" fmla="*/ 87610 h 518367"/>
              <a:gd name="connsiteX22" fmla="*/ 518400 w 518401"/>
              <a:gd name="connsiteY22" fmla="*/ 350460 h 518367"/>
              <a:gd name="connsiteX23" fmla="*/ 432000 w 518401"/>
              <a:gd name="connsiteY23" fmla="*/ 438091 h 518367"/>
              <a:gd name="connsiteX24" fmla="*/ 370375 w 518401"/>
              <a:gd name="connsiteY24" fmla="*/ 438091 h 518367"/>
              <a:gd name="connsiteX25" fmla="*/ 287323 w 518401"/>
              <a:gd name="connsiteY25" fmla="*/ 507729 h 518367"/>
              <a:gd name="connsiteX26" fmla="*/ 230493 w 518401"/>
              <a:gd name="connsiteY26" fmla="*/ 507232 h 518367"/>
              <a:gd name="connsiteX27" fmla="*/ 149537 w 518401"/>
              <a:gd name="connsiteY27" fmla="*/ 438112 h 518367"/>
              <a:gd name="connsiteX28" fmla="*/ 86400 w 518401"/>
              <a:gd name="connsiteY28" fmla="*/ 438112 h 518367"/>
              <a:gd name="connsiteX29" fmla="*/ 1 w 518401"/>
              <a:gd name="connsiteY29" fmla="*/ 350481 h 518367"/>
              <a:gd name="connsiteX30" fmla="*/ 1 w 518401"/>
              <a:gd name="connsiteY30" fmla="*/ 87610 h 518367"/>
              <a:gd name="connsiteX31" fmla="*/ 86400 w 518401"/>
              <a:gd name="connsiteY31" fmla="*/ 0 h 518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18401" h="518367">
                <a:moveTo>
                  <a:pt x="245303" y="264602"/>
                </a:moveTo>
                <a:cubicBezTo>
                  <a:pt x="202193" y="270039"/>
                  <a:pt x="164418" y="300564"/>
                  <a:pt x="151892" y="345016"/>
                </a:cubicBezTo>
                <a:cubicBezTo>
                  <a:pt x="148874" y="356564"/>
                  <a:pt x="155788" y="368372"/>
                  <a:pt x="167335" y="371390"/>
                </a:cubicBezTo>
                <a:cubicBezTo>
                  <a:pt x="178883" y="374408"/>
                  <a:pt x="190691" y="367494"/>
                  <a:pt x="193709" y="355946"/>
                </a:cubicBezTo>
                <a:cubicBezTo>
                  <a:pt x="200364" y="334178"/>
                  <a:pt x="217403" y="317139"/>
                  <a:pt x="239171" y="310484"/>
                </a:cubicBezTo>
                <a:cubicBezTo>
                  <a:pt x="275335" y="299429"/>
                  <a:pt x="313614" y="319783"/>
                  <a:pt x="324670" y="355946"/>
                </a:cubicBezTo>
                <a:cubicBezTo>
                  <a:pt x="324683" y="355999"/>
                  <a:pt x="324696" y="356051"/>
                  <a:pt x="324709" y="356103"/>
                </a:cubicBezTo>
                <a:cubicBezTo>
                  <a:pt x="327659" y="367662"/>
                  <a:pt x="339420" y="374642"/>
                  <a:pt x="350979" y="371693"/>
                </a:cubicBezTo>
                <a:cubicBezTo>
                  <a:pt x="362600" y="368568"/>
                  <a:pt x="369538" y="356668"/>
                  <a:pt x="366531" y="345016"/>
                </a:cubicBezTo>
                <a:cubicBezTo>
                  <a:pt x="356004" y="307660"/>
                  <a:pt x="326809" y="278466"/>
                  <a:pt x="289453" y="267939"/>
                </a:cubicBezTo>
                <a:cubicBezTo>
                  <a:pt x="274636" y="263764"/>
                  <a:pt x="259673" y="262789"/>
                  <a:pt x="245303" y="264602"/>
                </a:cubicBezTo>
                <a:close/>
                <a:moveTo>
                  <a:pt x="259200" y="105823"/>
                </a:moveTo>
                <a:cubicBezTo>
                  <a:pt x="277368" y="105823"/>
                  <a:pt x="292097" y="120552"/>
                  <a:pt x="292097" y="138720"/>
                </a:cubicBezTo>
                <a:cubicBezTo>
                  <a:pt x="292097" y="156888"/>
                  <a:pt x="277368" y="171617"/>
                  <a:pt x="259200" y="171617"/>
                </a:cubicBezTo>
                <a:cubicBezTo>
                  <a:pt x="241032" y="171617"/>
                  <a:pt x="226303" y="156888"/>
                  <a:pt x="226303" y="138720"/>
                </a:cubicBezTo>
                <a:cubicBezTo>
                  <a:pt x="226303" y="120552"/>
                  <a:pt x="241032" y="105823"/>
                  <a:pt x="259200" y="105823"/>
                </a:cubicBezTo>
                <a:close/>
                <a:moveTo>
                  <a:pt x="259201" y="65707"/>
                </a:moveTo>
                <a:cubicBezTo>
                  <a:pt x="159538" y="68407"/>
                  <a:pt x="159517" y="216410"/>
                  <a:pt x="259201" y="219068"/>
                </a:cubicBezTo>
                <a:cubicBezTo>
                  <a:pt x="358863" y="216411"/>
                  <a:pt x="358884" y="68343"/>
                  <a:pt x="259201" y="65707"/>
                </a:cubicBezTo>
                <a:close/>
                <a:moveTo>
                  <a:pt x="86400" y="0"/>
                </a:moveTo>
                <a:lnTo>
                  <a:pt x="432001" y="0"/>
                </a:lnTo>
                <a:cubicBezTo>
                  <a:pt x="480033" y="380"/>
                  <a:pt x="518688" y="39577"/>
                  <a:pt x="518400" y="87610"/>
                </a:cubicBezTo>
                <a:lnTo>
                  <a:pt x="518400" y="350460"/>
                </a:lnTo>
                <a:cubicBezTo>
                  <a:pt x="518687" y="398496"/>
                  <a:pt x="480035" y="437699"/>
                  <a:pt x="432000" y="438091"/>
                </a:cubicBezTo>
                <a:lnTo>
                  <a:pt x="370375" y="438091"/>
                </a:lnTo>
                <a:lnTo>
                  <a:pt x="287323" y="507729"/>
                </a:lnTo>
                <a:cubicBezTo>
                  <a:pt x="271033" y="522102"/>
                  <a:pt x="246529" y="521887"/>
                  <a:pt x="230493" y="507232"/>
                </a:cubicBezTo>
                <a:lnTo>
                  <a:pt x="149537" y="438112"/>
                </a:lnTo>
                <a:lnTo>
                  <a:pt x="86400" y="438112"/>
                </a:lnTo>
                <a:cubicBezTo>
                  <a:pt x="38365" y="437720"/>
                  <a:pt x="-287" y="398517"/>
                  <a:pt x="1" y="350481"/>
                </a:cubicBezTo>
                <a:lnTo>
                  <a:pt x="1" y="87610"/>
                </a:lnTo>
                <a:cubicBezTo>
                  <a:pt x="-287" y="39577"/>
                  <a:pt x="38368" y="380"/>
                  <a:pt x="8640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>
                  <a:alpha val="1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1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84594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D26D33AA-424B-83AC-7089-FDF3632CD2D7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FF275A7-0530-CF26-F104-051943E5BB15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468E7DB-0BAF-CF72-8B12-A5605EC99E59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E573AA5C-83FC-7B5A-918B-289147958C6F}"/>
              </a:ext>
            </a:extLst>
          </p:cNvPr>
          <p:cNvSpPr/>
          <p:nvPr/>
        </p:nvSpPr>
        <p:spPr>
          <a:xfrm>
            <a:off x="676768" y="2196790"/>
            <a:ext cx="3433984" cy="191801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EA818EA3-3DBD-0EE3-04BC-AF3769F7A2EC}"/>
              </a:ext>
            </a:extLst>
          </p:cNvPr>
          <p:cNvSpPr/>
          <p:nvPr/>
        </p:nvSpPr>
        <p:spPr>
          <a:xfrm>
            <a:off x="4700861" y="2196790"/>
            <a:ext cx="2790277" cy="1918010"/>
          </a:xfrm>
          <a:prstGeom prst="roundRect">
            <a:avLst>
              <a:gd name="adj" fmla="val 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83B6F134-6425-6645-1888-58294293A05C}"/>
              </a:ext>
            </a:extLst>
          </p:cNvPr>
          <p:cNvSpPr/>
          <p:nvPr/>
        </p:nvSpPr>
        <p:spPr>
          <a:xfrm>
            <a:off x="8081248" y="2196790"/>
            <a:ext cx="3433984" cy="1918010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DF74B4FF-E111-0B46-5E60-264017FB05AD}"/>
              </a:ext>
            </a:extLst>
          </p:cNvPr>
          <p:cNvSpPr/>
          <p:nvPr/>
        </p:nvSpPr>
        <p:spPr>
          <a:xfrm>
            <a:off x="676768" y="4741196"/>
            <a:ext cx="10838464" cy="883317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稿定-9">
            <a:extLst>
              <a:ext uri="{FF2B5EF4-FFF2-40B4-BE49-F238E27FC236}">
                <a16:creationId xmlns:a16="http://schemas.microsoft.com/office/drawing/2014/main" id="{F8CF09A4-89C2-9B4B-2CE0-1EF7B17C2414}"/>
              </a:ext>
            </a:extLst>
          </p:cNvPr>
          <p:cNvSpPr/>
          <p:nvPr/>
        </p:nvSpPr>
        <p:spPr>
          <a:xfrm flipH="1">
            <a:off x="827480" y="232129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0" name="稿定-31">
            <a:extLst>
              <a:ext uri="{FF2B5EF4-FFF2-40B4-BE49-F238E27FC236}">
                <a16:creationId xmlns:a16="http://schemas.microsoft.com/office/drawing/2014/main" id="{2F7A5FB1-849B-8CAA-532B-85397DA9377A}"/>
              </a:ext>
            </a:extLst>
          </p:cNvPr>
          <p:cNvSpPr/>
          <p:nvPr/>
        </p:nvSpPr>
        <p:spPr>
          <a:xfrm flipH="1">
            <a:off x="904106" y="2564978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A82E999B-440A-53B1-3ACE-C24DCA081EEC}"/>
              </a:ext>
            </a:extLst>
          </p:cNvPr>
          <p:cNvCxnSpPr>
            <a:cxnSpLocks/>
          </p:cNvCxnSpPr>
          <p:nvPr/>
        </p:nvCxnSpPr>
        <p:spPr>
          <a:xfrm>
            <a:off x="904106" y="2869408"/>
            <a:ext cx="2834223" cy="0"/>
          </a:xfrm>
          <a:prstGeom prst="line">
            <a:avLst/>
          </a:prstGeom>
          <a:ln>
            <a:solidFill>
              <a:srgbClr val="3361F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稿定-9">
            <a:extLst>
              <a:ext uri="{FF2B5EF4-FFF2-40B4-BE49-F238E27FC236}">
                <a16:creationId xmlns:a16="http://schemas.microsoft.com/office/drawing/2014/main" id="{6047811A-9EC1-C9FA-00BF-19933D7C120C}"/>
              </a:ext>
            </a:extLst>
          </p:cNvPr>
          <p:cNvSpPr/>
          <p:nvPr/>
        </p:nvSpPr>
        <p:spPr>
          <a:xfrm flipH="1">
            <a:off x="827480" y="293865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3" name="稿定-31">
            <a:extLst>
              <a:ext uri="{FF2B5EF4-FFF2-40B4-BE49-F238E27FC236}">
                <a16:creationId xmlns:a16="http://schemas.microsoft.com/office/drawing/2014/main" id="{900971C8-DC6A-8A94-D1B1-4A532CBEBF97}"/>
              </a:ext>
            </a:extLst>
          </p:cNvPr>
          <p:cNvSpPr/>
          <p:nvPr/>
        </p:nvSpPr>
        <p:spPr>
          <a:xfrm flipH="1">
            <a:off x="904106" y="3182335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2AA5212-4DB9-EF0B-BD3B-70280EE49A06}"/>
              </a:ext>
            </a:extLst>
          </p:cNvPr>
          <p:cNvCxnSpPr>
            <a:cxnSpLocks/>
          </p:cNvCxnSpPr>
          <p:nvPr/>
        </p:nvCxnSpPr>
        <p:spPr>
          <a:xfrm>
            <a:off x="904106" y="3486765"/>
            <a:ext cx="2834223" cy="0"/>
          </a:xfrm>
          <a:prstGeom prst="line">
            <a:avLst/>
          </a:prstGeom>
          <a:ln>
            <a:solidFill>
              <a:srgbClr val="3361F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稿定-9">
            <a:extLst>
              <a:ext uri="{FF2B5EF4-FFF2-40B4-BE49-F238E27FC236}">
                <a16:creationId xmlns:a16="http://schemas.microsoft.com/office/drawing/2014/main" id="{6CCD37AE-285F-ED70-01BD-E65D210CDBDC}"/>
              </a:ext>
            </a:extLst>
          </p:cNvPr>
          <p:cNvSpPr/>
          <p:nvPr/>
        </p:nvSpPr>
        <p:spPr>
          <a:xfrm flipH="1">
            <a:off x="827480" y="356824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6" name="稿定-31">
            <a:extLst>
              <a:ext uri="{FF2B5EF4-FFF2-40B4-BE49-F238E27FC236}">
                <a16:creationId xmlns:a16="http://schemas.microsoft.com/office/drawing/2014/main" id="{EC62B48A-44D0-1D7C-6CD3-EC5BBEC468A6}"/>
              </a:ext>
            </a:extLst>
          </p:cNvPr>
          <p:cNvSpPr/>
          <p:nvPr/>
        </p:nvSpPr>
        <p:spPr>
          <a:xfrm flipH="1">
            <a:off x="904106" y="3811926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18" name="稿定-9">
            <a:extLst>
              <a:ext uri="{FF2B5EF4-FFF2-40B4-BE49-F238E27FC236}">
                <a16:creationId xmlns:a16="http://schemas.microsoft.com/office/drawing/2014/main" id="{8C386A69-7EF1-701E-E9FD-04AE4E0339A2}"/>
              </a:ext>
            </a:extLst>
          </p:cNvPr>
          <p:cNvSpPr/>
          <p:nvPr/>
        </p:nvSpPr>
        <p:spPr>
          <a:xfrm flipH="1">
            <a:off x="8249685" y="232129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19" name="稿定-31">
            <a:extLst>
              <a:ext uri="{FF2B5EF4-FFF2-40B4-BE49-F238E27FC236}">
                <a16:creationId xmlns:a16="http://schemas.microsoft.com/office/drawing/2014/main" id="{E4EBFAD9-3956-73D7-C18E-C1816C6C2E88}"/>
              </a:ext>
            </a:extLst>
          </p:cNvPr>
          <p:cNvSpPr/>
          <p:nvPr/>
        </p:nvSpPr>
        <p:spPr>
          <a:xfrm flipH="1">
            <a:off x="8326311" y="2564978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897F3A52-5BB8-2259-FDA1-DDC3E3F24F14}"/>
              </a:ext>
            </a:extLst>
          </p:cNvPr>
          <p:cNvCxnSpPr>
            <a:cxnSpLocks/>
          </p:cNvCxnSpPr>
          <p:nvPr/>
        </p:nvCxnSpPr>
        <p:spPr>
          <a:xfrm>
            <a:off x="8326311" y="2869408"/>
            <a:ext cx="2834223" cy="0"/>
          </a:xfrm>
          <a:prstGeom prst="line">
            <a:avLst/>
          </a:prstGeom>
          <a:ln>
            <a:solidFill>
              <a:srgbClr val="3361F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稿定-9">
            <a:extLst>
              <a:ext uri="{FF2B5EF4-FFF2-40B4-BE49-F238E27FC236}">
                <a16:creationId xmlns:a16="http://schemas.microsoft.com/office/drawing/2014/main" id="{2910C62B-C96B-18FD-29DD-B00555C686CE}"/>
              </a:ext>
            </a:extLst>
          </p:cNvPr>
          <p:cNvSpPr/>
          <p:nvPr/>
        </p:nvSpPr>
        <p:spPr>
          <a:xfrm flipH="1">
            <a:off x="8249685" y="2938655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2" name="稿定-31">
            <a:extLst>
              <a:ext uri="{FF2B5EF4-FFF2-40B4-BE49-F238E27FC236}">
                <a16:creationId xmlns:a16="http://schemas.microsoft.com/office/drawing/2014/main" id="{E82AD789-4936-440C-2F25-D74355A460FA}"/>
              </a:ext>
            </a:extLst>
          </p:cNvPr>
          <p:cNvSpPr/>
          <p:nvPr/>
        </p:nvSpPr>
        <p:spPr>
          <a:xfrm flipH="1">
            <a:off x="8326311" y="3182335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B114F29C-3AFC-8B93-DF4C-E7C3DE41E759}"/>
              </a:ext>
            </a:extLst>
          </p:cNvPr>
          <p:cNvCxnSpPr>
            <a:cxnSpLocks/>
          </p:cNvCxnSpPr>
          <p:nvPr/>
        </p:nvCxnSpPr>
        <p:spPr>
          <a:xfrm>
            <a:off x="8326311" y="3486765"/>
            <a:ext cx="2834223" cy="0"/>
          </a:xfrm>
          <a:prstGeom prst="line">
            <a:avLst/>
          </a:prstGeom>
          <a:ln>
            <a:solidFill>
              <a:srgbClr val="3361F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稿定-9">
            <a:extLst>
              <a:ext uri="{FF2B5EF4-FFF2-40B4-BE49-F238E27FC236}">
                <a16:creationId xmlns:a16="http://schemas.microsoft.com/office/drawing/2014/main" id="{47B4E551-7D94-F1B3-C164-9233F86D6C8A}"/>
              </a:ext>
            </a:extLst>
          </p:cNvPr>
          <p:cNvSpPr/>
          <p:nvPr/>
        </p:nvSpPr>
        <p:spPr>
          <a:xfrm flipH="1">
            <a:off x="8249685" y="3568246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25" name="稿定-31">
            <a:extLst>
              <a:ext uri="{FF2B5EF4-FFF2-40B4-BE49-F238E27FC236}">
                <a16:creationId xmlns:a16="http://schemas.microsoft.com/office/drawing/2014/main" id="{391E2513-119D-32D7-8801-76D370F1052F}"/>
              </a:ext>
            </a:extLst>
          </p:cNvPr>
          <p:cNvSpPr/>
          <p:nvPr/>
        </p:nvSpPr>
        <p:spPr>
          <a:xfrm flipH="1">
            <a:off x="8326311" y="3811926"/>
            <a:ext cx="2707627" cy="16825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6" name="稿定-9">
            <a:extLst>
              <a:ext uri="{FF2B5EF4-FFF2-40B4-BE49-F238E27FC236}">
                <a16:creationId xmlns:a16="http://schemas.microsoft.com/office/drawing/2014/main" id="{A09D8634-F6FC-2C11-A9E9-FD3A4D1195D2}"/>
              </a:ext>
            </a:extLst>
          </p:cNvPr>
          <p:cNvSpPr/>
          <p:nvPr/>
        </p:nvSpPr>
        <p:spPr>
          <a:xfrm flipH="1">
            <a:off x="5285080" y="2564978"/>
            <a:ext cx="1649168" cy="105881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创新能力解析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E5BA15C7-F89A-3713-2E6A-32CFEBCBD9FE}"/>
              </a:ext>
            </a:extLst>
          </p:cNvPr>
          <p:cNvCxnSpPr>
            <a:cxnSpLocks/>
          </p:cNvCxnSpPr>
          <p:nvPr/>
        </p:nvCxnSpPr>
        <p:spPr>
          <a:xfrm>
            <a:off x="4207092" y="3259307"/>
            <a:ext cx="412675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稿定-9">
            <a:extLst>
              <a:ext uri="{FF2B5EF4-FFF2-40B4-BE49-F238E27FC236}">
                <a16:creationId xmlns:a16="http://schemas.microsoft.com/office/drawing/2014/main" id="{8C6523D4-8096-5F4E-5556-91F3240EF01F}"/>
              </a:ext>
            </a:extLst>
          </p:cNvPr>
          <p:cNvSpPr/>
          <p:nvPr/>
        </p:nvSpPr>
        <p:spPr>
          <a:xfrm flipH="1">
            <a:off x="4161049" y="2924385"/>
            <a:ext cx="455594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赋能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06B4DE0E-B967-623F-9362-E85FBEB153E8}"/>
              </a:ext>
            </a:extLst>
          </p:cNvPr>
          <p:cNvCxnSpPr>
            <a:cxnSpLocks/>
          </p:cNvCxnSpPr>
          <p:nvPr/>
        </p:nvCxnSpPr>
        <p:spPr>
          <a:xfrm flipH="1">
            <a:off x="7587479" y="3259307"/>
            <a:ext cx="412675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稿定-9">
            <a:extLst>
              <a:ext uri="{FF2B5EF4-FFF2-40B4-BE49-F238E27FC236}">
                <a16:creationId xmlns:a16="http://schemas.microsoft.com/office/drawing/2014/main" id="{41AAC8C8-1A8D-B4D9-A506-EF5ABF922A7E}"/>
              </a:ext>
            </a:extLst>
          </p:cNvPr>
          <p:cNvSpPr/>
          <p:nvPr/>
        </p:nvSpPr>
        <p:spPr>
          <a:xfrm flipH="1">
            <a:off x="7569572" y="2924385"/>
            <a:ext cx="455594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赋能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49385134-07A2-F156-4DC2-40CD27D5BC46}"/>
              </a:ext>
            </a:extLst>
          </p:cNvPr>
          <p:cNvCxnSpPr>
            <a:cxnSpLocks/>
          </p:cNvCxnSpPr>
          <p:nvPr/>
        </p:nvCxnSpPr>
        <p:spPr>
          <a:xfrm rot="5400000">
            <a:off x="2075837" y="4400236"/>
            <a:ext cx="412675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5375E44C-339A-CA00-D594-98DD8101308E}"/>
              </a:ext>
            </a:extLst>
          </p:cNvPr>
          <p:cNvCxnSpPr>
            <a:cxnSpLocks/>
          </p:cNvCxnSpPr>
          <p:nvPr/>
        </p:nvCxnSpPr>
        <p:spPr>
          <a:xfrm rot="5400000">
            <a:off x="5892873" y="4400238"/>
            <a:ext cx="412675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29F7328F-D126-94C0-148D-F92D223D6E7B}"/>
              </a:ext>
            </a:extLst>
          </p:cNvPr>
          <p:cNvCxnSpPr>
            <a:cxnSpLocks/>
          </p:cNvCxnSpPr>
          <p:nvPr/>
        </p:nvCxnSpPr>
        <p:spPr>
          <a:xfrm rot="5400000">
            <a:off x="9768523" y="4400240"/>
            <a:ext cx="412675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稿定-9">
            <a:extLst>
              <a:ext uri="{FF2B5EF4-FFF2-40B4-BE49-F238E27FC236}">
                <a16:creationId xmlns:a16="http://schemas.microsoft.com/office/drawing/2014/main" id="{13512046-8D77-7F9A-5EDB-F78C5B06ECE7}"/>
              </a:ext>
            </a:extLst>
          </p:cNvPr>
          <p:cNvSpPr/>
          <p:nvPr/>
        </p:nvSpPr>
        <p:spPr>
          <a:xfrm flipH="1">
            <a:off x="2368676" y="4284531"/>
            <a:ext cx="455594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推进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6" name="稿定-9">
            <a:extLst>
              <a:ext uri="{FF2B5EF4-FFF2-40B4-BE49-F238E27FC236}">
                <a16:creationId xmlns:a16="http://schemas.microsoft.com/office/drawing/2014/main" id="{0ACD2071-6E0B-3629-5020-2264CD5F158C}"/>
              </a:ext>
            </a:extLst>
          </p:cNvPr>
          <p:cNvSpPr/>
          <p:nvPr/>
        </p:nvSpPr>
        <p:spPr>
          <a:xfrm flipH="1">
            <a:off x="6157824" y="4284531"/>
            <a:ext cx="455594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推进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7" name="稿定-9">
            <a:extLst>
              <a:ext uri="{FF2B5EF4-FFF2-40B4-BE49-F238E27FC236}">
                <a16:creationId xmlns:a16="http://schemas.microsoft.com/office/drawing/2014/main" id="{FB7CD97C-3127-8DC6-32E4-24B3DC334661}"/>
              </a:ext>
            </a:extLst>
          </p:cNvPr>
          <p:cNvSpPr/>
          <p:nvPr/>
        </p:nvSpPr>
        <p:spPr>
          <a:xfrm flipH="1">
            <a:off x="10033473" y="4284531"/>
            <a:ext cx="455594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推进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8" name="稿定-9">
            <a:extLst>
              <a:ext uri="{FF2B5EF4-FFF2-40B4-BE49-F238E27FC236}">
                <a16:creationId xmlns:a16="http://schemas.microsoft.com/office/drawing/2014/main" id="{4F74C55C-943D-A618-A793-8B6E75850773}"/>
              </a:ext>
            </a:extLst>
          </p:cNvPr>
          <p:cNvSpPr/>
          <p:nvPr/>
        </p:nvSpPr>
        <p:spPr>
          <a:xfrm flipH="1">
            <a:off x="5440742" y="4888414"/>
            <a:ext cx="1310513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3361F5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3361F5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39" name="稿定-31">
            <a:extLst>
              <a:ext uri="{FF2B5EF4-FFF2-40B4-BE49-F238E27FC236}">
                <a16:creationId xmlns:a16="http://schemas.microsoft.com/office/drawing/2014/main" id="{93E08D64-D90E-1B5A-DC80-80A8D4C36A07}"/>
              </a:ext>
            </a:extLst>
          </p:cNvPr>
          <p:cNvSpPr/>
          <p:nvPr/>
        </p:nvSpPr>
        <p:spPr>
          <a:xfrm flipH="1">
            <a:off x="820603" y="5203956"/>
            <a:ext cx="10552464" cy="1962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设计师素材库包含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owerPoint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、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Word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、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Excel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、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MP4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、</a:t>
            </a:r>
            <a:r>
              <a:rPr kumimoji="0" lang="en-US" altLang="zh-CN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PNG</a:t>
            </a:r>
            <a:r>
              <a:rPr kumimoji="0" lang="zh-CN" altLang="en-US" sz="93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等众多素材，分类规范查找方便，满足您工作中的任何需求。所有模板素材均可任意编辑，支持一键替换图片、更改文字内容</a:t>
            </a:r>
            <a:endParaRPr kumimoji="0" lang="en-US" sz="933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32604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4B47D73A-DC7C-46F2-8455-2230B054DDF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cs typeface="+mn-cs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659F0215-1DC9-49EC-B5EC-BD67AC9473DA}"/>
              </a:ext>
            </a:extLst>
          </p:cNvPr>
          <p:cNvSpPr/>
          <p:nvPr/>
        </p:nvSpPr>
        <p:spPr>
          <a:xfrm>
            <a:off x="992950" y="1361961"/>
            <a:ext cx="10468800" cy="14004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22" name="图片 21" descr="图示, 工程绘图&#10;&#10;描述已自动生成">
            <a:extLst>
              <a:ext uri="{FF2B5EF4-FFF2-40B4-BE49-F238E27FC236}">
                <a16:creationId xmlns:a16="http://schemas.microsoft.com/office/drawing/2014/main" id="{B919C642-5C0D-4C41-9C86-AEAEFE4E78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783" t="4386" r="26333" b="4386"/>
          <a:stretch>
            <a:fillRect/>
          </a:stretch>
        </p:blipFill>
        <p:spPr>
          <a:xfrm>
            <a:off x="730250" y="1236661"/>
            <a:ext cx="1651000" cy="1651000"/>
          </a:xfrm>
          <a:custGeom>
            <a:avLst/>
            <a:gdLst>
              <a:gd name="connsiteX0" fmla="*/ 825500 w 1651000"/>
              <a:gd name="connsiteY0" fmla="*/ 0 h 1651000"/>
              <a:gd name="connsiteX1" fmla="*/ 1651000 w 1651000"/>
              <a:gd name="connsiteY1" fmla="*/ 825500 h 1651000"/>
              <a:gd name="connsiteX2" fmla="*/ 825500 w 1651000"/>
              <a:gd name="connsiteY2" fmla="*/ 1651000 h 1651000"/>
              <a:gd name="connsiteX3" fmla="*/ 0 w 1651000"/>
              <a:gd name="connsiteY3" fmla="*/ 825500 h 1651000"/>
              <a:gd name="connsiteX4" fmla="*/ 825500 w 1651000"/>
              <a:gd name="connsiteY4" fmla="*/ 0 h 16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000" h="1651000">
                <a:moveTo>
                  <a:pt x="825500" y="0"/>
                </a:moveTo>
                <a:cubicBezTo>
                  <a:pt x="1281411" y="0"/>
                  <a:pt x="1651000" y="369589"/>
                  <a:pt x="1651000" y="825500"/>
                </a:cubicBezTo>
                <a:cubicBezTo>
                  <a:pt x="1651000" y="1281411"/>
                  <a:pt x="1281411" y="1651000"/>
                  <a:pt x="825500" y="1651000"/>
                </a:cubicBezTo>
                <a:cubicBezTo>
                  <a:pt x="369589" y="1651000"/>
                  <a:pt x="0" y="1281411"/>
                  <a:pt x="0" y="825500"/>
                </a:cubicBezTo>
                <a:cubicBezTo>
                  <a:pt x="0" y="369589"/>
                  <a:pt x="369589" y="0"/>
                  <a:pt x="825500" y="0"/>
                </a:cubicBezTo>
                <a:close/>
              </a:path>
            </a:pathLst>
          </a:custGeom>
        </p:spPr>
      </p:pic>
      <p:sp>
        <p:nvSpPr>
          <p:cNvPr id="21" name="椭圆 20">
            <a:extLst>
              <a:ext uri="{FF2B5EF4-FFF2-40B4-BE49-F238E27FC236}">
                <a16:creationId xmlns:a16="http://schemas.microsoft.com/office/drawing/2014/main" id="{57276EE9-7312-4D7F-8335-86F84F4668E2}"/>
              </a:ext>
            </a:extLst>
          </p:cNvPr>
          <p:cNvSpPr/>
          <p:nvPr/>
        </p:nvSpPr>
        <p:spPr>
          <a:xfrm>
            <a:off x="730250" y="1236661"/>
            <a:ext cx="1651000" cy="1651000"/>
          </a:xfrm>
          <a:prstGeom prst="ellipse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421BF93-3850-450B-96B2-083C441CFBB5}"/>
              </a:ext>
            </a:extLst>
          </p:cNvPr>
          <p:cNvSpPr txBox="1"/>
          <p:nvPr/>
        </p:nvSpPr>
        <p:spPr>
          <a:xfrm>
            <a:off x="992149" y="1776968"/>
            <a:ext cx="1127203" cy="615553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1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D2EFA624-31F7-4DAD-B764-426CF97508F9}"/>
              </a:ext>
            </a:extLst>
          </p:cNvPr>
          <p:cNvSpPr txBox="1"/>
          <p:nvPr/>
        </p:nvSpPr>
        <p:spPr>
          <a:xfrm>
            <a:off x="2482295" y="1605750"/>
            <a:ext cx="385727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F19F49"/>
                    </a:gs>
                    <a:gs pos="100000">
                      <a:srgbClr val="FF3F46"/>
                    </a:gs>
                  </a:gsLst>
                  <a:lin ang="2700000" scaled="1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上千款模板选择，总有一款适合你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6C3F6CFE-27F0-43A8-A6E6-2848D6A22725}"/>
              </a:ext>
            </a:extLst>
          </p:cNvPr>
          <p:cNvSpPr txBox="1"/>
          <p:nvPr/>
        </p:nvSpPr>
        <p:spPr>
          <a:xfrm>
            <a:off x="2482295" y="1937193"/>
            <a:ext cx="8153955" cy="61760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DD6C31F8-73A0-45A9-B950-2626660143D9}"/>
              </a:ext>
            </a:extLst>
          </p:cNvPr>
          <p:cNvSpPr/>
          <p:nvPr/>
        </p:nvSpPr>
        <p:spPr>
          <a:xfrm>
            <a:off x="992149" y="4794134"/>
            <a:ext cx="10469601" cy="14004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26" name="图片 25" descr="图示, 工程绘图&#10;&#10;描述已自动生成">
            <a:extLst>
              <a:ext uri="{FF2B5EF4-FFF2-40B4-BE49-F238E27FC236}">
                <a16:creationId xmlns:a16="http://schemas.microsoft.com/office/drawing/2014/main" id="{07903987-F2CC-469A-BB9E-3D8B0530A9C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1184" t="5556" r="9668" b="5556"/>
          <a:stretch>
            <a:fillRect/>
          </a:stretch>
        </p:blipFill>
        <p:spPr>
          <a:xfrm>
            <a:off x="730250" y="4668834"/>
            <a:ext cx="1651000" cy="1651000"/>
          </a:xfrm>
          <a:custGeom>
            <a:avLst/>
            <a:gdLst>
              <a:gd name="connsiteX0" fmla="*/ 825500 w 1651000"/>
              <a:gd name="connsiteY0" fmla="*/ 0 h 1651000"/>
              <a:gd name="connsiteX1" fmla="*/ 1651000 w 1651000"/>
              <a:gd name="connsiteY1" fmla="*/ 825500 h 1651000"/>
              <a:gd name="connsiteX2" fmla="*/ 825500 w 1651000"/>
              <a:gd name="connsiteY2" fmla="*/ 1651000 h 1651000"/>
              <a:gd name="connsiteX3" fmla="*/ 0 w 1651000"/>
              <a:gd name="connsiteY3" fmla="*/ 825500 h 1651000"/>
              <a:gd name="connsiteX4" fmla="*/ 825500 w 1651000"/>
              <a:gd name="connsiteY4" fmla="*/ 0 h 16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000" h="1651000">
                <a:moveTo>
                  <a:pt x="825500" y="0"/>
                </a:moveTo>
                <a:cubicBezTo>
                  <a:pt x="1281411" y="0"/>
                  <a:pt x="1651000" y="369589"/>
                  <a:pt x="1651000" y="825500"/>
                </a:cubicBezTo>
                <a:cubicBezTo>
                  <a:pt x="1651000" y="1281411"/>
                  <a:pt x="1281411" y="1651000"/>
                  <a:pt x="825500" y="1651000"/>
                </a:cubicBezTo>
                <a:cubicBezTo>
                  <a:pt x="369589" y="1651000"/>
                  <a:pt x="0" y="1281411"/>
                  <a:pt x="0" y="825500"/>
                </a:cubicBezTo>
                <a:cubicBezTo>
                  <a:pt x="0" y="369589"/>
                  <a:pt x="369589" y="0"/>
                  <a:pt x="825500" y="0"/>
                </a:cubicBezTo>
                <a:close/>
              </a:path>
            </a:pathLst>
          </a:custGeom>
        </p:spPr>
      </p:pic>
      <p:sp>
        <p:nvSpPr>
          <p:cNvPr id="32" name="椭圆 31">
            <a:extLst>
              <a:ext uri="{FF2B5EF4-FFF2-40B4-BE49-F238E27FC236}">
                <a16:creationId xmlns:a16="http://schemas.microsoft.com/office/drawing/2014/main" id="{D4882C05-2586-4EC5-9F0F-632BBA17B085}"/>
              </a:ext>
            </a:extLst>
          </p:cNvPr>
          <p:cNvSpPr/>
          <p:nvPr/>
        </p:nvSpPr>
        <p:spPr>
          <a:xfrm>
            <a:off x="730250" y="4668834"/>
            <a:ext cx="1651000" cy="1651000"/>
          </a:xfrm>
          <a:prstGeom prst="ellipse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85E967F-9C28-4943-B84E-77B39C9C6F4A}"/>
              </a:ext>
            </a:extLst>
          </p:cNvPr>
          <p:cNvSpPr txBox="1"/>
          <p:nvPr/>
        </p:nvSpPr>
        <p:spPr>
          <a:xfrm>
            <a:off x="992149" y="5209141"/>
            <a:ext cx="1127203" cy="615553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3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A22A89CD-999D-4479-A5CB-B164BB03201C}"/>
              </a:ext>
            </a:extLst>
          </p:cNvPr>
          <p:cNvSpPr txBox="1"/>
          <p:nvPr/>
        </p:nvSpPr>
        <p:spPr>
          <a:xfrm>
            <a:off x="2482295" y="5037923"/>
            <a:ext cx="385727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F19F49"/>
                    </a:gs>
                    <a:gs pos="100000">
                      <a:srgbClr val="FF3F46"/>
                    </a:gs>
                  </a:gsLst>
                  <a:lin ang="2700000" scaled="1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上千款模板选择，总有一款适合你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C09430B3-84E4-424C-99E3-52CFA21153A7}"/>
              </a:ext>
            </a:extLst>
          </p:cNvPr>
          <p:cNvSpPr txBox="1"/>
          <p:nvPr/>
        </p:nvSpPr>
        <p:spPr>
          <a:xfrm>
            <a:off x="2482295" y="5369366"/>
            <a:ext cx="8153955" cy="61760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182CD91E-09B1-43F2-A283-09D18C95ABA8}"/>
              </a:ext>
            </a:extLst>
          </p:cNvPr>
          <p:cNvSpPr/>
          <p:nvPr/>
        </p:nvSpPr>
        <p:spPr>
          <a:xfrm>
            <a:off x="734419" y="3078048"/>
            <a:ext cx="10468800" cy="14004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30" name="图片 29" descr="图示, 工程绘图&#10;&#10;描述已自动生成">
            <a:extLst>
              <a:ext uri="{FF2B5EF4-FFF2-40B4-BE49-F238E27FC236}">
                <a16:creationId xmlns:a16="http://schemas.microsoft.com/office/drawing/2014/main" id="{D18C25A1-41B0-46A0-85D1-1FF9A73C6D7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5523" t="1622" r="12014" b="4685"/>
          <a:stretch>
            <a:fillRect/>
          </a:stretch>
        </p:blipFill>
        <p:spPr>
          <a:xfrm>
            <a:off x="9810750" y="2952748"/>
            <a:ext cx="1651000" cy="1651000"/>
          </a:xfrm>
          <a:custGeom>
            <a:avLst/>
            <a:gdLst>
              <a:gd name="connsiteX0" fmla="*/ 825500 w 1651000"/>
              <a:gd name="connsiteY0" fmla="*/ 0 h 1651000"/>
              <a:gd name="connsiteX1" fmla="*/ 1651000 w 1651000"/>
              <a:gd name="connsiteY1" fmla="*/ 825500 h 1651000"/>
              <a:gd name="connsiteX2" fmla="*/ 825500 w 1651000"/>
              <a:gd name="connsiteY2" fmla="*/ 1651000 h 1651000"/>
              <a:gd name="connsiteX3" fmla="*/ 0 w 1651000"/>
              <a:gd name="connsiteY3" fmla="*/ 825500 h 1651000"/>
              <a:gd name="connsiteX4" fmla="*/ 825500 w 1651000"/>
              <a:gd name="connsiteY4" fmla="*/ 0 h 16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000" h="1651000">
                <a:moveTo>
                  <a:pt x="825500" y="0"/>
                </a:moveTo>
                <a:cubicBezTo>
                  <a:pt x="1281411" y="0"/>
                  <a:pt x="1651000" y="369589"/>
                  <a:pt x="1651000" y="825500"/>
                </a:cubicBezTo>
                <a:cubicBezTo>
                  <a:pt x="1651000" y="1281411"/>
                  <a:pt x="1281411" y="1651000"/>
                  <a:pt x="825500" y="1651000"/>
                </a:cubicBezTo>
                <a:cubicBezTo>
                  <a:pt x="369589" y="1651000"/>
                  <a:pt x="0" y="1281411"/>
                  <a:pt x="0" y="825500"/>
                </a:cubicBezTo>
                <a:cubicBezTo>
                  <a:pt x="0" y="369589"/>
                  <a:pt x="369589" y="0"/>
                  <a:pt x="825500" y="0"/>
                </a:cubicBezTo>
                <a:close/>
              </a:path>
            </a:pathLst>
          </a:custGeom>
        </p:spPr>
      </p:pic>
      <p:sp>
        <p:nvSpPr>
          <p:cNvPr id="31" name="椭圆 30">
            <a:extLst>
              <a:ext uri="{FF2B5EF4-FFF2-40B4-BE49-F238E27FC236}">
                <a16:creationId xmlns:a16="http://schemas.microsoft.com/office/drawing/2014/main" id="{09EFBE24-6480-42D0-ABEB-F4397040B5CC}"/>
              </a:ext>
            </a:extLst>
          </p:cNvPr>
          <p:cNvSpPr/>
          <p:nvPr/>
        </p:nvSpPr>
        <p:spPr>
          <a:xfrm>
            <a:off x="9810750" y="2952748"/>
            <a:ext cx="1651000" cy="1651000"/>
          </a:xfrm>
          <a:prstGeom prst="ellipse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0CF5D144-8396-490B-96BB-5CC8382AB289}"/>
              </a:ext>
            </a:extLst>
          </p:cNvPr>
          <p:cNvSpPr txBox="1"/>
          <p:nvPr/>
        </p:nvSpPr>
        <p:spPr>
          <a:xfrm>
            <a:off x="10072649" y="3493055"/>
            <a:ext cx="1127203" cy="615553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2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3B074E20-0F2C-47CB-AA5C-2A52AFC0C74A}"/>
              </a:ext>
            </a:extLst>
          </p:cNvPr>
          <p:cNvSpPr txBox="1"/>
          <p:nvPr/>
        </p:nvSpPr>
        <p:spPr>
          <a:xfrm>
            <a:off x="5694945" y="3321837"/>
            <a:ext cx="385727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F19F49"/>
                    </a:gs>
                    <a:gs pos="100000">
                      <a:srgbClr val="FF3F46"/>
                    </a:gs>
                  </a:gsLst>
                  <a:lin ang="2700000" scaled="1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上千款模板选择，总有一款适合你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2A1BC588-C693-498E-B466-1A447CDEC0A2}"/>
              </a:ext>
            </a:extLst>
          </p:cNvPr>
          <p:cNvSpPr txBox="1"/>
          <p:nvPr/>
        </p:nvSpPr>
        <p:spPr>
          <a:xfrm>
            <a:off x="1398264" y="3653280"/>
            <a:ext cx="8153955" cy="61760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9" name="稿定PPT-4">
            <a:extLst>
              <a:ext uri="{FF2B5EF4-FFF2-40B4-BE49-F238E27FC236}">
                <a16:creationId xmlns:a16="http://schemas.microsoft.com/office/drawing/2014/main" id="{4643996E-0AB1-4DCE-93A8-F7520984FB74}"/>
              </a:ext>
            </a:extLst>
          </p:cNvPr>
          <p:cNvSpPr txBox="1"/>
          <p:nvPr/>
        </p:nvSpPr>
        <p:spPr>
          <a:xfrm>
            <a:off x="931500" y="513244"/>
            <a:ext cx="4452891" cy="3176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E97311"/>
                    </a:gs>
                    <a:gs pos="100000">
                      <a:srgbClr val="F19F49"/>
                    </a:gs>
                  </a:gsLst>
                  <a:lin ang="5400000" scaled="1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E97311"/>
                    </a:gs>
                    <a:gs pos="100000">
                      <a:srgbClr val="F19F49"/>
                    </a:gs>
                  </a:gsLst>
                  <a:lin ang="5400000" scaled="1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E97311"/>
                    </a:gs>
                    <a:gs pos="100000">
                      <a:srgbClr val="F19F49"/>
                    </a:gs>
                  </a:gsLst>
                  <a:lin ang="5400000" scaled="1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海量素材持续更新</a:t>
            </a:r>
            <a:endParaRPr kumimoji="0" lang="en-US" sz="19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">
                    <a:srgbClr val="E97311"/>
                  </a:gs>
                  <a:gs pos="100000">
                    <a:srgbClr val="F19F49"/>
                  </a:gs>
                </a:gsLst>
                <a:lin ang="5400000" scaled="1"/>
              </a:gra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+mn-cs"/>
            </a:endParaRPr>
          </a:p>
        </p:txBody>
      </p:sp>
      <p:sp>
        <p:nvSpPr>
          <p:cNvPr id="55" name="稿定PPT-4">
            <a:extLst>
              <a:ext uri="{FF2B5EF4-FFF2-40B4-BE49-F238E27FC236}">
                <a16:creationId xmlns:a16="http://schemas.microsoft.com/office/drawing/2014/main" id="{FCA84FB5-D4E3-42DB-81F6-528D3EDADC56}"/>
              </a:ext>
            </a:extLst>
          </p:cNvPr>
          <p:cNvSpPr txBox="1"/>
          <p:nvPr/>
        </p:nvSpPr>
        <p:spPr>
          <a:xfrm>
            <a:off x="931500" y="789378"/>
            <a:ext cx="4985028" cy="21615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E97311"/>
                    </a:gs>
                    <a:gs pos="100000">
                      <a:srgbClr val="F19F49"/>
                    </a:gs>
                  </a:gsLst>
                  <a:lin ang="5400000" scaled="1"/>
                </a:gra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59" name="弧形 1">
            <a:extLst>
              <a:ext uri="{FF2B5EF4-FFF2-40B4-BE49-F238E27FC236}">
                <a16:creationId xmlns:a16="http://schemas.microsoft.com/office/drawing/2014/main" id="{8506D61C-94FE-4B92-879E-9A6FDED200C6}"/>
              </a:ext>
            </a:extLst>
          </p:cNvPr>
          <p:cNvSpPr/>
          <p:nvPr/>
        </p:nvSpPr>
        <p:spPr>
          <a:xfrm>
            <a:off x="515938" y="588899"/>
            <a:ext cx="177561" cy="177561"/>
          </a:xfrm>
          <a:prstGeom prst="arc">
            <a:avLst>
              <a:gd name="adj1" fmla="val 3795906"/>
              <a:gd name="adj2" fmla="val 0"/>
            </a:avLst>
          </a:prstGeom>
          <a:ln w="127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3" name="弧形 2">
            <a:extLst>
              <a:ext uri="{FF2B5EF4-FFF2-40B4-BE49-F238E27FC236}">
                <a16:creationId xmlns:a16="http://schemas.microsoft.com/office/drawing/2014/main" id="{7C91737A-C92A-4211-A866-A2DC1931A5CF}"/>
              </a:ext>
            </a:extLst>
          </p:cNvPr>
          <p:cNvSpPr/>
          <p:nvPr/>
        </p:nvSpPr>
        <p:spPr>
          <a:xfrm flipH="1" flipV="1">
            <a:off x="634445" y="588899"/>
            <a:ext cx="177561" cy="177561"/>
          </a:xfrm>
          <a:prstGeom prst="arc">
            <a:avLst>
              <a:gd name="adj1" fmla="val 3795906"/>
              <a:gd name="adj2" fmla="val 0"/>
            </a:avLst>
          </a:prstGeom>
          <a:ln w="127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4" name="椭圆 1">
            <a:extLst>
              <a:ext uri="{FF2B5EF4-FFF2-40B4-BE49-F238E27FC236}">
                <a16:creationId xmlns:a16="http://schemas.microsoft.com/office/drawing/2014/main" id="{8A77AF55-AEA7-4F76-B775-B4BB5BFEC8E0}"/>
              </a:ext>
            </a:extLst>
          </p:cNvPr>
          <p:cNvSpPr/>
          <p:nvPr/>
        </p:nvSpPr>
        <p:spPr>
          <a:xfrm>
            <a:off x="683722" y="638176"/>
            <a:ext cx="79005" cy="7900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388524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1" descr="河边的城市&#10;&#10;描述已自动生成">
            <a:extLst>
              <a:ext uri="{FF2B5EF4-FFF2-40B4-BE49-F238E27FC236}">
                <a16:creationId xmlns:a16="http://schemas.microsoft.com/office/drawing/2014/main" id="{49A5CD6C-61FA-43AA-ACA6-AE5A85481A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2" t="62" b="15588"/>
          <a:stretch>
            <a:fillRect/>
          </a:stretch>
        </p:blipFill>
        <p:spPr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8" name="矩形 1">
            <a:extLst>
              <a:ext uri="{FF2B5EF4-FFF2-40B4-BE49-F238E27FC236}">
                <a16:creationId xmlns:a16="http://schemas.microsoft.com/office/drawing/2014/main" id="{89620B17-6F76-44E2-9763-C8B44B9DE41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600191CD-AACA-4351-BA4A-B191F669732D}"/>
              </a:ext>
            </a:extLst>
          </p:cNvPr>
          <p:cNvSpPr/>
          <p:nvPr/>
        </p:nvSpPr>
        <p:spPr>
          <a:xfrm>
            <a:off x="1075178" y="4021304"/>
            <a:ext cx="1389329" cy="451816"/>
          </a:xfrm>
          <a:prstGeom prst="roundRect">
            <a:avLst>
              <a:gd name="adj" fmla="val 50000"/>
            </a:avLst>
          </a:prstGeom>
          <a:gradFill>
            <a:gsLst>
              <a:gs pos="26000">
                <a:schemeClr val="accent1">
                  <a:lumMod val="40000"/>
                  <a:lumOff val="60000"/>
                </a:schemeClr>
              </a:gs>
              <a:gs pos="77000">
                <a:schemeClr val="accent1"/>
              </a:gs>
            </a:gsLst>
            <a:path path="circle">
              <a:fillToRect r="100000" b="10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/>
                <a:ea typeface="思源黑体 CN Bold"/>
                <a:cs typeface="+mn-cs"/>
              </a:rPr>
              <a:t>PowerPoint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/>
              <a:ea typeface="思源黑体 CN Bold"/>
              <a:cs typeface="+mn-cs"/>
            </a:endParaRPr>
          </a:p>
        </p:txBody>
      </p:sp>
      <p:sp>
        <p:nvSpPr>
          <p:cNvPr id="26" name="稿定PPT-6-5">
            <a:extLst>
              <a:ext uri="{FF2B5EF4-FFF2-40B4-BE49-F238E27FC236}">
                <a16:creationId xmlns:a16="http://schemas.microsoft.com/office/drawing/2014/main" id="{4289E0EC-872F-4D26-90E7-487707DE4E15}"/>
              </a:ext>
            </a:extLst>
          </p:cNvPr>
          <p:cNvSpPr txBox="1"/>
          <p:nvPr/>
        </p:nvSpPr>
        <p:spPr>
          <a:xfrm>
            <a:off x="1075178" y="4702102"/>
            <a:ext cx="1389329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上千款模板素材</a:t>
            </a:r>
          </a:p>
        </p:txBody>
      </p:sp>
      <p:sp>
        <p:nvSpPr>
          <p:cNvPr id="27" name="稿定PPT-6-5">
            <a:extLst>
              <a:ext uri="{FF2B5EF4-FFF2-40B4-BE49-F238E27FC236}">
                <a16:creationId xmlns:a16="http://schemas.microsoft.com/office/drawing/2014/main" id="{DA64177B-48F4-4E49-8A0D-8FAAAC075A01}"/>
              </a:ext>
            </a:extLst>
          </p:cNvPr>
          <p:cNvSpPr txBox="1"/>
          <p:nvPr/>
        </p:nvSpPr>
        <p:spPr>
          <a:xfrm>
            <a:off x="1075178" y="5259032"/>
            <a:ext cx="1389329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总有一款适合你</a:t>
            </a:r>
          </a:p>
        </p:txBody>
      </p:sp>
      <p:sp>
        <p:nvSpPr>
          <p:cNvPr id="28" name="稿定PPT-6-5">
            <a:extLst>
              <a:ext uri="{FF2B5EF4-FFF2-40B4-BE49-F238E27FC236}">
                <a16:creationId xmlns:a16="http://schemas.microsoft.com/office/drawing/2014/main" id="{96F4FB55-5F1E-4280-ADEF-72DA12B29DC5}"/>
              </a:ext>
            </a:extLst>
          </p:cNvPr>
          <p:cNvSpPr txBox="1"/>
          <p:nvPr/>
        </p:nvSpPr>
        <p:spPr>
          <a:xfrm>
            <a:off x="963041" y="5815964"/>
            <a:ext cx="1613603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更快更轻松</a:t>
            </a: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FBCF1DD3-3480-4D65-AA60-70A44F53F4D0}"/>
              </a:ext>
            </a:extLst>
          </p:cNvPr>
          <p:cNvCxnSpPr>
            <a:cxnSpLocks/>
          </p:cNvCxnSpPr>
          <p:nvPr/>
        </p:nvCxnSpPr>
        <p:spPr>
          <a:xfrm>
            <a:off x="1194532" y="5105103"/>
            <a:ext cx="1150620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  <a:alpha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CA882635-1F4A-48D3-8AD4-47F2ACB2CB0C}"/>
              </a:ext>
            </a:extLst>
          </p:cNvPr>
          <p:cNvCxnSpPr>
            <a:cxnSpLocks/>
          </p:cNvCxnSpPr>
          <p:nvPr/>
        </p:nvCxnSpPr>
        <p:spPr>
          <a:xfrm>
            <a:off x="1194532" y="5662034"/>
            <a:ext cx="1150620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  <a:alpha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1">
            <a:extLst>
              <a:ext uri="{FF2B5EF4-FFF2-40B4-BE49-F238E27FC236}">
                <a16:creationId xmlns:a16="http://schemas.microsoft.com/office/drawing/2014/main" id="{5EEDD455-D377-4141-AF4D-086A221109FD}"/>
              </a:ext>
            </a:extLst>
          </p:cNvPr>
          <p:cNvSpPr/>
          <p:nvPr/>
        </p:nvSpPr>
        <p:spPr>
          <a:xfrm>
            <a:off x="779842" y="1619875"/>
            <a:ext cx="1980000" cy="1980000"/>
          </a:xfrm>
          <a:prstGeom prst="ellipse">
            <a:avLst/>
          </a:prstGeom>
          <a:gradFill>
            <a:gsLst>
              <a:gs pos="26000">
                <a:schemeClr val="accent1">
                  <a:lumMod val="40000"/>
                  <a:lumOff val="60000"/>
                </a:schemeClr>
              </a:gs>
              <a:gs pos="77000">
                <a:schemeClr val="accent1"/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279400" dist="342900" dir="5400000" sx="88000" sy="88000" algn="t" rotWithShape="0">
              <a:schemeClr val="accent1">
                <a:alpha val="4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思源黑体 CN Bold"/>
              <a:cs typeface="+mn-cs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9B56E63-6586-4F6C-BA31-A85F11F4AC84}"/>
              </a:ext>
            </a:extLst>
          </p:cNvPr>
          <p:cNvSpPr txBox="1"/>
          <p:nvPr/>
        </p:nvSpPr>
        <p:spPr>
          <a:xfrm>
            <a:off x="1194532" y="2863316"/>
            <a:ext cx="1150620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/>
                <a:cs typeface="+mn-cs"/>
              </a:rPr>
              <a:t>海量素材</a:t>
            </a:r>
          </a:p>
        </p:txBody>
      </p:sp>
      <p:pic>
        <p:nvPicPr>
          <p:cNvPr id="62" name="图片 61" descr="图标&#10;&#10;描述已自动生成">
            <a:extLst>
              <a:ext uri="{FF2B5EF4-FFF2-40B4-BE49-F238E27FC236}">
                <a16:creationId xmlns:a16="http://schemas.microsoft.com/office/drawing/2014/main" id="{2411CF44-4E0D-4C05-9272-0FF2964153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442" y="2023042"/>
            <a:ext cx="604800" cy="604800"/>
          </a:xfrm>
          <a:prstGeom prst="rect">
            <a:avLst/>
          </a:prstGeom>
        </p:spPr>
      </p:pic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F1512685-CBF2-43CE-94DE-FB8D1C6424E8}"/>
              </a:ext>
            </a:extLst>
          </p:cNvPr>
          <p:cNvSpPr/>
          <p:nvPr/>
        </p:nvSpPr>
        <p:spPr>
          <a:xfrm>
            <a:off x="4003830" y="4021304"/>
            <a:ext cx="1389329" cy="451816"/>
          </a:xfrm>
          <a:prstGeom prst="roundRect">
            <a:avLst>
              <a:gd name="adj" fmla="val 50000"/>
            </a:avLst>
          </a:prstGeom>
          <a:gradFill>
            <a:gsLst>
              <a:gs pos="26000">
                <a:schemeClr val="accent4"/>
              </a:gs>
              <a:gs pos="77000">
                <a:schemeClr val="accent3"/>
              </a:gs>
            </a:gsLst>
            <a:path path="circle">
              <a:fillToRect r="100000" b="10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/>
                <a:ea typeface="思源黑体 CN Bold"/>
                <a:cs typeface="+mn-cs"/>
              </a:rPr>
              <a:t>PowerPoint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/>
              <a:ea typeface="思源黑体 CN Bold"/>
              <a:cs typeface="+mn-cs"/>
            </a:endParaRPr>
          </a:p>
        </p:txBody>
      </p:sp>
      <p:sp>
        <p:nvSpPr>
          <p:cNvPr id="51" name="稿定PPT-6-5">
            <a:extLst>
              <a:ext uri="{FF2B5EF4-FFF2-40B4-BE49-F238E27FC236}">
                <a16:creationId xmlns:a16="http://schemas.microsoft.com/office/drawing/2014/main" id="{026667C7-F258-4F31-9010-CA6AAF9DEDAE}"/>
              </a:ext>
            </a:extLst>
          </p:cNvPr>
          <p:cNvSpPr txBox="1"/>
          <p:nvPr/>
        </p:nvSpPr>
        <p:spPr>
          <a:xfrm>
            <a:off x="4003830" y="4702102"/>
            <a:ext cx="1389329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上千款模板素材</a:t>
            </a:r>
          </a:p>
        </p:txBody>
      </p:sp>
      <p:sp>
        <p:nvSpPr>
          <p:cNvPr id="52" name="稿定PPT-6-5">
            <a:extLst>
              <a:ext uri="{FF2B5EF4-FFF2-40B4-BE49-F238E27FC236}">
                <a16:creationId xmlns:a16="http://schemas.microsoft.com/office/drawing/2014/main" id="{9DA3D5FE-5BA8-4D69-AF16-9B165112E46F}"/>
              </a:ext>
            </a:extLst>
          </p:cNvPr>
          <p:cNvSpPr txBox="1"/>
          <p:nvPr/>
        </p:nvSpPr>
        <p:spPr>
          <a:xfrm>
            <a:off x="4003830" y="5259032"/>
            <a:ext cx="1389329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总有一款适合你</a:t>
            </a:r>
          </a:p>
        </p:txBody>
      </p:sp>
      <p:sp>
        <p:nvSpPr>
          <p:cNvPr id="53" name="稿定PPT-6-5">
            <a:extLst>
              <a:ext uri="{FF2B5EF4-FFF2-40B4-BE49-F238E27FC236}">
                <a16:creationId xmlns:a16="http://schemas.microsoft.com/office/drawing/2014/main" id="{0A2E19BB-254E-41DE-9DE0-17FA5AA5E5A8}"/>
              </a:ext>
            </a:extLst>
          </p:cNvPr>
          <p:cNvSpPr txBox="1"/>
          <p:nvPr/>
        </p:nvSpPr>
        <p:spPr>
          <a:xfrm>
            <a:off x="3891693" y="5815964"/>
            <a:ext cx="1613603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更快更轻松</a:t>
            </a:r>
          </a:p>
        </p:txBody>
      </p: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78B2B3F8-BAA0-4A0D-80EA-BF8A8A0F2B60}"/>
              </a:ext>
            </a:extLst>
          </p:cNvPr>
          <p:cNvCxnSpPr>
            <a:cxnSpLocks/>
          </p:cNvCxnSpPr>
          <p:nvPr/>
        </p:nvCxnSpPr>
        <p:spPr>
          <a:xfrm>
            <a:off x="4123184" y="5105103"/>
            <a:ext cx="1150620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  <a:alpha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039A7587-14B9-4D87-9155-534F1D34710D}"/>
              </a:ext>
            </a:extLst>
          </p:cNvPr>
          <p:cNvCxnSpPr>
            <a:cxnSpLocks/>
          </p:cNvCxnSpPr>
          <p:nvPr/>
        </p:nvCxnSpPr>
        <p:spPr>
          <a:xfrm>
            <a:off x="4123184" y="5662034"/>
            <a:ext cx="1150620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  <a:alpha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椭圆 1">
            <a:extLst>
              <a:ext uri="{FF2B5EF4-FFF2-40B4-BE49-F238E27FC236}">
                <a16:creationId xmlns:a16="http://schemas.microsoft.com/office/drawing/2014/main" id="{B3ED4C4C-3023-4833-A8B3-DFCF7FA30709}"/>
              </a:ext>
            </a:extLst>
          </p:cNvPr>
          <p:cNvSpPr/>
          <p:nvPr/>
        </p:nvSpPr>
        <p:spPr>
          <a:xfrm>
            <a:off x="3708494" y="1619875"/>
            <a:ext cx="1980000" cy="1980000"/>
          </a:xfrm>
          <a:prstGeom prst="ellipse">
            <a:avLst/>
          </a:prstGeom>
          <a:gradFill>
            <a:gsLst>
              <a:gs pos="26000">
                <a:schemeClr val="accent4"/>
              </a:gs>
              <a:gs pos="77000">
                <a:schemeClr val="accent3"/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279400" dist="342900" dir="5400000" sx="88000" sy="88000" algn="t" rotWithShape="0">
              <a:schemeClr val="accent4">
                <a:alpha val="4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思源黑体 CN Bold"/>
              <a:cs typeface="+mn-cs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FEEA18E1-3910-45DD-BFC2-EC28AB80D7EA}"/>
              </a:ext>
            </a:extLst>
          </p:cNvPr>
          <p:cNvSpPr txBox="1"/>
          <p:nvPr/>
        </p:nvSpPr>
        <p:spPr>
          <a:xfrm>
            <a:off x="4123184" y="2863316"/>
            <a:ext cx="1150620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/>
                <a:cs typeface="+mn-cs"/>
              </a:rPr>
              <a:t>持续更新</a:t>
            </a:r>
          </a:p>
        </p:txBody>
      </p:sp>
      <p:pic>
        <p:nvPicPr>
          <p:cNvPr id="74" name="图片 73" descr="图标&#10;&#10;描述已自动生成">
            <a:extLst>
              <a:ext uri="{FF2B5EF4-FFF2-40B4-BE49-F238E27FC236}">
                <a16:creationId xmlns:a16="http://schemas.microsoft.com/office/drawing/2014/main" id="{B331E7C8-913E-41C6-B887-442002B4A19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94" y="2022542"/>
            <a:ext cx="604800" cy="604800"/>
          </a:xfrm>
          <a:prstGeom prst="rect">
            <a:avLst/>
          </a:prstGeom>
        </p:spPr>
      </p:pic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D4C78784-B485-4117-811C-14CCA303D4C4}"/>
              </a:ext>
            </a:extLst>
          </p:cNvPr>
          <p:cNvSpPr/>
          <p:nvPr/>
        </p:nvSpPr>
        <p:spPr>
          <a:xfrm>
            <a:off x="6932482" y="4021304"/>
            <a:ext cx="1389329" cy="451816"/>
          </a:xfrm>
          <a:prstGeom prst="roundRect">
            <a:avLst>
              <a:gd name="adj" fmla="val 50000"/>
            </a:avLst>
          </a:prstGeom>
          <a:gradFill>
            <a:gsLst>
              <a:gs pos="26000">
                <a:schemeClr val="accent4"/>
              </a:gs>
              <a:gs pos="77000">
                <a:schemeClr val="accent3"/>
              </a:gs>
            </a:gsLst>
            <a:path path="circle">
              <a:fillToRect r="100000" b="10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/>
                <a:ea typeface="思源黑体 CN Bold"/>
                <a:cs typeface="+mn-cs"/>
              </a:rPr>
              <a:t>PowerPoint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/>
              <a:ea typeface="思源黑体 CN Bold"/>
              <a:cs typeface="+mn-cs"/>
            </a:endParaRPr>
          </a:p>
        </p:txBody>
      </p:sp>
      <p:sp>
        <p:nvSpPr>
          <p:cNvPr id="85" name="稿定PPT-6-5">
            <a:extLst>
              <a:ext uri="{FF2B5EF4-FFF2-40B4-BE49-F238E27FC236}">
                <a16:creationId xmlns:a16="http://schemas.microsoft.com/office/drawing/2014/main" id="{96D7382B-69DB-4856-AFCB-92492DE81D22}"/>
              </a:ext>
            </a:extLst>
          </p:cNvPr>
          <p:cNvSpPr txBox="1"/>
          <p:nvPr/>
        </p:nvSpPr>
        <p:spPr>
          <a:xfrm>
            <a:off x="6932482" y="4702102"/>
            <a:ext cx="1389329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上千款模板素材</a:t>
            </a:r>
          </a:p>
        </p:txBody>
      </p:sp>
      <p:sp>
        <p:nvSpPr>
          <p:cNvPr id="86" name="稿定PPT-6-5">
            <a:extLst>
              <a:ext uri="{FF2B5EF4-FFF2-40B4-BE49-F238E27FC236}">
                <a16:creationId xmlns:a16="http://schemas.microsoft.com/office/drawing/2014/main" id="{95F53423-EF77-4AA9-9DEA-0DBE57AEF935}"/>
              </a:ext>
            </a:extLst>
          </p:cNvPr>
          <p:cNvSpPr txBox="1"/>
          <p:nvPr/>
        </p:nvSpPr>
        <p:spPr>
          <a:xfrm>
            <a:off x="6932482" y="5259032"/>
            <a:ext cx="1389329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总有一款适合你</a:t>
            </a:r>
          </a:p>
        </p:txBody>
      </p:sp>
      <p:sp>
        <p:nvSpPr>
          <p:cNvPr id="87" name="稿定PPT-6-5">
            <a:extLst>
              <a:ext uri="{FF2B5EF4-FFF2-40B4-BE49-F238E27FC236}">
                <a16:creationId xmlns:a16="http://schemas.microsoft.com/office/drawing/2014/main" id="{038EBED6-2DA3-4352-A054-FF272AC21914}"/>
              </a:ext>
            </a:extLst>
          </p:cNvPr>
          <p:cNvSpPr txBox="1"/>
          <p:nvPr/>
        </p:nvSpPr>
        <p:spPr>
          <a:xfrm>
            <a:off x="6820345" y="5815964"/>
            <a:ext cx="1613603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更快更轻松</a:t>
            </a:r>
          </a:p>
        </p:txBody>
      </p:sp>
      <p:cxnSp>
        <p:nvCxnSpPr>
          <p:cNvPr id="88" name="直接连接符 87">
            <a:extLst>
              <a:ext uri="{FF2B5EF4-FFF2-40B4-BE49-F238E27FC236}">
                <a16:creationId xmlns:a16="http://schemas.microsoft.com/office/drawing/2014/main" id="{44810984-C7D5-4028-85CA-B123E2CD7C0A}"/>
              </a:ext>
            </a:extLst>
          </p:cNvPr>
          <p:cNvCxnSpPr>
            <a:cxnSpLocks/>
          </p:cNvCxnSpPr>
          <p:nvPr/>
        </p:nvCxnSpPr>
        <p:spPr>
          <a:xfrm>
            <a:off x="7051836" y="5105103"/>
            <a:ext cx="1150620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  <a:alpha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DD1515DF-0277-4B7D-BE32-292650C5831E}"/>
              </a:ext>
            </a:extLst>
          </p:cNvPr>
          <p:cNvCxnSpPr>
            <a:cxnSpLocks/>
          </p:cNvCxnSpPr>
          <p:nvPr/>
        </p:nvCxnSpPr>
        <p:spPr>
          <a:xfrm>
            <a:off x="7051836" y="5662034"/>
            <a:ext cx="1150620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  <a:alpha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椭圆 1">
            <a:extLst>
              <a:ext uri="{FF2B5EF4-FFF2-40B4-BE49-F238E27FC236}">
                <a16:creationId xmlns:a16="http://schemas.microsoft.com/office/drawing/2014/main" id="{ABD7EC98-0ED8-4671-8EF5-9B1FDA048451}"/>
              </a:ext>
            </a:extLst>
          </p:cNvPr>
          <p:cNvSpPr/>
          <p:nvPr/>
        </p:nvSpPr>
        <p:spPr>
          <a:xfrm>
            <a:off x="6637146" y="1619875"/>
            <a:ext cx="1980000" cy="1980000"/>
          </a:xfrm>
          <a:prstGeom prst="ellipse">
            <a:avLst/>
          </a:prstGeom>
          <a:gradFill>
            <a:gsLst>
              <a:gs pos="26000">
                <a:schemeClr val="accent4"/>
              </a:gs>
              <a:gs pos="77000">
                <a:schemeClr val="accent3"/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279400" dist="342900" dir="5400000" sx="88000" sy="88000" algn="t" rotWithShape="0">
              <a:schemeClr val="accent4">
                <a:alpha val="4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思源黑体 CN Bold"/>
              <a:cs typeface="+mn-cs"/>
            </a:endParaRP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47D9C9B4-46F3-4E3B-A517-5304B194392C}"/>
              </a:ext>
            </a:extLst>
          </p:cNvPr>
          <p:cNvSpPr txBox="1"/>
          <p:nvPr/>
        </p:nvSpPr>
        <p:spPr>
          <a:xfrm>
            <a:off x="7051836" y="2863316"/>
            <a:ext cx="1150620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/>
                <a:cs typeface="+mn-cs"/>
              </a:rPr>
              <a:t>持续更新</a:t>
            </a:r>
          </a:p>
        </p:txBody>
      </p:sp>
      <p:pic>
        <p:nvPicPr>
          <p:cNvPr id="91" name="图片 90" descr="图标&#10;&#10;描述已自动生成">
            <a:extLst>
              <a:ext uri="{FF2B5EF4-FFF2-40B4-BE49-F238E27FC236}">
                <a16:creationId xmlns:a16="http://schemas.microsoft.com/office/drawing/2014/main" id="{8E3BCCDF-7594-47C1-9BB5-FB4065820A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746" y="2022542"/>
            <a:ext cx="604800" cy="604800"/>
          </a:xfrm>
          <a:prstGeom prst="rect">
            <a:avLst/>
          </a:prstGeom>
        </p:spPr>
      </p:pic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6FDC90AE-9D30-4772-A8D9-5CD76ABCDA3C}"/>
              </a:ext>
            </a:extLst>
          </p:cNvPr>
          <p:cNvSpPr/>
          <p:nvPr/>
        </p:nvSpPr>
        <p:spPr>
          <a:xfrm>
            <a:off x="9861135" y="4021304"/>
            <a:ext cx="1389329" cy="451816"/>
          </a:xfrm>
          <a:prstGeom prst="roundRect">
            <a:avLst>
              <a:gd name="adj" fmla="val 50000"/>
            </a:avLst>
          </a:prstGeom>
          <a:gradFill>
            <a:gsLst>
              <a:gs pos="26000">
                <a:schemeClr val="accent1">
                  <a:lumMod val="40000"/>
                  <a:lumOff val="60000"/>
                </a:schemeClr>
              </a:gs>
              <a:gs pos="77000">
                <a:schemeClr val="accent1"/>
              </a:gs>
            </a:gsLst>
            <a:path path="circle">
              <a:fillToRect r="100000" b="10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/>
                <a:ea typeface="思源黑体 CN Bold"/>
                <a:cs typeface="+mn-cs"/>
              </a:rPr>
              <a:t>PowerPoint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/>
              <a:ea typeface="思源黑体 CN Bold"/>
              <a:cs typeface="+mn-cs"/>
            </a:endParaRPr>
          </a:p>
        </p:txBody>
      </p:sp>
      <p:sp>
        <p:nvSpPr>
          <p:cNvPr id="38" name="稿定PPT-6-5">
            <a:extLst>
              <a:ext uri="{FF2B5EF4-FFF2-40B4-BE49-F238E27FC236}">
                <a16:creationId xmlns:a16="http://schemas.microsoft.com/office/drawing/2014/main" id="{764958AE-9738-420D-924F-BA87FE95FFAC}"/>
              </a:ext>
            </a:extLst>
          </p:cNvPr>
          <p:cNvSpPr txBox="1"/>
          <p:nvPr/>
        </p:nvSpPr>
        <p:spPr>
          <a:xfrm>
            <a:off x="9861135" y="4702102"/>
            <a:ext cx="1389329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上千款模板素材</a:t>
            </a:r>
          </a:p>
        </p:txBody>
      </p:sp>
      <p:sp>
        <p:nvSpPr>
          <p:cNvPr id="39" name="稿定PPT-6-5">
            <a:extLst>
              <a:ext uri="{FF2B5EF4-FFF2-40B4-BE49-F238E27FC236}">
                <a16:creationId xmlns:a16="http://schemas.microsoft.com/office/drawing/2014/main" id="{E3CF18D3-F094-455B-B1E7-63A0984B29CE}"/>
              </a:ext>
            </a:extLst>
          </p:cNvPr>
          <p:cNvSpPr txBox="1"/>
          <p:nvPr/>
        </p:nvSpPr>
        <p:spPr>
          <a:xfrm>
            <a:off x="9861135" y="5259032"/>
            <a:ext cx="1389329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总有一款适合你</a:t>
            </a:r>
          </a:p>
        </p:txBody>
      </p:sp>
      <p:sp>
        <p:nvSpPr>
          <p:cNvPr id="40" name="稿定PPT-6-5">
            <a:extLst>
              <a:ext uri="{FF2B5EF4-FFF2-40B4-BE49-F238E27FC236}">
                <a16:creationId xmlns:a16="http://schemas.microsoft.com/office/drawing/2014/main" id="{AA8A7879-4D60-4DD6-9A17-FF48CE76D661}"/>
              </a:ext>
            </a:extLst>
          </p:cNvPr>
          <p:cNvSpPr txBox="1"/>
          <p:nvPr/>
        </p:nvSpPr>
        <p:spPr>
          <a:xfrm>
            <a:off x="9748998" y="5815964"/>
            <a:ext cx="1613603" cy="334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更快更轻松</a:t>
            </a:r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BB6C8CA8-275B-4D15-99FD-FDE99C2077BD}"/>
              </a:ext>
            </a:extLst>
          </p:cNvPr>
          <p:cNvCxnSpPr>
            <a:cxnSpLocks/>
          </p:cNvCxnSpPr>
          <p:nvPr/>
        </p:nvCxnSpPr>
        <p:spPr>
          <a:xfrm>
            <a:off x="9980489" y="5105103"/>
            <a:ext cx="1150620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  <a:alpha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1E8B19DF-A698-4E75-B581-BDA644DF728D}"/>
              </a:ext>
            </a:extLst>
          </p:cNvPr>
          <p:cNvCxnSpPr>
            <a:cxnSpLocks/>
          </p:cNvCxnSpPr>
          <p:nvPr/>
        </p:nvCxnSpPr>
        <p:spPr>
          <a:xfrm>
            <a:off x="9980489" y="5662034"/>
            <a:ext cx="1150620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  <a:alpha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椭圆 1">
            <a:extLst>
              <a:ext uri="{FF2B5EF4-FFF2-40B4-BE49-F238E27FC236}">
                <a16:creationId xmlns:a16="http://schemas.microsoft.com/office/drawing/2014/main" id="{1235FFE7-D8EA-4BEB-94F3-712F35C6527F}"/>
              </a:ext>
            </a:extLst>
          </p:cNvPr>
          <p:cNvSpPr/>
          <p:nvPr/>
        </p:nvSpPr>
        <p:spPr>
          <a:xfrm>
            <a:off x="9565799" y="1619875"/>
            <a:ext cx="1980000" cy="1980000"/>
          </a:xfrm>
          <a:prstGeom prst="ellipse">
            <a:avLst/>
          </a:prstGeom>
          <a:gradFill>
            <a:gsLst>
              <a:gs pos="26000">
                <a:schemeClr val="accent1">
                  <a:lumMod val="40000"/>
                  <a:lumOff val="60000"/>
                </a:schemeClr>
              </a:gs>
              <a:gs pos="77000">
                <a:schemeClr val="accent1"/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279400" dist="342900" dir="5400000" sx="88000" sy="88000" algn="t" rotWithShape="0">
              <a:schemeClr val="accent1">
                <a:alpha val="4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思源黑体 CN Bold"/>
              <a:cs typeface="+mn-cs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B6E8B661-F2DD-480D-904F-5F1AB0200509}"/>
              </a:ext>
            </a:extLst>
          </p:cNvPr>
          <p:cNvSpPr txBox="1"/>
          <p:nvPr/>
        </p:nvSpPr>
        <p:spPr>
          <a:xfrm>
            <a:off x="9980489" y="2863316"/>
            <a:ext cx="1150620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/>
                <a:cs typeface="+mn-cs"/>
              </a:rPr>
              <a:t>海量素材</a:t>
            </a:r>
          </a:p>
        </p:txBody>
      </p:sp>
      <p:pic>
        <p:nvPicPr>
          <p:cNvPr id="65" name="图片 64" descr="图标&#10;&#10;描述已自动生成">
            <a:extLst>
              <a:ext uri="{FF2B5EF4-FFF2-40B4-BE49-F238E27FC236}">
                <a16:creationId xmlns:a16="http://schemas.microsoft.com/office/drawing/2014/main" id="{74392FAD-7F00-4048-B14D-060B09185CF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3399" y="2018779"/>
            <a:ext cx="604800" cy="604800"/>
          </a:xfrm>
          <a:prstGeom prst="rect">
            <a:avLst/>
          </a:prstGeom>
        </p:spPr>
      </p:pic>
      <p:sp>
        <p:nvSpPr>
          <p:cNvPr id="98" name="任意多边形: 形状 2">
            <a:extLst>
              <a:ext uri="{FF2B5EF4-FFF2-40B4-BE49-F238E27FC236}">
                <a16:creationId xmlns:a16="http://schemas.microsoft.com/office/drawing/2014/main" id="{2050EACE-B329-44BE-B6FB-05D81EE6BE9E}"/>
              </a:ext>
            </a:extLst>
          </p:cNvPr>
          <p:cNvSpPr/>
          <p:nvPr/>
        </p:nvSpPr>
        <p:spPr>
          <a:xfrm rot="5400000">
            <a:off x="6025952" y="2321994"/>
            <a:ext cx="232029" cy="575762"/>
          </a:xfrm>
          <a:custGeom>
            <a:avLst/>
            <a:gdLst>
              <a:gd name="connsiteX0" fmla="*/ 188016 w 609750"/>
              <a:gd name="connsiteY0" fmla="*/ 986447 h 1513045"/>
              <a:gd name="connsiteX1" fmla="*/ 191844 w 609750"/>
              <a:gd name="connsiteY1" fmla="*/ 967488 h 1513045"/>
              <a:gd name="connsiteX2" fmla="*/ 236723 w 609750"/>
              <a:gd name="connsiteY2" fmla="*/ 937740 h 1513045"/>
              <a:gd name="connsiteX3" fmla="*/ 394104 w 609750"/>
              <a:gd name="connsiteY3" fmla="*/ 937740 h 1513045"/>
              <a:gd name="connsiteX4" fmla="*/ 442811 w 609750"/>
              <a:gd name="connsiteY4" fmla="*/ 986447 h 1513045"/>
              <a:gd name="connsiteX5" fmla="*/ 442810 w 609750"/>
              <a:gd name="connsiteY5" fmla="*/ 986447 h 1513045"/>
              <a:gd name="connsiteX6" fmla="*/ 394103 w 609750"/>
              <a:gd name="connsiteY6" fmla="*/ 1035154 h 1513045"/>
              <a:gd name="connsiteX7" fmla="*/ 236723 w 609750"/>
              <a:gd name="connsiteY7" fmla="*/ 1035153 h 1513045"/>
              <a:gd name="connsiteX8" fmla="*/ 191844 w 609750"/>
              <a:gd name="connsiteY8" fmla="*/ 1005405 h 1513045"/>
              <a:gd name="connsiteX9" fmla="*/ 188016 w 609750"/>
              <a:gd name="connsiteY9" fmla="*/ 1145744 h 1513045"/>
              <a:gd name="connsiteX10" fmla="*/ 191844 w 609750"/>
              <a:gd name="connsiteY10" fmla="*/ 1126785 h 1513045"/>
              <a:gd name="connsiteX11" fmla="*/ 236723 w 609750"/>
              <a:gd name="connsiteY11" fmla="*/ 1097037 h 1513045"/>
              <a:gd name="connsiteX12" fmla="*/ 394104 w 609750"/>
              <a:gd name="connsiteY12" fmla="*/ 1097037 h 1513045"/>
              <a:gd name="connsiteX13" fmla="*/ 442811 w 609750"/>
              <a:gd name="connsiteY13" fmla="*/ 1145744 h 1513045"/>
              <a:gd name="connsiteX14" fmla="*/ 442810 w 609750"/>
              <a:gd name="connsiteY14" fmla="*/ 1145744 h 1513045"/>
              <a:gd name="connsiteX15" fmla="*/ 394103 w 609750"/>
              <a:gd name="connsiteY15" fmla="*/ 1194451 h 1513045"/>
              <a:gd name="connsiteX16" fmla="*/ 236723 w 609750"/>
              <a:gd name="connsiteY16" fmla="*/ 1194450 h 1513045"/>
              <a:gd name="connsiteX17" fmla="*/ 191844 w 609750"/>
              <a:gd name="connsiteY17" fmla="*/ 1164702 h 1513045"/>
              <a:gd name="connsiteX18" fmla="*/ 188016 w 609750"/>
              <a:gd name="connsiteY18" fmla="*/ 1305041 h 1513045"/>
              <a:gd name="connsiteX19" fmla="*/ 191844 w 609750"/>
              <a:gd name="connsiteY19" fmla="*/ 1286082 h 1513045"/>
              <a:gd name="connsiteX20" fmla="*/ 236723 w 609750"/>
              <a:gd name="connsiteY20" fmla="*/ 1256334 h 1513045"/>
              <a:gd name="connsiteX21" fmla="*/ 394104 w 609750"/>
              <a:gd name="connsiteY21" fmla="*/ 1256334 h 1513045"/>
              <a:gd name="connsiteX22" fmla="*/ 442811 w 609750"/>
              <a:gd name="connsiteY22" fmla="*/ 1305041 h 1513045"/>
              <a:gd name="connsiteX23" fmla="*/ 442810 w 609750"/>
              <a:gd name="connsiteY23" fmla="*/ 1305041 h 1513045"/>
              <a:gd name="connsiteX24" fmla="*/ 394103 w 609750"/>
              <a:gd name="connsiteY24" fmla="*/ 1353748 h 1513045"/>
              <a:gd name="connsiteX25" fmla="*/ 236723 w 609750"/>
              <a:gd name="connsiteY25" fmla="*/ 1353747 h 1513045"/>
              <a:gd name="connsiteX26" fmla="*/ 191844 w 609750"/>
              <a:gd name="connsiteY26" fmla="*/ 1323999 h 1513045"/>
              <a:gd name="connsiteX27" fmla="*/ 188016 w 609750"/>
              <a:gd name="connsiteY27" fmla="*/ 1464338 h 1513045"/>
              <a:gd name="connsiteX28" fmla="*/ 191844 w 609750"/>
              <a:gd name="connsiteY28" fmla="*/ 1445379 h 1513045"/>
              <a:gd name="connsiteX29" fmla="*/ 236723 w 609750"/>
              <a:gd name="connsiteY29" fmla="*/ 1415631 h 1513045"/>
              <a:gd name="connsiteX30" fmla="*/ 394104 w 609750"/>
              <a:gd name="connsiteY30" fmla="*/ 1415631 h 1513045"/>
              <a:gd name="connsiteX31" fmla="*/ 442811 w 609750"/>
              <a:gd name="connsiteY31" fmla="*/ 1464338 h 1513045"/>
              <a:gd name="connsiteX32" fmla="*/ 442810 w 609750"/>
              <a:gd name="connsiteY32" fmla="*/ 1464338 h 1513045"/>
              <a:gd name="connsiteX33" fmla="*/ 394103 w 609750"/>
              <a:gd name="connsiteY33" fmla="*/ 1513045 h 1513045"/>
              <a:gd name="connsiteX34" fmla="*/ 236723 w 609750"/>
              <a:gd name="connsiteY34" fmla="*/ 1513044 h 1513045"/>
              <a:gd name="connsiteX35" fmla="*/ 191844 w 609750"/>
              <a:gd name="connsiteY35" fmla="*/ 1483296 h 1513045"/>
              <a:gd name="connsiteX36" fmla="*/ 3 w 609750"/>
              <a:gd name="connsiteY36" fmla="*/ 507677 h 1513045"/>
              <a:gd name="connsiteX37" fmla="*/ 3440 w 609750"/>
              <a:gd name="connsiteY37" fmla="*/ 494675 h 1513045"/>
              <a:gd name="connsiteX38" fmla="*/ 283077 w 609750"/>
              <a:gd name="connsiteY38" fmla="*/ 12543 h 1513045"/>
              <a:gd name="connsiteX39" fmla="*/ 326675 w 609750"/>
              <a:gd name="connsiteY39" fmla="*/ 12543 h 1513045"/>
              <a:gd name="connsiteX40" fmla="*/ 606311 w 609750"/>
              <a:gd name="connsiteY40" fmla="*/ 494675 h 1513045"/>
              <a:gd name="connsiteX41" fmla="*/ 584512 w 609750"/>
              <a:gd name="connsiteY41" fmla="*/ 532518 h 1513045"/>
              <a:gd name="connsiteX42" fmla="*/ 489541 w 609750"/>
              <a:gd name="connsiteY42" fmla="*/ 532518 h 1513045"/>
              <a:gd name="connsiteX43" fmla="*/ 489541 w 609750"/>
              <a:gd name="connsiteY43" fmla="*/ 824958 h 1513045"/>
              <a:gd name="connsiteX44" fmla="*/ 438640 w 609750"/>
              <a:gd name="connsiteY44" fmla="*/ 875859 h 1513045"/>
              <a:gd name="connsiteX45" fmla="*/ 192185 w 609750"/>
              <a:gd name="connsiteY45" fmla="*/ 875859 h 1513045"/>
              <a:gd name="connsiteX46" fmla="*/ 141284 w 609750"/>
              <a:gd name="connsiteY46" fmla="*/ 824958 h 1513045"/>
              <a:gd name="connsiteX47" fmla="*/ 141284 w 609750"/>
              <a:gd name="connsiteY47" fmla="*/ 532518 h 1513045"/>
              <a:gd name="connsiteX48" fmla="*/ 25239 w 609750"/>
              <a:gd name="connsiteY48" fmla="*/ 532518 h 1513045"/>
              <a:gd name="connsiteX49" fmla="*/ 3 w 609750"/>
              <a:gd name="connsiteY49" fmla="*/ 507677 h 1513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609750" h="1513045">
                <a:moveTo>
                  <a:pt x="188016" y="986447"/>
                </a:moveTo>
                <a:lnTo>
                  <a:pt x="191844" y="967488"/>
                </a:lnTo>
                <a:cubicBezTo>
                  <a:pt x="199238" y="950007"/>
                  <a:pt x="216548" y="937740"/>
                  <a:pt x="236723" y="937740"/>
                </a:cubicBezTo>
                <a:lnTo>
                  <a:pt x="394104" y="937740"/>
                </a:lnTo>
                <a:cubicBezTo>
                  <a:pt x="421004" y="937740"/>
                  <a:pt x="442811" y="959547"/>
                  <a:pt x="442811" y="986447"/>
                </a:cubicBezTo>
                <a:lnTo>
                  <a:pt x="442810" y="986447"/>
                </a:lnTo>
                <a:cubicBezTo>
                  <a:pt x="442810" y="1013347"/>
                  <a:pt x="421003" y="1035154"/>
                  <a:pt x="394103" y="1035154"/>
                </a:cubicBezTo>
                <a:lnTo>
                  <a:pt x="236723" y="1035153"/>
                </a:lnTo>
                <a:cubicBezTo>
                  <a:pt x="216548" y="1035153"/>
                  <a:pt x="199238" y="1022887"/>
                  <a:pt x="191844" y="1005405"/>
                </a:cubicBezTo>
                <a:close/>
                <a:moveTo>
                  <a:pt x="188016" y="1145744"/>
                </a:moveTo>
                <a:lnTo>
                  <a:pt x="191844" y="1126785"/>
                </a:lnTo>
                <a:cubicBezTo>
                  <a:pt x="199238" y="1109304"/>
                  <a:pt x="216548" y="1097037"/>
                  <a:pt x="236723" y="1097037"/>
                </a:cubicBezTo>
                <a:lnTo>
                  <a:pt x="394104" y="1097037"/>
                </a:lnTo>
                <a:cubicBezTo>
                  <a:pt x="421004" y="1097037"/>
                  <a:pt x="442811" y="1118844"/>
                  <a:pt x="442811" y="1145744"/>
                </a:cubicBezTo>
                <a:lnTo>
                  <a:pt x="442810" y="1145744"/>
                </a:lnTo>
                <a:cubicBezTo>
                  <a:pt x="442810" y="1172644"/>
                  <a:pt x="421003" y="1194451"/>
                  <a:pt x="394103" y="1194451"/>
                </a:cubicBezTo>
                <a:lnTo>
                  <a:pt x="236723" y="1194450"/>
                </a:lnTo>
                <a:cubicBezTo>
                  <a:pt x="216548" y="1194450"/>
                  <a:pt x="199238" y="1182184"/>
                  <a:pt x="191844" y="1164702"/>
                </a:cubicBezTo>
                <a:close/>
                <a:moveTo>
                  <a:pt x="188016" y="1305041"/>
                </a:moveTo>
                <a:lnTo>
                  <a:pt x="191844" y="1286082"/>
                </a:lnTo>
                <a:cubicBezTo>
                  <a:pt x="199238" y="1268601"/>
                  <a:pt x="216548" y="1256334"/>
                  <a:pt x="236723" y="1256334"/>
                </a:cubicBezTo>
                <a:lnTo>
                  <a:pt x="394104" y="1256334"/>
                </a:lnTo>
                <a:cubicBezTo>
                  <a:pt x="421004" y="1256334"/>
                  <a:pt x="442811" y="1278141"/>
                  <a:pt x="442811" y="1305041"/>
                </a:cubicBezTo>
                <a:lnTo>
                  <a:pt x="442810" y="1305041"/>
                </a:lnTo>
                <a:cubicBezTo>
                  <a:pt x="442810" y="1331941"/>
                  <a:pt x="421003" y="1353748"/>
                  <a:pt x="394103" y="1353748"/>
                </a:cubicBezTo>
                <a:lnTo>
                  <a:pt x="236723" y="1353747"/>
                </a:lnTo>
                <a:cubicBezTo>
                  <a:pt x="216548" y="1353747"/>
                  <a:pt x="199238" y="1341481"/>
                  <a:pt x="191844" y="1323999"/>
                </a:cubicBezTo>
                <a:close/>
                <a:moveTo>
                  <a:pt x="188016" y="1464338"/>
                </a:moveTo>
                <a:lnTo>
                  <a:pt x="191844" y="1445379"/>
                </a:lnTo>
                <a:cubicBezTo>
                  <a:pt x="199238" y="1427898"/>
                  <a:pt x="216548" y="1415631"/>
                  <a:pt x="236723" y="1415631"/>
                </a:cubicBezTo>
                <a:lnTo>
                  <a:pt x="394104" y="1415631"/>
                </a:lnTo>
                <a:cubicBezTo>
                  <a:pt x="421004" y="1415631"/>
                  <a:pt x="442811" y="1437438"/>
                  <a:pt x="442811" y="1464338"/>
                </a:cubicBezTo>
                <a:lnTo>
                  <a:pt x="442810" y="1464338"/>
                </a:lnTo>
                <a:cubicBezTo>
                  <a:pt x="442810" y="1491238"/>
                  <a:pt x="421003" y="1513045"/>
                  <a:pt x="394103" y="1513045"/>
                </a:cubicBezTo>
                <a:lnTo>
                  <a:pt x="236723" y="1513044"/>
                </a:lnTo>
                <a:cubicBezTo>
                  <a:pt x="216548" y="1513044"/>
                  <a:pt x="199238" y="1500778"/>
                  <a:pt x="191844" y="1483296"/>
                </a:cubicBezTo>
                <a:close/>
                <a:moveTo>
                  <a:pt x="3" y="507677"/>
                </a:moveTo>
                <a:cubicBezTo>
                  <a:pt x="-66" y="503341"/>
                  <a:pt x="1004" y="498876"/>
                  <a:pt x="3440" y="494675"/>
                </a:cubicBezTo>
                <a:lnTo>
                  <a:pt x="283077" y="12543"/>
                </a:lnTo>
                <a:cubicBezTo>
                  <a:pt x="292778" y="-4182"/>
                  <a:pt x="316974" y="-4182"/>
                  <a:pt x="326675" y="12543"/>
                </a:cubicBezTo>
                <a:lnTo>
                  <a:pt x="606311" y="494675"/>
                </a:lnTo>
                <a:cubicBezTo>
                  <a:pt x="616056" y="511477"/>
                  <a:pt x="603936" y="532518"/>
                  <a:pt x="584512" y="532518"/>
                </a:cubicBezTo>
                <a:lnTo>
                  <a:pt x="489541" y="532518"/>
                </a:lnTo>
                <a:lnTo>
                  <a:pt x="489541" y="824958"/>
                </a:lnTo>
                <a:cubicBezTo>
                  <a:pt x="489541" y="853070"/>
                  <a:pt x="466752" y="875859"/>
                  <a:pt x="438640" y="875859"/>
                </a:cubicBezTo>
                <a:lnTo>
                  <a:pt x="192185" y="875859"/>
                </a:lnTo>
                <a:cubicBezTo>
                  <a:pt x="164073" y="875859"/>
                  <a:pt x="141284" y="853070"/>
                  <a:pt x="141284" y="824958"/>
                </a:cubicBezTo>
                <a:lnTo>
                  <a:pt x="141284" y="532518"/>
                </a:lnTo>
                <a:lnTo>
                  <a:pt x="25239" y="532518"/>
                </a:lnTo>
                <a:cubicBezTo>
                  <a:pt x="10671" y="532518"/>
                  <a:pt x="211" y="520683"/>
                  <a:pt x="3" y="507677"/>
                </a:cubicBezTo>
                <a:close/>
              </a:path>
            </a:pathLst>
          </a:custGeom>
          <a:gradFill flip="none" rotWithShape="1">
            <a:gsLst>
              <a:gs pos="30000">
                <a:schemeClr val="accent1"/>
              </a:gs>
              <a:gs pos="100000">
                <a:schemeClr val="accent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99" name="任意多边形: 形状 3">
            <a:extLst>
              <a:ext uri="{FF2B5EF4-FFF2-40B4-BE49-F238E27FC236}">
                <a16:creationId xmlns:a16="http://schemas.microsoft.com/office/drawing/2014/main" id="{69EA790D-D7EC-4C7A-84D3-BDF3D135B83F}"/>
              </a:ext>
            </a:extLst>
          </p:cNvPr>
          <p:cNvSpPr/>
          <p:nvPr/>
        </p:nvSpPr>
        <p:spPr>
          <a:xfrm rot="5400000">
            <a:off x="8957419" y="2321994"/>
            <a:ext cx="232029" cy="575762"/>
          </a:xfrm>
          <a:custGeom>
            <a:avLst/>
            <a:gdLst>
              <a:gd name="connsiteX0" fmla="*/ 188016 w 609750"/>
              <a:gd name="connsiteY0" fmla="*/ 986447 h 1513045"/>
              <a:gd name="connsiteX1" fmla="*/ 191844 w 609750"/>
              <a:gd name="connsiteY1" fmla="*/ 967488 h 1513045"/>
              <a:gd name="connsiteX2" fmla="*/ 236723 w 609750"/>
              <a:gd name="connsiteY2" fmla="*/ 937740 h 1513045"/>
              <a:gd name="connsiteX3" fmla="*/ 394104 w 609750"/>
              <a:gd name="connsiteY3" fmla="*/ 937740 h 1513045"/>
              <a:gd name="connsiteX4" fmla="*/ 442811 w 609750"/>
              <a:gd name="connsiteY4" fmla="*/ 986447 h 1513045"/>
              <a:gd name="connsiteX5" fmla="*/ 442810 w 609750"/>
              <a:gd name="connsiteY5" fmla="*/ 986447 h 1513045"/>
              <a:gd name="connsiteX6" fmla="*/ 394103 w 609750"/>
              <a:gd name="connsiteY6" fmla="*/ 1035154 h 1513045"/>
              <a:gd name="connsiteX7" fmla="*/ 236723 w 609750"/>
              <a:gd name="connsiteY7" fmla="*/ 1035153 h 1513045"/>
              <a:gd name="connsiteX8" fmla="*/ 191844 w 609750"/>
              <a:gd name="connsiteY8" fmla="*/ 1005405 h 1513045"/>
              <a:gd name="connsiteX9" fmla="*/ 188016 w 609750"/>
              <a:gd name="connsiteY9" fmla="*/ 1145744 h 1513045"/>
              <a:gd name="connsiteX10" fmla="*/ 191844 w 609750"/>
              <a:gd name="connsiteY10" fmla="*/ 1126785 h 1513045"/>
              <a:gd name="connsiteX11" fmla="*/ 236723 w 609750"/>
              <a:gd name="connsiteY11" fmla="*/ 1097037 h 1513045"/>
              <a:gd name="connsiteX12" fmla="*/ 394104 w 609750"/>
              <a:gd name="connsiteY12" fmla="*/ 1097037 h 1513045"/>
              <a:gd name="connsiteX13" fmla="*/ 442811 w 609750"/>
              <a:gd name="connsiteY13" fmla="*/ 1145744 h 1513045"/>
              <a:gd name="connsiteX14" fmla="*/ 442810 w 609750"/>
              <a:gd name="connsiteY14" fmla="*/ 1145744 h 1513045"/>
              <a:gd name="connsiteX15" fmla="*/ 394103 w 609750"/>
              <a:gd name="connsiteY15" fmla="*/ 1194451 h 1513045"/>
              <a:gd name="connsiteX16" fmla="*/ 236723 w 609750"/>
              <a:gd name="connsiteY16" fmla="*/ 1194450 h 1513045"/>
              <a:gd name="connsiteX17" fmla="*/ 191844 w 609750"/>
              <a:gd name="connsiteY17" fmla="*/ 1164702 h 1513045"/>
              <a:gd name="connsiteX18" fmla="*/ 188016 w 609750"/>
              <a:gd name="connsiteY18" fmla="*/ 1305041 h 1513045"/>
              <a:gd name="connsiteX19" fmla="*/ 191844 w 609750"/>
              <a:gd name="connsiteY19" fmla="*/ 1286082 h 1513045"/>
              <a:gd name="connsiteX20" fmla="*/ 236723 w 609750"/>
              <a:gd name="connsiteY20" fmla="*/ 1256334 h 1513045"/>
              <a:gd name="connsiteX21" fmla="*/ 394104 w 609750"/>
              <a:gd name="connsiteY21" fmla="*/ 1256334 h 1513045"/>
              <a:gd name="connsiteX22" fmla="*/ 442811 w 609750"/>
              <a:gd name="connsiteY22" fmla="*/ 1305041 h 1513045"/>
              <a:gd name="connsiteX23" fmla="*/ 442810 w 609750"/>
              <a:gd name="connsiteY23" fmla="*/ 1305041 h 1513045"/>
              <a:gd name="connsiteX24" fmla="*/ 394103 w 609750"/>
              <a:gd name="connsiteY24" fmla="*/ 1353748 h 1513045"/>
              <a:gd name="connsiteX25" fmla="*/ 236723 w 609750"/>
              <a:gd name="connsiteY25" fmla="*/ 1353747 h 1513045"/>
              <a:gd name="connsiteX26" fmla="*/ 191844 w 609750"/>
              <a:gd name="connsiteY26" fmla="*/ 1323999 h 1513045"/>
              <a:gd name="connsiteX27" fmla="*/ 188016 w 609750"/>
              <a:gd name="connsiteY27" fmla="*/ 1464338 h 1513045"/>
              <a:gd name="connsiteX28" fmla="*/ 191844 w 609750"/>
              <a:gd name="connsiteY28" fmla="*/ 1445379 h 1513045"/>
              <a:gd name="connsiteX29" fmla="*/ 236723 w 609750"/>
              <a:gd name="connsiteY29" fmla="*/ 1415631 h 1513045"/>
              <a:gd name="connsiteX30" fmla="*/ 394104 w 609750"/>
              <a:gd name="connsiteY30" fmla="*/ 1415631 h 1513045"/>
              <a:gd name="connsiteX31" fmla="*/ 442811 w 609750"/>
              <a:gd name="connsiteY31" fmla="*/ 1464338 h 1513045"/>
              <a:gd name="connsiteX32" fmla="*/ 442810 w 609750"/>
              <a:gd name="connsiteY32" fmla="*/ 1464338 h 1513045"/>
              <a:gd name="connsiteX33" fmla="*/ 394103 w 609750"/>
              <a:gd name="connsiteY33" fmla="*/ 1513045 h 1513045"/>
              <a:gd name="connsiteX34" fmla="*/ 236723 w 609750"/>
              <a:gd name="connsiteY34" fmla="*/ 1513044 h 1513045"/>
              <a:gd name="connsiteX35" fmla="*/ 191844 w 609750"/>
              <a:gd name="connsiteY35" fmla="*/ 1483296 h 1513045"/>
              <a:gd name="connsiteX36" fmla="*/ 3 w 609750"/>
              <a:gd name="connsiteY36" fmla="*/ 507677 h 1513045"/>
              <a:gd name="connsiteX37" fmla="*/ 3440 w 609750"/>
              <a:gd name="connsiteY37" fmla="*/ 494675 h 1513045"/>
              <a:gd name="connsiteX38" fmla="*/ 283077 w 609750"/>
              <a:gd name="connsiteY38" fmla="*/ 12543 h 1513045"/>
              <a:gd name="connsiteX39" fmla="*/ 326675 w 609750"/>
              <a:gd name="connsiteY39" fmla="*/ 12543 h 1513045"/>
              <a:gd name="connsiteX40" fmla="*/ 606311 w 609750"/>
              <a:gd name="connsiteY40" fmla="*/ 494675 h 1513045"/>
              <a:gd name="connsiteX41" fmla="*/ 584512 w 609750"/>
              <a:gd name="connsiteY41" fmla="*/ 532518 h 1513045"/>
              <a:gd name="connsiteX42" fmla="*/ 489541 w 609750"/>
              <a:gd name="connsiteY42" fmla="*/ 532518 h 1513045"/>
              <a:gd name="connsiteX43" fmla="*/ 489541 w 609750"/>
              <a:gd name="connsiteY43" fmla="*/ 824958 h 1513045"/>
              <a:gd name="connsiteX44" fmla="*/ 438640 w 609750"/>
              <a:gd name="connsiteY44" fmla="*/ 875859 h 1513045"/>
              <a:gd name="connsiteX45" fmla="*/ 192185 w 609750"/>
              <a:gd name="connsiteY45" fmla="*/ 875859 h 1513045"/>
              <a:gd name="connsiteX46" fmla="*/ 141284 w 609750"/>
              <a:gd name="connsiteY46" fmla="*/ 824958 h 1513045"/>
              <a:gd name="connsiteX47" fmla="*/ 141284 w 609750"/>
              <a:gd name="connsiteY47" fmla="*/ 532518 h 1513045"/>
              <a:gd name="connsiteX48" fmla="*/ 25239 w 609750"/>
              <a:gd name="connsiteY48" fmla="*/ 532518 h 1513045"/>
              <a:gd name="connsiteX49" fmla="*/ 3 w 609750"/>
              <a:gd name="connsiteY49" fmla="*/ 507677 h 1513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609750" h="1513045">
                <a:moveTo>
                  <a:pt x="188016" y="986447"/>
                </a:moveTo>
                <a:lnTo>
                  <a:pt x="191844" y="967488"/>
                </a:lnTo>
                <a:cubicBezTo>
                  <a:pt x="199238" y="950007"/>
                  <a:pt x="216548" y="937740"/>
                  <a:pt x="236723" y="937740"/>
                </a:cubicBezTo>
                <a:lnTo>
                  <a:pt x="394104" y="937740"/>
                </a:lnTo>
                <a:cubicBezTo>
                  <a:pt x="421004" y="937740"/>
                  <a:pt x="442811" y="959547"/>
                  <a:pt x="442811" y="986447"/>
                </a:cubicBezTo>
                <a:lnTo>
                  <a:pt x="442810" y="986447"/>
                </a:lnTo>
                <a:cubicBezTo>
                  <a:pt x="442810" y="1013347"/>
                  <a:pt x="421003" y="1035154"/>
                  <a:pt x="394103" y="1035154"/>
                </a:cubicBezTo>
                <a:lnTo>
                  <a:pt x="236723" y="1035153"/>
                </a:lnTo>
                <a:cubicBezTo>
                  <a:pt x="216548" y="1035153"/>
                  <a:pt x="199238" y="1022887"/>
                  <a:pt x="191844" y="1005405"/>
                </a:cubicBezTo>
                <a:close/>
                <a:moveTo>
                  <a:pt x="188016" y="1145744"/>
                </a:moveTo>
                <a:lnTo>
                  <a:pt x="191844" y="1126785"/>
                </a:lnTo>
                <a:cubicBezTo>
                  <a:pt x="199238" y="1109304"/>
                  <a:pt x="216548" y="1097037"/>
                  <a:pt x="236723" y="1097037"/>
                </a:cubicBezTo>
                <a:lnTo>
                  <a:pt x="394104" y="1097037"/>
                </a:lnTo>
                <a:cubicBezTo>
                  <a:pt x="421004" y="1097037"/>
                  <a:pt x="442811" y="1118844"/>
                  <a:pt x="442811" y="1145744"/>
                </a:cubicBezTo>
                <a:lnTo>
                  <a:pt x="442810" y="1145744"/>
                </a:lnTo>
                <a:cubicBezTo>
                  <a:pt x="442810" y="1172644"/>
                  <a:pt x="421003" y="1194451"/>
                  <a:pt x="394103" y="1194451"/>
                </a:cubicBezTo>
                <a:lnTo>
                  <a:pt x="236723" y="1194450"/>
                </a:lnTo>
                <a:cubicBezTo>
                  <a:pt x="216548" y="1194450"/>
                  <a:pt x="199238" y="1182184"/>
                  <a:pt x="191844" y="1164702"/>
                </a:cubicBezTo>
                <a:close/>
                <a:moveTo>
                  <a:pt x="188016" y="1305041"/>
                </a:moveTo>
                <a:lnTo>
                  <a:pt x="191844" y="1286082"/>
                </a:lnTo>
                <a:cubicBezTo>
                  <a:pt x="199238" y="1268601"/>
                  <a:pt x="216548" y="1256334"/>
                  <a:pt x="236723" y="1256334"/>
                </a:cubicBezTo>
                <a:lnTo>
                  <a:pt x="394104" y="1256334"/>
                </a:lnTo>
                <a:cubicBezTo>
                  <a:pt x="421004" y="1256334"/>
                  <a:pt x="442811" y="1278141"/>
                  <a:pt x="442811" y="1305041"/>
                </a:cubicBezTo>
                <a:lnTo>
                  <a:pt x="442810" y="1305041"/>
                </a:lnTo>
                <a:cubicBezTo>
                  <a:pt x="442810" y="1331941"/>
                  <a:pt x="421003" y="1353748"/>
                  <a:pt x="394103" y="1353748"/>
                </a:cubicBezTo>
                <a:lnTo>
                  <a:pt x="236723" y="1353747"/>
                </a:lnTo>
                <a:cubicBezTo>
                  <a:pt x="216548" y="1353747"/>
                  <a:pt x="199238" y="1341481"/>
                  <a:pt x="191844" y="1323999"/>
                </a:cubicBezTo>
                <a:close/>
                <a:moveTo>
                  <a:pt x="188016" y="1464338"/>
                </a:moveTo>
                <a:lnTo>
                  <a:pt x="191844" y="1445379"/>
                </a:lnTo>
                <a:cubicBezTo>
                  <a:pt x="199238" y="1427898"/>
                  <a:pt x="216548" y="1415631"/>
                  <a:pt x="236723" y="1415631"/>
                </a:cubicBezTo>
                <a:lnTo>
                  <a:pt x="394104" y="1415631"/>
                </a:lnTo>
                <a:cubicBezTo>
                  <a:pt x="421004" y="1415631"/>
                  <a:pt x="442811" y="1437438"/>
                  <a:pt x="442811" y="1464338"/>
                </a:cubicBezTo>
                <a:lnTo>
                  <a:pt x="442810" y="1464338"/>
                </a:lnTo>
                <a:cubicBezTo>
                  <a:pt x="442810" y="1491238"/>
                  <a:pt x="421003" y="1513045"/>
                  <a:pt x="394103" y="1513045"/>
                </a:cubicBezTo>
                <a:lnTo>
                  <a:pt x="236723" y="1513044"/>
                </a:lnTo>
                <a:cubicBezTo>
                  <a:pt x="216548" y="1513044"/>
                  <a:pt x="199238" y="1500778"/>
                  <a:pt x="191844" y="1483296"/>
                </a:cubicBezTo>
                <a:close/>
                <a:moveTo>
                  <a:pt x="3" y="507677"/>
                </a:moveTo>
                <a:cubicBezTo>
                  <a:pt x="-66" y="503341"/>
                  <a:pt x="1004" y="498876"/>
                  <a:pt x="3440" y="494675"/>
                </a:cubicBezTo>
                <a:lnTo>
                  <a:pt x="283077" y="12543"/>
                </a:lnTo>
                <a:cubicBezTo>
                  <a:pt x="292778" y="-4182"/>
                  <a:pt x="316974" y="-4182"/>
                  <a:pt x="326675" y="12543"/>
                </a:cubicBezTo>
                <a:lnTo>
                  <a:pt x="606311" y="494675"/>
                </a:lnTo>
                <a:cubicBezTo>
                  <a:pt x="616056" y="511477"/>
                  <a:pt x="603936" y="532518"/>
                  <a:pt x="584512" y="532518"/>
                </a:cubicBezTo>
                <a:lnTo>
                  <a:pt x="489541" y="532518"/>
                </a:lnTo>
                <a:lnTo>
                  <a:pt x="489541" y="824958"/>
                </a:lnTo>
                <a:cubicBezTo>
                  <a:pt x="489541" y="853070"/>
                  <a:pt x="466752" y="875859"/>
                  <a:pt x="438640" y="875859"/>
                </a:cubicBezTo>
                <a:lnTo>
                  <a:pt x="192185" y="875859"/>
                </a:lnTo>
                <a:cubicBezTo>
                  <a:pt x="164073" y="875859"/>
                  <a:pt x="141284" y="853070"/>
                  <a:pt x="141284" y="824958"/>
                </a:cubicBezTo>
                <a:lnTo>
                  <a:pt x="141284" y="532518"/>
                </a:lnTo>
                <a:lnTo>
                  <a:pt x="25239" y="532518"/>
                </a:lnTo>
                <a:cubicBezTo>
                  <a:pt x="10671" y="532518"/>
                  <a:pt x="211" y="520683"/>
                  <a:pt x="3" y="507677"/>
                </a:cubicBezTo>
                <a:close/>
              </a:path>
            </a:pathLst>
          </a:custGeom>
          <a:gradFill flip="none" rotWithShape="1">
            <a:gsLst>
              <a:gs pos="30000">
                <a:schemeClr val="accent1"/>
              </a:gs>
              <a:gs pos="100000">
                <a:schemeClr val="accent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4" name="任意多边形: 形状 1">
            <a:extLst>
              <a:ext uri="{FF2B5EF4-FFF2-40B4-BE49-F238E27FC236}">
                <a16:creationId xmlns:a16="http://schemas.microsoft.com/office/drawing/2014/main" id="{89E77674-A53E-47A3-93BD-4512233EFB98}"/>
              </a:ext>
            </a:extLst>
          </p:cNvPr>
          <p:cNvSpPr/>
          <p:nvPr/>
        </p:nvSpPr>
        <p:spPr>
          <a:xfrm rot="5400000">
            <a:off x="3136191" y="2321994"/>
            <a:ext cx="232029" cy="575762"/>
          </a:xfrm>
          <a:custGeom>
            <a:avLst/>
            <a:gdLst>
              <a:gd name="connsiteX0" fmla="*/ 188016 w 609750"/>
              <a:gd name="connsiteY0" fmla="*/ 986447 h 1513045"/>
              <a:gd name="connsiteX1" fmla="*/ 191844 w 609750"/>
              <a:gd name="connsiteY1" fmla="*/ 967488 h 1513045"/>
              <a:gd name="connsiteX2" fmla="*/ 236723 w 609750"/>
              <a:gd name="connsiteY2" fmla="*/ 937740 h 1513045"/>
              <a:gd name="connsiteX3" fmla="*/ 394104 w 609750"/>
              <a:gd name="connsiteY3" fmla="*/ 937740 h 1513045"/>
              <a:gd name="connsiteX4" fmla="*/ 442811 w 609750"/>
              <a:gd name="connsiteY4" fmla="*/ 986447 h 1513045"/>
              <a:gd name="connsiteX5" fmla="*/ 442810 w 609750"/>
              <a:gd name="connsiteY5" fmla="*/ 986447 h 1513045"/>
              <a:gd name="connsiteX6" fmla="*/ 394103 w 609750"/>
              <a:gd name="connsiteY6" fmla="*/ 1035154 h 1513045"/>
              <a:gd name="connsiteX7" fmla="*/ 236723 w 609750"/>
              <a:gd name="connsiteY7" fmla="*/ 1035153 h 1513045"/>
              <a:gd name="connsiteX8" fmla="*/ 191844 w 609750"/>
              <a:gd name="connsiteY8" fmla="*/ 1005405 h 1513045"/>
              <a:gd name="connsiteX9" fmla="*/ 188016 w 609750"/>
              <a:gd name="connsiteY9" fmla="*/ 1145744 h 1513045"/>
              <a:gd name="connsiteX10" fmla="*/ 191844 w 609750"/>
              <a:gd name="connsiteY10" fmla="*/ 1126785 h 1513045"/>
              <a:gd name="connsiteX11" fmla="*/ 236723 w 609750"/>
              <a:gd name="connsiteY11" fmla="*/ 1097037 h 1513045"/>
              <a:gd name="connsiteX12" fmla="*/ 394104 w 609750"/>
              <a:gd name="connsiteY12" fmla="*/ 1097037 h 1513045"/>
              <a:gd name="connsiteX13" fmla="*/ 442811 w 609750"/>
              <a:gd name="connsiteY13" fmla="*/ 1145744 h 1513045"/>
              <a:gd name="connsiteX14" fmla="*/ 442810 w 609750"/>
              <a:gd name="connsiteY14" fmla="*/ 1145744 h 1513045"/>
              <a:gd name="connsiteX15" fmla="*/ 394103 w 609750"/>
              <a:gd name="connsiteY15" fmla="*/ 1194451 h 1513045"/>
              <a:gd name="connsiteX16" fmla="*/ 236723 w 609750"/>
              <a:gd name="connsiteY16" fmla="*/ 1194450 h 1513045"/>
              <a:gd name="connsiteX17" fmla="*/ 191844 w 609750"/>
              <a:gd name="connsiteY17" fmla="*/ 1164702 h 1513045"/>
              <a:gd name="connsiteX18" fmla="*/ 188016 w 609750"/>
              <a:gd name="connsiteY18" fmla="*/ 1305041 h 1513045"/>
              <a:gd name="connsiteX19" fmla="*/ 191844 w 609750"/>
              <a:gd name="connsiteY19" fmla="*/ 1286082 h 1513045"/>
              <a:gd name="connsiteX20" fmla="*/ 236723 w 609750"/>
              <a:gd name="connsiteY20" fmla="*/ 1256334 h 1513045"/>
              <a:gd name="connsiteX21" fmla="*/ 394104 w 609750"/>
              <a:gd name="connsiteY21" fmla="*/ 1256334 h 1513045"/>
              <a:gd name="connsiteX22" fmla="*/ 442811 w 609750"/>
              <a:gd name="connsiteY22" fmla="*/ 1305041 h 1513045"/>
              <a:gd name="connsiteX23" fmla="*/ 442810 w 609750"/>
              <a:gd name="connsiteY23" fmla="*/ 1305041 h 1513045"/>
              <a:gd name="connsiteX24" fmla="*/ 394103 w 609750"/>
              <a:gd name="connsiteY24" fmla="*/ 1353748 h 1513045"/>
              <a:gd name="connsiteX25" fmla="*/ 236723 w 609750"/>
              <a:gd name="connsiteY25" fmla="*/ 1353747 h 1513045"/>
              <a:gd name="connsiteX26" fmla="*/ 191844 w 609750"/>
              <a:gd name="connsiteY26" fmla="*/ 1323999 h 1513045"/>
              <a:gd name="connsiteX27" fmla="*/ 188016 w 609750"/>
              <a:gd name="connsiteY27" fmla="*/ 1464338 h 1513045"/>
              <a:gd name="connsiteX28" fmla="*/ 191844 w 609750"/>
              <a:gd name="connsiteY28" fmla="*/ 1445379 h 1513045"/>
              <a:gd name="connsiteX29" fmla="*/ 236723 w 609750"/>
              <a:gd name="connsiteY29" fmla="*/ 1415631 h 1513045"/>
              <a:gd name="connsiteX30" fmla="*/ 394104 w 609750"/>
              <a:gd name="connsiteY30" fmla="*/ 1415631 h 1513045"/>
              <a:gd name="connsiteX31" fmla="*/ 442811 w 609750"/>
              <a:gd name="connsiteY31" fmla="*/ 1464338 h 1513045"/>
              <a:gd name="connsiteX32" fmla="*/ 442810 w 609750"/>
              <a:gd name="connsiteY32" fmla="*/ 1464338 h 1513045"/>
              <a:gd name="connsiteX33" fmla="*/ 394103 w 609750"/>
              <a:gd name="connsiteY33" fmla="*/ 1513045 h 1513045"/>
              <a:gd name="connsiteX34" fmla="*/ 236723 w 609750"/>
              <a:gd name="connsiteY34" fmla="*/ 1513044 h 1513045"/>
              <a:gd name="connsiteX35" fmla="*/ 191844 w 609750"/>
              <a:gd name="connsiteY35" fmla="*/ 1483296 h 1513045"/>
              <a:gd name="connsiteX36" fmla="*/ 3 w 609750"/>
              <a:gd name="connsiteY36" fmla="*/ 507677 h 1513045"/>
              <a:gd name="connsiteX37" fmla="*/ 3440 w 609750"/>
              <a:gd name="connsiteY37" fmla="*/ 494675 h 1513045"/>
              <a:gd name="connsiteX38" fmla="*/ 283077 w 609750"/>
              <a:gd name="connsiteY38" fmla="*/ 12543 h 1513045"/>
              <a:gd name="connsiteX39" fmla="*/ 326675 w 609750"/>
              <a:gd name="connsiteY39" fmla="*/ 12543 h 1513045"/>
              <a:gd name="connsiteX40" fmla="*/ 606311 w 609750"/>
              <a:gd name="connsiteY40" fmla="*/ 494675 h 1513045"/>
              <a:gd name="connsiteX41" fmla="*/ 584512 w 609750"/>
              <a:gd name="connsiteY41" fmla="*/ 532518 h 1513045"/>
              <a:gd name="connsiteX42" fmla="*/ 489541 w 609750"/>
              <a:gd name="connsiteY42" fmla="*/ 532518 h 1513045"/>
              <a:gd name="connsiteX43" fmla="*/ 489541 w 609750"/>
              <a:gd name="connsiteY43" fmla="*/ 824958 h 1513045"/>
              <a:gd name="connsiteX44" fmla="*/ 438640 w 609750"/>
              <a:gd name="connsiteY44" fmla="*/ 875859 h 1513045"/>
              <a:gd name="connsiteX45" fmla="*/ 192185 w 609750"/>
              <a:gd name="connsiteY45" fmla="*/ 875859 h 1513045"/>
              <a:gd name="connsiteX46" fmla="*/ 141284 w 609750"/>
              <a:gd name="connsiteY46" fmla="*/ 824958 h 1513045"/>
              <a:gd name="connsiteX47" fmla="*/ 141284 w 609750"/>
              <a:gd name="connsiteY47" fmla="*/ 532518 h 1513045"/>
              <a:gd name="connsiteX48" fmla="*/ 25239 w 609750"/>
              <a:gd name="connsiteY48" fmla="*/ 532518 h 1513045"/>
              <a:gd name="connsiteX49" fmla="*/ 3 w 609750"/>
              <a:gd name="connsiteY49" fmla="*/ 507677 h 1513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609750" h="1513045">
                <a:moveTo>
                  <a:pt x="188016" y="986447"/>
                </a:moveTo>
                <a:lnTo>
                  <a:pt x="191844" y="967488"/>
                </a:lnTo>
                <a:cubicBezTo>
                  <a:pt x="199238" y="950007"/>
                  <a:pt x="216548" y="937740"/>
                  <a:pt x="236723" y="937740"/>
                </a:cubicBezTo>
                <a:lnTo>
                  <a:pt x="394104" y="937740"/>
                </a:lnTo>
                <a:cubicBezTo>
                  <a:pt x="421004" y="937740"/>
                  <a:pt x="442811" y="959547"/>
                  <a:pt x="442811" y="986447"/>
                </a:cubicBezTo>
                <a:lnTo>
                  <a:pt x="442810" y="986447"/>
                </a:lnTo>
                <a:cubicBezTo>
                  <a:pt x="442810" y="1013347"/>
                  <a:pt x="421003" y="1035154"/>
                  <a:pt x="394103" y="1035154"/>
                </a:cubicBezTo>
                <a:lnTo>
                  <a:pt x="236723" y="1035153"/>
                </a:lnTo>
                <a:cubicBezTo>
                  <a:pt x="216548" y="1035153"/>
                  <a:pt x="199238" y="1022887"/>
                  <a:pt x="191844" y="1005405"/>
                </a:cubicBezTo>
                <a:close/>
                <a:moveTo>
                  <a:pt x="188016" y="1145744"/>
                </a:moveTo>
                <a:lnTo>
                  <a:pt x="191844" y="1126785"/>
                </a:lnTo>
                <a:cubicBezTo>
                  <a:pt x="199238" y="1109304"/>
                  <a:pt x="216548" y="1097037"/>
                  <a:pt x="236723" y="1097037"/>
                </a:cubicBezTo>
                <a:lnTo>
                  <a:pt x="394104" y="1097037"/>
                </a:lnTo>
                <a:cubicBezTo>
                  <a:pt x="421004" y="1097037"/>
                  <a:pt x="442811" y="1118844"/>
                  <a:pt x="442811" y="1145744"/>
                </a:cubicBezTo>
                <a:lnTo>
                  <a:pt x="442810" y="1145744"/>
                </a:lnTo>
                <a:cubicBezTo>
                  <a:pt x="442810" y="1172644"/>
                  <a:pt x="421003" y="1194451"/>
                  <a:pt x="394103" y="1194451"/>
                </a:cubicBezTo>
                <a:lnTo>
                  <a:pt x="236723" y="1194450"/>
                </a:lnTo>
                <a:cubicBezTo>
                  <a:pt x="216548" y="1194450"/>
                  <a:pt x="199238" y="1182184"/>
                  <a:pt x="191844" y="1164702"/>
                </a:cubicBezTo>
                <a:close/>
                <a:moveTo>
                  <a:pt x="188016" y="1305041"/>
                </a:moveTo>
                <a:lnTo>
                  <a:pt x="191844" y="1286082"/>
                </a:lnTo>
                <a:cubicBezTo>
                  <a:pt x="199238" y="1268601"/>
                  <a:pt x="216548" y="1256334"/>
                  <a:pt x="236723" y="1256334"/>
                </a:cubicBezTo>
                <a:lnTo>
                  <a:pt x="394104" y="1256334"/>
                </a:lnTo>
                <a:cubicBezTo>
                  <a:pt x="421004" y="1256334"/>
                  <a:pt x="442811" y="1278141"/>
                  <a:pt x="442811" y="1305041"/>
                </a:cubicBezTo>
                <a:lnTo>
                  <a:pt x="442810" y="1305041"/>
                </a:lnTo>
                <a:cubicBezTo>
                  <a:pt x="442810" y="1331941"/>
                  <a:pt x="421003" y="1353748"/>
                  <a:pt x="394103" y="1353748"/>
                </a:cubicBezTo>
                <a:lnTo>
                  <a:pt x="236723" y="1353747"/>
                </a:lnTo>
                <a:cubicBezTo>
                  <a:pt x="216548" y="1353747"/>
                  <a:pt x="199238" y="1341481"/>
                  <a:pt x="191844" y="1323999"/>
                </a:cubicBezTo>
                <a:close/>
                <a:moveTo>
                  <a:pt x="188016" y="1464338"/>
                </a:moveTo>
                <a:lnTo>
                  <a:pt x="191844" y="1445379"/>
                </a:lnTo>
                <a:cubicBezTo>
                  <a:pt x="199238" y="1427898"/>
                  <a:pt x="216548" y="1415631"/>
                  <a:pt x="236723" y="1415631"/>
                </a:cubicBezTo>
                <a:lnTo>
                  <a:pt x="394104" y="1415631"/>
                </a:lnTo>
                <a:cubicBezTo>
                  <a:pt x="421004" y="1415631"/>
                  <a:pt x="442811" y="1437438"/>
                  <a:pt x="442811" y="1464338"/>
                </a:cubicBezTo>
                <a:lnTo>
                  <a:pt x="442810" y="1464338"/>
                </a:lnTo>
                <a:cubicBezTo>
                  <a:pt x="442810" y="1491238"/>
                  <a:pt x="421003" y="1513045"/>
                  <a:pt x="394103" y="1513045"/>
                </a:cubicBezTo>
                <a:lnTo>
                  <a:pt x="236723" y="1513044"/>
                </a:lnTo>
                <a:cubicBezTo>
                  <a:pt x="216548" y="1513044"/>
                  <a:pt x="199238" y="1500778"/>
                  <a:pt x="191844" y="1483296"/>
                </a:cubicBezTo>
                <a:close/>
                <a:moveTo>
                  <a:pt x="3" y="507677"/>
                </a:moveTo>
                <a:cubicBezTo>
                  <a:pt x="-66" y="503341"/>
                  <a:pt x="1004" y="498876"/>
                  <a:pt x="3440" y="494675"/>
                </a:cubicBezTo>
                <a:lnTo>
                  <a:pt x="283077" y="12543"/>
                </a:lnTo>
                <a:cubicBezTo>
                  <a:pt x="292778" y="-4182"/>
                  <a:pt x="316974" y="-4182"/>
                  <a:pt x="326675" y="12543"/>
                </a:cubicBezTo>
                <a:lnTo>
                  <a:pt x="606311" y="494675"/>
                </a:lnTo>
                <a:cubicBezTo>
                  <a:pt x="616056" y="511477"/>
                  <a:pt x="603936" y="532518"/>
                  <a:pt x="584512" y="532518"/>
                </a:cubicBezTo>
                <a:lnTo>
                  <a:pt x="489541" y="532518"/>
                </a:lnTo>
                <a:lnTo>
                  <a:pt x="489541" y="824958"/>
                </a:lnTo>
                <a:cubicBezTo>
                  <a:pt x="489541" y="853070"/>
                  <a:pt x="466752" y="875859"/>
                  <a:pt x="438640" y="875859"/>
                </a:cubicBezTo>
                <a:lnTo>
                  <a:pt x="192185" y="875859"/>
                </a:lnTo>
                <a:cubicBezTo>
                  <a:pt x="164073" y="875859"/>
                  <a:pt x="141284" y="853070"/>
                  <a:pt x="141284" y="824958"/>
                </a:cubicBezTo>
                <a:lnTo>
                  <a:pt x="141284" y="532518"/>
                </a:lnTo>
                <a:lnTo>
                  <a:pt x="25239" y="532518"/>
                </a:lnTo>
                <a:cubicBezTo>
                  <a:pt x="10671" y="532518"/>
                  <a:pt x="211" y="520683"/>
                  <a:pt x="3" y="507677"/>
                </a:cubicBezTo>
                <a:close/>
              </a:path>
            </a:pathLst>
          </a:custGeom>
          <a:gradFill flip="none" rotWithShape="1">
            <a:gsLst>
              <a:gs pos="30000">
                <a:schemeClr val="accent1"/>
              </a:gs>
              <a:gs pos="100000">
                <a:schemeClr val="accent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61" name="稿定PPT-1-1">
            <a:extLst>
              <a:ext uri="{FF2B5EF4-FFF2-40B4-BE49-F238E27FC236}">
                <a16:creationId xmlns:a16="http://schemas.microsoft.com/office/drawing/2014/main" id="{519320E4-2C3C-4F68-8A2C-BCD47D86F314}"/>
              </a:ext>
            </a:extLst>
          </p:cNvPr>
          <p:cNvSpPr txBox="1"/>
          <p:nvPr/>
        </p:nvSpPr>
        <p:spPr>
          <a:xfrm>
            <a:off x="905270" y="403388"/>
            <a:ext cx="3437711" cy="58192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设计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PPT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，海量素材持续更新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锐字云字库大标宋GB"/>
              <a:ea typeface="+mj-ea"/>
              <a:cs typeface="+mn-cs"/>
            </a:endParaRPr>
          </a:p>
        </p:txBody>
      </p:sp>
      <p:sp>
        <p:nvSpPr>
          <p:cNvPr id="63" name="稿定PPT-1-2">
            <a:extLst>
              <a:ext uri="{FF2B5EF4-FFF2-40B4-BE49-F238E27FC236}">
                <a16:creationId xmlns:a16="http://schemas.microsoft.com/office/drawing/2014/main" id="{A3CE5235-B4DF-4704-80F0-714762D6475A}"/>
              </a:ext>
            </a:extLst>
          </p:cNvPr>
          <p:cNvSpPr txBox="1"/>
          <p:nvPr/>
        </p:nvSpPr>
        <p:spPr>
          <a:xfrm>
            <a:off x="971596" y="663677"/>
            <a:ext cx="4764270" cy="58192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64" name="任意多边形: 形状 1">
            <a:extLst>
              <a:ext uri="{FF2B5EF4-FFF2-40B4-BE49-F238E27FC236}">
                <a16:creationId xmlns:a16="http://schemas.microsoft.com/office/drawing/2014/main" id="{5656A3C6-D0D9-4DE0-B9AA-15BB77833963}"/>
              </a:ext>
            </a:extLst>
          </p:cNvPr>
          <p:cNvSpPr/>
          <p:nvPr/>
        </p:nvSpPr>
        <p:spPr>
          <a:xfrm rot="18900000" flipH="1">
            <a:off x="554242" y="589078"/>
            <a:ext cx="179144" cy="179144"/>
          </a:xfrm>
          <a:custGeom>
            <a:avLst/>
            <a:gdLst>
              <a:gd name="connsiteX0" fmla="*/ 15024 w 307777"/>
              <a:gd name="connsiteY0" fmla="*/ 15024 h 307777"/>
              <a:gd name="connsiteX1" fmla="*/ 51297 w 307777"/>
              <a:gd name="connsiteY1" fmla="*/ 0 h 307777"/>
              <a:gd name="connsiteX2" fmla="*/ 256480 w 307777"/>
              <a:gd name="connsiteY2" fmla="*/ 0 h 307777"/>
              <a:gd name="connsiteX3" fmla="*/ 307777 w 307777"/>
              <a:gd name="connsiteY3" fmla="*/ 51297 h 307777"/>
              <a:gd name="connsiteX4" fmla="*/ 307777 w 307777"/>
              <a:gd name="connsiteY4" fmla="*/ 106137 h 307777"/>
              <a:gd name="connsiteX5" fmla="*/ 303328 w 307777"/>
              <a:gd name="connsiteY5" fmla="*/ 104294 h 307777"/>
              <a:gd name="connsiteX6" fmla="*/ 144101 w 307777"/>
              <a:gd name="connsiteY6" fmla="*/ 104294 h 307777"/>
              <a:gd name="connsiteX7" fmla="*/ 104293 w 307777"/>
              <a:gd name="connsiteY7" fmla="*/ 144102 h 307777"/>
              <a:gd name="connsiteX8" fmla="*/ 104294 w 307777"/>
              <a:gd name="connsiteY8" fmla="*/ 303328 h 307777"/>
              <a:gd name="connsiteX9" fmla="*/ 106136 w 307777"/>
              <a:gd name="connsiteY9" fmla="*/ 307777 h 307777"/>
              <a:gd name="connsiteX10" fmla="*/ 51297 w 307777"/>
              <a:gd name="connsiteY10" fmla="*/ 307777 h 307777"/>
              <a:gd name="connsiteX11" fmla="*/ 0 w 307777"/>
              <a:gd name="connsiteY11" fmla="*/ 256480 h 307777"/>
              <a:gd name="connsiteX12" fmla="*/ 0 w 307777"/>
              <a:gd name="connsiteY12" fmla="*/ 51297 h 307777"/>
              <a:gd name="connsiteX13" fmla="*/ 15024 w 307777"/>
              <a:gd name="connsiteY13" fmla="*/ 15024 h 307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7777" h="307777">
                <a:moveTo>
                  <a:pt x="15024" y="15024"/>
                </a:moveTo>
                <a:cubicBezTo>
                  <a:pt x="24307" y="5741"/>
                  <a:pt x="37132" y="0"/>
                  <a:pt x="51297" y="0"/>
                </a:cubicBezTo>
                <a:lnTo>
                  <a:pt x="256480" y="0"/>
                </a:lnTo>
                <a:cubicBezTo>
                  <a:pt x="284811" y="0"/>
                  <a:pt x="307777" y="22966"/>
                  <a:pt x="307777" y="51297"/>
                </a:cubicBezTo>
                <a:lnTo>
                  <a:pt x="307777" y="106137"/>
                </a:lnTo>
                <a:lnTo>
                  <a:pt x="303328" y="104294"/>
                </a:lnTo>
                <a:lnTo>
                  <a:pt x="144101" y="104294"/>
                </a:lnTo>
                <a:cubicBezTo>
                  <a:pt x="122117" y="104294"/>
                  <a:pt x="104294" y="122117"/>
                  <a:pt x="104293" y="144102"/>
                </a:cubicBezTo>
                <a:lnTo>
                  <a:pt x="104294" y="303328"/>
                </a:lnTo>
                <a:lnTo>
                  <a:pt x="106136" y="307777"/>
                </a:lnTo>
                <a:lnTo>
                  <a:pt x="51297" y="307777"/>
                </a:lnTo>
                <a:cubicBezTo>
                  <a:pt x="22966" y="307777"/>
                  <a:pt x="0" y="284811"/>
                  <a:pt x="0" y="256480"/>
                </a:cubicBezTo>
                <a:lnTo>
                  <a:pt x="0" y="51297"/>
                </a:lnTo>
                <a:cubicBezTo>
                  <a:pt x="0" y="37132"/>
                  <a:pt x="5741" y="24307"/>
                  <a:pt x="15024" y="15024"/>
                </a:cubicBez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66" name="任意多边形: 形状 2">
            <a:extLst>
              <a:ext uri="{FF2B5EF4-FFF2-40B4-BE49-F238E27FC236}">
                <a16:creationId xmlns:a16="http://schemas.microsoft.com/office/drawing/2014/main" id="{455A7B3F-FA9D-4BB2-80CD-878F2D15468C}"/>
              </a:ext>
            </a:extLst>
          </p:cNvPr>
          <p:cNvSpPr/>
          <p:nvPr/>
        </p:nvSpPr>
        <p:spPr>
          <a:xfrm rot="2700000" flipH="1" flipV="1">
            <a:off x="481675" y="620480"/>
            <a:ext cx="179144" cy="179144"/>
          </a:xfrm>
          <a:custGeom>
            <a:avLst/>
            <a:gdLst>
              <a:gd name="connsiteX0" fmla="*/ 15024 w 307777"/>
              <a:gd name="connsiteY0" fmla="*/ 15024 h 307777"/>
              <a:gd name="connsiteX1" fmla="*/ 51297 w 307777"/>
              <a:gd name="connsiteY1" fmla="*/ 0 h 307777"/>
              <a:gd name="connsiteX2" fmla="*/ 256480 w 307777"/>
              <a:gd name="connsiteY2" fmla="*/ 0 h 307777"/>
              <a:gd name="connsiteX3" fmla="*/ 307777 w 307777"/>
              <a:gd name="connsiteY3" fmla="*/ 51297 h 307777"/>
              <a:gd name="connsiteX4" fmla="*/ 307777 w 307777"/>
              <a:gd name="connsiteY4" fmla="*/ 106137 h 307777"/>
              <a:gd name="connsiteX5" fmla="*/ 303328 w 307777"/>
              <a:gd name="connsiteY5" fmla="*/ 104294 h 307777"/>
              <a:gd name="connsiteX6" fmla="*/ 144101 w 307777"/>
              <a:gd name="connsiteY6" fmla="*/ 104294 h 307777"/>
              <a:gd name="connsiteX7" fmla="*/ 104293 w 307777"/>
              <a:gd name="connsiteY7" fmla="*/ 144102 h 307777"/>
              <a:gd name="connsiteX8" fmla="*/ 104294 w 307777"/>
              <a:gd name="connsiteY8" fmla="*/ 303328 h 307777"/>
              <a:gd name="connsiteX9" fmla="*/ 106136 w 307777"/>
              <a:gd name="connsiteY9" fmla="*/ 307777 h 307777"/>
              <a:gd name="connsiteX10" fmla="*/ 51297 w 307777"/>
              <a:gd name="connsiteY10" fmla="*/ 307777 h 307777"/>
              <a:gd name="connsiteX11" fmla="*/ 0 w 307777"/>
              <a:gd name="connsiteY11" fmla="*/ 256480 h 307777"/>
              <a:gd name="connsiteX12" fmla="*/ 0 w 307777"/>
              <a:gd name="connsiteY12" fmla="*/ 51297 h 307777"/>
              <a:gd name="connsiteX13" fmla="*/ 15024 w 307777"/>
              <a:gd name="connsiteY13" fmla="*/ 15024 h 307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7777" h="307777">
                <a:moveTo>
                  <a:pt x="15024" y="15024"/>
                </a:moveTo>
                <a:cubicBezTo>
                  <a:pt x="24307" y="5741"/>
                  <a:pt x="37132" y="0"/>
                  <a:pt x="51297" y="0"/>
                </a:cubicBezTo>
                <a:lnTo>
                  <a:pt x="256480" y="0"/>
                </a:lnTo>
                <a:cubicBezTo>
                  <a:pt x="284811" y="0"/>
                  <a:pt x="307777" y="22966"/>
                  <a:pt x="307777" y="51297"/>
                </a:cubicBezTo>
                <a:lnTo>
                  <a:pt x="307777" y="106137"/>
                </a:lnTo>
                <a:lnTo>
                  <a:pt x="303328" y="104294"/>
                </a:lnTo>
                <a:lnTo>
                  <a:pt x="144101" y="104294"/>
                </a:lnTo>
                <a:cubicBezTo>
                  <a:pt x="122117" y="104294"/>
                  <a:pt x="104294" y="122117"/>
                  <a:pt x="104293" y="144102"/>
                </a:cubicBezTo>
                <a:lnTo>
                  <a:pt x="104294" y="303328"/>
                </a:lnTo>
                <a:lnTo>
                  <a:pt x="106136" y="307777"/>
                </a:lnTo>
                <a:lnTo>
                  <a:pt x="51297" y="307777"/>
                </a:lnTo>
                <a:cubicBezTo>
                  <a:pt x="22966" y="307777"/>
                  <a:pt x="0" y="284811"/>
                  <a:pt x="0" y="256480"/>
                </a:cubicBezTo>
                <a:lnTo>
                  <a:pt x="0" y="51297"/>
                </a:lnTo>
                <a:cubicBezTo>
                  <a:pt x="0" y="37132"/>
                  <a:pt x="5741" y="24307"/>
                  <a:pt x="15024" y="1502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840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aoding-1">
            <a:extLst>
              <a:ext uri="{FF2B5EF4-FFF2-40B4-BE49-F238E27FC236}">
                <a16:creationId xmlns:a16="http://schemas.microsoft.com/office/drawing/2014/main" id="{CB11E966-F6F6-407C-9E73-A62C3CA11A1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93" t="43590" b="15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gaoding-2">
            <a:extLst>
              <a:ext uri="{FF2B5EF4-FFF2-40B4-BE49-F238E27FC236}">
                <a16:creationId xmlns:a16="http://schemas.microsoft.com/office/drawing/2014/main" id="{8D534897-F17D-46E6-B1A8-C7AABE8D214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chemeClr val="accent2">
                  <a:alpha val="43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" name="gaoding-3">
            <a:extLst>
              <a:ext uri="{FF2B5EF4-FFF2-40B4-BE49-F238E27FC236}">
                <a16:creationId xmlns:a16="http://schemas.microsoft.com/office/drawing/2014/main" id="{366CD1FD-A847-4031-A7AD-BC431FBAC042}"/>
              </a:ext>
            </a:extLst>
          </p:cNvPr>
          <p:cNvSpPr/>
          <p:nvPr/>
        </p:nvSpPr>
        <p:spPr>
          <a:xfrm>
            <a:off x="781086" y="1872349"/>
            <a:ext cx="10608274" cy="2964948"/>
          </a:xfrm>
          <a:prstGeom prst="roundRect">
            <a:avLst>
              <a:gd name="adj" fmla="val 5338"/>
            </a:avLst>
          </a:prstGeom>
          <a:solidFill>
            <a:schemeClr val="bg1">
              <a:alpha val="80000"/>
            </a:schemeClr>
          </a:solidFill>
          <a:ln w="25400">
            <a:gradFill>
              <a:gsLst>
                <a:gs pos="0">
                  <a:schemeClr val="accent1">
                    <a:lumMod val="84000"/>
                    <a:lumOff val="16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2254F4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0" name="gaoding-4">
            <a:extLst>
              <a:ext uri="{FF2B5EF4-FFF2-40B4-BE49-F238E27FC236}">
                <a16:creationId xmlns:a16="http://schemas.microsoft.com/office/drawing/2014/main" id="{92C2C817-AA7C-41CB-A506-1396D17F23A8}"/>
              </a:ext>
            </a:extLst>
          </p:cNvPr>
          <p:cNvSpPr txBox="1"/>
          <p:nvPr/>
        </p:nvSpPr>
        <p:spPr>
          <a:xfrm>
            <a:off x="2845208" y="2949978"/>
            <a:ext cx="1228952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>
                <a:outerShdw blurRad="25400" dist="25400" dir="2700000" algn="tl">
                  <a:srgbClr val="000000">
                    <a:alpha val="20000"/>
                  </a:srgbClr>
                </a:outerShdw>
              </a:effectLst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1" name="gaoding-5">
            <a:extLst>
              <a:ext uri="{FF2B5EF4-FFF2-40B4-BE49-F238E27FC236}">
                <a16:creationId xmlns:a16="http://schemas.microsoft.com/office/drawing/2014/main" id="{B38D643B-C822-46F6-9871-AD1E3596876B}"/>
              </a:ext>
            </a:extLst>
          </p:cNvPr>
          <p:cNvSpPr txBox="1"/>
          <p:nvPr/>
        </p:nvSpPr>
        <p:spPr>
          <a:xfrm>
            <a:off x="2822344" y="2698778"/>
            <a:ext cx="1144010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1" i="0" u="none" strike="noStrike" kern="100" cap="none" spc="0" normalizeH="0" baseline="0" noProof="0" dirty="0">
                <a:ln>
                  <a:noFill/>
                </a:ln>
                <a:solidFill>
                  <a:srgbClr val="795FE5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78K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795FE5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6" name="gaoding-6">
            <a:extLst>
              <a:ext uri="{FF2B5EF4-FFF2-40B4-BE49-F238E27FC236}">
                <a16:creationId xmlns:a16="http://schemas.microsoft.com/office/drawing/2014/main" id="{052114F4-6F01-4057-A3E3-355530A3B6A6}"/>
              </a:ext>
            </a:extLst>
          </p:cNvPr>
          <p:cNvSpPr/>
          <p:nvPr/>
        </p:nvSpPr>
        <p:spPr>
          <a:xfrm>
            <a:off x="2720622" y="1705483"/>
            <a:ext cx="6750756" cy="368225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7" name="gaoding-7">
            <a:extLst>
              <a:ext uri="{FF2B5EF4-FFF2-40B4-BE49-F238E27FC236}">
                <a16:creationId xmlns:a16="http://schemas.microsoft.com/office/drawing/2014/main" id="{5BE60E81-6A90-4683-8035-7E19A472C76D}"/>
              </a:ext>
            </a:extLst>
          </p:cNvPr>
          <p:cNvSpPr/>
          <p:nvPr/>
        </p:nvSpPr>
        <p:spPr>
          <a:xfrm>
            <a:off x="3492121" y="1771143"/>
            <a:ext cx="520775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26" name="gaoding-8">
            <a:extLst>
              <a:ext uri="{FF2B5EF4-FFF2-40B4-BE49-F238E27FC236}">
                <a16:creationId xmlns:a16="http://schemas.microsoft.com/office/drawing/2014/main" id="{E5BCF269-8172-4418-9CD5-366EAA70BE9C}"/>
              </a:ext>
            </a:extLst>
          </p:cNvPr>
          <p:cNvSpPr>
            <a:spLocks noChangeAspect="1"/>
          </p:cNvSpPr>
          <p:nvPr/>
        </p:nvSpPr>
        <p:spPr bwMode="auto">
          <a:xfrm>
            <a:off x="1952835" y="2769380"/>
            <a:ext cx="794309" cy="763142"/>
          </a:xfrm>
          <a:custGeom>
            <a:avLst/>
            <a:gdLst>
              <a:gd name="connsiteX0" fmla="*/ 180022 w 465963"/>
              <a:gd name="connsiteY0" fmla="*/ 223654 h 447682"/>
              <a:gd name="connsiteX1" fmla="*/ 195071 w 465963"/>
              <a:gd name="connsiteY1" fmla="*/ 223654 h 447682"/>
              <a:gd name="connsiteX2" fmla="*/ 225456 w 465963"/>
              <a:gd name="connsiteY2" fmla="*/ 250610 h 447682"/>
              <a:gd name="connsiteX3" fmla="*/ 202786 w 465963"/>
              <a:gd name="connsiteY3" fmla="*/ 279566 h 447682"/>
              <a:gd name="connsiteX4" fmla="*/ 180022 w 465963"/>
              <a:gd name="connsiteY4" fmla="*/ 279566 h 447682"/>
              <a:gd name="connsiteX5" fmla="*/ 123444 w 465963"/>
              <a:gd name="connsiteY5" fmla="*/ 183554 h 447682"/>
              <a:gd name="connsiteX6" fmla="*/ 123444 w 465963"/>
              <a:gd name="connsiteY6" fmla="*/ 384245 h 447682"/>
              <a:gd name="connsiteX7" fmla="*/ 180023 w 465963"/>
              <a:gd name="connsiteY7" fmla="*/ 384245 h 447682"/>
              <a:gd name="connsiteX8" fmla="*/ 180023 w 465963"/>
              <a:gd name="connsiteY8" fmla="*/ 319856 h 447682"/>
              <a:gd name="connsiteX9" fmla="*/ 208122 w 465963"/>
              <a:gd name="connsiteY9" fmla="*/ 319856 h 447682"/>
              <a:gd name="connsiteX10" fmla="*/ 246222 w 465963"/>
              <a:gd name="connsiteY10" fmla="*/ 310331 h 447682"/>
              <a:gd name="connsiteX11" fmla="*/ 270987 w 465963"/>
              <a:gd name="connsiteY11" fmla="*/ 285090 h 447682"/>
              <a:gd name="connsiteX12" fmla="*/ 279178 w 465963"/>
              <a:gd name="connsiteY12" fmla="*/ 252229 h 447682"/>
              <a:gd name="connsiteX13" fmla="*/ 270606 w 465963"/>
              <a:gd name="connsiteY13" fmla="*/ 218606 h 447682"/>
              <a:gd name="connsiteX14" fmla="*/ 245840 w 465963"/>
              <a:gd name="connsiteY14" fmla="*/ 193460 h 447682"/>
              <a:gd name="connsiteX15" fmla="*/ 245840 w 465963"/>
              <a:gd name="connsiteY15" fmla="*/ 193555 h 447682"/>
              <a:gd name="connsiteX16" fmla="*/ 205645 w 465963"/>
              <a:gd name="connsiteY16" fmla="*/ 183554 h 447682"/>
              <a:gd name="connsiteX17" fmla="*/ 0 w 465963"/>
              <a:gd name="connsiteY17" fmla="*/ 76207 h 447682"/>
              <a:gd name="connsiteX18" fmla="*/ 194024 w 465963"/>
              <a:gd name="connsiteY18" fmla="*/ 76207 h 447682"/>
              <a:gd name="connsiteX19" fmla="*/ 204692 w 465963"/>
              <a:gd name="connsiteY19" fmla="*/ 120022 h 447682"/>
              <a:gd name="connsiteX20" fmla="*/ 366617 w 465963"/>
              <a:gd name="connsiteY20" fmla="*/ 120022 h 447682"/>
              <a:gd name="connsiteX21" fmla="*/ 366617 w 465963"/>
              <a:gd name="connsiteY21" fmla="*/ 447682 h 447682"/>
              <a:gd name="connsiteX22" fmla="*/ 0 w 465963"/>
              <a:gd name="connsiteY22" fmla="*/ 447682 h 447682"/>
              <a:gd name="connsiteX23" fmla="*/ 108013 w 465963"/>
              <a:gd name="connsiteY23" fmla="*/ 0 h 447682"/>
              <a:gd name="connsiteX24" fmla="*/ 465963 w 465963"/>
              <a:gd name="connsiteY24" fmla="*/ 80010 h 447682"/>
              <a:gd name="connsiteX25" fmla="*/ 396335 w 465963"/>
              <a:gd name="connsiteY25" fmla="*/ 400050 h 447682"/>
              <a:gd name="connsiteX26" fmla="*/ 383476 w 465963"/>
              <a:gd name="connsiteY26" fmla="*/ 397193 h 447682"/>
              <a:gd name="connsiteX27" fmla="*/ 383476 w 465963"/>
              <a:gd name="connsiteY27" fmla="*/ 101727 h 447682"/>
              <a:gd name="connsiteX28" fmla="*/ 221170 w 465963"/>
              <a:gd name="connsiteY28" fmla="*/ 101727 h 447682"/>
              <a:gd name="connsiteX29" fmla="*/ 210978 w 465963"/>
              <a:gd name="connsiteY29" fmla="*/ 58007 h 447682"/>
              <a:gd name="connsiteX30" fmla="*/ 95345 w 465963"/>
              <a:gd name="connsiteY30" fmla="*/ 58007 h 44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465963" h="447682">
                <a:moveTo>
                  <a:pt x="180022" y="223654"/>
                </a:moveTo>
                <a:lnTo>
                  <a:pt x="195071" y="223654"/>
                </a:lnTo>
                <a:cubicBezTo>
                  <a:pt x="214503" y="224225"/>
                  <a:pt x="224694" y="233179"/>
                  <a:pt x="225456" y="250610"/>
                </a:cubicBezTo>
                <a:cubicBezTo>
                  <a:pt x="225361" y="268898"/>
                  <a:pt x="217741" y="278613"/>
                  <a:pt x="202786" y="279566"/>
                </a:cubicBezTo>
                <a:lnTo>
                  <a:pt x="180022" y="279566"/>
                </a:lnTo>
                <a:close/>
                <a:moveTo>
                  <a:pt x="123444" y="183554"/>
                </a:moveTo>
                <a:lnTo>
                  <a:pt x="123444" y="384245"/>
                </a:lnTo>
                <a:lnTo>
                  <a:pt x="180023" y="384245"/>
                </a:lnTo>
                <a:lnTo>
                  <a:pt x="180023" y="319856"/>
                </a:lnTo>
                <a:lnTo>
                  <a:pt x="208122" y="319856"/>
                </a:lnTo>
                <a:cubicBezTo>
                  <a:pt x="221437" y="320066"/>
                  <a:pt x="234572" y="316780"/>
                  <a:pt x="246222" y="310331"/>
                </a:cubicBezTo>
                <a:cubicBezTo>
                  <a:pt x="256718" y="304455"/>
                  <a:pt x="265310" y="295692"/>
                  <a:pt x="270987" y="285090"/>
                </a:cubicBezTo>
                <a:cubicBezTo>
                  <a:pt x="276435" y="274994"/>
                  <a:pt x="279254" y="263697"/>
                  <a:pt x="279178" y="252229"/>
                </a:cubicBezTo>
                <a:cubicBezTo>
                  <a:pt x="279245" y="240475"/>
                  <a:pt x="276292" y="228893"/>
                  <a:pt x="270606" y="218606"/>
                </a:cubicBezTo>
                <a:cubicBezTo>
                  <a:pt x="264786" y="208128"/>
                  <a:pt x="256223" y="199441"/>
                  <a:pt x="245840" y="193460"/>
                </a:cubicBezTo>
                <a:lnTo>
                  <a:pt x="245840" y="193555"/>
                </a:lnTo>
                <a:cubicBezTo>
                  <a:pt x="233534" y="186792"/>
                  <a:pt x="219685" y="183344"/>
                  <a:pt x="205645" y="183554"/>
                </a:cubicBezTo>
                <a:close/>
                <a:moveTo>
                  <a:pt x="0" y="76207"/>
                </a:moveTo>
                <a:lnTo>
                  <a:pt x="194024" y="76207"/>
                </a:lnTo>
                <a:lnTo>
                  <a:pt x="204692" y="120022"/>
                </a:lnTo>
                <a:lnTo>
                  <a:pt x="366617" y="120022"/>
                </a:lnTo>
                <a:lnTo>
                  <a:pt x="366617" y="447682"/>
                </a:lnTo>
                <a:lnTo>
                  <a:pt x="0" y="447682"/>
                </a:lnTo>
                <a:close/>
                <a:moveTo>
                  <a:pt x="108013" y="0"/>
                </a:moveTo>
                <a:lnTo>
                  <a:pt x="465963" y="80010"/>
                </a:lnTo>
                <a:lnTo>
                  <a:pt x="396335" y="400050"/>
                </a:lnTo>
                <a:lnTo>
                  <a:pt x="383476" y="397193"/>
                </a:lnTo>
                <a:lnTo>
                  <a:pt x="383476" y="101727"/>
                </a:lnTo>
                <a:lnTo>
                  <a:pt x="221170" y="101727"/>
                </a:lnTo>
                <a:lnTo>
                  <a:pt x="210978" y="58007"/>
                </a:lnTo>
                <a:lnTo>
                  <a:pt x="95345" y="5800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5" name="gaoding-9">
            <a:extLst>
              <a:ext uri="{FF2B5EF4-FFF2-40B4-BE49-F238E27FC236}">
                <a16:creationId xmlns:a16="http://schemas.microsoft.com/office/drawing/2014/main" id="{70AD182E-F401-40F6-9DC4-D894866D35E7}"/>
              </a:ext>
            </a:extLst>
          </p:cNvPr>
          <p:cNvSpPr txBox="1">
            <a:spLocks/>
          </p:cNvSpPr>
          <p:nvPr/>
        </p:nvSpPr>
        <p:spPr>
          <a:xfrm>
            <a:off x="2233966" y="4805933"/>
            <a:ext cx="7702514" cy="140589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设计是一个聚焦商业设计的多场景在线设计平台，我们打破了软硬件间的技术限制，汇集创意内容与设计工具于一体，为不同场景下的设计需求提供优质的解决方案。通过“拖、拉、拽”等操作即可轻松实现创意，根据不同场景不同尺寸，创建海量优质模板素材，满足中小型企业、自媒体、学生、电商运营、个体经营者的图片及视频模板设计需求，让设计更简单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7" name="gaoding-10">
            <a:extLst>
              <a:ext uri="{FF2B5EF4-FFF2-40B4-BE49-F238E27FC236}">
                <a16:creationId xmlns:a16="http://schemas.microsoft.com/office/drawing/2014/main" id="{F1448350-0755-46C4-BEC4-D1C3F1644B89}"/>
              </a:ext>
            </a:extLst>
          </p:cNvPr>
          <p:cNvSpPr txBox="1"/>
          <p:nvPr/>
        </p:nvSpPr>
        <p:spPr>
          <a:xfrm>
            <a:off x="5969204" y="2949978"/>
            <a:ext cx="1228952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>
                <a:outerShdw blurRad="25400" dist="25400" dir="2700000" algn="tl">
                  <a:srgbClr val="000000">
                    <a:alpha val="20000"/>
                  </a:srgbClr>
                </a:outerShdw>
              </a:effectLst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8" name="gaoding-11">
            <a:extLst>
              <a:ext uri="{FF2B5EF4-FFF2-40B4-BE49-F238E27FC236}">
                <a16:creationId xmlns:a16="http://schemas.microsoft.com/office/drawing/2014/main" id="{74C546DF-C208-4DA1-B926-B14774773ACA}"/>
              </a:ext>
            </a:extLst>
          </p:cNvPr>
          <p:cNvSpPr txBox="1"/>
          <p:nvPr/>
        </p:nvSpPr>
        <p:spPr>
          <a:xfrm>
            <a:off x="5946339" y="2698778"/>
            <a:ext cx="1184274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1" i="0" u="none" strike="noStrike" kern="100" cap="none" spc="0" normalizeH="0" baseline="0" noProof="0" dirty="0">
                <a:ln>
                  <a:noFill/>
                </a:ln>
                <a:solidFill>
                  <a:srgbClr val="795FE5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88K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795FE5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7" name="gaoding-12">
            <a:extLst>
              <a:ext uri="{FF2B5EF4-FFF2-40B4-BE49-F238E27FC236}">
                <a16:creationId xmlns:a16="http://schemas.microsoft.com/office/drawing/2014/main" id="{73E32A33-8A5B-41D2-AF38-177A04A63A93}"/>
              </a:ext>
            </a:extLst>
          </p:cNvPr>
          <p:cNvSpPr>
            <a:spLocks noChangeAspect="1"/>
          </p:cNvSpPr>
          <p:nvPr/>
        </p:nvSpPr>
        <p:spPr bwMode="auto">
          <a:xfrm>
            <a:off x="5100486" y="2785230"/>
            <a:ext cx="747000" cy="731444"/>
          </a:xfrm>
          <a:custGeom>
            <a:avLst/>
            <a:gdLst>
              <a:gd name="connsiteX0" fmla="*/ 126968 w 457200"/>
              <a:gd name="connsiteY0" fmla="*/ 364242 h 447681"/>
              <a:gd name="connsiteX1" fmla="*/ 126968 w 457200"/>
              <a:gd name="connsiteY1" fmla="*/ 389293 h 447681"/>
              <a:gd name="connsiteX2" fmla="*/ 254031 w 457200"/>
              <a:gd name="connsiteY2" fmla="*/ 389293 h 447681"/>
              <a:gd name="connsiteX3" fmla="*/ 254031 w 457200"/>
              <a:gd name="connsiteY3" fmla="*/ 364242 h 447681"/>
              <a:gd name="connsiteX4" fmla="*/ 126968 w 457200"/>
              <a:gd name="connsiteY4" fmla="*/ 301663 h 447681"/>
              <a:gd name="connsiteX5" fmla="*/ 126968 w 457200"/>
              <a:gd name="connsiteY5" fmla="*/ 326714 h 447681"/>
              <a:gd name="connsiteX6" fmla="*/ 330231 w 457200"/>
              <a:gd name="connsiteY6" fmla="*/ 326714 h 447681"/>
              <a:gd name="connsiteX7" fmla="*/ 330231 w 457200"/>
              <a:gd name="connsiteY7" fmla="*/ 301663 h 447681"/>
              <a:gd name="connsiteX8" fmla="*/ 88868 w 457200"/>
              <a:gd name="connsiteY8" fmla="*/ 243275 h 447681"/>
              <a:gd name="connsiteX9" fmla="*/ 368331 w 457200"/>
              <a:gd name="connsiteY9" fmla="*/ 243275 h 447681"/>
              <a:gd name="connsiteX10" fmla="*/ 368331 w 457200"/>
              <a:gd name="connsiteY10" fmla="*/ 447681 h 447681"/>
              <a:gd name="connsiteX11" fmla="*/ 88868 w 457200"/>
              <a:gd name="connsiteY11" fmla="*/ 447681 h 447681"/>
              <a:gd name="connsiteX12" fmla="*/ 29337 w 457200"/>
              <a:gd name="connsiteY12" fmla="*/ 97733 h 447681"/>
              <a:gd name="connsiteX13" fmla="*/ 29337 w 457200"/>
              <a:gd name="connsiteY13" fmla="*/ 116783 h 447681"/>
              <a:gd name="connsiteX14" fmla="*/ 47625 w 457200"/>
              <a:gd name="connsiteY14" fmla="*/ 116783 h 447681"/>
              <a:gd name="connsiteX15" fmla="*/ 47625 w 457200"/>
              <a:gd name="connsiteY15" fmla="*/ 97733 h 447681"/>
              <a:gd name="connsiteX16" fmla="*/ 0 w 457200"/>
              <a:gd name="connsiteY16" fmla="*/ 68110 h 447681"/>
              <a:gd name="connsiteX17" fmla="*/ 457200 w 457200"/>
              <a:gd name="connsiteY17" fmla="*/ 68110 h 447681"/>
              <a:gd name="connsiteX18" fmla="*/ 457200 w 457200"/>
              <a:gd name="connsiteY18" fmla="*/ 311474 h 447681"/>
              <a:gd name="connsiteX19" fmla="*/ 385191 w 457200"/>
              <a:gd name="connsiteY19" fmla="*/ 311474 h 447681"/>
              <a:gd name="connsiteX20" fmla="*/ 385191 w 457200"/>
              <a:gd name="connsiteY20" fmla="*/ 214128 h 447681"/>
              <a:gd name="connsiteX21" fmla="*/ 72009 w 457200"/>
              <a:gd name="connsiteY21" fmla="*/ 214128 h 447681"/>
              <a:gd name="connsiteX22" fmla="*/ 72009 w 457200"/>
              <a:gd name="connsiteY22" fmla="*/ 311474 h 447681"/>
              <a:gd name="connsiteX23" fmla="*/ 0 w 457200"/>
              <a:gd name="connsiteY23" fmla="*/ 311474 h 447681"/>
              <a:gd name="connsiteX24" fmla="*/ 83534 w 457200"/>
              <a:gd name="connsiteY24" fmla="*/ 0 h 447681"/>
              <a:gd name="connsiteX25" fmla="*/ 371379 w 457200"/>
              <a:gd name="connsiteY25" fmla="*/ 0 h 447681"/>
              <a:gd name="connsiteX26" fmla="*/ 371379 w 457200"/>
              <a:gd name="connsiteY26" fmla="*/ 48673 h 447681"/>
              <a:gd name="connsiteX27" fmla="*/ 83534 w 457200"/>
              <a:gd name="connsiteY27" fmla="*/ 48673 h 44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57200" h="447681">
                <a:moveTo>
                  <a:pt x="126968" y="364242"/>
                </a:moveTo>
                <a:lnTo>
                  <a:pt x="126968" y="389293"/>
                </a:lnTo>
                <a:lnTo>
                  <a:pt x="254031" y="389293"/>
                </a:lnTo>
                <a:lnTo>
                  <a:pt x="254031" y="364242"/>
                </a:lnTo>
                <a:close/>
                <a:moveTo>
                  <a:pt x="126968" y="301663"/>
                </a:moveTo>
                <a:lnTo>
                  <a:pt x="126968" y="326714"/>
                </a:lnTo>
                <a:lnTo>
                  <a:pt x="330231" y="326714"/>
                </a:lnTo>
                <a:lnTo>
                  <a:pt x="330231" y="301663"/>
                </a:lnTo>
                <a:close/>
                <a:moveTo>
                  <a:pt x="88868" y="243275"/>
                </a:moveTo>
                <a:lnTo>
                  <a:pt x="368331" y="243275"/>
                </a:lnTo>
                <a:lnTo>
                  <a:pt x="368331" y="447681"/>
                </a:lnTo>
                <a:lnTo>
                  <a:pt x="88868" y="447681"/>
                </a:lnTo>
                <a:close/>
                <a:moveTo>
                  <a:pt x="29337" y="97733"/>
                </a:moveTo>
                <a:lnTo>
                  <a:pt x="29337" y="116783"/>
                </a:lnTo>
                <a:lnTo>
                  <a:pt x="47625" y="116783"/>
                </a:lnTo>
                <a:lnTo>
                  <a:pt x="47625" y="97733"/>
                </a:lnTo>
                <a:close/>
                <a:moveTo>
                  <a:pt x="0" y="68110"/>
                </a:moveTo>
                <a:lnTo>
                  <a:pt x="457200" y="68110"/>
                </a:lnTo>
                <a:lnTo>
                  <a:pt x="457200" y="311474"/>
                </a:lnTo>
                <a:lnTo>
                  <a:pt x="385191" y="311474"/>
                </a:lnTo>
                <a:lnTo>
                  <a:pt x="385191" y="214128"/>
                </a:lnTo>
                <a:lnTo>
                  <a:pt x="72009" y="214128"/>
                </a:lnTo>
                <a:lnTo>
                  <a:pt x="72009" y="311474"/>
                </a:lnTo>
                <a:lnTo>
                  <a:pt x="0" y="311474"/>
                </a:lnTo>
                <a:close/>
                <a:moveTo>
                  <a:pt x="83534" y="0"/>
                </a:moveTo>
                <a:lnTo>
                  <a:pt x="371379" y="0"/>
                </a:lnTo>
                <a:lnTo>
                  <a:pt x="371379" y="48673"/>
                </a:lnTo>
                <a:lnTo>
                  <a:pt x="83534" y="4867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txBody>
          <a:bodyPr lIns="0" tIns="0" rIns="0" bIns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0" name="gaoding-13">
            <a:extLst>
              <a:ext uri="{FF2B5EF4-FFF2-40B4-BE49-F238E27FC236}">
                <a16:creationId xmlns:a16="http://schemas.microsoft.com/office/drawing/2014/main" id="{B5D26BAD-C94E-47C6-AD02-7C0111B7B11E}"/>
              </a:ext>
            </a:extLst>
          </p:cNvPr>
          <p:cNvSpPr txBox="1"/>
          <p:nvPr/>
        </p:nvSpPr>
        <p:spPr>
          <a:xfrm>
            <a:off x="9093200" y="2949978"/>
            <a:ext cx="1228952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>
                <a:outerShdw blurRad="25400" dist="25400" dir="2700000" algn="tl">
                  <a:srgbClr val="000000">
                    <a:alpha val="20000"/>
                  </a:srgbClr>
                </a:outerShdw>
              </a:effectLst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1" name="gaoding-14">
            <a:extLst>
              <a:ext uri="{FF2B5EF4-FFF2-40B4-BE49-F238E27FC236}">
                <a16:creationId xmlns:a16="http://schemas.microsoft.com/office/drawing/2014/main" id="{C0B3B2E7-73C9-487D-A3F4-13DE78987EEB}"/>
              </a:ext>
            </a:extLst>
          </p:cNvPr>
          <p:cNvSpPr txBox="1"/>
          <p:nvPr/>
        </p:nvSpPr>
        <p:spPr>
          <a:xfrm>
            <a:off x="9070336" y="2698778"/>
            <a:ext cx="1381764" cy="61555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1" i="0" u="none" strike="noStrike" kern="100" cap="none" spc="0" normalizeH="0" baseline="0" noProof="0" dirty="0">
                <a:ln>
                  <a:noFill/>
                </a:ln>
                <a:solidFill>
                  <a:srgbClr val="795FE5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90K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795FE5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6" name="gaoding-15">
            <a:extLst>
              <a:ext uri="{FF2B5EF4-FFF2-40B4-BE49-F238E27FC236}">
                <a16:creationId xmlns:a16="http://schemas.microsoft.com/office/drawing/2014/main" id="{C25541CA-3B38-4E9A-BC87-B37A929BED1B}"/>
              </a:ext>
            </a:extLst>
          </p:cNvPr>
          <p:cNvSpPr>
            <a:spLocks noChangeAspect="1"/>
          </p:cNvSpPr>
          <p:nvPr/>
        </p:nvSpPr>
        <p:spPr bwMode="auto">
          <a:xfrm>
            <a:off x="8232268" y="2777453"/>
            <a:ext cx="731428" cy="746998"/>
          </a:xfrm>
          <a:custGeom>
            <a:avLst/>
            <a:gdLst>
              <a:gd name="connsiteX0" fmla="*/ 219457 w 447675"/>
              <a:gd name="connsiteY0" fmla="*/ 129071 h 457207"/>
              <a:gd name="connsiteX1" fmla="*/ 133732 w 447675"/>
              <a:gd name="connsiteY1" fmla="*/ 212700 h 457207"/>
              <a:gd name="connsiteX2" fmla="*/ 62485 w 447675"/>
              <a:gd name="connsiteY2" fmla="*/ 212700 h 457207"/>
              <a:gd name="connsiteX3" fmla="*/ 62485 w 447675"/>
              <a:gd name="connsiteY3" fmla="*/ 249181 h 457207"/>
              <a:gd name="connsiteX4" fmla="*/ 149733 w 447675"/>
              <a:gd name="connsiteY4" fmla="*/ 249181 h 457207"/>
              <a:gd name="connsiteX5" fmla="*/ 219647 w 447675"/>
              <a:gd name="connsiteY5" fmla="*/ 180887 h 457207"/>
              <a:gd name="connsiteX6" fmla="*/ 287465 w 447675"/>
              <a:gd name="connsiteY6" fmla="*/ 245847 h 457207"/>
              <a:gd name="connsiteX7" fmla="*/ 385858 w 447675"/>
              <a:gd name="connsiteY7" fmla="*/ 245847 h 457207"/>
              <a:gd name="connsiteX8" fmla="*/ 385858 w 447675"/>
              <a:gd name="connsiteY8" fmla="*/ 209366 h 457207"/>
              <a:gd name="connsiteX9" fmla="*/ 303276 w 447675"/>
              <a:gd name="connsiteY9" fmla="*/ 209366 h 457207"/>
              <a:gd name="connsiteX10" fmla="*/ 0 w 447675"/>
              <a:gd name="connsiteY10" fmla="*/ 43822 h 457207"/>
              <a:gd name="connsiteX11" fmla="*/ 447675 w 447675"/>
              <a:gd name="connsiteY11" fmla="*/ 43822 h 457207"/>
              <a:gd name="connsiteX12" fmla="*/ 447675 w 447675"/>
              <a:gd name="connsiteY12" fmla="*/ 368815 h 457207"/>
              <a:gd name="connsiteX13" fmla="*/ 331375 w 447675"/>
              <a:gd name="connsiteY13" fmla="*/ 368815 h 457207"/>
              <a:gd name="connsiteX14" fmla="*/ 374904 w 447675"/>
              <a:gd name="connsiteY14" fmla="*/ 431299 h 457207"/>
              <a:gd name="connsiteX15" fmla="*/ 334232 w 447675"/>
              <a:gd name="connsiteY15" fmla="*/ 457207 h 457207"/>
              <a:gd name="connsiteX16" fmla="*/ 273178 w 447675"/>
              <a:gd name="connsiteY16" fmla="*/ 369577 h 457207"/>
              <a:gd name="connsiteX17" fmla="*/ 274416 w 447675"/>
              <a:gd name="connsiteY17" fmla="*/ 368815 h 457207"/>
              <a:gd name="connsiteX18" fmla="*/ 250127 w 447675"/>
              <a:gd name="connsiteY18" fmla="*/ 368815 h 457207"/>
              <a:gd name="connsiteX19" fmla="*/ 250127 w 447675"/>
              <a:gd name="connsiteY19" fmla="*/ 444253 h 457207"/>
              <a:gd name="connsiteX20" fmla="*/ 201263 w 447675"/>
              <a:gd name="connsiteY20" fmla="*/ 444253 h 457207"/>
              <a:gd name="connsiteX21" fmla="*/ 201263 w 447675"/>
              <a:gd name="connsiteY21" fmla="*/ 368815 h 457207"/>
              <a:gd name="connsiteX22" fmla="*/ 177070 w 447675"/>
              <a:gd name="connsiteY22" fmla="*/ 368815 h 457207"/>
              <a:gd name="connsiteX23" fmla="*/ 178213 w 447675"/>
              <a:gd name="connsiteY23" fmla="*/ 369577 h 457207"/>
              <a:gd name="connsiteX24" fmla="*/ 117158 w 447675"/>
              <a:gd name="connsiteY24" fmla="*/ 457207 h 457207"/>
              <a:gd name="connsiteX25" fmla="*/ 76582 w 447675"/>
              <a:gd name="connsiteY25" fmla="*/ 431204 h 457207"/>
              <a:gd name="connsiteX26" fmla="*/ 120015 w 447675"/>
              <a:gd name="connsiteY26" fmla="*/ 368815 h 457207"/>
              <a:gd name="connsiteX27" fmla="*/ 0 w 447675"/>
              <a:gd name="connsiteY27" fmla="*/ 368815 h 457207"/>
              <a:gd name="connsiteX28" fmla="*/ 100203 w 447675"/>
              <a:gd name="connsiteY28" fmla="*/ 0 h 457207"/>
              <a:gd name="connsiteX29" fmla="*/ 344996 w 447675"/>
              <a:gd name="connsiteY29" fmla="*/ 0 h 457207"/>
              <a:gd name="connsiteX30" fmla="*/ 344996 w 447675"/>
              <a:gd name="connsiteY30" fmla="*/ 33909 h 457207"/>
              <a:gd name="connsiteX31" fmla="*/ 100203 w 447675"/>
              <a:gd name="connsiteY31" fmla="*/ 33909 h 457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47675" h="457207">
                <a:moveTo>
                  <a:pt x="219457" y="129071"/>
                </a:moveTo>
                <a:lnTo>
                  <a:pt x="133732" y="212700"/>
                </a:lnTo>
                <a:lnTo>
                  <a:pt x="62485" y="212700"/>
                </a:lnTo>
                <a:lnTo>
                  <a:pt x="62485" y="249181"/>
                </a:lnTo>
                <a:lnTo>
                  <a:pt x="149733" y="249181"/>
                </a:lnTo>
                <a:lnTo>
                  <a:pt x="219647" y="180887"/>
                </a:lnTo>
                <a:lnTo>
                  <a:pt x="287465" y="245847"/>
                </a:lnTo>
                <a:lnTo>
                  <a:pt x="385858" y="245847"/>
                </a:lnTo>
                <a:lnTo>
                  <a:pt x="385858" y="209366"/>
                </a:lnTo>
                <a:lnTo>
                  <a:pt x="303276" y="209366"/>
                </a:lnTo>
                <a:close/>
                <a:moveTo>
                  <a:pt x="0" y="43822"/>
                </a:moveTo>
                <a:lnTo>
                  <a:pt x="447675" y="43822"/>
                </a:lnTo>
                <a:lnTo>
                  <a:pt x="447675" y="368815"/>
                </a:lnTo>
                <a:lnTo>
                  <a:pt x="331375" y="368815"/>
                </a:lnTo>
                <a:lnTo>
                  <a:pt x="374904" y="431299"/>
                </a:lnTo>
                <a:lnTo>
                  <a:pt x="334232" y="457207"/>
                </a:lnTo>
                <a:lnTo>
                  <a:pt x="273178" y="369577"/>
                </a:lnTo>
                <a:lnTo>
                  <a:pt x="274416" y="368815"/>
                </a:lnTo>
                <a:lnTo>
                  <a:pt x="250127" y="368815"/>
                </a:lnTo>
                <a:lnTo>
                  <a:pt x="250127" y="444253"/>
                </a:lnTo>
                <a:lnTo>
                  <a:pt x="201263" y="444253"/>
                </a:lnTo>
                <a:lnTo>
                  <a:pt x="201263" y="368815"/>
                </a:lnTo>
                <a:lnTo>
                  <a:pt x="177070" y="368815"/>
                </a:lnTo>
                <a:lnTo>
                  <a:pt x="178213" y="369577"/>
                </a:lnTo>
                <a:lnTo>
                  <a:pt x="117158" y="457207"/>
                </a:lnTo>
                <a:lnTo>
                  <a:pt x="76582" y="431204"/>
                </a:lnTo>
                <a:lnTo>
                  <a:pt x="120015" y="368815"/>
                </a:lnTo>
                <a:lnTo>
                  <a:pt x="0" y="368815"/>
                </a:lnTo>
                <a:close/>
                <a:moveTo>
                  <a:pt x="100203" y="0"/>
                </a:moveTo>
                <a:lnTo>
                  <a:pt x="344996" y="0"/>
                </a:lnTo>
                <a:lnTo>
                  <a:pt x="344996" y="33909"/>
                </a:lnTo>
                <a:lnTo>
                  <a:pt x="100203" y="3390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txBody>
          <a:bodyPr lIns="0" tIns="0" rIns="0" bIns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grpSp>
        <p:nvGrpSpPr>
          <p:cNvPr id="19" name="gaoding-12">
            <a:extLst>
              <a:ext uri="{FF2B5EF4-FFF2-40B4-BE49-F238E27FC236}">
                <a16:creationId xmlns:a16="http://schemas.microsoft.com/office/drawing/2014/main" id="{E53B65CD-BD8B-4BF5-952A-2B0873D82B00}"/>
              </a:ext>
            </a:extLst>
          </p:cNvPr>
          <p:cNvGrpSpPr/>
          <p:nvPr/>
        </p:nvGrpSpPr>
        <p:grpSpPr>
          <a:xfrm rot="16200000" flipH="1">
            <a:off x="4184759" y="2977631"/>
            <a:ext cx="380154" cy="380156"/>
            <a:chOff x="111868" y="1731523"/>
            <a:chExt cx="417206" cy="417206"/>
          </a:xfrm>
        </p:grpSpPr>
        <p:sp>
          <p:nvSpPr>
            <p:cNvPr id="20" name="gaoding-12-1">
              <a:extLst>
                <a:ext uri="{FF2B5EF4-FFF2-40B4-BE49-F238E27FC236}">
                  <a16:creationId xmlns:a16="http://schemas.microsoft.com/office/drawing/2014/main" id="{A13D14B1-AA71-4865-AC5A-699CD02E7FC4}"/>
                </a:ext>
              </a:extLst>
            </p:cNvPr>
            <p:cNvSpPr/>
            <p:nvPr/>
          </p:nvSpPr>
          <p:spPr>
            <a:xfrm>
              <a:off x="111868" y="1731523"/>
              <a:ext cx="417206" cy="417206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3" name="gaoding-12-2">
              <a:extLst>
                <a:ext uri="{FF2B5EF4-FFF2-40B4-BE49-F238E27FC236}">
                  <a16:creationId xmlns:a16="http://schemas.microsoft.com/office/drawing/2014/main" id="{604CA531-1E6B-4648-B1E4-4BE88868A5B4}"/>
                </a:ext>
              </a:extLst>
            </p:cNvPr>
            <p:cNvSpPr/>
            <p:nvPr/>
          </p:nvSpPr>
          <p:spPr>
            <a:xfrm rot="5400000">
              <a:off x="230652" y="1820427"/>
              <a:ext cx="179638" cy="239401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4" name="gaoding-12">
            <a:extLst>
              <a:ext uri="{FF2B5EF4-FFF2-40B4-BE49-F238E27FC236}">
                <a16:creationId xmlns:a16="http://schemas.microsoft.com/office/drawing/2014/main" id="{3A4C7F28-96ED-4AFC-A340-43DB2673B3E9}"/>
              </a:ext>
            </a:extLst>
          </p:cNvPr>
          <p:cNvGrpSpPr/>
          <p:nvPr/>
        </p:nvGrpSpPr>
        <p:grpSpPr>
          <a:xfrm rot="16200000" flipH="1">
            <a:off x="7349018" y="2977631"/>
            <a:ext cx="380154" cy="380156"/>
            <a:chOff x="111868" y="1731523"/>
            <a:chExt cx="417206" cy="417206"/>
          </a:xfrm>
        </p:grpSpPr>
        <p:sp>
          <p:nvSpPr>
            <p:cNvPr id="29" name="gaoding-12-1">
              <a:extLst>
                <a:ext uri="{FF2B5EF4-FFF2-40B4-BE49-F238E27FC236}">
                  <a16:creationId xmlns:a16="http://schemas.microsoft.com/office/drawing/2014/main" id="{49EADA94-5E1B-45B4-AF98-C9DC136246DF}"/>
                </a:ext>
              </a:extLst>
            </p:cNvPr>
            <p:cNvSpPr/>
            <p:nvPr/>
          </p:nvSpPr>
          <p:spPr>
            <a:xfrm>
              <a:off x="111868" y="1731523"/>
              <a:ext cx="417206" cy="417206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32" name="gaoding-12-2">
              <a:extLst>
                <a:ext uri="{FF2B5EF4-FFF2-40B4-BE49-F238E27FC236}">
                  <a16:creationId xmlns:a16="http://schemas.microsoft.com/office/drawing/2014/main" id="{C4C58BCD-691B-422A-AB7F-79189E99D44C}"/>
                </a:ext>
              </a:extLst>
            </p:cNvPr>
            <p:cNvSpPr/>
            <p:nvPr/>
          </p:nvSpPr>
          <p:spPr>
            <a:xfrm rot="5400000">
              <a:off x="230652" y="1820427"/>
              <a:ext cx="179638" cy="239401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33" name="gaoding-7">
            <a:extLst>
              <a:ext uri="{FF2B5EF4-FFF2-40B4-BE49-F238E27FC236}">
                <a16:creationId xmlns:a16="http://schemas.microsoft.com/office/drawing/2014/main" id="{824BA2C8-0BF5-4ADC-9002-9D9B76B5596D}"/>
              </a:ext>
            </a:extLst>
          </p:cNvPr>
          <p:cNvSpPr txBox="1"/>
          <p:nvPr/>
        </p:nvSpPr>
        <p:spPr>
          <a:xfrm>
            <a:off x="1848242" y="3673154"/>
            <a:ext cx="2118112" cy="6701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buSzPct val="25000"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38" name="gaoding-7">
            <a:extLst>
              <a:ext uri="{FF2B5EF4-FFF2-40B4-BE49-F238E27FC236}">
                <a16:creationId xmlns:a16="http://schemas.microsoft.com/office/drawing/2014/main" id="{8BF7184B-700F-463B-8E11-EAD7E318EE4F}"/>
              </a:ext>
            </a:extLst>
          </p:cNvPr>
          <p:cNvSpPr txBox="1"/>
          <p:nvPr/>
        </p:nvSpPr>
        <p:spPr>
          <a:xfrm>
            <a:off x="4998844" y="3673154"/>
            <a:ext cx="2118112" cy="6701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buSzPct val="25000"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39" name="gaoding-7">
            <a:extLst>
              <a:ext uri="{FF2B5EF4-FFF2-40B4-BE49-F238E27FC236}">
                <a16:creationId xmlns:a16="http://schemas.microsoft.com/office/drawing/2014/main" id="{C38E628E-63BB-4DAA-8DF5-3D87AE170CE2}"/>
              </a:ext>
            </a:extLst>
          </p:cNvPr>
          <p:cNvSpPr txBox="1"/>
          <p:nvPr/>
        </p:nvSpPr>
        <p:spPr>
          <a:xfrm>
            <a:off x="8162146" y="3673154"/>
            <a:ext cx="2118112" cy="6701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buSzPct val="25000"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40" name="gaoding-13">
            <a:extLst>
              <a:ext uri="{FF2B5EF4-FFF2-40B4-BE49-F238E27FC236}">
                <a16:creationId xmlns:a16="http://schemas.microsoft.com/office/drawing/2014/main" id="{41E37EFC-324D-4DB0-B4B4-EB697F6E057F}"/>
              </a:ext>
            </a:extLst>
          </p:cNvPr>
          <p:cNvSpPr txBox="1"/>
          <p:nvPr/>
        </p:nvSpPr>
        <p:spPr>
          <a:xfrm>
            <a:off x="3890080" y="629166"/>
            <a:ext cx="4039196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1" name="gaoding-14">
            <a:extLst>
              <a:ext uri="{FF2B5EF4-FFF2-40B4-BE49-F238E27FC236}">
                <a16:creationId xmlns:a16="http://schemas.microsoft.com/office/drawing/2014/main" id="{547A0979-CA14-41DA-B4A9-4EDABB843601}"/>
              </a:ext>
            </a:extLst>
          </p:cNvPr>
          <p:cNvSpPr txBox="1"/>
          <p:nvPr/>
        </p:nvSpPr>
        <p:spPr>
          <a:xfrm>
            <a:off x="4901057" y="1213941"/>
            <a:ext cx="2017242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algn="dist">
              <a:lnSpc>
                <a:spcPct val="150000"/>
              </a:lnSpc>
              <a:defRPr sz="900">
                <a:solidFill>
                  <a:schemeClr val="bg1"/>
                </a:solidFill>
                <a:latin typeface="Bahnschrift" panose="020B0502040204020203" pitchFamily="34" charset="0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- Add your Title Here 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243330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矩形 69">
            <a:extLst>
              <a:ext uri="{FF2B5EF4-FFF2-40B4-BE49-F238E27FC236}">
                <a16:creationId xmlns:a16="http://schemas.microsoft.com/office/drawing/2014/main" id="{7718CBB3-4CA1-480F-9304-B2615C6E11D3}"/>
              </a:ext>
            </a:extLst>
          </p:cNvPr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78" name="文本框 65">
            <a:extLst>
              <a:ext uri="{FF2B5EF4-FFF2-40B4-BE49-F238E27FC236}">
                <a16:creationId xmlns:a16="http://schemas.microsoft.com/office/drawing/2014/main" id="{F0E45490-13E4-4DF0-8FEE-6EFA14C0A93E}"/>
              </a:ext>
            </a:extLst>
          </p:cNvPr>
          <p:cNvSpPr txBox="1"/>
          <p:nvPr/>
        </p:nvSpPr>
        <p:spPr>
          <a:xfrm>
            <a:off x="-13059" y="99614"/>
            <a:ext cx="12192000" cy="1399323"/>
          </a:xfrm>
          <a:prstGeom prst="rect">
            <a:avLst/>
          </a:prstGeom>
          <a:noFill/>
        </p:spPr>
        <p:txBody>
          <a:bodyPr wrap="square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500" b="1" i="0" u="none" strike="noStrike" kern="1200" cap="none" spc="0" normalizeH="0" baseline="0" noProof="0" dirty="0">
                <a:ln>
                  <a:gradFill>
                    <a:gsLst>
                      <a:gs pos="95000">
                        <a:srgbClr val="001747">
                          <a:lumMod val="90000"/>
                          <a:lumOff val="10000"/>
                          <a:alpha val="63000"/>
                        </a:srgbClr>
                      </a:gs>
                      <a:gs pos="95000">
                        <a:srgbClr val="001747"/>
                      </a:gs>
                    </a:gsLst>
                    <a:lin ang="5400000" scaled="1"/>
                  </a:gradFill>
                </a:ln>
                <a:solidFill>
                  <a:srgbClr val="1A4BE9">
                    <a:alpha val="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  <a:rtl val="0"/>
              </a:rPr>
              <a:t>YUMUPPT</a:t>
            </a:r>
            <a:endParaRPr kumimoji="0" lang="zh-CN" altLang="en-US" sz="11500" b="1" i="0" u="none" strike="noStrike" kern="1200" cap="none" spc="0" normalizeH="0" baseline="0" noProof="0" dirty="0">
              <a:ln>
                <a:gradFill>
                  <a:gsLst>
                    <a:gs pos="95000">
                      <a:srgbClr val="001747">
                        <a:lumMod val="90000"/>
                        <a:lumOff val="10000"/>
                        <a:alpha val="63000"/>
                      </a:srgbClr>
                    </a:gs>
                    <a:gs pos="95000">
                      <a:srgbClr val="001747"/>
                    </a:gs>
                  </a:gsLst>
                  <a:lin ang="5400000" scaled="1"/>
                </a:gradFill>
              </a:ln>
              <a:solidFill>
                <a:srgbClr val="1A4BE9">
                  <a:alpha val="0"/>
                </a:srgbClr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  <a:rtl val="0"/>
            </a:endParaRPr>
          </a:p>
        </p:txBody>
      </p:sp>
      <p:sp>
        <p:nvSpPr>
          <p:cNvPr id="81" name="图形 39">
            <a:extLst>
              <a:ext uri="{FF2B5EF4-FFF2-40B4-BE49-F238E27FC236}">
                <a16:creationId xmlns:a16="http://schemas.microsoft.com/office/drawing/2014/main" id="{D3B78A95-1D55-418C-BABB-AFEB8D62BEC3}"/>
              </a:ext>
            </a:extLst>
          </p:cNvPr>
          <p:cNvSpPr/>
          <p:nvPr/>
        </p:nvSpPr>
        <p:spPr>
          <a:xfrm>
            <a:off x="10636532" y="406400"/>
            <a:ext cx="945868" cy="219460"/>
          </a:xfrm>
          <a:custGeom>
            <a:avLst/>
            <a:gdLst>
              <a:gd name="connsiteX0" fmla="*/ 768470 w 945868"/>
              <a:gd name="connsiteY0" fmla="*/ 107127 h 219460"/>
              <a:gd name="connsiteX1" fmla="*/ 721365 w 945868"/>
              <a:gd name="connsiteY1" fmla="*/ 107127 h 219460"/>
              <a:gd name="connsiteX2" fmla="*/ 721365 w 945868"/>
              <a:gd name="connsiteY2" fmla="*/ 112320 h 219460"/>
              <a:gd name="connsiteX3" fmla="*/ 768470 w 945868"/>
              <a:gd name="connsiteY3" fmla="*/ 112320 h 219460"/>
              <a:gd name="connsiteX4" fmla="*/ 830923 w 945868"/>
              <a:gd name="connsiteY4" fmla="*/ 173369 h 219460"/>
              <a:gd name="connsiteX5" fmla="*/ 830923 w 945868"/>
              <a:gd name="connsiteY5" fmla="*/ 219454 h 219460"/>
              <a:gd name="connsiteX6" fmla="*/ 836248 w 945868"/>
              <a:gd name="connsiteY6" fmla="*/ 219454 h 219460"/>
              <a:gd name="connsiteX7" fmla="*/ 836248 w 945868"/>
              <a:gd name="connsiteY7" fmla="*/ 173369 h 219460"/>
              <a:gd name="connsiteX8" fmla="*/ 898700 w 945868"/>
              <a:gd name="connsiteY8" fmla="*/ 112320 h 219460"/>
              <a:gd name="connsiteX9" fmla="*/ 945868 w 945868"/>
              <a:gd name="connsiteY9" fmla="*/ 112320 h 219460"/>
              <a:gd name="connsiteX10" fmla="*/ 945868 w 945868"/>
              <a:gd name="connsiteY10" fmla="*/ 107127 h 219460"/>
              <a:gd name="connsiteX11" fmla="*/ 898700 w 945868"/>
              <a:gd name="connsiteY11" fmla="*/ 107127 h 219460"/>
              <a:gd name="connsiteX12" fmla="*/ 836248 w 945868"/>
              <a:gd name="connsiteY12" fmla="*/ 46072 h 219460"/>
              <a:gd name="connsiteX13" fmla="*/ 836248 w 945868"/>
              <a:gd name="connsiteY13" fmla="*/ 0 h 219460"/>
              <a:gd name="connsiteX14" fmla="*/ 830923 w 945868"/>
              <a:gd name="connsiteY14" fmla="*/ 0 h 219460"/>
              <a:gd name="connsiteX15" fmla="*/ 830923 w 945868"/>
              <a:gd name="connsiteY15" fmla="*/ 46072 h 219460"/>
              <a:gd name="connsiteX16" fmla="*/ 768470 w 945868"/>
              <a:gd name="connsiteY16" fmla="*/ 107127 h 219460"/>
              <a:gd name="connsiteX17" fmla="*/ 830923 w 945868"/>
              <a:gd name="connsiteY17" fmla="*/ 51271 h 219460"/>
              <a:gd name="connsiteX18" fmla="*/ 830923 w 945868"/>
              <a:gd name="connsiteY18" fmla="*/ 107127 h 219460"/>
              <a:gd name="connsiteX19" fmla="*/ 773795 w 945868"/>
              <a:gd name="connsiteY19" fmla="*/ 107127 h 219460"/>
              <a:gd name="connsiteX20" fmla="*/ 830924 w 945868"/>
              <a:gd name="connsiteY20" fmla="*/ 51271 h 219460"/>
              <a:gd name="connsiteX21" fmla="*/ 773795 w 945868"/>
              <a:gd name="connsiteY21" fmla="*/ 112320 h 219460"/>
              <a:gd name="connsiteX22" fmla="*/ 830923 w 945868"/>
              <a:gd name="connsiteY22" fmla="*/ 112320 h 219460"/>
              <a:gd name="connsiteX23" fmla="*/ 830923 w 945868"/>
              <a:gd name="connsiteY23" fmla="*/ 168170 h 219460"/>
              <a:gd name="connsiteX24" fmla="*/ 773794 w 945868"/>
              <a:gd name="connsiteY24" fmla="*/ 112320 h 219460"/>
              <a:gd name="connsiteX25" fmla="*/ 836248 w 945868"/>
              <a:gd name="connsiteY25" fmla="*/ 168170 h 219460"/>
              <a:gd name="connsiteX26" fmla="*/ 836248 w 945868"/>
              <a:gd name="connsiteY26" fmla="*/ 112320 h 219460"/>
              <a:gd name="connsiteX27" fmla="*/ 893375 w 945868"/>
              <a:gd name="connsiteY27" fmla="*/ 112320 h 219460"/>
              <a:gd name="connsiteX28" fmla="*/ 836246 w 945868"/>
              <a:gd name="connsiteY28" fmla="*/ 168170 h 219460"/>
              <a:gd name="connsiteX29" fmla="*/ 893375 w 945868"/>
              <a:gd name="connsiteY29" fmla="*/ 107127 h 219460"/>
              <a:gd name="connsiteX30" fmla="*/ 836248 w 945868"/>
              <a:gd name="connsiteY30" fmla="*/ 107127 h 219460"/>
              <a:gd name="connsiteX31" fmla="*/ 836248 w 945868"/>
              <a:gd name="connsiteY31" fmla="*/ 51271 h 219460"/>
              <a:gd name="connsiteX32" fmla="*/ 893376 w 945868"/>
              <a:gd name="connsiteY32" fmla="*/ 107127 h 219460"/>
              <a:gd name="connsiteX33" fmla="*/ 585185 w 945868"/>
              <a:gd name="connsiteY33" fmla="*/ 107127 h 219460"/>
              <a:gd name="connsiteX34" fmla="*/ 538330 w 945868"/>
              <a:gd name="connsiteY34" fmla="*/ 107127 h 219460"/>
              <a:gd name="connsiteX35" fmla="*/ 475627 w 945868"/>
              <a:gd name="connsiteY35" fmla="*/ 45796 h 219460"/>
              <a:gd name="connsiteX36" fmla="*/ 475627 w 945868"/>
              <a:gd name="connsiteY36" fmla="*/ 6 h 219460"/>
              <a:gd name="connsiteX37" fmla="*/ 470304 w 945868"/>
              <a:gd name="connsiteY37" fmla="*/ 6 h 219460"/>
              <a:gd name="connsiteX38" fmla="*/ 470304 w 945868"/>
              <a:gd name="connsiteY38" fmla="*/ 45796 h 219460"/>
              <a:gd name="connsiteX39" fmla="*/ 407538 w 945868"/>
              <a:gd name="connsiteY39" fmla="*/ 107127 h 219460"/>
              <a:gd name="connsiteX40" fmla="*/ 360683 w 945868"/>
              <a:gd name="connsiteY40" fmla="*/ 107127 h 219460"/>
              <a:gd name="connsiteX41" fmla="*/ 360683 w 945868"/>
              <a:gd name="connsiteY41" fmla="*/ 112327 h 219460"/>
              <a:gd name="connsiteX42" fmla="*/ 407538 w 945868"/>
              <a:gd name="connsiteY42" fmla="*/ 112327 h 219460"/>
              <a:gd name="connsiteX43" fmla="*/ 470304 w 945868"/>
              <a:gd name="connsiteY43" fmla="*/ 173670 h 219460"/>
              <a:gd name="connsiteX44" fmla="*/ 470304 w 945868"/>
              <a:gd name="connsiteY44" fmla="*/ 219460 h 219460"/>
              <a:gd name="connsiteX45" fmla="*/ 475627 w 945868"/>
              <a:gd name="connsiteY45" fmla="*/ 219460 h 219460"/>
              <a:gd name="connsiteX46" fmla="*/ 475627 w 945868"/>
              <a:gd name="connsiteY46" fmla="*/ 173670 h 219460"/>
              <a:gd name="connsiteX47" fmla="*/ 538330 w 945868"/>
              <a:gd name="connsiteY47" fmla="*/ 112327 h 219460"/>
              <a:gd name="connsiteX48" fmla="*/ 585185 w 945868"/>
              <a:gd name="connsiteY48" fmla="*/ 112327 h 219460"/>
              <a:gd name="connsiteX49" fmla="*/ 585185 w 945868"/>
              <a:gd name="connsiteY49" fmla="*/ 107127 h 219460"/>
              <a:gd name="connsiteX50" fmla="*/ 109620 w 945868"/>
              <a:gd name="connsiteY50" fmla="*/ 46078 h 219460"/>
              <a:gd name="connsiteX51" fmla="*/ 47168 w 945868"/>
              <a:gd name="connsiteY51" fmla="*/ 107134 h 219460"/>
              <a:gd name="connsiteX52" fmla="*/ 0 w 945868"/>
              <a:gd name="connsiteY52" fmla="*/ 107134 h 219460"/>
              <a:gd name="connsiteX53" fmla="*/ 0 w 945868"/>
              <a:gd name="connsiteY53" fmla="*/ 112327 h 219460"/>
              <a:gd name="connsiteX54" fmla="*/ 47168 w 945868"/>
              <a:gd name="connsiteY54" fmla="*/ 112327 h 219460"/>
              <a:gd name="connsiteX55" fmla="*/ 109620 w 945868"/>
              <a:gd name="connsiteY55" fmla="*/ 173376 h 219460"/>
              <a:gd name="connsiteX56" fmla="*/ 109620 w 945868"/>
              <a:gd name="connsiteY56" fmla="*/ 219460 h 219460"/>
              <a:gd name="connsiteX57" fmla="*/ 114946 w 945868"/>
              <a:gd name="connsiteY57" fmla="*/ 219460 h 219460"/>
              <a:gd name="connsiteX58" fmla="*/ 114946 w 945868"/>
              <a:gd name="connsiteY58" fmla="*/ 173376 h 219460"/>
              <a:gd name="connsiteX59" fmla="*/ 177398 w 945868"/>
              <a:gd name="connsiteY59" fmla="*/ 112327 h 219460"/>
              <a:gd name="connsiteX60" fmla="*/ 224566 w 945868"/>
              <a:gd name="connsiteY60" fmla="*/ 112327 h 219460"/>
              <a:gd name="connsiteX61" fmla="*/ 224566 w 945868"/>
              <a:gd name="connsiteY61" fmla="*/ 107127 h 219460"/>
              <a:gd name="connsiteX62" fmla="*/ 177398 w 945868"/>
              <a:gd name="connsiteY62" fmla="*/ 107127 h 219460"/>
              <a:gd name="connsiteX63" fmla="*/ 114946 w 945868"/>
              <a:gd name="connsiteY63" fmla="*/ 46072 h 219460"/>
              <a:gd name="connsiteX64" fmla="*/ 114946 w 945868"/>
              <a:gd name="connsiteY64" fmla="*/ 0 h 219460"/>
              <a:gd name="connsiteX65" fmla="*/ 109620 w 945868"/>
              <a:gd name="connsiteY65" fmla="*/ 0 h 219460"/>
              <a:gd name="connsiteX66" fmla="*/ 109620 w 945868"/>
              <a:gd name="connsiteY66" fmla="*/ 46072 h 219460"/>
              <a:gd name="connsiteX67" fmla="*/ 109620 w 945868"/>
              <a:gd name="connsiteY67" fmla="*/ 51277 h 219460"/>
              <a:gd name="connsiteX68" fmla="*/ 109620 w 945868"/>
              <a:gd name="connsiteY68" fmla="*/ 107134 h 219460"/>
              <a:gd name="connsiteX69" fmla="*/ 52492 w 945868"/>
              <a:gd name="connsiteY69" fmla="*/ 107134 h 219460"/>
              <a:gd name="connsiteX70" fmla="*/ 109620 w 945868"/>
              <a:gd name="connsiteY70" fmla="*/ 51271 h 219460"/>
              <a:gd name="connsiteX71" fmla="*/ 52492 w 945868"/>
              <a:gd name="connsiteY71" fmla="*/ 112327 h 219460"/>
              <a:gd name="connsiteX72" fmla="*/ 109620 w 945868"/>
              <a:gd name="connsiteY72" fmla="*/ 112327 h 219460"/>
              <a:gd name="connsiteX73" fmla="*/ 109620 w 945868"/>
              <a:gd name="connsiteY73" fmla="*/ 168177 h 219460"/>
              <a:gd name="connsiteX74" fmla="*/ 52492 w 945868"/>
              <a:gd name="connsiteY74" fmla="*/ 112320 h 219460"/>
              <a:gd name="connsiteX75" fmla="*/ 114946 w 945868"/>
              <a:gd name="connsiteY75" fmla="*/ 168177 h 219460"/>
              <a:gd name="connsiteX76" fmla="*/ 114946 w 945868"/>
              <a:gd name="connsiteY76" fmla="*/ 112327 h 219460"/>
              <a:gd name="connsiteX77" fmla="*/ 172073 w 945868"/>
              <a:gd name="connsiteY77" fmla="*/ 112327 h 219460"/>
              <a:gd name="connsiteX78" fmla="*/ 114944 w 945868"/>
              <a:gd name="connsiteY78" fmla="*/ 168170 h 219460"/>
              <a:gd name="connsiteX79" fmla="*/ 172073 w 945868"/>
              <a:gd name="connsiteY79" fmla="*/ 107134 h 219460"/>
              <a:gd name="connsiteX80" fmla="*/ 114946 w 945868"/>
              <a:gd name="connsiteY80" fmla="*/ 107134 h 219460"/>
              <a:gd name="connsiteX81" fmla="*/ 114946 w 945868"/>
              <a:gd name="connsiteY81" fmla="*/ 51277 h 219460"/>
              <a:gd name="connsiteX82" fmla="*/ 172074 w 945868"/>
              <a:gd name="connsiteY82" fmla="*/ 107127 h 21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945868" h="219460">
                <a:moveTo>
                  <a:pt x="768470" y="107127"/>
                </a:moveTo>
                <a:lnTo>
                  <a:pt x="721365" y="107127"/>
                </a:lnTo>
                <a:lnTo>
                  <a:pt x="721365" y="112320"/>
                </a:lnTo>
                <a:lnTo>
                  <a:pt x="768470" y="112320"/>
                </a:lnTo>
                <a:cubicBezTo>
                  <a:pt x="770258" y="145808"/>
                  <a:pt x="797403" y="172343"/>
                  <a:pt x="830923" y="173369"/>
                </a:cubicBezTo>
                <a:lnTo>
                  <a:pt x="830923" y="219454"/>
                </a:lnTo>
                <a:lnTo>
                  <a:pt x="836248" y="219454"/>
                </a:lnTo>
                <a:lnTo>
                  <a:pt x="836248" y="173369"/>
                </a:lnTo>
                <a:cubicBezTo>
                  <a:pt x="869774" y="172361"/>
                  <a:pt x="896929" y="145816"/>
                  <a:pt x="898700" y="112320"/>
                </a:cubicBezTo>
                <a:lnTo>
                  <a:pt x="945868" y="112320"/>
                </a:lnTo>
                <a:lnTo>
                  <a:pt x="945868" y="107127"/>
                </a:lnTo>
                <a:lnTo>
                  <a:pt x="898700" y="107127"/>
                </a:lnTo>
                <a:cubicBezTo>
                  <a:pt x="896932" y="73629"/>
                  <a:pt x="869778" y="47081"/>
                  <a:pt x="836248" y="46072"/>
                </a:cubicBezTo>
                <a:lnTo>
                  <a:pt x="836248" y="0"/>
                </a:lnTo>
                <a:lnTo>
                  <a:pt x="830923" y="0"/>
                </a:lnTo>
                <a:lnTo>
                  <a:pt x="830923" y="46072"/>
                </a:lnTo>
                <a:cubicBezTo>
                  <a:pt x="797400" y="47099"/>
                  <a:pt x="770255" y="73637"/>
                  <a:pt x="768470" y="107127"/>
                </a:cubicBezTo>
                <a:close/>
                <a:moveTo>
                  <a:pt x="830923" y="51271"/>
                </a:moveTo>
                <a:lnTo>
                  <a:pt x="830923" y="107127"/>
                </a:lnTo>
                <a:lnTo>
                  <a:pt x="773795" y="107127"/>
                </a:lnTo>
                <a:cubicBezTo>
                  <a:pt x="775548" y="76546"/>
                  <a:pt x="800310" y="52334"/>
                  <a:pt x="830924" y="51271"/>
                </a:cubicBezTo>
                <a:close/>
                <a:moveTo>
                  <a:pt x="773795" y="112320"/>
                </a:moveTo>
                <a:lnTo>
                  <a:pt x="830923" y="112320"/>
                </a:lnTo>
                <a:lnTo>
                  <a:pt x="830923" y="168170"/>
                </a:lnTo>
                <a:cubicBezTo>
                  <a:pt x="800312" y="167107"/>
                  <a:pt x="775550" y="142900"/>
                  <a:pt x="773794" y="112320"/>
                </a:cubicBezTo>
                <a:close/>
                <a:moveTo>
                  <a:pt x="836248" y="168170"/>
                </a:moveTo>
                <a:lnTo>
                  <a:pt x="836248" y="112320"/>
                </a:lnTo>
                <a:lnTo>
                  <a:pt x="893375" y="112320"/>
                </a:lnTo>
                <a:cubicBezTo>
                  <a:pt x="891663" y="142919"/>
                  <a:pt x="866876" y="167151"/>
                  <a:pt x="836246" y="168170"/>
                </a:cubicBezTo>
                <a:close/>
                <a:moveTo>
                  <a:pt x="893375" y="107127"/>
                </a:moveTo>
                <a:lnTo>
                  <a:pt x="836248" y="107127"/>
                </a:lnTo>
                <a:lnTo>
                  <a:pt x="836248" y="51271"/>
                </a:lnTo>
                <a:cubicBezTo>
                  <a:pt x="866880" y="52291"/>
                  <a:pt x="891666" y="76526"/>
                  <a:pt x="893376" y="107127"/>
                </a:cubicBezTo>
                <a:close/>
                <a:moveTo>
                  <a:pt x="585185" y="107127"/>
                </a:moveTo>
                <a:lnTo>
                  <a:pt x="538330" y="107127"/>
                </a:lnTo>
                <a:cubicBezTo>
                  <a:pt x="536581" y="73478"/>
                  <a:pt x="509307" y="46801"/>
                  <a:pt x="475627" y="45796"/>
                </a:cubicBezTo>
                <a:lnTo>
                  <a:pt x="475627" y="6"/>
                </a:lnTo>
                <a:lnTo>
                  <a:pt x="470304" y="6"/>
                </a:lnTo>
                <a:lnTo>
                  <a:pt x="470304" y="45796"/>
                </a:lnTo>
                <a:cubicBezTo>
                  <a:pt x="436599" y="46769"/>
                  <a:pt x="409289" y="73455"/>
                  <a:pt x="407538" y="107127"/>
                </a:cubicBezTo>
                <a:lnTo>
                  <a:pt x="360683" y="107127"/>
                </a:lnTo>
                <a:lnTo>
                  <a:pt x="360683" y="112327"/>
                </a:lnTo>
                <a:lnTo>
                  <a:pt x="407538" y="112327"/>
                </a:lnTo>
                <a:cubicBezTo>
                  <a:pt x="409289" y="146001"/>
                  <a:pt x="436598" y="172691"/>
                  <a:pt x="470304" y="173670"/>
                </a:cubicBezTo>
                <a:lnTo>
                  <a:pt x="470304" y="219460"/>
                </a:lnTo>
                <a:lnTo>
                  <a:pt x="475627" y="219460"/>
                </a:lnTo>
                <a:lnTo>
                  <a:pt x="475627" y="173670"/>
                </a:lnTo>
                <a:cubicBezTo>
                  <a:pt x="509319" y="172686"/>
                  <a:pt x="536608" y="145990"/>
                  <a:pt x="538330" y="112327"/>
                </a:cubicBezTo>
                <a:lnTo>
                  <a:pt x="585185" y="112327"/>
                </a:lnTo>
                <a:lnTo>
                  <a:pt x="585185" y="107127"/>
                </a:lnTo>
                <a:close/>
                <a:moveTo>
                  <a:pt x="109620" y="46078"/>
                </a:moveTo>
                <a:cubicBezTo>
                  <a:pt x="76098" y="47105"/>
                  <a:pt x="48953" y="73643"/>
                  <a:pt x="47168" y="107134"/>
                </a:cubicBezTo>
                <a:lnTo>
                  <a:pt x="0" y="107134"/>
                </a:lnTo>
                <a:lnTo>
                  <a:pt x="0" y="112327"/>
                </a:lnTo>
                <a:lnTo>
                  <a:pt x="47168" y="112327"/>
                </a:lnTo>
                <a:cubicBezTo>
                  <a:pt x="48956" y="145814"/>
                  <a:pt x="76101" y="172349"/>
                  <a:pt x="109620" y="173376"/>
                </a:cubicBezTo>
                <a:lnTo>
                  <a:pt x="109620" y="219460"/>
                </a:lnTo>
                <a:lnTo>
                  <a:pt x="114946" y="219460"/>
                </a:lnTo>
                <a:lnTo>
                  <a:pt x="114946" y="173376"/>
                </a:lnTo>
                <a:cubicBezTo>
                  <a:pt x="148465" y="172349"/>
                  <a:pt x="175610" y="145814"/>
                  <a:pt x="177398" y="112327"/>
                </a:cubicBezTo>
                <a:lnTo>
                  <a:pt x="224566" y="112327"/>
                </a:lnTo>
                <a:lnTo>
                  <a:pt x="224566" y="107127"/>
                </a:lnTo>
                <a:lnTo>
                  <a:pt x="177398" y="107127"/>
                </a:lnTo>
                <a:cubicBezTo>
                  <a:pt x="175613" y="73637"/>
                  <a:pt x="148468" y="47099"/>
                  <a:pt x="114946" y="46072"/>
                </a:cubicBezTo>
                <a:lnTo>
                  <a:pt x="114946" y="0"/>
                </a:lnTo>
                <a:lnTo>
                  <a:pt x="109620" y="0"/>
                </a:lnTo>
                <a:lnTo>
                  <a:pt x="109620" y="46072"/>
                </a:lnTo>
                <a:close/>
                <a:moveTo>
                  <a:pt x="109620" y="51277"/>
                </a:moveTo>
                <a:lnTo>
                  <a:pt x="109620" y="107134"/>
                </a:lnTo>
                <a:lnTo>
                  <a:pt x="52492" y="107134"/>
                </a:lnTo>
                <a:cubicBezTo>
                  <a:pt x="54241" y="76549"/>
                  <a:pt x="79004" y="52335"/>
                  <a:pt x="109620" y="51271"/>
                </a:cubicBezTo>
                <a:close/>
                <a:moveTo>
                  <a:pt x="52492" y="112327"/>
                </a:moveTo>
                <a:lnTo>
                  <a:pt x="109620" y="112327"/>
                </a:lnTo>
                <a:lnTo>
                  <a:pt x="109620" y="168177"/>
                </a:lnTo>
                <a:cubicBezTo>
                  <a:pt x="79007" y="167113"/>
                  <a:pt x="54244" y="142902"/>
                  <a:pt x="52492" y="112320"/>
                </a:cubicBezTo>
                <a:close/>
                <a:moveTo>
                  <a:pt x="114946" y="168177"/>
                </a:moveTo>
                <a:lnTo>
                  <a:pt x="114946" y="112327"/>
                </a:lnTo>
                <a:lnTo>
                  <a:pt x="172073" y="112327"/>
                </a:lnTo>
                <a:cubicBezTo>
                  <a:pt x="170337" y="142914"/>
                  <a:pt x="145564" y="167131"/>
                  <a:pt x="114944" y="168170"/>
                </a:cubicBezTo>
                <a:close/>
                <a:moveTo>
                  <a:pt x="172073" y="107134"/>
                </a:moveTo>
                <a:lnTo>
                  <a:pt x="114946" y="107134"/>
                </a:lnTo>
                <a:lnTo>
                  <a:pt x="114946" y="51277"/>
                </a:lnTo>
                <a:cubicBezTo>
                  <a:pt x="145567" y="52317"/>
                  <a:pt x="170341" y="76538"/>
                  <a:pt x="172074" y="107127"/>
                </a:cubicBezTo>
                <a:close/>
              </a:path>
            </a:pathLst>
          </a:custGeom>
          <a:solidFill>
            <a:schemeClr val="bg1"/>
          </a:solidFill>
          <a:ln w="624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cxnSp>
        <p:nvCxnSpPr>
          <p:cNvPr id="115" name="直接连接符 114">
            <a:extLst>
              <a:ext uri="{FF2B5EF4-FFF2-40B4-BE49-F238E27FC236}">
                <a16:creationId xmlns:a16="http://schemas.microsoft.com/office/drawing/2014/main" id="{BBBC6CD4-D9A4-4691-BC42-5742E0211758}"/>
              </a:ext>
            </a:extLst>
          </p:cNvPr>
          <p:cNvCxnSpPr/>
          <p:nvPr/>
        </p:nvCxnSpPr>
        <p:spPr>
          <a:xfrm>
            <a:off x="609600" y="2740312"/>
            <a:ext cx="10972800" cy="0"/>
          </a:xfrm>
          <a:prstGeom prst="line">
            <a:avLst/>
          </a:prstGeom>
          <a:ln w="12700"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52950E56-30C4-4A04-90C8-D4D817A818A1}"/>
              </a:ext>
            </a:extLst>
          </p:cNvPr>
          <p:cNvSpPr/>
          <p:nvPr/>
        </p:nvSpPr>
        <p:spPr>
          <a:xfrm>
            <a:off x="638449" y="3489672"/>
            <a:ext cx="2049745" cy="2321843"/>
          </a:xfrm>
          <a:prstGeom prst="roundRect">
            <a:avLst>
              <a:gd name="adj" fmla="val 255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9C9C9">
                  <a:lumMod val="75000"/>
                </a:srgbClr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698DDD2D-B52A-456A-B005-E75D972CC78B}"/>
              </a:ext>
            </a:extLst>
          </p:cNvPr>
          <p:cNvSpPr/>
          <p:nvPr/>
        </p:nvSpPr>
        <p:spPr>
          <a:xfrm rot="10800000" flipV="1">
            <a:off x="855625" y="3100705"/>
            <a:ext cx="1615393" cy="685800"/>
          </a:xfrm>
          <a:custGeom>
            <a:avLst/>
            <a:gdLst>
              <a:gd name="connsiteX0" fmla="*/ 1576374 w 1615393"/>
              <a:gd name="connsiteY0" fmla="*/ 778118 h 778118"/>
              <a:gd name="connsiteX1" fmla="*/ 39019 w 1615393"/>
              <a:gd name="connsiteY1" fmla="*/ 778118 h 778118"/>
              <a:gd name="connsiteX2" fmla="*/ 0 w 1615393"/>
              <a:gd name="connsiteY2" fmla="*/ 739099 h 778118"/>
              <a:gd name="connsiteX3" fmla="*/ 0 w 1615393"/>
              <a:gd name="connsiteY3" fmla="*/ 158027 h 778118"/>
              <a:gd name="connsiteX4" fmla="*/ 39019 w 1615393"/>
              <a:gd name="connsiteY4" fmla="*/ 119008 h 778118"/>
              <a:gd name="connsiteX5" fmla="*/ 738672 w 1615393"/>
              <a:gd name="connsiteY5" fmla="*/ 119008 h 778118"/>
              <a:gd name="connsiteX6" fmla="*/ 807697 w 1615393"/>
              <a:gd name="connsiteY6" fmla="*/ 0 h 778118"/>
              <a:gd name="connsiteX7" fmla="*/ 876722 w 1615393"/>
              <a:gd name="connsiteY7" fmla="*/ 119008 h 778118"/>
              <a:gd name="connsiteX8" fmla="*/ 1576374 w 1615393"/>
              <a:gd name="connsiteY8" fmla="*/ 119008 h 778118"/>
              <a:gd name="connsiteX9" fmla="*/ 1615393 w 1615393"/>
              <a:gd name="connsiteY9" fmla="*/ 158027 h 778118"/>
              <a:gd name="connsiteX10" fmla="*/ 1615393 w 1615393"/>
              <a:gd name="connsiteY10" fmla="*/ 739099 h 778118"/>
              <a:gd name="connsiteX11" fmla="*/ 1576374 w 1615393"/>
              <a:gd name="connsiteY11" fmla="*/ 778118 h 778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15393" h="778118">
                <a:moveTo>
                  <a:pt x="1576374" y="778118"/>
                </a:moveTo>
                <a:lnTo>
                  <a:pt x="39019" y="778118"/>
                </a:lnTo>
                <a:cubicBezTo>
                  <a:pt x="17469" y="778118"/>
                  <a:pt x="0" y="760649"/>
                  <a:pt x="0" y="739099"/>
                </a:cubicBezTo>
                <a:lnTo>
                  <a:pt x="0" y="158027"/>
                </a:lnTo>
                <a:cubicBezTo>
                  <a:pt x="0" y="136477"/>
                  <a:pt x="17469" y="119008"/>
                  <a:pt x="39019" y="119008"/>
                </a:cubicBezTo>
                <a:lnTo>
                  <a:pt x="738672" y="119008"/>
                </a:lnTo>
                <a:lnTo>
                  <a:pt x="807697" y="0"/>
                </a:lnTo>
                <a:lnTo>
                  <a:pt x="876722" y="119008"/>
                </a:lnTo>
                <a:lnTo>
                  <a:pt x="1576374" y="119008"/>
                </a:lnTo>
                <a:cubicBezTo>
                  <a:pt x="1597924" y="119008"/>
                  <a:pt x="1615393" y="136477"/>
                  <a:pt x="1615393" y="158027"/>
                </a:cubicBezTo>
                <a:lnTo>
                  <a:pt x="1615393" y="739099"/>
                </a:lnTo>
                <a:cubicBezTo>
                  <a:pt x="1615393" y="760649"/>
                  <a:pt x="1597924" y="778118"/>
                  <a:pt x="1576374" y="77811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355600" dist="457200" dir="5400000" sx="90000" sy="90000" algn="t" rotWithShape="0">
              <a:schemeClr val="accent2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8116B532-23DB-43A2-9F80-30B08C368B9D}"/>
              </a:ext>
            </a:extLst>
          </p:cNvPr>
          <p:cNvSpPr txBox="1"/>
          <p:nvPr/>
        </p:nvSpPr>
        <p:spPr>
          <a:xfrm>
            <a:off x="855625" y="3305923"/>
            <a:ext cx="1615393" cy="40011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01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DE3CE857-6173-404D-BC7C-A7EDFF0ED606}"/>
              </a:ext>
            </a:extLst>
          </p:cNvPr>
          <p:cNvSpPr/>
          <p:nvPr/>
        </p:nvSpPr>
        <p:spPr>
          <a:xfrm>
            <a:off x="2862761" y="3489672"/>
            <a:ext cx="2049745" cy="2321843"/>
          </a:xfrm>
          <a:prstGeom prst="roundRect">
            <a:avLst>
              <a:gd name="adj" fmla="val 2550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9C9C9">
                  <a:lumMod val="75000"/>
                </a:srgbClr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E915687D-D2AE-4B07-B9B1-F2FE67E98F64}"/>
              </a:ext>
            </a:extLst>
          </p:cNvPr>
          <p:cNvSpPr txBox="1"/>
          <p:nvPr/>
        </p:nvSpPr>
        <p:spPr>
          <a:xfrm>
            <a:off x="3091035" y="4039348"/>
            <a:ext cx="1593198" cy="93653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4F0FB65A-CED4-4247-ACEC-690FC87469CB}"/>
              </a:ext>
            </a:extLst>
          </p:cNvPr>
          <p:cNvSpPr/>
          <p:nvPr/>
        </p:nvSpPr>
        <p:spPr>
          <a:xfrm rot="10800000" flipV="1">
            <a:off x="3079937" y="3100705"/>
            <a:ext cx="1615393" cy="685800"/>
          </a:xfrm>
          <a:custGeom>
            <a:avLst/>
            <a:gdLst>
              <a:gd name="connsiteX0" fmla="*/ 1576374 w 1615393"/>
              <a:gd name="connsiteY0" fmla="*/ 778118 h 778118"/>
              <a:gd name="connsiteX1" fmla="*/ 39019 w 1615393"/>
              <a:gd name="connsiteY1" fmla="*/ 778118 h 778118"/>
              <a:gd name="connsiteX2" fmla="*/ 0 w 1615393"/>
              <a:gd name="connsiteY2" fmla="*/ 739099 h 778118"/>
              <a:gd name="connsiteX3" fmla="*/ 0 w 1615393"/>
              <a:gd name="connsiteY3" fmla="*/ 158027 h 778118"/>
              <a:gd name="connsiteX4" fmla="*/ 39019 w 1615393"/>
              <a:gd name="connsiteY4" fmla="*/ 119008 h 778118"/>
              <a:gd name="connsiteX5" fmla="*/ 738672 w 1615393"/>
              <a:gd name="connsiteY5" fmla="*/ 119008 h 778118"/>
              <a:gd name="connsiteX6" fmla="*/ 807697 w 1615393"/>
              <a:gd name="connsiteY6" fmla="*/ 0 h 778118"/>
              <a:gd name="connsiteX7" fmla="*/ 876722 w 1615393"/>
              <a:gd name="connsiteY7" fmla="*/ 119008 h 778118"/>
              <a:gd name="connsiteX8" fmla="*/ 1576374 w 1615393"/>
              <a:gd name="connsiteY8" fmla="*/ 119008 h 778118"/>
              <a:gd name="connsiteX9" fmla="*/ 1615393 w 1615393"/>
              <a:gd name="connsiteY9" fmla="*/ 158027 h 778118"/>
              <a:gd name="connsiteX10" fmla="*/ 1615393 w 1615393"/>
              <a:gd name="connsiteY10" fmla="*/ 739099 h 778118"/>
              <a:gd name="connsiteX11" fmla="*/ 1576374 w 1615393"/>
              <a:gd name="connsiteY11" fmla="*/ 778118 h 778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15393" h="778118">
                <a:moveTo>
                  <a:pt x="1576374" y="778118"/>
                </a:moveTo>
                <a:lnTo>
                  <a:pt x="39019" y="778118"/>
                </a:lnTo>
                <a:cubicBezTo>
                  <a:pt x="17469" y="778118"/>
                  <a:pt x="0" y="760649"/>
                  <a:pt x="0" y="739099"/>
                </a:cubicBezTo>
                <a:lnTo>
                  <a:pt x="0" y="158027"/>
                </a:lnTo>
                <a:cubicBezTo>
                  <a:pt x="0" y="136477"/>
                  <a:pt x="17469" y="119008"/>
                  <a:pt x="39019" y="119008"/>
                </a:cubicBezTo>
                <a:lnTo>
                  <a:pt x="738672" y="119008"/>
                </a:lnTo>
                <a:lnTo>
                  <a:pt x="807697" y="0"/>
                </a:lnTo>
                <a:lnTo>
                  <a:pt x="876722" y="119008"/>
                </a:lnTo>
                <a:lnTo>
                  <a:pt x="1576374" y="119008"/>
                </a:lnTo>
                <a:cubicBezTo>
                  <a:pt x="1597924" y="119008"/>
                  <a:pt x="1615393" y="136477"/>
                  <a:pt x="1615393" y="158027"/>
                </a:cubicBezTo>
                <a:lnTo>
                  <a:pt x="1615393" y="739099"/>
                </a:lnTo>
                <a:cubicBezTo>
                  <a:pt x="1615393" y="760649"/>
                  <a:pt x="1597924" y="778118"/>
                  <a:pt x="1576374" y="778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355600" dist="457200" dir="5400000" sx="90000" sy="90000" algn="t" rotWithShape="0">
              <a:schemeClr val="accent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050F21C1-3820-4A1E-A297-B1FF32973335}"/>
              </a:ext>
            </a:extLst>
          </p:cNvPr>
          <p:cNvSpPr txBox="1"/>
          <p:nvPr/>
        </p:nvSpPr>
        <p:spPr>
          <a:xfrm>
            <a:off x="3079937" y="3305923"/>
            <a:ext cx="1615393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02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BD5BD9A6-2D63-4A93-A9F1-F7DE55DD4CB0}"/>
              </a:ext>
            </a:extLst>
          </p:cNvPr>
          <p:cNvSpPr/>
          <p:nvPr/>
        </p:nvSpPr>
        <p:spPr>
          <a:xfrm>
            <a:off x="5087073" y="3489672"/>
            <a:ext cx="2049745" cy="2321843"/>
          </a:xfrm>
          <a:prstGeom prst="roundRect">
            <a:avLst>
              <a:gd name="adj" fmla="val 2550"/>
            </a:avLst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9C9C9">
                  <a:lumMod val="75000"/>
                </a:srgbClr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595D3616-B24A-4C94-B765-56BDE90EDD24}"/>
              </a:ext>
            </a:extLst>
          </p:cNvPr>
          <p:cNvSpPr txBox="1"/>
          <p:nvPr/>
        </p:nvSpPr>
        <p:spPr>
          <a:xfrm>
            <a:off x="5315347" y="4039348"/>
            <a:ext cx="1593198" cy="93653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丰富的信息图表覆盖并列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流程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层级等多种逻辑关系，帮助有效梳理页面内容。</a:t>
            </a: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D205DB3C-9273-485E-A839-552759ED8F30}"/>
              </a:ext>
            </a:extLst>
          </p:cNvPr>
          <p:cNvSpPr/>
          <p:nvPr/>
        </p:nvSpPr>
        <p:spPr>
          <a:xfrm rot="10800000" flipV="1">
            <a:off x="5304249" y="3100705"/>
            <a:ext cx="1615393" cy="685800"/>
          </a:xfrm>
          <a:custGeom>
            <a:avLst/>
            <a:gdLst>
              <a:gd name="connsiteX0" fmla="*/ 1576374 w 1615393"/>
              <a:gd name="connsiteY0" fmla="*/ 778118 h 778118"/>
              <a:gd name="connsiteX1" fmla="*/ 39019 w 1615393"/>
              <a:gd name="connsiteY1" fmla="*/ 778118 h 778118"/>
              <a:gd name="connsiteX2" fmla="*/ 0 w 1615393"/>
              <a:gd name="connsiteY2" fmla="*/ 739099 h 778118"/>
              <a:gd name="connsiteX3" fmla="*/ 0 w 1615393"/>
              <a:gd name="connsiteY3" fmla="*/ 158027 h 778118"/>
              <a:gd name="connsiteX4" fmla="*/ 39019 w 1615393"/>
              <a:gd name="connsiteY4" fmla="*/ 119008 h 778118"/>
              <a:gd name="connsiteX5" fmla="*/ 738672 w 1615393"/>
              <a:gd name="connsiteY5" fmla="*/ 119008 h 778118"/>
              <a:gd name="connsiteX6" fmla="*/ 807697 w 1615393"/>
              <a:gd name="connsiteY6" fmla="*/ 0 h 778118"/>
              <a:gd name="connsiteX7" fmla="*/ 876722 w 1615393"/>
              <a:gd name="connsiteY7" fmla="*/ 119008 h 778118"/>
              <a:gd name="connsiteX8" fmla="*/ 1576374 w 1615393"/>
              <a:gd name="connsiteY8" fmla="*/ 119008 h 778118"/>
              <a:gd name="connsiteX9" fmla="*/ 1615393 w 1615393"/>
              <a:gd name="connsiteY9" fmla="*/ 158027 h 778118"/>
              <a:gd name="connsiteX10" fmla="*/ 1615393 w 1615393"/>
              <a:gd name="connsiteY10" fmla="*/ 739099 h 778118"/>
              <a:gd name="connsiteX11" fmla="*/ 1576374 w 1615393"/>
              <a:gd name="connsiteY11" fmla="*/ 778118 h 778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15393" h="778118">
                <a:moveTo>
                  <a:pt x="1576374" y="778118"/>
                </a:moveTo>
                <a:lnTo>
                  <a:pt x="39019" y="778118"/>
                </a:lnTo>
                <a:cubicBezTo>
                  <a:pt x="17469" y="778118"/>
                  <a:pt x="0" y="760649"/>
                  <a:pt x="0" y="739099"/>
                </a:cubicBezTo>
                <a:lnTo>
                  <a:pt x="0" y="158027"/>
                </a:lnTo>
                <a:cubicBezTo>
                  <a:pt x="0" y="136477"/>
                  <a:pt x="17469" y="119008"/>
                  <a:pt x="39019" y="119008"/>
                </a:cubicBezTo>
                <a:lnTo>
                  <a:pt x="738672" y="119008"/>
                </a:lnTo>
                <a:lnTo>
                  <a:pt x="807697" y="0"/>
                </a:lnTo>
                <a:lnTo>
                  <a:pt x="876722" y="119008"/>
                </a:lnTo>
                <a:lnTo>
                  <a:pt x="1576374" y="119008"/>
                </a:lnTo>
                <a:cubicBezTo>
                  <a:pt x="1597924" y="119008"/>
                  <a:pt x="1615393" y="136477"/>
                  <a:pt x="1615393" y="158027"/>
                </a:cubicBezTo>
                <a:lnTo>
                  <a:pt x="1615393" y="739099"/>
                </a:lnTo>
                <a:cubicBezTo>
                  <a:pt x="1615393" y="760649"/>
                  <a:pt x="1597924" y="778118"/>
                  <a:pt x="1576374" y="77811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355600" dist="457200" dir="5400000" sx="90000" sy="90000" algn="t" rotWithShape="0">
              <a:schemeClr val="accent3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C7687D27-3CE2-43B4-BD0B-166183C48D08}"/>
              </a:ext>
            </a:extLst>
          </p:cNvPr>
          <p:cNvSpPr txBox="1"/>
          <p:nvPr/>
        </p:nvSpPr>
        <p:spPr>
          <a:xfrm>
            <a:off x="5304249" y="3305923"/>
            <a:ext cx="1615393" cy="40011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03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2183654C-1E8B-4156-B2A8-5F836134B4B6}"/>
              </a:ext>
            </a:extLst>
          </p:cNvPr>
          <p:cNvSpPr/>
          <p:nvPr/>
        </p:nvSpPr>
        <p:spPr>
          <a:xfrm>
            <a:off x="7311385" y="3489672"/>
            <a:ext cx="2049745" cy="2321843"/>
          </a:xfrm>
          <a:prstGeom prst="roundRect">
            <a:avLst>
              <a:gd name="adj" fmla="val 2550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9C9C9">
                  <a:lumMod val="75000"/>
                </a:srgbClr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1E7EFDF8-FE2D-4005-8F2B-CBB8BB5062D5}"/>
              </a:ext>
            </a:extLst>
          </p:cNvPr>
          <p:cNvSpPr txBox="1"/>
          <p:nvPr/>
        </p:nvSpPr>
        <p:spPr>
          <a:xfrm>
            <a:off x="7539659" y="4039348"/>
            <a:ext cx="1593198" cy="1204813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借助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91B8348D-6A19-4774-817B-CEA551CAEFFE}"/>
              </a:ext>
            </a:extLst>
          </p:cNvPr>
          <p:cNvSpPr/>
          <p:nvPr/>
        </p:nvSpPr>
        <p:spPr>
          <a:xfrm rot="10800000" flipV="1">
            <a:off x="7528561" y="3100705"/>
            <a:ext cx="1615393" cy="685800"/>
          </a:xfrm>
          <a:custGeom>
            <a:avLst/>
            <a:gdLst>
              <a:gd name="connsiteX0" fmla="*/ 1576374 w 1615393"/>
              <a:gd name="connsiteY0" fmla="*/ 778118 h 778118"/>
              <a:gd name="connsiteX1" fmla="*/ 39019 w 1615393"/>
              <a:gd name="connsiteY1" fmla="*/ 778118 h 778118"/>
              <a:gd name="connsiteX2" fmla="*/ 0 w 1615393"/>
              <a:gd name="connsiteY2" fmla="*/ 739099 h 778118"/>
              <a:gd name="connsiteX3" fmla="*/ 0 w 1615393"/>
              <a:gd name="connsiteY3" fmla="*/ 158027 h 778118"/>
              <a:gd name="connsiteX4" fmla="*/ 39019 w 1615393"/>
              <a:gd name="connsiteY4" fmla="*/ 119008 h 778118"/>
              <a:gd name="connsiteX5" fmla="*/ 738672 w 1615393"/>
              <a:gd name="connsiteY5" fmla="*/ 119008 h 778118"/>
              <a:gd name="connsiteX6" fmla="*/ 807697 w 1615393"/>
              <a:gd name="connsiteY6" fmla="*/ 0 h 778118"/>
              <a:gd name="connsiteX7" fmla="*/ 876722 w 1615393"/>
              <a:gd name="connsiteY7" fmla="*/ 119008 h 778118"/>
              <a:gd name="connsiteX8" fmla="*/ 1576374 w 1615393"/>
              <a:gd name="connsiteY8" fmla="*/ 119008 h 778118"/>
              <a:gd name="connsiteX9" fmla="*/ 1615393 w 1615393"/>
              <a:gd name="connsiteY9" fmla="*/ 158027 h 778118"/>
              <a:gd name="connsiteX10" fmla="*/ 1615393 w 1615393"/>
              <a:gd name="connsiteY10" fmla="*/ 739099 h 778118"/>
              <a:gd name="connsiteX11" fmla="*/ 1576374 w 1615393"/>
              <a:gd name="connsiteY11" fmla="*/ 778118 h 778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15393" h="778118">
                <a:moveTo>
                  <a:pt x="1576374" y="778118"/>
                </a:moveTo>
                <a:lnTo>
                  <a:pt x="39019" y="778118"/>
                </a:lnTo>
                <a:cubicBezTo>
                  <a:pt x="17469" y="778118"/>
                  <a:pt x="0" y="760649"/>
                  <a:pt x="0" y="739099"/>
                </a:cubicBezTo>
                <a:lnTo>
                  <a:pt x="0" y="158027"/>
                </a:lnTo>
                <a:cubicBezTo>
                  <a:pt x="0" y="136477"/>
                  <a:pt x="17469" y="119008"/>
                  <a:pt x="39019" y="119008"/>
                </a:cubicBezTo>
                <a:lnTo>
                  <a:pt x="738672" y="119008"/>
                </a:lnTo>
                <a:lnTo>
                  <a:pt x="807697" y="0"/>
                </a:lnTo>
                <a:lnTo>
                  <a:pt x="876722" y="119008"/>
                </a:lnTo>
                <a:lnTo>
                  <a:pt x="1576374" y="119008"/>
                </a:lnTo>
                <a:cubicBezTo>
                  <a:pt x="1597924" y="119008"/>
                  <a:pt x="1615393" y="136477"/>
                  <a:pt x="1615393" y="158027"/>
                </a:cubicBezTo>
                <a:lnTo>
                  <a:pt x="1615393" y="739099"/>
                </a:lnTo>
                <a:cubicBezTo>
                  <a:pt x="1615393" y="760649"/>
                  <a:pt x="1597924" y="778118"/>
                  <a:pt x="1576374" y="7781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355600" dist="457200" dir="5400000" sx="90000" sy="90000" algn="t" rotWithShape="0">
              <a:schemeClr val="accent1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B07CDBD3-F4FB-4F31-845C-32F9892BF8E8}"/>
              </a:ext>
            </a:extLst>
          </p:cNvPr>
          <p:cNvSpPr txBox="1"/>
          <p:nvPr/>
        </p:nvSpPr>
        <p:spPr>
          <a:xfrm>
            <a:off x="7528561" y="3305923"/>
            <a:ext cx="1615393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04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58" name="矩形: 圆角 57">
            <a:extLst>
              <a:ext uri="{FF2B5EF4-FFF2-40B4-BE49-F238E27FC236}">
                <a16:creationId xmlns:a16="http://schemas.microsoft.com/office/drawing/2014/main" id="{1E4D3EE0-6B43-4024-A4EB-323D882607D1}"/>
              </a:ext>
            </a:extLst>
          </p:cNvPr>
          <p:cNvSpPr/>
          <p:nvPr/>
        </p:nvSpPr>
        <p:spPr>
          <a:xfrm>
            <a:off x="9517089" y="3489672"/>
            <a:ext cx="2049745" cy="2321843"/>
          </a:xfrm>
          <a:prstGeom prst="roundRect">
            <a:avLst>
              <a:gd name="adj" fmla="val 255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C9C9C9">
                  <a:lumMod val="75000"/>
                </a:srgbClr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1DBC6D81-E67E-4B13-A6F5-C73D57EDDCA4}"/>
              </a:ext>
            </a:extLst>
          </p:cNvPr>
          <p:cNvSpPr/>
          <p:nvPr/>
        </p:nvSpPr>
        <p:spPr>
          <a:xfrm rot="10800000" flipV="1">
            <a:off x="9734265" y="3100705"/>
            <a:ext cx="1615393" cy="685800"/>
          </a:xfrm>
          <a:custGeom>
            <a:avLst/>
            <a:gdLst>
              <a:gd name="connsiteX0" fmla="*/ 1576374 w 1615393"/>
              <a:gd name="connsiteY0" fmla="*/ 778118 h 778118"/>
              <a:gd name="connsiteX1" fmla="*/ 39019 w 1615393"/>
              <a:gd name="connsiteY1" fmla="*/ 778118 h 778118"/>
              <a:gd name="connsiteX2" fmla="*/ 0 w 1615393"/>
              <a:gd name="connsiteY2" fmla="*/ 739099 h 778118"/>
              <a:gd name="connsiteX3" fmla="*/ 0 w 1615393"/>
              <a:gd name="connsiteY3" fmla="*/ 158027 h 778118"/>
              <a:gd name="connsiteX4" fmla="*/ 39019 w 1615393"/>
              <a:gd name="connsiteY4" fmla="*/ 119008 h 778118"/>
              <a:gd name="connsiteX5" fmla="*/ 738672 w 1615393"/>
              <a:gd name="connsiteY5" fmla="*/ 119008 h 778118"/>
              <a:gd name="connsiteX6" fmla="*/ 807697 w 1615393"/>
              <a:gd name="connsiteY6" fmla="*/ 0 h 778118"/>
              <a:gd name="connsiteX7" fmla="*/ 876722 w 1615393"/>
              <a:gd name="connsiteY7" fmla="*/ 119008 h 778118"/>
              <a:gd name="connsiteX8" fmla="*/ 1576374 w 1615393"/>
              <a:gd name="connsiteY8" fmla="*/ 119008 h 778118"/>
              <a:gd name="connsiteX9" fmla="*/ 1615393 w 1615393"/>
              <a:gd name="connsiteY9" fmla="*/ 158027 h 778118"/>
              <a:gd name="connsiteX10" fmla="*/ 1615393 w 1615393"/>
              <a:gd name="connsiteY10" fmla="*/ 739099 h 778118"/>
              <a:gd name="connsiteX11" fmla="*/ 1576374 w 1615393"/>
              <a:gd name="connsiteY11" fmla="*/ 778118 h 778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15393" h="778118">
                <a:moveTo>
                  <a:pt x="1576374" y="778118"/>
                </a:moveTo>
                <a:lnTo>
                  <a:pt x="39019" y="778118"/>
                </a:lnTo>
                <a:cubicBezTo>
                  <a:pt x="17469" y="778118"/>
                  <a:pt x="0" y="760649"/>
                  <a:pt x="0" y="739099"/>
                </a:cubicBezTo>
                <a:lnTo>
                  <a:pt x="0" y="158027"/>
                </a:lnTo>
                <a:cubicBezTo>
                  <a:pt x="0" y="136477"/>
                  <a:pt x="17469" y="119008"/>
                  <a:pt x="39019" y="119008"/>
                </a:cubicBezTo>
                <a:lnTo>
                  <a:pt x="738672" y="119008"/>
                </a:lnTo>
                <a:lnTo>
                  <a:pt x="807697" y="0"/>
                </a:lnTo>
                <a:lnTo>
                  <a:pt x="876722" y="119008"/>
                </a:lnTo>
                <a:lnTo>
                  <a:pt x="1576374" y="119008"/>
                </a:lnTo>
                <a:cubicBezTo>
                  <a:pt x="1597924" y="119008"/>
                  <a:pt x="1615393" y="136477"/>
                  <a:pt x="1615393" y="158027"/>
                </a:cubicBezTo>
                <a:lnTo>
                  <a:pt x="1615393" y="739099"/>
                </a:lnTo>
                <a:cubicBezTo>
                  <a:pt x="1615393" y="760649"/>
                  <a:pt x="1597924" y="778118"/>
                  <a:pt x="1576374" y="77811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355600" dist="457200" dir="5400000" sx="90000" sy="90000" algn="t" rotWithShape="0">
              <a:schemeClr val="accent2">
                <a:lumMod val="50000"/>
                <a:alpha val="4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59C8D947-1BFF-46EE-A407-42F35D0CDD9E}"/>
              </a:ext>
            </a:extLst>
          </p:cNvPr>
          <p:cNvSpPr txBox="1"/>
          <p:nvPr/>
        </p:nvSpPr>
        <p:spPr>
          <a:xfrm>
            <a:off x="9734265" y="3305923"/>
            <a:ext cx="1615393" cy="40011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05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AB9C2BBF-4A45-4E85-9F94-1425D9B3EFF4}"/>
              </a:ext>
            </a:extLst>
          </p:cNvPr>
          <p:cNvSpPr txBox="1"/>
          <p:nvPr/>
        </p:nvSpPr>
        <p:spPr>
          <a:xfrm>
            <a:off x="866723" y="4039348"/>
            <a:ext cx="1593198" cy="93653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C367B342-ADC0-4B0B-8A93-1E00BED137C6}"/>
              </a:ext>
            </a:extLst>
          </p:cNvPr>
          <p:cNvSpPr txBox="1"/>
          <p:nvPr/>
        </p:nvSpPr>
        <p:spPr>
          <a:xfrm>
            <a:off x="9745363" y="4039348"/>
            <a:ext cx="1593198" cy="1176604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109" name="椭圆 108">
            <a:extLst>
              <a:ext uri="{FF2B5EF4-FFF2-40B4-BE49-F238E27FC236}">
                <a16:creationId xmlns:a16="http://schemas.microsoft.com/office/drawing/2014/main" id="{0112039C-1E20-422B-AD1A-AF39E4B5D2BF}"/>
              </a:ext>
            </a:extLst>
          </p:cNvPr>
          <p:cNvSpPr/>
          <p:nvPr/>
        </p:nvSpPr>
        <p:spPr>
          <a:xfrm>
            <a:off x="1571204" y="2648195"/>
            <a:ext cx="184234" cy="184234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111" name="椭圆 110">
            <a:extLst>
              <a:ext uri="{FF2B5EF4-FFF2-40B4-BE49-F238E27FC236}">
                <a16:creationId xmlns:a16="http://schemas.microsoft.com/office/drawing/2014/main" id="{582DD5EE-AE49-4DE3-83B2-4FFA5DFACD58}"/>
              </a:ext>
            </a:extLst>
          </p:cNvPr>
          <p:cNvSpPr/>
          <p:nvPr/>
        </p:nvSpPr>
        <p:spPr>
          <a:xfrm>
            <a:off x="3795516" y="2648195"/>
            <a:ext cx="184234" cy="184234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112" name="椭圆 111">
            <a:extLst>
              <a:ext uri="{FF2B5EF4-FFF2-40B4-BE49-F238E27FC236}">
                <a16:creationId xmlns:a16="http://schemas.microsoft.com/office/drawing/2014/main" id="{1D99B03D-F6AB-4B42-A96A-EA7104F8CEED}"/>
              </a:ext>
            </a:extLst>
          </p:cNvPr>
          <p:cNvSpPr/>
          <p:nvPr/>
        </p:nvSpPr>
        <p:spPr>
          <a:xfrm>
            <a:off x="6019828" y="2648195"/>
            <a:ext cx="184234" cy="184234"/>
          </a:xfrm>
          <a:prstGeom prst="ellipse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113" name="椭圆 112">
            <a:extLst>
              <a:ext uri="{FF2B5EF4-FFF2-40B4-BE49-F238E27FC236}">
                <a16:creationId xmlns:a16="http://schemas.microsoft.com/office/drawing/2014/main" id="{A97DA28A-73E3-43F1-85DD-C35F5DC0BF38}"/>
              </a:ext>
            </a:extLst>
          </p:cNvPr>
          <p:cNvSpPr/>
          <p:nvPr/>
        </p:nvSpPr>
        <p:spPr>
          <a:xfrm>
            <a:off x="8244140" y="2648195"/>
            <a:ext cx="184234" cy="184234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114" name="椭圆 113">
            <a:extLst>
              <a:ext uri="{FF2B5EF4-FFF2-40B4-BE49-F238E27FC236}">
                <a16:creationId xmlns:a16="http://schemas.microsoft.com/office/drawing/2014/main" id="{7C27968D-A298-4C6F-B7C7-221C238A2B22}"/>
              </a:ext>
            </a:extLst>
          </p:cNvPr>
          <p:cNvSpPr/>
          <p:nvPr/>
        </p:nvSpPr>
        <p:spPr>
          <a:xfrm>
            <a:off x="10449844" y="2648195"/>
            <a:ext cx="184234" cy="184234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OPPOSans R" panose="00020600040101010101" pitchFamily="18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346C3D38-C844-44D3-B2B7-EC2BF50CE8F7}"/>
              </a:ext>
            </a:extLst>
          </p:cNvPr>
          <p:cNvSpPr txBox="1"/>
          <p:nvPr/>
        </p:nvSpPr>
        <p:spPr>
          <a:xfrm>
            <a:off x="3890080" y="1306161"/>
            <a:ext cx="4039196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OPPOSans R" panose="00020600040101010101" pitchFamily="18" charset="-122"/>
              </a:rPr>
              <a:t>设计师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OPPOSans R" panose="00020600040101010101" pitchFamily="18" charset="-122"/>
              </a:rPr>
              <a:t>PPT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OPPOSans R" panose="00020600040101010101" pitchFamily="18" charset="-122"/>
              </a:rPr>
              <a:t>更快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4C96B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OPPOSans R" panose="00020600040101010101" pitchFamily="18" charset="-122"/>
              </a:rPr>
              <a:t>更轻松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CE09236F-12FA-46AA-8AD1-0606F8174F66}"/>
              </a:ext>
            </a:extLst>
          </p:cNvPr>
          <p:cNvSpPr txBox="1"/>
          <p:nvPr/>
        </p:nvSpPr>
        <p:spPr>
          <a:xfrm>
            <a:off x="4901057" y="1890936"/>
            <a:ext cx="2017242" cy="230832"/>
          </a:xfrm>
          <a:prstGeom prst="rect">
            <a:avLst/>
          </a:prstGeom>
          <a:noFill/>
        </p:spPr>
        <p:txBody>
          <a:bodyPr wrap="square" lIns="0" tIns="45720" rIns="91440" bIns="45720">
            <a:spAutoFit/>
          </a:bodyPr>
          <a:lstStyle>
            <a:defPPr>
              <a:defRPr lang="zh-CN"/>
            </a:defPPr>
            <a:lvl1pPr algn="dist">
              <a:lnSpc>
                <a:spcPct val="150000"/>
              </a:lnSpc>
              <a:defRPr sz="900">
                <a:solidFill>
                  <a:schemeClr val="bg1"/>
                </a:solidFill>
                <a:latin typeface="Bahnschrift" panose="020B0502040204020203" pitchFamily="34" charset="0"/>
                <a:ea typeface="OPPOSans R" panose="00020600040101010101" pitchFamily="18" charset="-122"/>
                <a:cs typeface="OPPOSans R" panose="00020600040101010101" pitchFamily="18" charset="-122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OPPOSans R" panose="00020600040101010101" pitchFamily="18" charset="-122"/>
              </a:rPr>
              <a:t>- Add your Title Here -</a:t>
            </a:r>
          </a:p>
        </p:txBody>
      </p:sp>
    </p:spTree>
    <p:extLst>
      <p:ext uri="{BB962C8B-B14F-4D97-AF65-F5344CB8AC3E}">
        <p14:creationId xmlns:p14="http://schemas.microsoft.com/office/powerpoint/2010/main" val="61241245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aoding-1">
            <a:extLst>
              <a:ext uri="{FF2B5EF4-FFF2-40B4-BE49-F238E27FC236}">
                <a16:creationId xmlns:a16="http://schemas.microsoft.com/office/drawing/2014/main" id="{40D27B28-8F98-45D1-9F07-627A6A7EF06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54" name="gaoding-1-1">
              <a:extLst>
                <a:ext uri="{FF2B5EF4-FFF2-40B4-BE49-F238E27FC236}">
                  <a16:creationId xmlns:a16="http://schemas.microsoft.com/office/drawing/2014/main" id="{B47149C9-0B94-4B20-89BB-6D1EB3A307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993" t="43590" b="1561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5" name="gaoding-1-2">
              <a:extLst>
                <a:ext uri="{FF2B5EF4-FFF2-40B4-BE49-F238E27FC236}">
                  <a16:creationId xmlns:a16="http://schemas.microsoft.com/office/drawing/2014/main" id="{846C9AFF-5D48-42D2-B2F1-7BD4744E0B5F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25000">
                  <a:schemeClr val="bg1"/>
                </a:gs>
                <a:gs pos="100000">
                  <a:schemeClr val="bg1">
                    <a:alpha val="76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" name="gaoding-2">
            <a:extLst>
              <a:ext uri="{FF2B5EF4-FFF2-40B4-BE49-F238E27FC236}">
                <a16:creationId xmlns:a16="http://schemas.microsoft.com/office/drawing/2014/main" id="{972911B3-7E4E-40BF-AE18-39A9C8133575}"/>
              </a:ext>
            </a:extLst>
          </p:cNvPr>
          <p:cNvSpPr txBox="1">
            <a:spLocks/>
          </p:cNvSpPr>
          <p:nvPr/>
        </p:nvSpPr>
        <p:spPr>
          <a:xfrm>
            <a:off x="3599545" y="949228"/>
            <a:ext cx="4992912" cy="395181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solidFill>
              <a:schemeClr val="accent2"/>
            </a:solidFill>
          </a:ln>
        </p:spPr>
        <p:txBody>
          <a:bodyPr wrap="none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6" name="gaoding-3">
            <a:extLst>
              <a:ext uri="{FF2B5EF4-FFF2-40B4-BE49-F238E27FC236}">
                <a16:creationId xmlns:a16="http://schemas.microsoft.com/office/drawing/2014/main" id="{8B1BB8D1-8D5A-4C70-A201-14D6AB029DA1}"/>
              </a:ext>
            </a:extLst>
          </p:cNvPr>
          <p:cNvSpPr txBox="1">
            <a:spLocks/>
          </p:cNvSpPr>
          <p:nvPr/>
        </p:nvSpPr>
        <p:spPr>
          <a:xfrm>
            <a:off x="3450582" y="2055404"/>
            <a:ext cx="2439692" cy="338554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17" name="gaoding-4">
            <a:extLst>
              <a:ext uri="{FF2B5EF4-FFF2-40B4-BE49-F238E27FC236}">
                <a16:creationId xmlns:a16="http://schemas.microsoft.com/office/drawing/2014/main" id="{B46AEC5E-57DA-44F0-9D7D-C9D0B061F43A}"/>
              </a:ext>
            </a:extLst>
          </p:cNvPr>
          <p:cNvSpPr txBox="1">
            <a:spLocks/>
          </p:cNvSpPr>
          <p:nvPr/>
        </p:nvSpPr>
        <p:spPr>
          <a:xfrm>
            <a:off x="3824178" y="2326285"/>
            <a:ext cx="1692500" cy="7064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不论你是销售、策划、学生、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爱好者，都能在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找到适合的模板。</a:t>
            </a:r>
          </a:p>
        </p:txBody>
      </p:sp>
      <p:sp>
        <p:nvSpPr>
          <p:cNvPr id="14" name="gaoding-5">
            <a:extLst>
              <a:ext uri="{FF2B5EF4-FFF2-40B4-BE49-F238E27FC236}">
                <a16:creationId xmlns:a16="http://schemas.microsoft.com/office/drawing/2014/main" id="{695FA28C-2BEE-4E3D-9A98-487D14A59DF6}"/>
              </a:ext>
            </a:extLst>
          </p:cNvPr>
          <p:cNvSpPr txBox="1">
            <a:spLocks/>
          </p:cNvSpPr>
          <p:nvPr/>
        </p:nvSpPr>
        <p:spPr>
          <a:xfrm>
            <a:off x="6286484" y="2055404"/>
            <a:ext cx="2439692" cy="338554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15" name="gaoding-6">
            <a:extLst>
              <a:ext uri="{FF2B5EF4-FFF2-40B4-BE49-F238E27FC236}">
                <a16:creationId xmlns:a16="http://schemas.microsoft.com/office/drawing/2014/main" id="{A7E73D0F-ED97-4473-9A70-CE62CF32751B}"/>
              </a:ext>
            </a:extLst>
          </p:cNvPr>
          <p:cNvSpPr txBox="1">
            <a:spLocks/>
          </p:cNvSpPr>
          <p:nvPr/>
        </p:nvSpPr>
        <p:spPr>
          <a:xfrm>
            <a:off x="6661947" y="2326285"/>
            <a:ext cx="1688766" cy="7064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丰富的信息图表覆盖并列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/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流程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/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层级等多种逻辑关系，帮助有效梳理页面内容。</a:t>
            </a:r>
          </a:p>
        </p:txBody>
      </p:sp>
      <p:sp>
        <p:nvSpPr>
          <p:cNvPr id="12" name="gaoding-7">
            <a:extLst>
              <a:ext uri="{FF2B5EF4-FFF2-40B4-BE49-F238E27FC236}">
                <a16:creationId xmlns:a16="http://schemas.microsoft.com/office/drawing/2014/main" id="{A282ED27-004D-4534-89BF-199FB4058435}"/>
              </a:ext>
            </a:extLst>
          </p:cNvPr>
          <p:cNvSpPr txBox="1">
            <a:spLocks/>
          </p:cNvSpPr>
          <p:nvPr/>
        </p:nvSpPr>
        <p:spPr>
          <a:xfrm>
            <a:off x="9122388" y="2055404"/>
            <a:ext cx="2439692" cy="338554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13" name="gaoding-8">
            <a:extLst>
              <a:ext uri="{FF2B5EF4-FFF2-40B4-BE49-F238E27FC236}">
                <a16:creationId xmlns:a16="http://schemas.microsoft.com/office/drawing/2014/main" id="{B3334589-E19E-4300-946A-5EAB08EA9D6A}"/>
              </a:ext>
            </a:extLst>
          </p:cNvPr>
          <p:cNvSpPr txBox="1">
            <a:spLocks/>
          </p:cNvSpPr>
          <p:nvPr/>
        </p:nvSpPr>
        <p:spPr>
          <a:xfrm>
            <a:off x="9511832" y="2326285"/>
            <a:ext cx="1660804" cy="7064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借助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插件，通过添加图片等素材，用强大的视觉表现力打动听众，讲述生动的演示故事。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0" name="gaoding-9">
            <a:extLst>
              <a:ext uri="{FF2B5EF4-FFF2-40B4-BE49-F238E27FC236}">
                <a16:creationId xmlns:a16="http://schemas.microsoft.com/office/drawing/2014/main" id="{D9F6D411-3B0D-4539-9AFB-070D8F1A54EA}"/>
              </a:ext>
            </a:extLst>
          </p:cNvPr>
          <p:cNvSpPr txBox="1">
            <a:spLocks/>
          </p:cNvSpPr>
          <p:nvPr/>
        </p:nvSpPr>
        <p:spPr>
          <a:xfrm>
            <a:off x="614680" y="2055404"/>
            <a:ext cx="2439692" cy="338554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11" name="gaoding-10">
            <a:extLst>
              <a:ext uri="{FF2B5EF4-FFF2-40B4-BE49-F238E27FC236}">
                <a16:creationId xmlns:a16="http://schemas.microsoft.com/office/drawing/2014/main" id="{6F1D20F0-D44C-432A-8B99-3B39B99A89F8}"/>
              </a:ext>
            </a:extLst>
          </p:cNvPr>
          <p:cNvSpPr txBox="1">
            <a:spLocks/>
          </p:cNvSpPr>
          <p:nvPr/>
        </p:nvSpPr>
        <p:spPr>
          <a:xfrm>
            <a:off x="986407" y="2326285"/>
            <a:ext cx="1696236" cy="7064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18" name="gaoding-11">
            <a:extLst>
              <a:ext uri="{FF2B5EF4-FFF2-40B4-BE49-F238E27FC236}">
                <a16:creationId xmlns:a16="http://schemas.microsoft.com/office/drawing/2014/main" id="{BFDDAC8F-D638-4410-812C-801D81C3F770}"/>
              </a:ext>
            </a:extLst>
          </p:cNvPr>
          <p:cNvCxnSpPr>
            <a:cxnSpLocks/>
          </p:cNvCxnSpPr>
          <p:nvPr/>
        </p:nvCxnSpPr>
        <p:spPr>
          <a:xfrm>
            <a:off x="1834526" y="1883493"/>
            <a:ext cx="850770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aoding-12">
            <a:extLst>
              <a:ext uri="{FF2B5EF4-FFF2-40B4-BE49-F238E27FC236}">
                <a16:creationId xmlns:a16="http://schemas.microsoft.com/office/drawing/2014/main" id="{09D379AB-9ED4-4216-9300-409E71D92A5E}"/>
              </a:ext>
            </a:extLst>
          </p:cNvPr>
          <p:cNvCxnSpPr>
            <a:cxnSpLocks/>
          </p:cNvCxnSpPr>
          <p:nvPr/>
        </p:nvCxnSpPr>
        <p:spPr>
          <a:xfrm>
            <a:off x="6096001" y="1344409"/>
            <a:ext cx="0" cy="99913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gaoding-13">
            <a:extLst>
              <a:ext uri="{FF2B5EF4-FFF2-40B4-BE49-F238E27FC236}">
                <a16:creationId xmlns:a16="http://schemas.microsoft.com/office/drawing/2014/main" id="{E91C71D4-995E-4186-9170-BCF668374244}"/>
              </a:ext>
            </a:extLst>
          </p:cNvPr>
          <p:cNvSpPr/>
          <p:nvPr/>
        </p:nvSpPr>
        <p:spPr>
          <a:xfrm>
            <a:off x="1803689" y="1850581"/>
            <a:ext cx="61674" cy="616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1" name="gaoding-14">
            <a:extLst>
              <a:ext uri="{FF2B5EF4-FFF2-40B4-BE49-F238E27FC236}">
                <a16:creationId xmlns:a16="http://schemas.microsoft.com/office/drawing/2014/main" id="{29BD7E80-9C31-449B-A095-DF26C82FDD2D}"/>
              </a:ext>
            </a:extLst>
          </p:cNvPr>
          <p:cNvSpPr/>
          <p:nvPr/>
        </p:nvSpPr>
        <p:spPr>
          <a:xfrm>
            <a:off x="4637723" y="1850581"/>
            <a:ext cx="61674" cy="616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2" name="gaoding-15">
            <a:extLst>
              <a:ext uri="{FF2B5EF4-FFF2-40B4-BE49-F238E27FC236}">
                <a16:creationId xmlns:a16="http://schemas.microsoft.com/office/drawing/2014/main" id="{30BB5808-E647-47D4-8B19-E4388D616DF8}"/>
              </a:ext>
            </a:extLst>
          </p:cNvPr>
          <p:cNvSpPr/>
          <p:nvPr/>
        </p:nvSpPr>
        <p:spPr>
          <a:xfrm>
            <a:off x="7423312" y="1850581"/>
            <a:ext cx="61674" cy="616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3" name="gaoding-16">
            <a:extLst>
              <a:ext uri="{FF2B5EF4-FFF2-40B4-BE49-F238E27FC236}">
                <a16:creationId xmlns:a16="http://schemas.microsoft.com/office/drawing/2014/main" id="{47FB2F54-6B63-43B7-B4D9-4C2096B003BD}"/>
              </a:ext>
            </a:extLst>
          </p:cNvPr>
          <p:cNvSpPr/>
          <p:nvPr/>
        </p:nvSpPr>
        <p:spPr>
          <a:xfrm>
            <a:off x="10311397" y="1850581"/>
            <a:ext cx="61674" cy="616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45" name="gaoding-17">
            <a:extLst>
              <a:ext uri="{FF2B5EF4-FFF2-40B4-BE49-F238E27FC236}">
                <a16:creationId xmlns:a16="http://schemas.microsoft.com/office/drawing/2014/main" id="{0A7FD57F-A70C-4092-A83C-7E966927420D}"/>
              </a:ext>
            </a:extLst>
          </p:cNvPr>
          <p:cNvSpPr txBox="1">
            <a:spLocks/>
          </p:cNvSpPr>
          <p:nvPr/>
        </p:nvSpPr>
        <p:spPr>
          <a:xfrm>
            <a:off x="3450582" y="3630204"/>
            <a:ext cx="2439692" cy="338554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6" name="gaoding-18">
            <a:extLst>
              <a:ext uri="{FF2B5EF4-FFF2-40B4-BE49-F238E27FC236}">
                <a16:creationId xmlns:a16="http://schemas.microsoft.com/office/drawing/2014/main" id="{E77E02CC-9C7B-40AA-B5F6-F3737155682C}"/>
              </a:ext>
            </a:extLst>
          </p:cNvPr>
          <p:cNvSpPr txBox="1">
            <a:spLocks/>
          </p:cNvSpPr>
          <p:nvPr/>
        </p:nvSpPr>
        <p:spPr>
          <a:xfrm>
            <a:off x="3824178" y="3901085"/>
            <a:ext cx="1692500" cy="7064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不论你是销售、策划、学生、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爱好者，都能在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找到适合的模板。</a:t>
            </a:r>
          </a:p>
        </p:txBody>
      </p:sp>
      <p:sp>
        <p:nvSpPr>
          <p:cNvPr id="43" name="gaoding-19">
            <a:extLst>
              <a:ext uri="{FF2B5EF4-FFF2-40B4-BE49-F238E27FC236}">
                <a16:creationId xmlns:a16="http://schemas.microsoft.com/office/drawing/2014/main" id="{0046C5D2-98D1-423E-A414-D596E4DC53DB}"/>
              </a:ext>
            </a:extLst>
          </p:cNvPr>
          <p:cNvSpPr txBox="1">
            <a:spLocks/>
          </p:cNvSpPr>
          <p:nvPr/>
        </p:nvSpPr>
        <p:spPr>
          <a:xfrm>
            <a:off x="6286484" y="3630204"/>
            <a:ext cx="2439692" cy="338554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4" name="gaoding-20">
            <a:extLst>
              <a:ext uri="{FF2B5EF4-FFF2-40B4-BE49-F238E27FC236}">
                <a16:creationId xmlns:a16="http://schemas.microsoft.com/office/drawing/2014/main" id="{149D344C-FF62-4076-A7A0-9EEA41A852CF}"/>
              </a:ext>
            </a:extLst>
          </p:cNvPr>
          <p:cNvSpPr txBox="1">
            <a:spLocks/>
          </p:cNvSpPr>
          <p:nvPr/>
        </p:nvSpPr>
        <p:spPr>
          <a:xfrm>
            <a:off x="6661947" y="3901085"/>
            <a:ext cx="1688766" cy="7064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丰富的信息图表覆盖并列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/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流程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/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层级等多种逻辑关系，帮助有效梳理页面内容。</a:t>
            </a:r>
          </a:p>
        </p:txBody>
      </p:sp>
      <p:sp>
        <p:nvSpPr>
          <p:cNvPr id="41" name="gaoding-21">
            <a:extLst>
              <a:ext uri="{FF2B5EF4-FFF2-40B4-BE49-F238E27FC236}">
                <a16:creationId xmlns:a16="http://schemas.microsoft.com/office/drawing/2014/main" id="{8C7A2FD4-7155-45C9-BAB1-7F570C7160D7}"/>
              </a:ext>
            </a:extLst>
          </p:cNvPr>
          <p:cNvSpPr txBox="1">
            <a:spLocks/>
          </p:cNvSpPr>
          <p:nvPr/>
        </p:nvSpPr>
        <p:spPr>
          <a:xfrm>
            <a:off x="9122388" y="3630204"/>
            <a:ext cx="2439692" cy="338554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2" name="gaoding-22">
            <a:extLst>
              <a:ext uri="{FF2B5EF4-FFF2-40B4-BE49-F238E27FC236}">
                <a16:creationId xmlns:a16="http://schemas.microsoft.com/office/drawing/2014/main" id="{4BA87543-7FE3-4002-A4BB-B953F6E98F06}"/>
              </a:ext>
            </a:extLst>
          </p:cNvPr>
          <p:cNvSpPr txBox="1">
            <a:spLocks/>
          </p:cNvSpPr>
          <p:nvPr/>
        </p:nvSpPr>
        <p:spPr>
          <a:xfrm>
            <a:off x="9511832" y="3901085"/>
            <a:ext cx="1660804" cy="7064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借助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插件，通过添加图片等素材，用强大的视觉表现力打动听众，讲述生动的演示故事。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39" name="gaoding-23">
            <a:extLst>
              <a:ext uri="{FF2B5EF4-FFF2-40B4-BE49-F238E27FC236}">
                <a16:creationId xmlns:a16="http://schemas.microsoft.com/office/drawing/2014/main" id="{58F36FE5-6F8E-474A-9319-DD055CDA3F66}"/>
              </a:ext>
            </a:extLst>
          </p:cNvPr>
          <p:cNvSpPr txBox="1">
            <a:spLocks/>
          </p:cNvSpPr>
          <p:nvPr/>
        </p:nvSpPr>
        <p:spPr>
          <a:xfrm>
            <a:off x="614680" y="3630204"/>
            <a:ext cx="2439692" cy="338554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0" name="gaoding-24">
            <a:extLst>
              <a:ext uri="{FF2B5EF4-FFF2-40B4-BE49-F238E27FC236}">
                <a16:creationId xmlns:a16="http://schemas.microsoft.com/office/drawing/2014/main" id="{88A52DAF-ADF1-4835-94D3-07832D39630C}"/>
              </a:ext>
            </a:extLst>
          </p:cNvPr>
          <p:cNvSpPr txBox="1">
            <a:spLocks/>
          </p:cNvSpPr>
          <p:nvPr/>
        </p:nvSpPr>
        <p:spPr>
          <a:xfrm>
            <a:off x="986407" y="3901085"/>
            <a:ext cx="1696236" cy="70647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47" name="gaoding-25">
            <a:extLst>
              <a:ext uri="{FF2B5EF4-FFF2-40B4-BE49-F238E27FC236}">
                <a16:creationId xmlns:a16="http://schemas.microsoft.com/office/drawing/2014/main" id="{D2A47900-CBA8-4B2C-89FB-B5FB7101808A}"/>
              </a:ext>
            </a:extLst>
          </p:cNvPr>
          <p:cNvCxnSpPr>
            <a:cxnSpLocks/>
          </p:cNvCxnSpPr>
          <p:nvPr/>
        </p:nvCxnSpPr>
        <p:spPr>
          <a:xfrm>
            <a:off x="1834526" y="3458293"/>
            <a:ext cx="850770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aoding-26">
            <a:extLst>
              <a:ext uri="{FF2B5EF4-FFF2-40B4-BE49-F238E27FC236}">
                <a16:creationId xmlns:a16="http://schemas.microsoft.com/office/drawing/2014/main" id="{170861C7-BB36-4B91-95A5-8A683F68BAED}"/>
              </a:ext>
            </a:extLst>
          </p:cNvPr>
          <p:cNvCxnSpPr/>
          <p:nvPr/>
        </p:nvCxnSpPr>
        <p:spPr>
          <a:xfrm flipH="1">
            <a:off x="6096000" y="3341908"/>
            <a:ext cx="1" cy="125833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gaoding-27">
            <a:extLst>
              <a:ext uri="{FF2B5EF4-FFF2-40B4-BE49-F238E27FC236}">
                <a16:creationId xmlns:a16="http://schemas.microsoft.com/office/drawing/2014/main" id="{80D335C7-5B48-4F4A-AC4D-AEB5FA9BA08E}"/>
              </a:ext>
            </a:extLst>
          </p:cNvPr>
          <p:cNvSpPr/>
          <p:nvPr/>
        </p:nvSpPr>
        <p:spPr>
          <a:xfrm>
            <a:off x="1803689" y="3425381"/>
            <a:ext cx="61674" cy="616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50" name="gaoding-28">
            <a:extLst>
              <a:ext uri="{FF2B5EF4-FFF2-40B4-BE49-F238E27FC236}">
                <a16:creationId xmlns:a16="http://schemas.microsoft.com/office/drawing/2014/main" id="{EF319EAC-C8C6-408D-9B0A-EF8C5049C13C}"/>
              </a:ext>
            </a:extLst>
          </p:cNvPr>
          <p:cNvSpPr/>
          <p:nvPr/>
        </p:nvSpPr>
        <p:spPr>
          <a:xfrm>
            <a:off x="4637723" y="3425381"/>
            <a:ext cx="61674" cy="616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51" name="gaoding-29">
            <a:extLst>
              <a:ext uri="{FF2B5EF4-FFF2-40B4-BE49-F238E27FC236}">
                <a16:creationId xmlns:a16="http://schemas.microsoft.com/office/drawing/2014/main" id="{F75A1CC7-13B9-4E9C-8BD2-154541D72C2B}"/>
              </a:ext>
            </a:extLst>
          </p:cNvPr>
          <p:cNvSpPr/>
          <p:nvPr/>
        </p:nvSpPr>
        <p:spPr>
          <a:xfrm>
            <a:off x="7423312" y="3425381"/>
            <a:ext cx="61674" cy="616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52" name="gaoding-30">
            <a:extLst>
              <a:ext uri="{FF2B5EF4-FFF2-40B4-BE49-F238E27FC236}">
                <a16:creationId xmlns:a16="http://schemas.microsoft.com/office/drawing/2014/main" id="{E38D2F89-B396-4954-B082-EAA6C87766DA}"/>
              </a:ext>
            </a:extLst>
          </p:cNvPr>
          <p:cNvSpPr/>
          <p:nvPr/>
        </p:nvSpPr>
        <p:spPr>
          <a:xfrm>
            <a:off x="10311397" y="3425381"/>
            <a:ext cx="61674" cy="616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grpSp>
        <p:nvGrpSpPr>
          <p:cNvPr id="60" name="gaoding-31">
            <a:extLst>
              <a:ext uri="{FF2B5EF4-FFF2-40B4-BE49-F238E27FC236}">
                <a16:creationId xmlns:a16="http://schemas.microsoft.com/office/drawing/2014/main" id="{D7B79173-47D5-4104-A13F-0A7D063D9890}"/>
              </a:ext>
            </a:extLst>
          </p:cNvPr>
          <p:cNvGrpSpPr/>
          <p:nvPr/>
        </p:nvGrpSpPr>
        <p:grpSpPr>
          <a:xfrm>
            <a:off x="1002887" y="4926155"/>
            <a:ext cx="10186227" cy="817006"/>
            <a:chOff x="3610679" y="2121546"/>
            <a:chExt cx="7845698" cy="788420"/>
          </a:xfrm>
        </p:grpSpPr>
        <p:sp>
          <p:nvSpPr>
            <p:cNvPr id="61" name="gaoding-31-1">
              <a:extLst>
                <a:ext uri="{FF2B5EF4-FFF2-40B4-BE49-F238E27FC236}">
                  <a16:creationId xmlns:a16="http://schemas.microsoft.com/office/drawing/2014/main" id="{5BB6D863-240C-4B12-AAEF-F228F8A33541}"/>
                </a:ext>
              </a:extLst>
            </p:cNvPr>
            <p:cNvSpPr txBox="1"/>
            <p:nvPr/>
          </p:nvSpPr>
          <p:spPr>
            <a:xfrm>
              <a:off x="3610679" y="2121546"/>
              <a:ext cx="7845698" cy="34138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  <a:alpha val="34000"/>
              </a:schemeClr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2" name="gaoding-31-2">
              <a:extLst>
                <a:ext uri="{FF2B5EF4-FFF2-40B4-BE49-F238E27FC236}">
                  <a16:creationId xmlns:a16="http://schemas.microsoft.com/office/drawing/2014/main" id="{51E279FF-2FC9-4649-8E5F-3E2D776B4ADA}"/>
                </a:ext>
              </a:extLst>
            </p:cNvPr>
            <p:cNvSpPr txBox="1"/>
            <p:nvPr/>
          </p:nvSpPr>
          <p:spPr>
            <a:xfrm>
              <a:off x="3698261" y="2169140"/>
              <a:ext cx="1613645" cy="24619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3" name="gaoding-31-3">
              <a:extLst>
                <a:ext uri="{FF2B5EF4-FFF2-40B4-BE49-F238E27FC236}">
                  <a16:creationId xmlns:a16="http://schemas.microsoft.com/office/drawing/2014/main" id="{23935A34-B31B-4244-9958-770F230B8A02}"/>
                </a:ext>
              </a:extLst>
            </p:cNvPr>
            <p:cNvSpPr>
              <a:spLocks/>
            </p:cNvSpPr>
            <p:nvPr/>
          </p:nvSpPr>
          <p:spPr>
            <a:xfrm>
              <a:off x="5439499" y="218085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4" name="gaoding-31-4">
              <a:extLst>
                <a:ext uri="{FF2B5EF4-FFF2-40B4-BE49-F238E27FC236}">
                  <a16:creationId xmlns:a16="http://schemas.microsoft.com/office/drawing/2014/main" id="{C0ADF3E3-13A6-4216-A999-342E59E360E1}"/>
                </a:ext>
              </a:extLst>
            </p:cNvPr>
            <p:cNvSpPr txBox="1"/>
            <p:nvPr/>
          </p:nvSpPr>
          <p:spPr>
            <a:xfrm>
              <a:off x="3610679" y="2568586"/>
              <a:ext cx="7845698" cy="34138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  <a:alpha val="34000"/>
              </a:schemeClr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54F4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5" name="gaoding-31-5">
              <a:extLst>
                <a:ext uri="{FF2B5EF4-FFF2-40B4-BE49-F238E27FC236}">
                  <a16:creationId xmlns:a16="http://schemas.microsoft.com/office/drawing/2014/main" id="{DE8E9837-BA08-454E-B07E-A75123763BC0}"/>
                </a:ext>
              </a:extLst>
            </p:cNvPr>
            <p:cNvSpPr txBox="1"/>
            <p:nvPr/>
          </p:nvSpPr>
          <p:spPr>
            <a:xfrm>
              <a:off x="3698261" y="2616180"/>
              <a:ext cx="1613645" cy="24619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6" name="gaoding-31-6">
              <a:extLst>
                <a:ext uri="{FF2B5EF4-FFF2-40B4-BE49-F238E27FC236}">
                  <a16:creationId xmlns:a16="http://schemas.microsoft.com/office/drawing/2014/main" id="{D78FBE52-EFF9-4A47-88C5-6D33CEEA0903}"/>
                </a:ext>
              </a:extLst>
            </p:cNvPr>
            <p:cNvSpPr>
              <a:spLocks/>
            </p:cNvSpPr>
            <p:nvPr/>
          </p:nvSpPr>
          <p:spPr>
            <a:xfrm>
              <a:off x="5439499" y="262789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7" name="gaoding-31-7">
              <a:extLst>
                <a:ext uri="{FF2B5EF4-FFF2-40B4-BE49-F238E27FC236}">
                  <a16:creationId xmlns:a16="http://schemas.microsoft.com/office/drawing/2014/main" id="{52387246-D011-4677-AFAE-451919AEDD24}"/>
                </a:ext>
              </a:extLst>
            </p:cNvPr>
            <p:cNvSpPr>
              <a:spLocks/>
            </p:cNvSpPr>
            <p:nvPr/>
          </p:nvSpPr>
          <p:spPr>
            <a:xfrm>
              <a:off x="6587579" y="218085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8" name="gaoding-31-8">
              <a:extLst>
                <a:ext uri="{FF2B5EF4-FFF2-40B4-BE49-F238E27FC236}">
                  <a16:creationId xmlns:a16="http://schemas.microsoft.com/office/drawing/2014/main" id="{DA6C2813-A531-48E2-83CD-2B2D175E3BFB}"/>
                </a:ext>
              </a:extLst>
            </p:cNvPr>
            <p:cNvSpPr>
              <a:spLocks/>
            </p:cNvSpPr>
            <p:nvPr/>
          </p:nvSpPr>
          <p:spPr>
            <a:xfrm>
              <a:off x="6587579" y="262789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69" name="gaoding-31-9">
              <a:extLst>
                <a:ext uri="{FF2B5EF4-FFF2-40B4-BE49-F238E27FC236}">
                  <a16:creationId xmlns:a16="http://schemas.microsoft.com/office/drawing/2014/main" id="{F2649333-071B-411A-8507-8A0E9A80560C}"/>
                </a:ext>
              </a:extLst>
            </p:cNvPr>
            <p:cNvSpPr>
              <a:spLocks/>
            </p:cNvSpPr>
            <p:nvPr/>
          </p:nvSpPr>
          <p:spPr>
            <a:xfrm>
              <a:off x="7735659" y="218085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0" name="gaoding-31-10">
              <a:extLst>
                <a:ext uri="{FF2B5EF4-FFF2-40B4-BE49-F238E27FC236}">
                  <a16:creationId xmlns:a16="http://schemas.microsoft.com/office/drawing/2014/main" id="{E44CB380-67D9-41EC-ACDB-B5B4DF870837}"/>
                </a:ext>
              </a:extLst>
            </p:cNvPr>
            <p:cNvSpPr>
              <a:spLocks/>
            </p:cNvSpPr>
            <p:nvPr/>
          </p:nvSpPr>
          <p:spPr>
            <a:xfrm>
              <a:off x="7735659" y="262789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1" name="gaoding-31-11">
              <a:extLst>
                <a:ext uri="{FF2B5EF4-FFF2-40B4-BE49-F238E27FC236}">
                  <a16:creationId xmlns:a16="http://schemas.microsoft.com/office/drawing/2014/main" id="{59E74352-AC1F-424D-BDFF-BD66F814ADEA}"/>
                </a:ext>
              </a:extLst>
            </p:cNvPr>
            <p:cNvSpPr>
              <a:spLocks/>
            </p:cNvSpPr>
            <p:nvPr/>
          </p:nvSpPr>
          <p:spPr>
            <a:xfrm>
              <a:off x="8883739" y="218085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2" name="gaoding-31-12">
              <a:extLst>
                <a:ext uri="{FF2B5EF4-FFF2-40B4-BE49-F238E27FC236}">
                  <a16:creationId xmlns:a16="http://schemas.microsoft.com/office/drawing/2014/main" id="{9C1F20F9-642D-4E5E-96B8-AE02B0167D64}"/>
                </a:ext>
              </a:extLst>
            </p:cNvPr>
            <p:cNvSpPr>
              <a:spLocks/>
            </p:cNvSpPr>
            <p:nvPr/>
          </p:nvSpPr>
          <p:spPr>
            <a:xfrm>
              <a:off x="8883739" y="262789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3" name="gaoding-31-13">
              <a:extLst>
                <a:ext uri="{FF2B5EF4-FFF2-40B4-BE49-F238E27FC236}">
                  <a16:creationId xmlns:a16="http://schemas.microsoft.com/office/drawing/2014/main" id="{2BEA70BA-093B-4D7A-81EC-B958BE2C4969}"/>
                </a:ext>
              </a:extLst>
            </p:cNvPr>
            <p:cNvSpPr>
              <a:spLocks/>
            </p:cNvSpPr>
            <p:nvPr/>
          </p:nvSpPr>
          <p:spPr>
            <a:xfrm>
              <a:off x="10031819" y="218085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74" name="gaoding-31-14">
              <a:extLst>
                <a:ext uri="{FF2B5EF4-FFF2-40B4-BE49-F238E27FC236}">
                  <a16:creationId xmlns:a16="http://schemas.microsoft.com/office/drawing/2014/main" id="{B185AD57-DBE5-48E6-97C1-67A86E283E85}"/>
                </a:ext>
              </a:extLst>
            </p:cNvPr>
            <p:cNvSpPr>
              <a:spLocks/>
            </p:cNvSpPr>
            <p:nvPr/>
          </p:nvSpPr>
          <p:spPr>
            <a:xfrm>
              <a:off x="10031819" y="2627898"/>
              <a:ext cx="583261" cy="22275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marL="72000" marR="0" lvl="0" indent="-7200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7"/>
                  </a:solidFill>
                  <a:effectLst/>
                  <a:uLnTx/>
                  <a:uFillTx/>
                  <a:latin typeface="Arial" panose="020B0604020202020204" pitchFamily="34" charset="0"/>
                  <a:ea typeface="OPPOSans R" panose="00020600040101010101" pitchFamily="18" charset="-122"/>
                  <a:cs typeface="OPPOSans R" panose="00020600040101010101" pitchFamily="18" charset="-122"/>
                  <a:sym typeface="Arial" panose="020B0604020202020204" pitchFamily="34" charset="0"/>
                </a:rPr>
                <a:t>Title Here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7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56" name="文本框 55">
            <a:extLst>
              <a:ext uri="{FF2B5EF4-FFF2-40B4-BE49-F238E27FC236}">
                <a16:creationId xmlns:a16="http://schemas.microsoft.com/office/drawing/2014/main" id="{AFAC65BA-2D66-48BA-B7EB-26D4D535E73B}"/>
              </a:ext>
            </a:extLst>
          </p:cNvPr>
          <p:cNvSpPr txBox="1"/>
          <p:nvPr/>
        </p:nvSpPr>
        <p:spPr>
          <a:xfrm>
            <a:off x="1666800" y="5017414"/>
            <a:ext cx="97716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161F611D-B79A-4529-8392-F54BD1619F1F}"/>
              </a:ext>
            </a:extLst>
          </p:cNvPr>
          <p:cNvSpPr txBox="1"/>
          <p:nvPr/>
        </p:nvSpPr>
        <p:spPr>
          <a:xfrm>
            <a:off x="1666800" y="5463789"/>
            <a:ext cx="97716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PPT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PPOSans R" panose="00020600040101010101" pitchFamily="18" charset="-122"/>
              <a:cs typeface="OPPOSans R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479E4C31-A8EC-49CD-83B0-10930A6E976C}"/>
              </a:ext>
            </a:extLst>
          </p:cNvPr>
          <p:cNvSpPr txBox="1"/>
          <p:nvPr/>
        </p:nvSpPr>
        <p:spPr>
          <a:xfrm>
            <a:off x="3048000" y="96969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</p:spTree>
    <p:extLst>
      <p:ext uri="{BB962C8B-B14F-4D97-AF65-F5344CB8AC3E}">
        <p14:creationId xmlns:p14="http://schemas.microsoft.com/office/powerpoint/2010/main" val="369626645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背景图案&#10;&#10;描述已自动生成">
            <a:extLst>
              <a:ext uri="{FF2B5EF4-FFF2-40B4-BE49-F238E27FC236}">
                <a16:creationId xmlns:a16="http://schemas.microsoft.com/office/drawing/2014/main" id="{DEC31D8E-D188-4B40-A845-64886F890D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2495" b="12496"/>
          <a:stretch/>
        </p:blipFill>
        <p:spPr>
          <a:xfrm>
            <a:off x="1482" y="1"/>
            <a:ext cx="12190518" cy="6858000"/>
          </a:xfrm>
          <a:prstGeom prst="rect">
            <a:avLst/>
          </a:prstGeom>
        </p:spPr>
      </p:pic>
      <p:sp>
        <p:nvSpPr>
          <p:cNvPr id="3" name="矩形 1">
            <a:extLst>
              <a:ext uri="{FF2B5EF4-FFF2-40B4-BE49-F238E27FC236}">
                <a16:creationId xmlns:a16="http://schemas.microsoft.com/office/drawing/2014/main" id="{A7B24148-589C-427E-B764-DF8E1D98600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B16C47C8-671F-4ADA-B5D3-0796D45706C1}"/>
              </a:ext>
            </a:extLst>
          </p:cNvPr>
          <p:cNvSpPr/>
          <p:nvPr/>
        </p:nvSpPr>
        <p:spPr>
          <a:xfrm>
            <a:off x="988214" y="1516315"/>
            <a:ext cx="1488821" cy="1488821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innerShdw blurRad="127000">
              <a:schemeClr val="accent1">
                <a:alpha val="3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B2ED0156-AAF8-4163-BD2E-379A2C7BAE04}"/>
              </a:ext>
            </a:extLst>
          </p:cNvPr>
          <p:cNvSpPr/>
          <p:nvPr/>
        </p:nvSpPr>
        <p:spPr>
          <a:xfrm>
            <a:off x="986797" y="1514898"/>
            <a:ext cx="1491654" cy="1491654"/>
          </a:xfrm>
          <a:prstGeom prst="arc">
            <a:avLst>
              <a:gd name="adj1" fmla="val 11013062"/>
              <a:gd name="adj2" fmla="val 16857381"/>
            </a:avLst>
          </a:prstGeom>
          <a:ln w="2032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D9440E99-C64A-416C-AE8E-D92E3BE4F9A8}"/>
              </a:ext>
            </a:extLst>
          </p:cNvPr>
          <p:cNvSpPr/>
          <p:nvPr/>
        </p:nvSpPr>
        <p:spPr>
          <a:xfrm rot="10800000">
            <a:off x="503878" y="3476765"/>
            <a:ext cx="2457492" cy="2765323"/>
          </a:xfrm>
          <a:custGeom>
            <a:avLst/>
            <a:gdLst>
              <a:gd name="connsiteX0" fmla="*/ 2457492 w 2457492"/>
              <a:gd name="connsiteY0" fmla="*/ 2765323 h 2765323"/>
              <a:gd name="connsiteX1" fmla="*/ 0 w 2457492"/>
              <a:gd name="connsiteY1" fmla="*/ 2765323 h 2765323"/>
              <a:gd name="connsiteX2" fmla="*/ 0 w 2457492"/>
              <a:gd name="connsiteY2" fmla="*/ 496488 h 2765323"/>
              <a:gd name="connsiteX3" fmla="*/ 220806 w 2457492"/>
              <a:gd name="connsiteY3" fmla="*/ 275682 h 2765323"/>
              <a:gd name="connsiteX4" fmla="*/ 604891 w 2457492"/>
              <a:gd name="connsiteY4" fmla="*/ 275682 h 2765323"/>
              <a:gd name="connsiteX5" fmla="*/ 1228746 w 2457492"/>
              <a:gd name="connsiteY5" fmla="*/ 0 h 2765323"/>
              <a:gd name="connsiteX6" fmla="*/ 1852601 w 2457492"/>
              <a:gd name="connsiteY6" fmla="*/ 275682 h 2765323"/>
              <a:gd name="connsiteX7" fmla="*/ 2236686 w 2457492"/>
              <a:gd name="connsiteY7" fmla="*/ 275682 h 2765323"/>
              <a:gd name="connsiteX8" fmla="*/ 2457492 w 2457492"/>
              <a:gd name="connsiteY8" fmla="*/ 496488 h 276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57492" h="2765323">
                <a:moveTo>
                  <a:pt x="2457492" y="2765323"/>
                </a:moveTo>
                <a:lnTo>
                  <a:pt x="0" y="2765323"/>
                </a:lnTo>
                <a:lnTo>
                  <a:pt x="0" y="496488"/>
                </a:lnTo>
                <a:lnTo>
                  <a:pt x="220806" y="275682"/>
                </a:lnTo>
                <a:lnTo>
                  <a:pt x="604891" y="275682"/>
                </a:lnTo>
                <a:lnTo>
                  <a:pt x="1228746" y="0"/>
                </a:lnTo>
                <a:lnTo>
                  <a:pt x="1852601" y="275682"/>
                </a:lnTo>
                <a:lnTo>
                  <a:pt x="2236686" y="275682"/>
                </a:lnTo>
                <a:lnTo>
                  <a:pt x="2457492" y="496488"/>
                </a:lnTo>
                <a:close/>
              </a:path>
            </a:pathLst>
          </a:custGeom>
          <a:solidFill>
            <a:schemeClr val="bg1"/>
          </a:solidFill>
          <a:ln w="6350"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6E0845EE-CDBC-44B6-8905-C3C40DB8B1A5}"/>
              </a:ext>
            </a:extLst>
          </p:cNvPr>
          <p:cNvSpPr/>
          <p:nvPr/>
        </p:nvSpPr>
        <p:spPr>
          <a:xfrm>
            <a:off x="503224" y="3475349"/>
            <a:ext cx="2458800" cy="57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3" name="稿定PPT-0-1">
            <a:extLst>
              <a:ext uri="{FF2B5EF4-FFF2-40B4-BE49-F238E27FC236}">
                <a16:creationId xmlns:a16="http://schemas.microsoft.com/office/drawing/2014/main" id="{CC207080-BBE1-45D8-9690-183E849782E2}"/>
              </a:ext>
            </a:extLst>
          </p:cNvPr>
          <p:cNvSpPr txBox="1"/>
          <p:nvPr/>
        </p:nvSpPr>
        <p:spPr>
          <a:xfrm>
            <a:off x="582509" y="3774201"/>
            <a:ext cx="2300231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海量素材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·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持续更新</a:t>
            </a:r>
          </a:p>
        </p:txBody>
      </p: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B88B6901-A017-47D8-86CD-58BD9683026A}"/>
              </a:ext>
            </a:extLst>
          </p:cNvPr>
          <p:cNvCxnSpPr>
            <a:cxnSpLocks/>
          </p:cNvCxnSpPr>
          <p:nvPr/>
        </p:nvCxnSpPr>
        <p:spPr>
          <a:xfrm>
            <a:off x="699162" y="4280381"/>
            <a:ext cx="20669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5">
            <a:extLst>
              <a:ext uri="{FF2B5EF4-FFF2-40B4-BE49-F238E27FC236}">
                <a16:creationId xmlns:a16="http://schemas.microsoft.com/office/drawing/2014/main" id="{C11CAB30-98C2-4D3B-AF61-BB7873561BF0}"/>
              </a:ext>
            </a:extLst>
          </p:cNvPr>
          <p:cNvSpPr/>
          <p:nvPr/>
        </p:nvSpPr>
        <p:spPr>
          <a:xfrm>
            <a:off x="1498624" y="4253381"/>
            <a:ext cx="46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2" name="稿定PPT-12-2">
            <a:extLst>
              <a:ext uri="{FF2B5EF4-FFF2-40B4-BE49-F238E27FC236}">
                <a16:creationId xmlns:a16="http://schemas.microsoft.com/office/drawing/2014/main" id="{E9C91EDD-9F9E-4B56-99F0-1DB70CCE5536}"/>
              </a:ext>
            </a:extLst>
          </p:cNvPr>
          <p:cNvSpPr txBox="1"/>
          <p:nvPr/>
        </p:nvSpPr>
        <p:spPr>
          <a:xfrm flipH="1">
            <a:off x="777202" y="4405237"/>
            <a:ext cx="1923942" cy="131765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丰富的信息图表覆盖并列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流程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层级等多种逻辑关系，帮助有效梳理页面内容。</a:t>
            </a: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18E4A861-6C15-4CD3-9A83-302CF85ED55B}"/>
              </a:ext>
            </a:extLst>
          </p:cNvPr>
          <p:cNvSpPr/>
          <p:nvPr/>
        </p:nvSpPr>
        <p:spPr>
          <a:xfrm>
            <a:off x="3910896" y="1516315"/>
            <a:ext cx="1488821" cy="1488821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innerShdw blurRad="127000">
              <a:schemeClr val="accent1">
                <a:alpha val="3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6" name="弧形 25">
            <a:extLst>
              <a:ext uri="{FF2B5EF4-FFF2-40B4-BE49-F238E27FC236}">
                <a16:creationId xmlns:a16="http://schemas.microsoft.com/office/drawing/2014/main" id="{4F9B9DE0-5CCF-47BA-A292-80594A057DC1}"/>
              </a:ext>
            </a:extLst>
          </p:cNvPr>
          <p:cNvSpPr/>
          <p:nvPr/>
        </p:nvSpPr>
        <p:spPr>
          <a:xfrm>
            <a:off x="3909479" y="1514898"/>
            <a:ext cx="1491654" cy="1491654"/>
          </a:xfrm>
          <a:prstGeom prst="arc">
            <a:avLst>
              <a:gd name="adj1" fmla="val 11013062"/>
              <a:gd name="adj2" fmla="val 2128430"/>
            </a:avLst>
          </a:prstGeom>
          <a:ln w="2032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068B5C52-27D9-442D-BC39-917EAE7AD548}"/>
              </a:ext>
            </a:extLst>
          </p:cNvPr>
          <p:cNvSpPr/>
          <p:nvPr/>
        </p:nvSpPr>
        <p:spPr>
          <a:xfrm rot="10800000">
            <a:off x="3426560" y="3476765"/>
            <a:ext cx="2457492" cy="2765323"/>
          </a:xfrm>
          <a:custGeom>
            <a:avLst/>
            <a:gdLst>
              <a:gd name="connsiteX0" fmla="*/ 2457492 w 2457492"/>
              <a:gd name="connsiteY0" fmla="*/ 2765323 h 2765323"/>
              <a:gd name="connsiteX1" fmla="*/ 0 w 2457492"/>
              <a:gd name="connsiteY1" fmla="*/ 2765323 h 2765323"/>
              <a:gd name="connsiteX2" fmla="*/ 0 w 2457492"/>
              <a:gd name="connsiteY2" fmla="*/ 496488 h 2765323"/>
              <a:gd name="connsiteX3" fmla="*/ 220806 w 2457492"/>
              <a:gd name="connsiteY3" fmla="*/ 275682 h 2765323"/>
              <a:gd name="connsiteX4" fmla="*/ 604891 w 2457492"/>
              <a:gd name="connsiteY4" fmla="*/ 275682 h 2765323"/>
              <a:gd name="connsiteX5" fmla="*/ 1228746 w 2457492"/>
              <a:gd name="connsiteY5" fmla="*/ 0 h 2765323"/>
              <a:gd name="connsiteX6" fmla="*/ 1852601 w 2457492"/>
              <a:gd name="connsiteY6" fmla="*/ 275682 h 2765323"/>
              <a:gd name="connsiteX7" fmla="*/ 2236686 w 2457492"/>
              <a:gd name="connsiteY7" fmla="*/ 275682 h 2765323"/>
              <a:gd name="connsiteX8" fmla="*/ 2457492 w 2457492"/>
              <a:gd name="connsiteY8" fmla="*/ 496488 h 276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57492" h="2765323">
                <a:moveTo>
                  <a:pt x="2457492" y="2765323"/>
                </a:moveTo>
                <a:lnTo>
                  <a:pt x="0" y="2765323"/>
                </a:lnTo>
                <a:lnTo>
                  <a:pt x="0" y="496488"/>
                </a:lnTo>
                <a:lnTo>
                  <a:pt x="220806" y="275682"/>
                </a:lnTo>
                <a:lnTo>
                  <a:pt x="604891" y="275682"/>
                </a:lnTo>
                <a:lnTo>
                  <a:pt x="1228746" y="0"/>
                </a:lnTo>
                <a:lnTo>
                  <a:pt x="1852601" y="275682"/>
                </a:lnTo>
                <a:lnTo>
                  <a:pt x="2236686" y="275682"/>
                </a:lnTo>
                <a:lnTo>
                  <a:pt x="2457492" y="496488"/>
                </a:lnTo>
                <a:close/>
              </a:path>
            </a:pathLst>
          </a:custGeom>
          <a:solidFill>
            <a:schemeClr val="bg1"/>
          </a:solidFill>
          <a:ln w="6350"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2D17D5A1-6443-4D60-8856-65A5EB6CF24B}"/>
              </a:ext>
            </a:extLst>
          </p:cNvPr>
          <p:cNvSpPr/>
          <p:nvPr/>
        </p:nvSpPr>
        <p:spPr>
          <a:xfrm>
            <a:off x="3425906" y="3475349"/>
            <a:ext cx="2458800" cy="57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9" name="稿定PPT-0-1">
            <a:extLst>
              <a:ext uri="{FF2B5EF4-FFF2-40B4-BE49-F238E27FC236}">
                <a16:creationId xmlns:a16="http://schemas.microsoft.com/office/drawing/2014/main" id="{DAD81235-FA11-43FE-B0E7-F92D937D2339}"/>
              </a:ext>
            </a:extLst>
          </p:cNvPr>
          <p:cNvSpPr txBox="1"/>
          <p:nvPr/>
        </p:nvSpPr>
        <p:spPr>
          <a:xfrm>
            <a:off x="3505191" y="3774201"/>
            <a:ext cx="2300231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海量素材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·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持续更新</a:t>
            </a:r>
          </a:p>
        </p:txBody>
      </p: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FCFC5E6B-A089-419E-B713-F9AC0C633694}"/>
              </a:ext>
            </a:extLst>
          </p:cNvPr>
          <p:cNvCxnSpPr>
            <a:cxnSpLocks/>
          </p:cNvCxnSpPr>
          <p:nvPr/>
        </p:nvCxnSpPr>
        <p:spPr>
          <a:xfrm>
            <a:off x="3621844" y="4280381"/>
            <a:ext cx="20669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矩形 52">
            <a:extLst>
              <a:ext uri="{FF2B5EF4-FFF2-40B4-BE49-F238E27FC236}">
                <a16:creationId xmlns:a16="http://schemas.microsoft.com/office/drawing/2014/main" id="{2594AF36-D05A-4B87-955E-7F9F586B268B}"/>
              </a:ext>
            </a:extLst>
          </p:cNvPr>
          <p:cNvSpPr/>
          <p:nvPr/>
        </p:nvSpPr>
        <p:spPr>
          <a:xfrm>
            <a:off x="4421306" y="4253381"/>
            <a:ext cx="46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1" name="稿定PPT-12-2">
            <a:extLst>
              <a:ext uri="{FF2B5EF4-FFF2-40B4-BE49-F238E27FC236}">
                <a16:creationId xmlns:a16="http://schemas.microsoft.com/office/drawing/2014/main" id="{C35E3F40-345C-43B2-9DBD-BD86F454238C}"/>
              </a:ext>
            </a:extLst>
          </p:cNvPr>
          <p:cNvSpPr txBox="1"/>
          <p:nvPr/>
        </p:nvSpPr>
        <p:spPr>
          <a:xfrm flipH="1">
            <a:off x="3699884" y="4405237"/>
            <a:ext cx="1923942" cy="131765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丰富的信息图表覆盖并列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流程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层级等多种逻辑关系，帮助有效梳理页面内容。</a:t>
            </a:r>
          </a:p>
        </p:txBody>
      </p:sp>
      <p:sp>
        <p:nvSpPr>
          <p:cNvPr id="61" name="椭圆 60">
            <a:extLst>
              <a:ext uri="{FF2B5EF4-FFF2-40B4-BE49-F238E27FC236}">
                <a16:creationId xmlns:a16="http://schemas.microsoft.com/office/drawing/2014/main" id="{0453E297-0DDF-4693-855B-C708D391DA75}"/>
              </a:ext>
            </a:extLst>
          </p:cNvPr>
          <p:cNvSpPr/>
          <p:nvPr/>
        </p:nvSpPr>
        <p:spPr>
          <a:xfrm>
            <a:off x="6833578" y="1516315"/>
            <a:ext cx="1488821" cy="1488821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innerShdw blurRad="127000">
              <a:schemeClr val="accent1">
                <a:alpha val="3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2" name="弧形 61">
            <a:extLst>
              <a:ext uri="{FF2B5EF4-FFF2-40B4-BE49-F238E27FC236}">
                <a16:creationId xmlns:a16="http://schemas.microsoft.com/office/drawing/2014/main" id="{913022EC-46DC-4ED1-90C1-2591308FF1DE}"/>
              </a:ext>
            </a:extLst>
          </p:cNvPr>
          <p:cNvSpPr/>
          <p:nvPr/>
        </p:nvSpPr>
        <p:spPr>
          <a:xfrm>
            <a:off x="6832161" y="1514898"/>
            <a:ext cx="1491654" cy="1491654"/>
          </a:xfrm>
          <a:prstGeom prst="arc">
            <a:avLst>
              <a:gd name="adj1" fmla="val 11013062"/>
              <a:gd name="adj2" fmla="val 7920159"/>
            </a:avLst>
          </a:prstGeom>
          <a:ln w="2032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1" name="任意多边形: 形状 70">
            <a:extLst>
              <a:ext uri="{FF2B5EF4-FFF2-40B4-BE49-F238E27FC236}">
                <a16:creationId xmlns:a16="http://schemas.microsoft.com/office/drawing/2014/main" id="{91269B22-90E3-471D-8CAA-2E9EADF891F8}"/>
              </a:ext>
            </a:extLst>
          </p:cNvPr>
          <p:cNvSpPr/>
          <p:nvPr/>
        </p:nvSpPr>
        <p:spPr>
          <a:xfrm rot="10800000">
            <a:off x="6349242" y="3476765"/>
            <a:ext cx="2457492" cy="2765323"/>
          </a:xfrm>
          <a:custGeom>
            <a:avLst/>
            <a:gdLst>
              <a:gd name="connsiteX0" fmla="*/ 2457492 w 2457492"/>
              <a:gd name="connsiteY0" fmla="*/ 2765323 h 2765323"/>
              <a:gd name="connsiteX1" fmla="*/ 0 w 2457492"/>
              <a:gd name="connsiteY1" fmla="*/ 2765323 h 2765323"/>
              <a:gd name="connsiteX2" fmla="*/ 0 w 2457492"/>
              <a:gd name="connsiteY2" fmla="*/ 496488 h 2765323"/>
              <a:gd name="connsiteX3" fmla="*/ 220806 w 2457492"/>
              <a:gd name="connsiteY3" fmla="*/ 275682 h 2765323"/>
              <a:gd name="connsiteX4" fmla="*/ 604891 w 2457492"/>
              <a:gd name="connsiteY4" fmla="*/ 275682 h 2765323"/>
              <a:gd name="connsiteX5" fmla="*/ 1228746 w 2457492"/>
              <a:gd name="connsiteY5" fmla="*/ 0 h 2765323"/>
              <a:gd name="connsiteX6" fmla="*/ 1852601 w 2457492"/>
              <a:gd name="connsiteY6" fmla="*/ 275682 h 2765323"/>
              <a:gd name="connsiteX7" fmla="*/ 2236686 w 2457492"/>
              <a:gd name="connsiteY7" fmla="*/ 275682 h 2765323"/>
              <a:gd name="connsiteX8" fmla="*/ 2457492 w 2457492"/>
              <a:gd name="connsiteY8" fmla="*/ 496488 h 276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57492" h="2765323">
                <a:moveTo>
                  <a:pt x="2457492" y="2765323"/>
                </a:moveTo>
                <a:lnTo>
                  <a:pt x="0" y="2765323"/>
                </a:lnTo>
                <a:lnTo>
                  <a:pt x="0" y="496488"/>
                </a:lnTo>
                <a:lnTo>
                  <a:pt x="220806" y="275682"/>
                </a:lnTo>
                <a:lnTo>
                  <a:pt x="604891" y="275682"/>
                </a:lnTo>
                <a:lnTo>
                  <a:pt x="1228746" y="0"/>
                </a:lnTo>
                <a:lnTo>
                  <a:pt x="1852601" y="275682"/>
                </a:lnTo>
                <a:lnTo>
                  <a:pt x="2236686" y="275682"/>
                </a:lnTo>
                <a:lnTo>
                  <a:pt x="2457492" y="496488"/>
                </a:lnTo>
                <a:close/>
              </a:path>
            </a:pathLst>
          </a:custGeom>
          <a:solidFill>
            <a:schemeClr val="bg1"/>
          </a:solidFill>
          <a:ln w="6350"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9CFC33E5-2264-4C32-AAF2-4A250EAB7237}"/>
              </a:ext>
            </a:extLst>
          </p:cNvPr>
          <p:cNvSpPr/>
          <p:nvPr/>
        </p:nvSpPr>
        <p:spPr>
          <a:xfrm>
            <a:off x="6348588" y="3475349"/>
            <a:ext cx="2458800" cy="57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6" name="稿定PPT-0-1">
            <a:extLst>
              <a:ext uri="{FF2B5EF4-FFF2-40B4-BE49-F238E27FC236}">
                <a16:creationId xmlns:a16="http://schemas.microsoft.com/office/drawing/2014/main" id="{97BED042-4CCE-46F9-90AB-B626D0A75DFF}"/>
              </a:ext>
            </a:extLst>
          </p:cNvPr>
          <p:cNvSpPr txBox="1"/>
          <p:nvPr/>
        </p:nvSpPr>
        <p:spPr>
          <a:xfrm>
            <a:off x="6427873" y="3774201"/>
            <a:ext cx="2300231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海量素材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·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持续更新</a:t>
            </a:r>
          </a:p>
        </p:txBody>
      </p: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A69BBEF2-01B7-453B-8C55-69FDA017723A}"/>
              </a:ext>
            </a:extLst>
          </p:cNvPr>
          <p:cNvCxnSpPr>
            <a:cxnSpLocks/>
          </p:cNvCxnSpPr>
          <p:nvPr/>
        </p:nvCxnSpPr>
        <p:spPr>
          <a:xfrm>
            <a:off x="6544526" y="4280381"/>
            <a:ext cx="20669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矩形 69">
            <a:extLst>
              <a:ext uri="{FF2B5EF4-FFF2-40B4-BE49-F238E27FC236}">
                <a16:creationId xmlns:a16="http://schemas.microsoft.com/office/drawing/2014/main" id="{4D0AC24B-7D2D-4594-ADB1-B5076E0E9A66}"/>
              </a:ext>
            </a:extLst>
          </p:cNvPr>
          <p:cNvSpPr/>
          <p:nvPr/>
        </p:nvSpPr>
        <p:spPr>
          <a:xfrm>
            <a:off x="7343988" y="4253381"/>
            <a:ext cx="46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8" name="稿定PPT-12-2">
            <a:extLst>
              <a:ext uri="{FF2B5EF4-FFF2-40B4-BE49-F238E27FC236}">
                <a16:creationId xmlns:a16="http://schemas.microsoft.com/office/drawing/2014/main" id="{D3AD517E-0CB9-44EB-B9D4-F26751C670A5}"/>
              </a:ext>
            </a:extLst>
          </p:cNvPr>
          <p:cNvSpPr txBox="1"/>
          <p:nvPr/>
        </p:nvSpPr>
        <p:spPr>
          <a:xfrm flipH="1">
            <a:off x="6622566" y="4405237"/>
            <a:ext cx="1923942" cy="131765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丰富的信息图表覆盖并列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流程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层级等多种逻辑关系，帮助有效梳理页面内容。</a:t>
            </a:r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FEE63D95-6308-4575-94CE-ECB8C57953FB}"/>
              </a:ext>
            </a:extLst>
          </p:cNvPr>
          <p:cNvSpPr/>
          <p:nvPr/>
        </p:nvSpPr>
        <p:spPr>
          <a:xfrm>
            <a:off x="9756260" y="1516315"/>
            <a:ext cx="1488821" cy="1488821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innerShdw blurRad="127000">
              <a:schemeClr val="accent1">
                <a:alpha val="3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9" name="弧形 78">
            <a:extLst>
              <a:ext uri="{FF2B5EF4-FFF2-40B4-BE49-F238E27FC236}">
                <a16:creationId xmlns:a16="http://schemas.microsoft.com/office/drawing/2014/main" id="{11576067-DC5F-4536-BCAC-A9228CE75D01}"/>
              </a:ext>
            </a:extLst>
          </p:cNvPr>
          <p:cNvSpPr/>
          <p:nvPr/>
        </p:nvSpPr>
        <p:spPr>
          <a:xfrm>
            <a:off x="9754843" y="1514898"/>
            <a:ext cx="1491654" cy="1491654"/>
          </a:xfrm>
          <a:prstGeom prst="arc">
            <a:avLst>
              <a:gd name="adj1" fmla="val 11013062"/>
              <a:gd name="adj2" fmla="val 15665728"/>
            </a:avLst>
          </a:prstGeom>
          <a:ln w="2032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8" name="任意多边形: 形状 87">
            <a:extLst>
              <a:ext uri="{FF2B5EF4-FFF2-40B4-BE49-F238E27FC236}">
                <a16:creationId xmlns:a16="http://schemas.microsoft.com/office/drawing/2014/main" id="{F4EC8235-AF64-4E5E-BF59-4BC47D2BB08A}"/>
              </a:ext>
            </a:extLst>
          </p:cNvPr>
          <p:cNvSpPr/>
          <p:nvPr/>
        </p:nvSpPr>
        <p:spPr>
          <a:xfrm rot="10800000">
            <a:off x="9271924" y="3476765"/>
            <a:ext cx="2457492" cy="2765323"/>
          </a:xfrm>
          <a:custGeom>
            <a:avLst/>
            <a:gdLst>
              <a:gd name="connsiteX0" fmla="*/ 2457492 w 2457492"/>
              <a:gd name="connsiteY0" fmla="*/ 2765323 h 2765323"/>
              <a:gd name="connsiteX1" fmla="*/ 0 w 2457492"/>
              <a:gd name="connsiteY1" fmla="*/ 2765323 h 2765323"/>
              <a:gd name="connsiteX2" fmla="*/ 0 w 2457492"/>
              <a:gd name="connsiteY2" fmla="*/ 496488 h 2765323"/>
              <a:gd name="connsiteX3" fmla="*/ 220806 w 2457492"/>
              <a:gd name="connsiteY3" fmla="*/ 275682 h 2765323"/>
              <a:gd name="connsiteX4" fmla="*/ 604891 w 2457492"/>
              <a:gd name="connsiteY4" fmla="*/ 275682 h 2765323"/>
              <a:gd name="connsiteX5" fmla="*/ 1228746 w 2457492"/>
              <a:gd name="connsiteY5" fmla="*/ 0 h 2765323"/>
              <a:gd name="connsiteX6" fmla="*/ 1852601 w 2457492"/>
              <a:gd name="connsiteY6" fmla="*/ 275682 h 2765323"/>
              <a:gd name="connsiteX7" fmla="*/ 2236686 w 2457492"/>
              <a:gd name="connsiteY7" fmla="*/ 275682 h 2765323"/>
              <a:gd name="connsiteX8" fmla="*/ 2457492 w 2457492"/>
              <a:gd name="connsiteY8" fmla="*/ 496488 h 276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57492" h="2765323">
                <a:moveTo>
                  <a:pt x="2457492" y="2765323"/>
                </a:moveTo>
                <a:lnTo>
                  <a:pt x="0" y="2765323"/>
                </a:lnTo>
                <a:lnTo>
                  <a:pt x="0" y="496488"/>
                </a:lnTo>
                <a:lnTo>
                  <a:pt x="220806" y="275682"/>
                </a:lnTo>
                <a:lnTo>
                  <a:pt x="604891" y="275682"/>
                </a:lnTo>
                <a:lnTo>
                  <a:pt x="1228746" y="0"/>
                </a:lnTo>
                <a:lnTo>
                  <a:pt x="1852601" y="275682"/>
                </a:lnTo>
                <a:lnTo>
                  <a:pt x="2236686" y="275682"/>
                </a:lnTo>
                <a:lnTo>
                  <a:pt x="2457492" y="496488"/>
                </a:lnTo>
                <a:close/>
              </a:path>
            </a:pathLst>
          </a:custGeom>
          <a:solidFill>
            <a:schemeClr val="bg1"/>
          </a:solidFill>
          <a:ln w="6350">
            <a:gradFill flip="none" rotWithShape="1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D3C98B5C-8E44-407D-BC32-FF0C1C40AE14}"/>
              </a:ext>
            </a:extLst>
          </p:cNvPr>
          <p:cNvSpPr/>
          <p:nvPr/>
        </p:nvSpPr>
        <p:spPr>
          <a:xfrm>
            <a:off x="9271270" y="3475349"/>
            <a:ext cx="2458800" cy="57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3" name="稿定PPT-0-1">
            <a:extLst>
              <a:ext uri="{FF2B5EF4-FFF2-40B4-BE49-F238E27FC236}">
                <a16:creationId xmlns:a16="http://schemas.microsoft.com/office/drawing/2014/main" id="{9054AD4F-2F3C-4701-B755-9BE9FE9AF60D}"/>
              </a:ext>
            </a:extLst>
          </p:cNvPr>
          <p:cNvSpPr txBox="1"/>
          <p:nvPr/>
        </p:nvSpPr>
        <p:spPr>
          <a:xfrm>
            <a:off x="9350555" y="3774201"/>
            <a:ext cx="2300231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海量素材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·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持续更新</a:t>
            </a:r>
          </a:p>
        </p:txBody>
      </p:sp>
      <p:cxnSp>
        <p:nvCxnSpPr>
          <p:cNvPr id="86" name="直接连接符 85">
            <a:extLst>
              <a:ext uri="{FF2B5EF4-FFF2-40B4-BE49-F238E27FC236}">
                <a16:creationId xmlns:a16="http://schemas.microsoft.com/office/drawing/2014/main" id="{4BE17259-505A-4AC2-B9CD-1F4B68ACECA2}"/>
              </a:ext>
            </a:extLst>
          </p:cNvPr>
          <p:cNvCxnSpPr>
            <a:cxnSpLocks/>
          </p:cNvCxnSpPr>
          <p:nvPr/>
        </p:nvCxnSpPr>
        <p:spPr>
          <a:xfrm>
            <a:off x="9467208" y="4280381"/>
            <a:ext cx="20669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矩形 86">
            <a:extLst>
              <a:ext uri="{FF2B5EF4-FFF2-40B4-BE49-F238E27FC236}">
                <a16:creationId xmlns:a16="http://schemas.microsoft.com/office/drawing/2014/main" id="{FEE4C94C-6C7C-4BF0-A689-219E456D6FB6}"/>
              </a:ext>
            </a:extLst>
          </p:cNvPr>
          <p:cNvSpPr/>
          <p:nvPr/>
        </p:nvSpPr>
        <p:spPr>
          <a:xfrm>
            <a:off x="10266670" y="4253381"/>
            <a:ext cx="46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5" name="稿定PPT-12-2">
            <a:extLst>
              <a:ext uri="{FF2B5EF4-FFF2-40B4-BE49-F238E27FC236}">
                <a16:creationId xmlns:a16="http://schemas.microsoft.com/office/drawing/2014/main" id="{DA79327B-8EEE-4B0F-9A76-619C34796608}"/>
              </a:ext>
            </a:extLst>
          </p:cNvPr>
          <p:cNvSpPr txBox="1"/>
          <p:nvPr/>
        </p:nvSpPr>
        <p:spPr>
          <a:xfrm flipH="1">
            <a:off x="9545248" y="4405237"/>
            <a:ext cx="1923942" cy="131765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丰富的信息图表覆盖并列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流程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层级等多种逻辑关系，帮助有效梳理页面内容。</a:t>
            </a:r>
          </a:p>
        </p:txBody>
      </p:sp>
      <p:sp>
        <p:nvSpPr>
          <p:cNvPr id="45" name="箭头: 虚尾 1">
            <a:extLst>
              <a:ext uri="{FF2B5EF4-FFF2-40B4-BE49-F238E27FC236}">
                <a16:creationId xmlns:a16="http://schemas.microsoft.com/office/drawing/2014/main" id="{32421230-1281-41C4-8956-B5451AE467AE}"/>
              </a:ext>
            </a:extLst>
          </p:cNvPr>
          <p:cNvSpPr/>
          <p:nvPr/>
        </p:nvSpPr>
        <p:spPr>
          <a:xfrm>
            <a:off x="2836262" y="2184255"/>
            <a:ext cx="715406" cy="317979"/>
          </a:xfrm>
          <a:prstGeom prst="stripedRightArrow">
            <a:avLst>
              <a:gd name="adj1" fmla="val 50000"/>
              <a:gd name="adj2" fmla="val 55242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0" name="箭头: 虚尾 2">
            <a:extLst>
              <a:ext uri="{FF2B5EF4-FFF2-40B4-BE49-F238E27FC236}">
                <a16:creationId xmlns:a16="http://schemas.microsoft.com/office/drawing/2014/main" id="{B6BC5396-909F-4CBD-8072-7ADAEC3C75EE}"/>
              </a:ext>
            </a:extLst>
          </p:cNvPr>
          <p:cNvSpPr/>
          <p:nvPr/>
        </p:nvSpPr>
        <p:spPr>
          <a:xfrm>
            <a:off x="5758944" y="2176211"/>
            <a:ext cx="715406" cy="317979"/>
          </a:xfrm>
          <a:prstGeom prst="stripedRightArrow">
            <a:avLst>
              <a:gd name="adj1" fmla="val 50000"/>
              <a:gd name="adj2" fmla="val 55242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1" name="箭头: 虚尾 3">
            <a:extLst>
              <a:ext uri="{FF2B5EF4-FFF2-40B4-BE49-F238E27FC236}">
                <a16:creationId xmlns:a16="http://schemas.microsoft.com/office/drawing/2014/main" id="{A9BDABB8-398B-47AC-A73D-4D9B55FF4CB8}"/>
              </a:ext>
            </a:extLst>
          </p:cNvPr>
          <p:cNvSpPr/>
          <p:nvPr/>
        </p:nvSpPr>
        <p:spPr>
          <a:xfrm>
            <a:off x="8681626" y="2158579"/>
            <a:ext cx="715406" cy="317979"/>
          </a:xfrm>
          <a:prstGeom prst="stripedRightArrow">
            <a:avLst>
              <a:gd name="adj1" fmla="val 50000"/>
              <a:gd name="adj2" fmla="val 55242"/>
            </a:avLst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763BB30-1ADA-4E0C-83FF-F59490B31277}"/>
              </a:ext>
            </a:extLst>
          </p:cNvPr>
          <p:cNvSpPr txBox="1"/>
          <p:nvPr/>
        </p:nvSpPr>
        <p:spPr>
          <a:xfrm>
            <a:off x="1091490" y="1897481"/>
            <a:ext cx="12822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30</a:t>
            </a: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16FDFD67-F80E-44CF-8C1F-762B2510F3DF}"/>
              </a:ext>
            </a:extLst>
          </p:cNvPr>
          <p:cNvSpPr txBox="1"/>
          <p:nvPr/>
        </p:nvSpPr>
        <p:spPr>
          <a:xfrm>
            <a:off x="1972113" y="2210833"/>
            <a:ext cx="4016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Light"/>
                <a:ea typeface="OPPOSans L" panose="00020600040101010101" pitchFamily="18" charset="-122"/>
                <a:cs typeface="+mn-cs"/>
              </a:rPr>
              <a:t>%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2A67FC77-25B7-4A42-A5C1-0A9827BA5573}"/>
              </a:ext>
            </a:extLst>
          </p:cNvPr>
          <p:cNvSpPr txBox="1"/>
          <p:nvPr/>
        </p:nvSpPr>
        <p:spPr>
          <a:xfrm>
            <a:off x="4014172" y="1897481"/>
            <a:ext cx="12822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60</a:t>
            </a: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D480951F-E1F7-48D2-8B22-799A5E46F57C}"/>
              </a:ext>
            </a:extLst>
          </p:cNvPr>
          <p:cNvSpPr txBox="1"/>
          <p:nvPr/>
        </p:nvSpPr>
        <p:spPr>
          <a:xfrm>
            <a:off x="4894795" y="2210833"/>
            <a:ext cx="4016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Light"/>
                <a:ea typeface="OPPOSans L" panose="00020600040101010101" pitchFamily="18" charset="-122"/>
                <a:cs typeface="+mn-cs"/>
              </a:rPr>
              <a:t>%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0681CAD5-2322-4E17-9114-F128C7069D9B}"/>
              </a:ext>
            </a:extLst>
          </p:cNvPr>
          <p:cNvSpPr txBox="1"/>
          <p:nvPr/>
        </p:nvSpPr>
        <p:spPr>
          <a:xfrm>
            <a:off x="6936854" y="1897481"/>
            <a:ext cx="12822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90</a:t>
            </a: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66E0A900-99D2-43E9-A7CC-6B7A4CFCAEC0}"/>
              </a:ext>
            </a:extLst>
          </p:cNvPr>
          <p:cNvSpPr txBox="1"/>
          <p:nvPr/>
        </p:nvSpPr>
        <p:spPr>
          <a:xfrm>
            <a:off x="7817477" y="2210833"/>
            <a:ext cx="4016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Light"/>
                <a:ea typeface="OPPOSans L" panose="00020600040101010101" pitchFamily="18" charset="-122"/>
                <a:cs typeface="+mn-cs"/>
              </a:rPr>
              <a:t>%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2AA833C5-5A54-446C-B1EB-DAF92A5C50D4}"/>
              </a:ext>
            </a:extLst>
          </p:cNvPr>
          <p:cNvSpPr txBox="1"/>
          <p:nvPr/>
        </p:nvSpPr>
        <p:spPr>
          <a:xfrm>
            <a:off x="9859536" y="1897481"/>
            <a:ext cx="12822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20</a:t>
            </a: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ED342F36-3E82-4E47-A211-DF5CC313439D}"/>
              </a:ext>
            </a:extLst>
          </p:cNvPr>
          <p:cNvSpPr txBox="1"/>
          <p:nvPr/>
        </p:nvSpPr>
        <p:spPr>
          <a:xfrm>
            <a:off x="10740159" y="2210833"/>
            <a:ext cx="4016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Light"/>
                <a:ea typeface="OPPOSans L" panose="00020600040101010101" pitchFamily="18" charset="-122"/>
                <a:cs typeface="+mn-cs"/>
              </a:rPr>
              <a:t>%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527566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aoding-1">
            <a:extLst>
              <a:ext uri="{FF2B5EF4-FFF2-40B4-BE49-F238E27FC236}">
                <a16:creationId xmlns:a16="http://schemas.microsoft.com/office/drawing/2014/main" id="{130ED501-EC31-467F-BE26-0FEFAC994334}"/>
              </a:ext>
            </a:extLst>
          </p:cNvPr>
          <p:cNvGrpSpPr/>
          <p:nvPr/>
        </p:nvGrpSpPr>
        <p:grpSpPr>
          <a:xfrm>
            <a:off x="-328840" y="0"/>
            <a:ext cx="12853359" cy="6858000"/>
            <a:chOff x="-328840" y="0"/>
            <a:chExt cx="12853359" cy="6858000"/>
          </a:xfrm>
        </p:grpSpPr>
        <p:sp>
          <p:nvSpPr>
            <p:cNvPr id="58" name="gaoding-1-1">
              <a:extLst>
                <a:ext uri="{FF2B5EF4-FFF2-40B4-BE49-F238E27FC236}">
                  <a16:creationId xmlns:a16="http://schemas.microsoft.com/office/drawing/2014/main" id="{F95C4E4A-E9E2-46BF-B69C-79531CCB7A2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endParaRPr>
            </a:p>
          </p:txBody>
        </p:sp>
        <p:pic>
          <p:nvPicPr>
            <p:cNvPr id="56" name="gaoding-1-2">
              <a:extLst>
                <a:ext uri="{FF2B5EF4-FFF2-40B4-BE49-F238E27FC236}">
                  <a16:creationId xmlns:a16="http://schemas.microsoft.com/office/drawing/2014/main" id="{E65946BE-C953-46B4-B50B-81878D68D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30000"/>
            </a:blip>
            <a:srcRect l="26276" r="39241"/>
            <a:stretch>
              <a:fillRect/>
            </a:stretch>
          </p:blipFill>
          <p:spPr>
            <a:xfrm rot="20017322">
              <a:off x="8320382" y="5897435"/>
              <a:ext cx="4204137" cy="511633"/>
            </a:xfrm>
            <a:custGeom>
              <a:avLst/>
              <a:gdLst>
                <a:gd name="connsiteX0" fmla="*/ 4204137 w 4204137"/>
                <a:gd name="connsiteY0" fmla="*/ 0 h 511633"/>
                <a:gd name="connsiteX1" fmla="*/ 3950405 w 4204137"/>
                <a:gd name="connsiteY1" fmla="*/ 511633 h 511633"/>
                <a:gd name="connsiteX2" fmla="*/ 1031674 w 4204137"/>
                <a:gd name="connsiteY2" fmla="*/ 511633 h 511633"/>
                <a:gd name="connsiteX3" fmla="*/ 0 w 4204137"/>
                <a:gd name="connsiteY3" fmla="*/ 0 h 5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04137" h="511633">
                  <a:moveTo>
                    <a:pt x="4204137" y="0"/>
                  </a:moveTo>
                  <a:lnTo>
                    <a:pt x="3950405" y="511633"/>
                  </a:lnTo>
                  <a:lnTo>
                    <a:pt x="1031674" y="511633"/>
                  </a:lnTo>
                  <a:lnTo>
                    <a:pt x="0" y="0"/>
                  </a:lnTo>
                  <a:close/>
                </a:path>
              </a:pathLst>
            </a:custGeom>
          </p:spPr>
        </p:pic>
        <p:pic>
          <p:nvPicPr>
            <p:cNvPr id="53" name="gaoding-1-3">
              <a:extLst>
                <a:ext uri="{FF2B5EF4-FFF2-40B4-BE49-F238E27FC236}">
                  <a16:creationId xmlns:a16="http://schemas.microsoft.com/office/drawing/2014/main" id="{E572ED14-8426-408A-A6BD-C12DDC9B50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 amt="30000"/>
            </a:blip>
            <a:srcRect l="40143"/>
            <a:stretch>
              <a:fillRect/>
            </a:stretch>
          </p:blipFill>
          <p:spPr>
            <a:xfrm rot="20932451">
              <a:off x="-118501" y="217691"/>
              <a:ext cx="7297712" cy="517448"/>
            </a:xfrm>
            <a:custGeom>
              <a:avLst/>
              <a:gdLst>
                <a:gd name="connsiteX0" fmla="*/ 4802198 w 7297712"/>
                <a:gd name="connsiteY0" fmla="*/ 0 h 517448"/>
                <a:gd name="connsiteX1" fmla="*/ 7297712 w 7297712"/>
                <a:gd name="connsiteY1" fmla="*/ 490768 h 517448"/>
                <a:gd name="connsiteX2" fmla="*/ 7297712 w 7297712"/>
                <a:gd name="connsiteY2" fmla="*/ 517448 h 517448"/>
                <a:gd name="connsiteX3" fmla="*/ 0 w 7297712"/>
                <a:gd name="connsiteY3" fmla="*/ 517448 h 517448"/>
                <a:gd name="connsiteX4" fmla="*/ 101761 w 7297712"/>
                <a:gd name="connsiteY4" fmla="*/ 0 h 517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97712" h="517448">
                  <a:moveTo>
                    <a:pt x="4802198" y="0"/>
                  </a:moveTo>
                  <a:lnTo>
                    <a:pt x="7297712" y="490768"/>
                  </a:lnTo>
                  <a:lnTo>
                    <a:pt x="7297712" y="517448"/>
                  </a:lnTo>
                  <a:lnTo>
                    <a:pt x="0" y="517448"/>
                  </a:lnTo>
                  <a:lnTo>
                    <a:pt x="101761" y="0"/>
                  </a:lnTo>
                  <a:close/>
                </a:path>
              </a:pathLst>
            </a:custGeom>
          </p:spPr>
        </p:pic>
        <p:pic>
          <p:nvPicPr>
            <p:cNvPr id="51" name="gaoding-1-4">
              <a:extLst>
                <a:ext uri="{FF2B5EF4-FFF2-40B4-BE49-F238E27FC236}">
                  <a16:creationId xmlns:a16="http://schemas.microsoft.com/office/drawing/2014/main" id="{48D9E7E9-460E-4F3C-9CC2-F84DDE5C7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51585" r="14512"/>
            <a:stretch>
              <a:fillRect/>
            </a:stretch>
          </p:blipFill>
          <p:spPr>
            <a:xfrm rot="20017322">
              <a:off x="-328840" y="433239"/>
              <a:ext cx="4133496" cy="511633"/>
            </a:xfrm>
            <a:custGeom>
              <a:avLst/>
              <a:gdLst>
                <a:gd name="connsiteX0" fmla="*/ 3101823 w 4133496"/>
                <a:gd name="connsiteY0" fmla="*/ 0 h 511633"/>
                <a:gd name="connsiteX1" fmla="*/ 4133496 w 4133496"/>
                <a:gd name="connsiteY1" fmla="*/ 511633 h 511633"/>
                <a:gd name="connsiteX2" fmla="*/ 0 w 4133496"/>
                <a:gd name="connsiteY2" fmla="*/ 511633 h 511633"/>
                <a:gd name="connsiteX3" fmla="*/ 253731 w 4133496"/>
                <a:gd name="connsiteY3" fmla="*/ 0 h 51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33496" h="511633">
                  <a:moveTo>
                    <a:pt x="3101823" y="0"/>
                  </a:moveTo>
                  <a:lnTo>
                    <a:pt x="4133496" y="511633"/>
                  </a:lnTo>
                  <a:lnTo>
                    <a:pt x="0" y="511633"/>
                  </a:lnTo>
                  <a:lnTo>
                    <a:pt x="253731" y="0"/>
                  </a:lnTo>
                  <a:close/>
                </a:path>
              </a:pathLst>
            </a:custGeom>
          </p:spPr>
        </p:pic>
        <p:pic>
          <p:nvPicPr>
            <p:cNvPr id="57" name="gaoding-1-5">
              <a:extLst>
                <a:ext uri="{FF2B5EF4-FFF2-40B4-BE49-F238E27FC236}">
                  <a16:creationId xmlns:a16="http://schemas.microsoft.com/office/drawing/2014/main" id="{5D15678C-A1BA-4E94-A293-B8BA8B58D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5328" r="34733"/>
            <a:stretch>
              <a:fillRect/>
            </a:stretch>
          </p:blipFill>
          <p:spPr>
            <a:xfrm rot="20932451">
              <a:off x="5002844" y="6148071"/>
              <a:ext cx="7307752" cy="517448"/>
            </a:xfrm>
            <a:custGeom>
              <a:avLst/>
              <a:gdLst>
                <a:gd name="connsiteX0" fmla="*/ 7307752 w 7307752"/>
                <a:gd name="connsiteY0" fmla="*/ 0 h 517448"/>
                <a:gd name="connsiteX1" fmla="*/ 7205990 w 7307752"/>
                <a:gd name="connsiteY1" fmla="*/ 517448 h 517448"/>
                <a:gd name="connsiteX2" fmla="*/ 2631179 w 7307752"/>
                <a:gd name="connsiteY2" fmla="*/ 517448 h 517448"/>
                <a:gd name="connsiteX3" fmla="*/ 0 w 7307752"/>
                <a:gd name="connsiteY3" fmla="*/ 0 h 517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7752" h="517448">
                  <a:moveTo>
                    <a:pt x="7307752" y="0"/>
                  </a:moveTo>
                  <a:lnTo>
                    <a:pt x="7205990" y="517448"/>
                  </a:lnTo>
                  <a:lnTo>
                    <a:pt x="2631179" y="517448"/>
                  </a:lnTo>
                  <a:lnTo>
                    <a:pt x="0" y="0"/>
                  </a:lnTo>
                  <a:close/>
                </a:path>
              </a:pathLst>
            </a:custGeom>
          </p:spPr>
        </p:pic>
        <p:sp>
          <p:nvSpPr>
            <p:cNvPr id="45" name="gaoding-1-6">
              <a:extLst>
                <a:ext uri="{FF2B5EF4-FFF2-40B4-BE49-F238E27FC236}">
                  <a16:creationId xmlns:a16="http://schemas.microsoft.com/office/drawing/2014/main" id="{761D7208-8D4C-4843-87E5-E4C81D6E9C36}"/>
                </a:ext>
              </a:extLst>
            </p:cNvPr>
            <p:cNvSpPr/>
            <p:nvPr/>
          </p:nvSpPr>
          <p:spPr>
            <a:xfrm>
              <a:off x="478420" y="416689"/>
              <a:ext cx="11235160" cy="6024622"/>
            </a:xfrm>
            <a:prstGeom prst="roundRect">
              <a:avLst>
                <a:gd name="adj" fmla="val 4781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sx="103000" sy="103000" algn="ctr" rotWithShape="0">
                <a:schemeClr val="accent3">
                  <a:alpha val="5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endParaRPr>
            </a:p>
          </p:txBody>
        </p:sp>
      </p:grpSp>
      <p:sp>
        <p:nvSpPr>
          <p:cNvPr id="7" name="gaoding-2">
            <a:extLst>
              <a:ext uri="{FF2B5EF4-FFF2-40B4-BE49-F238E27FC236}">
                <a16:creationId xmlns:a16="http://schemas.microsoft.com/office/drawing/2014/main" id="{0B0C99AF-A7F5-498C-9BD6-846F57148636}"/>
              </a:ext>
            </a:extLst>
          </p:cNvPr>
          <p:cNvSpPr txBox="1"/>
          <p:nvPr/>
        </p:nvSpPr>
        <p:spPr>
          <a:xfrm>
            <a:off x="683040" y="671394"/>
            <a:ext cx="5046428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C7D70"/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全年目标展望</a:t>
            </a:r>
          </a:p>
        </p:txBody>
      </p:sp>
      <p:cxnSp>
        <p:nvCxnSpPr>
          <p:cNvPr id="9" name="gaoding-3">
            <a:extLst>
              <a:ext uri="{FF2B5EF4-FFF2-40B4-BE49-F238E27FC236}">
                <a16:creationId xmlns:a16="http://schemas.microsoft.com/office/drawing/2014/main" id="{716568A5-8886-44F5-A979-0C7F01C3734F}"/>
              </a:ext>
            </a:extLst>
          </p:cNvPr>
          <p:cNvCxnSpPr>
            <a:cxnSpLocks/>
          </p:cNvCxnSpPr>
          <p:nvPr/>
        </p:nvCxnSpPr>
        <p:spPr>
          <a:xfrm>
            <a:off x="4648171" y="4612176"/>
            <a:ext cx="5651263" cy="0"/>
          </a:xfrm>
          <a:prstGeom prst="line">
            <a:avLst/>
          </a:prstGeom>
          <a:ln w="38100">
            <a:solidFill>
              <a:srgbClr val="02A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aoding-4">
            <a:extLst>
              <a:ext uri="{FF2B5EF4-FFF2-40B4-BE49-F238E27FC236}">
                <a16:creationId xmlns:a16="http://schemas.microsoft.com/office/drawing/2014/main" id="{0A08F7A0-64A4-47A7-908C-D7E9484A7B5C}"/>
              </a:ext>
            </a:extLst>
          </p:cNvPr>
          <p:cNvCxnSpPr>
            <a:cxnSpLocks/>
          </p:cNvCxnSpPr>
          <p:nvPr/>
        </p:nvCxnSpPr>
        <p:spPr>
          <a:xfrm>
            <a:off x="2051222" y="2572637"/>
            <a:ext cx="8248212" cy="0"/>
          </a:xfrm>
          <a:prstGeom prst="line">
            <a:avLst/>
          </a:prstGeom>
          <a:ln w="38100">
            <a:solidFill>
              <a:srgbClr val="02A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gaoding-5">
            <a:extLst>
              <a:ext uri="{FF2B5EF4-FFF2-40B4-BE49-F238E27FC236}">
                <a16:creationId xmlns:a16="http://schemas.microsoft.com/office/drawing/2014/main" id="{B0120E79-67A4-4FEA-8D4B-8520E4CAC230}"/>
              </a:ext>
            </a:extLst>
          </p:cNvPr>
          <p:cNvSpPr/>
          <p:nvPr/>
        </p:nvSpPr>
        <p:spPr>
          <a:xfrm>
            <a:off x="9279669" y="2572636"/>
            <a:ext cx="2039529" cy="2039529"/>
          </a:xfrm>
          <a:prstGeom prst="arc">
            <a:avLst>
              <a:gd name="adj1" fmla="val 16200000"/>
              <a:gd name="adj2" fmla="val 5417539"/>
            </a:avLst>
          </a:prstGeom>
          <a:ln w="38100">
            <a:solidFill>
              <a:srgbClr val="02A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19" name="gaoding-6">
            <a:extLst>
              <a:ext uri="{FF2B5EF4-FFF2-40B4-BE49-F238E27FC236}">
                <a16:creationId xmlns:a16="http://schemas.microsoft.com/office/drawing/2014/main" id="{F3A9E76E-1587-4EF8-A1AF-21FF592C1EB1}"/>
              </a:ext>
            </a:extLst>
          </p:cNvPr>
          <p:cNvSpPr/>
          <p:nvPr/>
        </p:nvSpPr>
        <p:spPr>
          <a:xfrm rot="16200000" flipH="1">
            <a:off x="9812692" y="4559108"/>
            <a:ext cx="197020" cy="111042"/>
          </a:xfrm>
          <a:custGeom>
            <a:avLst/>
            <a:gdLst>
              <a:gd name="connsiteX0" fmla="*/ 1578381 w 1689997"/>
              <a:gd name="connsiteY0" fmla="*/ 952500 h 952499"/>
              <a:gd name="connsiteX1" fmla="*/ 1493715 w 1689997"/>
              <a:gd name="connsiteY1" fmla="*/ 920751 h 952499"/>
              <a:gd name="connsiteX2" fmla="*/ 911631 w 1689997"/>
              <a:gd name="connsiteY2" fmla="*/ 232834 h 952499"/>
              <a:gd name="connsiteX3" fmla="*/ 848132 w 1689997"/>
              <a:gd name="connsiteY3" fmla="*/ 211667 h 952499"/>
              <a:gd name="connsiteX4" fmla="*/ 795214 w 1689997"/>
              <a:gd name="connsiteY4" fmla="*/ 232834 h 952499"/>
              <a:gd name="connsiteX5" fmla="*/ 181382 w 1689997"/>
              <a:gd name="connsiteY5" fmla="*/ 910168 h 952499"/>
              <a:gd name="connsiteX6" fmla="*/ 33215 w 1689997"/>
              <a:gd name="connsiteY6" fmla="*/ 920751 h 952499"/>
              <a:gd name="connsiteX7" fmla="*/ 22632 w 1689997"/>
              <a:gd name="connsiteY7" fmla="*/ 772584 h 952499"/>
              <a:gd name="connsiteX8" fmla="*/ 636465 w 1689997"/>
              <a:gd name="connsiteY8" fmla="*/ 95250 h 952499"/>
              <a:gd name="connsiteX9" fmla="*/ 858716 w 1689997"/>
              <a:gd name="connsiteY9" fmla="*/ 0 h 952499"/>
              <a:gd name="connsiteX10" fmla="*/ 1080964 w 1689997"/>
              <a:gd name="connsiteY10" fmla="*/ 105834 h 952499"/>
              <a:gd name="connsiteX11" fmla="*/ 1663048 w 1689997"/>
              <a:gd name="connsiteY11" fmla="*/ 783167 h 952499"/>
              <a:gd name="connsiteX12" fmla="*/ 1652464 w 1689997"/>
              <a:gd name="connsiteY12" fmla="*/ 931335 h 952499"/>
              <a:gd name="connsiteX13" fmla="*/ 1578381 w 1689997"/>
              <a:gd name="connsiteY13" fmla="*/ 952500 h 952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89997" h="952499">
                <a:moveTo>
                  <a:pt x="1578381" y="952500"/>
                </a:moveTo>
                <a:cubicBezTo>
                  <a:pt x="1546633" y="952500"/>
                  <a:pt x="1514882" y="941918"/>
                  <a:pt x="1493715" y="920751"/>
                </a:cubicBezTo>
                <a:lnTo>
                  <a:pt x="911631" y="232834"/>
                </a:lnTo>
                <a:cubicBezTo>
                  <a:pt x="890464" y="222251"/>
                  <a:pt x="879883" y="211667"/>
                  <a:pt x="848132" y="211667"/>
                </a:cubicBezTo>
                <a:cubicBezTo>
                  <a:pt x="837548" y="211667"/>
                  <a:pt x="805798" y="222251"/>
                  <a:pt x="795214" y="232834"/>
                </a:cubicBezTo>
                <a:lnTo>
                  <a:pt x="181382" y="910168"/>
                </a:lnTo>
                <a:cubicBezTo>
                  <a:pt x="139048" y="952500"/>
                  <a:pt x="75548" y="952500"/>
                  <a:pt x="33215" y="920751"/>
                </a:cubicBezTo>
                <a:cubicBezTo>
                  <a:pt x="-9118" y="878417"/>
                  <a:pt x="-9118" y="814918"/>
                  <a:pt x="22632" y="772584"/>
                </a:cubicBezTo>
                <a:lnTo>
                  <a:pt x="636465" y="95250"/>
                </a:lnTo>
                <a:cubicBezTo>
                  <a:pt x="689383" y="31751"/>
                  <a:pt x="774049" y="0"/>
                  <a:pt x="858716" y="0"/>
                </a:cubicBezTo>
                <a:cubicBezTo>
                  <a:pt x="943382" y="0"/>
                  <a:pt x="1017465" y="42334"/>
                  <a:pt x="1080964" y="105834"/>
                </a:cubicBezTo>
                <a:lnTo>
                  <a:pt x="1663048" y="783167"/>
                </a:lnTo>
                <a:cubicBezTo>
                  <a:pt x="1705382" y="825501"/>
                  <a:pt x="1694798" y="889001"/>
                  <a:pt x="1652464" y="931335"/>
                </a:cubicBezTo>
                <a:cubicBezTo>
                  <a:pt x="1631299" y="941918"/>
                  <a:pt x="1599548" y="952500"/>
                  <a:pt x="1578381" y="952500"/>
                </a:cubicBezTo>
                <a:close/>
              </a:path>
            </a:pathLst>
          </a:custGeom>
          <a:solidFill>
            <a:srgbClr val="02A18D"/>
          </a:solidFill>
          <a:ln w="18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0" name="gaoding-7">
            <a:extLst>
              <a:ext uri="{FF2B5EF4-FFF2-40B4-BE49-F238E27FC236}">
                <a16:creationId xmlns:a16="http://schemas.microsoft.com/office/drawing/2014/main" id="{4FD7F337-0B82-4277-AA7D-F32E84701E18}"/>
              </a:ext>
            </a:extLst>
          </p:cNvPr>
          <p:cNvSpPr/>
          <p:nvPr/>
        </p:nvSpPr>
        <p:spPr>
          <a:xfrm rot="5400000">
            <a:off x="9812692" y="2522029"/>
            <a:ext cx="197020" cy="111042"/>
          </a:xfrm>
          <a:custGeom>
            <a:avLst/>
            <a:gdLst>
              <a:gd name="connsiteX0" fmla="*/ 1578381 w 1689997"/>
              <a:gd name="connsiteY0" fmla="*/ 952500 h 952499"/>
              <a:gd name="connsiteX1" fmla="*/ 1493715 w 1689997"/>
              <a:gd name="connsiteY1" fmla="*/ 920751 h 952499"/>
              <a:gd name="connsiteX2" fmla="*/ 911631 w 1689997"/>
              <a:gd name="connsiteY2" fmla="*/ 232834 h 952499"/>
              <a:gd name="connsiteX3" fmla="*/ 848132 w 1689997"/>
              <a:gd name="connsiteY3" fmla="*/ 211667 h 952499"/>
              <a:gd name="connsiteX4" fmla="*/ 795214 w 1689997"/>
              <a:gd name="connsiteY4" fmla="*/ 232834 h 952499"/>
              <a:gd name="connsiteX5" fmla="*/ 181382 w 1689997"/>
              <a:gd name="connsiteY5" fmla="*/ 910168 h 952499"/>
              <a:gd name="connsiteX6" fmla="*/ 33215 w 1689997"/>
              <a:gd name="connsiteY6" fmla="*/ 920751 h 952499"/>
              <a:gd name="connsiteX7" fmla="*/ 22632 w 1689997"/>
              <a:gd name="connsiteY7" fmla="*/ 772584 h 952499"/>
              <a:gd name="connsiteX8" fmla="*/ 636465 w 1689997"/>
              <a:gd name="connsiteY8" fmla="*/ 95250 h 952499"/>
              <a:gd name="connsiteX9" fmla="*/ 858716 w 1689997"/>
              <a:gd name="connsiteY9" fmla="*/ 0 h 952499"/>
              <a:gd name="connsiteX10" fmla="*/ 1080964 w 1689997"/>
              <a:gd name="connsiteY10" fmla="*/ 105834 h 952499"/>
              <a:gd name="connsiteX11" fmla="*/ 1663048 w 1689997"/>
              <a:gd name="connsiteY11" fmla="*/ 783167 h 952499"/>
              <a:gd name="connsiteX12" fmla="*/ 1652464 w 1689997"/>
              <a:gd name="connsiteY12" fmla="*/ 931335 h 952499"/>
              <a:gd name="connsiteX13" fmla="*/ 1578381 w 1689997"/>
              <a:gd name="connsiteY13" fmla="*/ 952500 h 952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89997" h="952499">
                <a:moveTo>
                  <a:pt x="1578381" y="952500"/>
                </a:moveTo>
                <a:cubicBezTo>
                  <a:pt x="1546633" y="952500"/>
                  <a:pt x="1514882" y="941918"/>
                  <a:pt x="1493715" y="920751"/>
                </a:cubicBezTo>
                <a:lnTo>
                  <a:pt x="911631" y="232834"/>
                </a:lnTo>
                <a:cubicBezTo>
                  <a:pt x="890464" y="222251"/>
                  <a:pt x="879883" y="211667"/>
                  <a:pt x="848132" y="211667"/>
                </a:cubicBezTo>
                <a:cubicBezTo>
                  <a:pt x="837548" y="211667"/>
                  <a:pt x="805798" y="222251"/>
                  <a:pt x="795214" y="232834"/>
                </a:cubicBezTo>
                <a:lnTo>
                  <a:pt x="181382" y="910168"/>
                </a:lnTo>
                <a:cubicBezTo>
                  <a:pt x="139048" y="952500"/>
                  <a:pt x="75548" y="952500"/>
                  <a:pt x="33215" y="920751"/>
                </a:cubicBezTo>
                <a:cubicBezTo>
                  <a:pt x="-9118" y="878417"/>
                  <a:pt x="-9118" y="814918"/>
                  <a:pt x="22632" y="772584"/>
                </a:cubicBezTo>
                <a:lnTo>
                  <a:pt x="636465" y="95250"/>
                </a:lnTo>
                <a:cubicBezTo>
                  <a:pt x="689383" y="31751"/>
                  <a:pt x="774049" y="0"/>
                  <a:pt x="858716" y="0"/>
                </a:cubicBezTo>
                <a:cubicBezTo>
                  <a:pt x="943382" y="0"/>
                  <a:pt x="1017465" y="42334"/>
                  <a:pt x="1080964" y="105834"/>
                </a:cubicBezTo>
                <a:lnTo>
                  <a:pt x="1663048" y="783167"/>
                </a:lnTo>
                <a:cubicBezTo>
                  <a:pt x="1705382" y="825501"/>
                  <a:pt x="1694798" y="889001"/>
                  <a:pt x="1652464" y="931335"/>
                </a:cubicBezTo>
                <a:cubicBezTo>
                  <a:pt x="1631299" y="941918"/>
                  <a:pt x="1599548" y="952500"/>
                  <a:pt x="1578381" y="952500"/>
                </a:cubicBezTo>
                <a:close/>
              </a:path>
            </a:pathLst>
          </a:custGeom>
          <a:solidFill>
            <a:srgbClr val="02A18D"/>
          </a:solidFill>
          <a:ln w="18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2" name="gaoding-8">
            <a:extLst>
              <a:ext uri="{FF2B5EF4-FFF2-40B4-BE49-F238E27FC236}">
                <a16:creationId xmlns:a16="http://schemas.microsoft.com/office/drawing/2014/main" id="{FEEFEE75-AB7F-49F3-9006-6BBDECE5A3CD}"/>
              </a:ext>
            </a:extLst>
          </p:cNvPr>
          <p:cNvSpPr/>
          <p:nvPr/>
        </p:nvSpPr>
        <p:spPr>
          <a:xfrm rot="5400000">
            <a:off x="3749580" y="2522029"/>
            <a:ext cx="197020" cy="111042"/>
          </a:xfrm>
          <a:custGeom>
            <a:avLst/>
            <a:gdLst>
              <a:gd name="connsiteX0" fmla="*/ 1578381 w 1689997"/>
              <a:gd name="connsiteY0" fmla="*/ 952500 h 952499"/>
              <a:gd name="connsiteX1" fmla="*/ 1493715 w 1689997"/>
              <a:gd name="connsiteY1" fmla="*/ 920751 h 952499"/>
              <a:gd name="connsiteX2" fmla="*/ 911631 w 1689997"/>
              <a:gd name="connsiteY2" fmla="*/ 232834 h 952499"/>
              <a:gd name="connsiteX3" fmla="*/ 848132 w 1689997"/>
              <a:gd name="connsiteY3" fmla="*/ 211667 h 952499"/>
              <a:gd name="connsiteX4" fmla="*/ 795214 w 1689997"/>
              <a:gd name="connsiteY4" fmla="*/ 232834 h 952499"/>
              <a:gd name="connsiteX5" fmla="*/ 181382 w 1689997"/>
              <a:gd name="connsiteY5" fmla="*/ 910168 h 952499"/>
              <a:gd name="connsiteX6" fmla="*/ 33215 w 1689997"/>
              <a:gd name="connsiteY6" fmla="*/ 920751 h 952499"/>
              <a:gd name="connsiteX7" fmla="*/ 22632 w 1689997"/>
              <a:gd name="connsiteY7" fmla="*/ 772584 h 952499"/>
              <a:gd name="connsiteX8" fmla="*/ 636465 w 1689997"/>
              <a:gd name="connsiteY8" fmla="*/ 95250 h 952499"/>
              <a:gd name="connsiteX9" fmla="*/ 858716 w 1689997"/>
              <a:gd name="connsiteY9" fmla="*/ 0 h 952499"/>
              <a:gd name="connsiteX10" fmla="*/ 1080964 w 1689997"/>
              <a:gd name="connsiteY10" fmla="*/ 105834 h 952499"/>
              <a:gd name="connsiteX11" fmla="*/ 1663048 w 1689997"/>
              <a:gd name="connsiteY11" fmla="*/ 783167 h 952499"/>
              <a:gd name="connsiteX12" fmla="*/ 1652464 w 1689997"/>
              <a:gd name="connsiteY12" fmla="*/ 931335 h 952499"/>
              <a:gd name="connsiteX13" fmla="*/ 1578381 w 1689997"/>
              <a:gd name="connsiteY13" fmla="*/ 952500 h 952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89997" h="952499">
                <a:moveTo>
                  <a:pt x="1578381" y="952500"/>
                </a:moveTo>
                <a:cubicBezTo>
                  <a:pt x="1546633" y="952500"/>
                  <a:pt x="1514882" y="941918"/>
                  <a:pt x="1493715" y="920751"/>
                </a:cubicBezTo>
                <a:lnTo>
                  <a:pt x="911631" y="232834"/>
                </a:lnTo>
                <a:cubicBezTo>
                  <a:pt x="890464" y="222251"/>
                  <a:pt x="879883" y="211667"/>
                  <a:pt x="848132" y="211667"/>
                </a:cubicBezTo>
                <a:cubicBezTo>
                  <a:pt x="837548" y="211667"/>
                  <a:pt x="805798" y="222251"/>
                  <a:pt x="795214" y="232834"/>
                </a:cubicBezTo>
                <a:lnTo>
                  <a:pt x="181382" y="910168"/>
                </a:lnTo>
                <a:cubicBezTo>
                  <a:pt x="139048" y="952500"/>
                  <a:pt x="75548" y="952500"/>
                  <a:pt x="33215" y="920751"/>
                </a:cubicBezTo>
                <a:cubicBezTo>
                  <a:pt x="-9118" y="878417"/>
                  <a:pt x="-9118" y="814918"/>
                  <a:pt x="22632" y="772584"/>
                </a:cubicBezTo>
                <a:lnTo>
                  <a:pt x="636465" y="95250"/>
                </a:lnTo>
                <a:cubicBezTo>
                  <a:pt x="689383" y="31751"/>
                  <a:pt x="774049" y="0"/>
                  <a:pt x="858716" y="0"/>
                </a:cubicBezTo>
                <a:cubicBezTo>
                  <a:pt x="943382" y="0"/>
                  <a:pt x="1017465" y="42334"/>
                  <a:pt x="1080964" y="105834"/>
                </a:cubicBezTo>
                <a:lnTo>
                  <a:pt x="1663048" y="783167"/>
                </a:lnTo>
                <a:cubicBezTo>
                  <a:pt x="1705382" y="825501"/>
                  <a:pt x="1694798" y="889001"/>
                  <a:pt x="1652464" y="931335"/>
                </a:cubicBezTo>
                <a:cubicBezTo>
                  <a:pt x="1631299" y="941918"/>
                  <a:pt x="1599548" y="952500"/>
                  <a:pt x="1578381" y="952500"/>
                </a:cubicBezTo>
                <a:close/>
              </a:path>
            </a:pathLst>
          </a:custGeom>
          <a:solidFill>
            <a:srgbClr val="02A18D"/>
          </a:solidFill>
          <a:ln w="186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3" name="gaoding-9">
            <a:extLst>
              <a:ext uri="{FF2B5EF4-FFF2-40B4-BE49-F238E27FC236}">
                <a16:creationId xmlns:a16="http://schemas.microsoft.com/office/drawing/2014/main" id="{F93576E4-552C-449D-A03B-C34250879E5C}"/>
              </a:ext>
            </a:extLst>
          </p:cNvPr>
          <p:cNvSpPr/>
          <p:nvPr/>
        </p:nvSpPr>
        <p:spPr>
          <a:xfrm>
            <a:off x="4568873" y="2414982"/>
            <a:ext cx="315308" cy="31530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" name="gaoding-10">
            <a:extLst>
              <a:ext uri="{FF2B5EF4-FFF2-40B4-BE49-F238E27FC236}">
                <a16:creationId xmlns:a16="http://schemas.microsoft.com/office/drawing/2014/main" id="{FCE3CA6A-9B07-4BA7-9E17-64F2B6362FD2}"/>
              </a:ext>
            </a:extLst>
          </p:cNvPr>
          <p:cNvSpPr/>
          <p:nvPr/>
        </p:nvSpPr>
        <p:spPr>
          <a:xfrm>
            <a:off x="4648171" y="2494280"/>
            <a:ext cx="156712" cy="1567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4" name="gaoding-11">
            <a:extLst>
              <a:ext uri="{FF2B5EF4-FFF2-40B4-BE49-F238E27FC236}">
                <a16:creationId xmlns:a16="http://schemas.microsoft.com/office/drawing/2014/main" id="{ACE82A51-FC52-4360-9628-082A7C401577}"/>
              </a:ext>
            </a:extLst>
          </p:cNvPr>
          <p:cNvSpPr txBox="1"/>
          <p:nvPr/>
        </p:nvSpPr>
        <p:spPr>
          <a:xfrm>
            <a:off x="4573904" y="2883369"/>
            <a:ext cx="123932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C7D70"/>
                </a:solidFill>
                <a:effectLst/>
                <a:uLnTx/>
                <a:uFillTx/>
                <a:latin typeface="OPPOSans H"/>
                <a:ea typeface="OPPOSans H"/>
                <a:cs typeface="+mn-cs"/>
              </a:rPr>
              <a:t>薪酬管理</a:t>
            </a:r>
          </a:p>
        </p:txBody>
      </p:sp>
      <p:sp>
        <p:nvSpPr>
          <p:cNvPr id="25" name="gaoding-12">
            <a:extLst>
              <a:ext uri="{FF2B5EF4-FFF2-40B4-BE49-F238E27FC236}">
                <a16:creationId xmlns:a16="http://schemas.microsoft.com/office/drawing/2014/main" id="{7D516804-AD85-4560-8FCB-5885AB96397E}"/>
              </a:ext>
            </a:extLst>
          </p:cNvPr>
          <p:cNvSpPr txBox="1"/>
          <p:nvPr/>
        </p:nvSpPr>
        <p:spPr>
          <a:xfrm>
            <a:off x="4587535" y="3240507"/>
            <a:ext cx="2143228" cy="6197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改善薪酬设计体系，不断进行优化提高</a:t>
            </a:r>
          </a:p>
        </p:txBody>
      </p:sp>
      <p:sp>
        <p:nvSpPr>
          <p:cNvPr id="26" name="gaoding-13">
            <a:extLst>
              <a:ext uri="{FF2B5EF4-FFF2-40B4-BE49-F238E27FC236}">
                <a16:creationId xmlns:a16="http://schemas.microsoft.com/office/drawing/2014/main" id="{79FD6308-7C2A-4BE9-A9A0-8771724969F6}"/>
              </a:ext>
            </a:extLst>
          </p:cNvPr>
          <p:cNvSpPr/>
          <p:nvPr/>
        </p:nvSpPr>
        <p:spPr>
          <a:xfrm>
            <a:off x="7240918" y="2414982"/>
            <a:ext cx="315308" cy="31530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7" name="gaoding-14">
            <a:extLst>
              <a:ext uri="{FF2B5EF4-FFF2-40B4-BE49-F238E27FC236}">
                <a16:creationId xmlns:a16="http://schemas.microsoft.com/office/drawing/2014/main" id="{C073616B-1484-4AFE-AC0A-82F3ED297951}"/>
              </a:ext>
            </a:extLst>
          </p:cNvPr>
          <p:cNvSpPr/>
          <p:nvPr/>
        </p:nvSpPr>
        <p:spPr>
          <a:xfrm>
            <a:off x="7320216" y="2494280"/>
            <a:ext cx="156712" cy="1567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8" name="gaoding-15">
            <a:extLst>
              <a:ext uri="{FF2B5EF4-FFF2-40B4-BE49-F238E27FC236}">
                <a16:creationId xmlns:a16="http://schemas.microsoft.com/office/drawing/2014/main" id="{2F7B9D56-1ADC-464B-8A89-0D3EE6C809F7}"/>
              </a:ext>
            </a:extLst>
          </p:cNvPr>
          <p:cNvSpPr txBox="1"/>
          <p:nvPr/>
        </p:nvSpPr>
        <p:spPr>
          <a:xfrm>
            <a:off x="7245949" y="2883369"/>
            <a:ext cx="123932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C7D70"/>
                </a:solidFill>
                <a:effectLst/>
                <a:uLnTx/>
                <a:uFillTx/>
                <a:latin typeface="OPPOSans H"/>
                <a:ea typeface="OPPOSans H"/>
                <a:cs typeface="+mn-cs"/>
              </a:rPr>
              <a:t>绩效考核</a:t>
            </a:r>
          </a:p>
        </p:txBody>
      </p:sp>
      <p:sp>
        <p:nvSpPr>
          <p:cNvPr id="29" name="gaoding-16">
            <a:extLst>
              <a:ext uri="{FF2B5EF4-FFF2-40B4-BE49-F238E27FC236}">
                <a16:creationId xmlns:a16="http://schemas.microsoft.com/office/drawing/2014/main" id="{1FC3F05C-8B49-45E4-8B61-E27F2AB54C54}"/>
              </a:ext>
            </a:extLst>
          </p:cNvPr>
          <p:cNvSpPr txBox="1"/>
          <p:nvPr/>
        </p:nvSpPr>
        <p:spPr>
          <a:xfrm>
            <a:off x="7259580" y="3240507"/>
            <a:ext cx="2143228" cy="6197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完善考核体系，促进员工工作业绩的提升</a:t>
            </a:r>
          </a:p>
        </p:txBody>
      </p:sp>
      <p:sp>
        <p:nvSpPr>
          <p:cNvPr id="31" name="gaoding-17">
            <a:extLst>
              <a:ext uri="{FF2B5EF4-FFF2-40B4-BE49-F238E27FC236}">
                <a16:creationId xmlns:a16="http://schemas.microsoft.com/office/drawing/2014/main" id="{37F6D136-C37D-44C2-A258-EB7C71A9D1B9}"/>
              </a:ext>
            </a:extLst>
          </p:cNvPr>
          <p:cNvSpPr/>
          <p:nvPr/>
        </p:nvSpPr>
        <p:spPr>
          <a:xfrm>
            <a:off x="4568873" y="4438044"/>
            <a:ext cx="315308" cy="31530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2" name="gaoding-18">
            <a:extLst>
              <a:ext uri="{FF2B5EF4-FFF2-40B4-BE49-F238E27FC236}">
                <a16:creationId xmlns:a16="http://schemas.microsoft.com/office/drawing/2014/main" id="{C4FF7911-88B9-4990-B63A-BE1462DED28A}"/>
              </a:ext>
            </a:extLst>
          </p:cNvPr>
          <p:cNvSpPr/>
          <p:nvPr/>
        </p:nvSpPr>
        <p:spPr>
          <a:xfrm>
            <a:off x="4648171" y="4517342"/>
            <a:ext cx="156712" cy="1567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3" name="gaoding-19">
            <a:extLst>
              <a:ext uri="{FF2B5EF4-FFF2-40B4-BE49-F238E27FC236}">
                <a16:creationId xmlns:a16="http://schemas.microsoft.com/office/drawing/2014/main" id="{C164AAB0-3A1B-488F-82D9-3F7E6A029775}"/>
              </a:ext>
            </a:extLst>
          </p:cNvPr>
          <p:cNvSpPr txBox="1"/>
          <p:nvPr/>
        </p:nvSpPr>
        <p:spPr>
          <a:xfrm>
            <a:off x="4573904" y="4906431"/>
            <a:ext cx="123932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C7D70"/>
                </a:solidFill>
                <a:effectLst/>
                <a:uLnTx/>
                <a:uFillTx/>
                <a:latin typeface="OPPOSans H"/>
                <a:ea typeface="OPPOSans H"/>
                <a:cs typeface="+mn-cs"/>
              </a:rPr>
              <a:t>企业活动</a:t>
            </a:r>
          </a:p>
        </p:txBody>
      </p:sp>
      <p:sp>
        <p:nvSpPr>
          <p:cNvPr id="34" name="gaoding-20">
            <a:extLst>
              <a:ext uri="{FF2B5EF4-FFF2-40B4-BE49-F238E27FC236}">
                <a16:creationId xmlns:a16="http://schemas.microsoft.com/office/drawing/2014/main" id="{E73E96EE-7B63-4652-8AE8-DF63713E48AA}"/>
              </a:ext>
            </a:extLst>
          </p:cNvPr>
          <p:cNvSpPr txBox="1"/>
          <p:nvPr/>
        </p:nvSpPr>
        <p:spPr>
          <a:xfrm>
            <a:off x="4587535" y="5263569"/>
            <a:ext cx="2143228" cy="6197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组织企宣活动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8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场组织企宣活动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8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场</a:t>
            </a:r>
          </a:p>
        </p:txBody>
      </p:sp>
      <p:sp>
        <p:nvSpPr>
          <p:cNvPr id="35" name="gaoding-21">
            <a:extLst>
              <a:ext uri="{FF2B5EF4-FFF2-40B4-BE49-F238E27FC236}">
                <a16:creationId xmlns:a16="http://schemas.microsoft.com/office/drawing/2014/main" id="{1327FFE1-AAC4-4D1B-A69C-E23C9C6D3152}"/>
              </a:ext>
            </a:extLst>
          </p:cNvPr>
          <p:cNvSpPr/>
          <p:nvPr/>
        </p:nvSpPr>
        <p:spPr>
          <a:xfrm>
            <a:off x="7240918" y="4438044"/>
            <a:ext cx="315308" cy="31530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6" name="gaoding-22">
            <a:extLst>
              <a:ext uri="{FF2B5EF4-FFF2-40B4-BE49-F238E27FC236}">
                <a16:creationId xmlns:a16="http://schemas.microsoft.com/office/drawing/2014/main" id="{5F7C0084-4893-4132-84B4-C8C4CF38092F}"/>
              </a:ext>
            </a:extLst>
          </p:cNvPr>
          <p:cNvSpPr/>
          <p:nvPr/>
        </p:nvSpPr>
        <p:spPr>
          <a:xfrm>
            <a:off x="7320216" y="4517342"/>
            <a:ext cx="156712" cy="1567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37" name="gaoding-23">
            <a:extLst>
              <a:ext uri="{FF2B5EF4-FFF2-40B4-BE49-F238E27FC236}">
                <a16:creationId xmlns:a16="http://schemas.microsoft.com/office/drawing/2014/main" id="{92476B85-E68A-4152-AFA8-9280644536D1}"/>
              </a:ext>
            </a:extLst>
          </p:cNvPr>
          <p:cNvSpPr txBox="1"/>
          <p:nvPr/>
        </p:nvSpPr>
        <p:spPr>
          <a:xfrm>
            <a:off x="7245949" y="4906431"/>
            <a:ext cx="123932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0C7D70"/>
                </a:solidFill>
                <a:effectLst/>
                <a:uLnTx/>
                <a:uFillTx/>
                <a:latin typeface="OPPOSans H"/>
                <a:ea typeface="OPPOSans H"/>
                <a:cs typeface="+mn-cs"/>
              </a:rPr>
              <a:t>员工培训</a:t>
            </a:r>
          </a:p>
        </p:txBody>
      </p:sp>
      <p:sp>
        <p:nvSpPr>
          <p:cNvPr id="38" name="gaoding-24">
            <a:extLst>
              <a:ext uri="{FF2B5EF4-FFF2-40B4-BE49-F238E27FC236}">
                <a16:creationId xmlns:a16="http://schemas.microsoft.com/office/drawing/2014/main" id="{0EFC2709-8571-4F33-BCDC-295AD5E0DAE9}"/>
              </a:ext>
            </a:extLst>
          </p:cNvPr>
          <p:cNvSpPr txBox="1"/>
          <p:nvPr/>
        </p:nvSpPr>
        <p:spPr>
          <a:xfrm>
            <a:off x="7259580" y="5263569"/>
            <a:ext cx="2143228" cy="6197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定期开展工作技能培训，不断提高专业度</a:t>
            </a:r>
          </a:p>
        </p:txBody>
      </p:sp>
      <p:pic>
        <p:nvPicPr>
          <p:cNvPr id="60" name="gaoding-25">
            <a:extLst>
              <a:ext uri="{FF2B5EF4-FFF2-40B4-BE49-F238E27FC236}">
                <a16:creationId xmlns:a16="http://schemas.microsoft.com/office/drawing/2014/main" id="{51B84796-2A82-46CA-99ED-2ED0ABE13C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552" r="41614"/>
          <a:stretch/>
        </p:blipFill>
        <p:spPr>
          <a:xfrm rot="19800000">
            <a:off x="766637" y="2505709"/>
            <a:ext cx="2535165" cy="564881"/>
          </a:xfrm>
          <a:prstGeom prst="rect">
            <a:avLst/>
          </a:prstGeom>
        </p:spPr>
      </p:pic>
      <p:pic>
        <p:nvPicPr>
          <p:cNvPr id="62" name="gaoding-26" descr="乐高玩具&#10;&#10;低可信度描述已自动生成">
            <a:extLst>
              <a:ext uri="{FF2B5EF4-FFF2-40B4-BE49-F238E27FC236}">
                <a16:creationId xmlns:a16="http://schemas.microsoft.com/office/drawing/2014/main" id="{D31F4592-E4CF-4694-BCE1-D56AA363E25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70" b="19670"/>
          <a:stretch/>
        </p:blipFill>
        <p:spPr>
          <a:xfrm>
            <a:off x="768166" y="1659289"/>
            <a:ext cx="2712393" cy="1645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9632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矩形 62">
            <a:extLst>
              <a:ext uri="{FF2B5EF4-FFF2-40B4-BE49-F238E27FC236}">
                <a16:creationId xmlns:a16="http://schemas.microsoft.com/office/drawing/2014/main" id="{F1930B41-344B-42AD-BA0C-6AC4FEDE8A7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pic>
        <p:nvPicPr>
          <p:cNvPr id="6" name="图片 1" descr="建筑前面有草地&#10;&#10;描述已自动生成">
            <a:extLst>
              <a:ext uri="{FF2B5EF4-FFF2-40B4-BE49-F238E27FC236}">
                <a16:creationId xmlns:a16="http://schemas.microsoft.com/office/drawing/2014/main" id="{5EC9AC9B-D2F4-412F-9781-8AD1FCFA432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alphaModFix amt="4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4188" t="11834" r="13581" b="27340"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7" name="矩形 2">
            <a:extLst>
              <a:ext uri="{FF2B5EF4-FFF2-40B4-BE49-F238E27FC236}">
                <a16:creationId xmlns:a16="http://schemas.microsoft.com/office/drawing/2014/main" id="{B47CEC1B-94B6-4BD7-9F8D-EF045210B4B8}"/>
              </a:ext>
            </a:extLst>
          </p:cNvPr>
          <p:cNvSpPr/>
          <p:nvPr/>
        </p:nvSpPr>
        <p:spPr>
          <a:xfrm>
            <a:off x="0" y="-3527"/>
            <a:ext cx="12192000" cy="6865055"/>
          </a:xfrm>
          <a:prstGeom prst="rect">
            <a:avLst/>
          </a:prstGeom>
          <a:solidFill>
            <a:schemeClr val="accent5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9" name="直接连接符 1">
            <a:extLst>
              <a:ext uri="{FF2B5EF4-FFF2-40B4-BE49-F238E27FC236}">
                <a16:creationId xmlns:a16="http://schemas.microsoft.com/office/drawing/2014/main" id="{F8439D78-3288-410D-BA67-5670837AD108}"/>
              </a:ext>
            </a:extLst>
          </p:cNvPr>
          <p:cNvCxnSpPr>
            <a:cxnSpLocks/>
          </p:cNvCxnSpPr>
          <p:nvPr/>
        </p:nvCxnSpPr>
        <p:spPr>
          <a:xfrm>
            <a:off x="2298700" y="221393"/>
            <a:ext cx="0" cy="7344127"/>
          </a:xfrm>
          <a:prstGeom prst="line">
            <a:avLst/>
          </a:prstGeom>
          <a:ln w="19050">
            <a:gradFill>
              <a:gsLst>
                <a:gs pos="82000">
                  <a:schemeClr val="accent4"/>
                </a:gs>
                <a:gs pos="17700">
                  <a:schemeClr val="accent4"/>
                </a:gs>
                <a:gs pos="0">
                  <a:schemeClr val="bg1">
                    <a:alpha val="0"/>
                  </a:schemeClr>
                </a:gs>
                <a:gs pos="50000">
                  <a:schemeClr val="accent2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椭圆 1">
            <a:extLst>
              <a:ext uri="{FF2B5EF4-FFF2-40B4-BE49-F238E27FC236}">
                <a16:creationId xmlns:a16="http://schemas.microsoft.com/office/drawing/2014/main" id="{08BFC3CF-81EE-4556-AD21-496A1B061C65}"/>
              </a:ext>
            </a:extLst>
          </p:cNvPr>
          <p:cNvSpPr/>
          <p:nvPr/>
        </p:nvSpPr>
        <p:spPr bwMode="auto">
          <a:xfrm>
            <a:off x="2238375" y="1809174"/>
            <a:ext cx="120650" cy="120650"/>
          </a:xfrm>
          <a:prstGeom prst="ellipse">
            <a:avLst/>
          </a:prstGeom>
          <a:solidFill>
            <a:schemeClr val="accent3"/>
          </a:solidFill>
          <a:ln w="50800" cap="flat" cmpd="sng" algn="ctr">
            <a:solidFill>
              <a:schemeClr val="accent1">
                <a:alpha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" name="椭圆 2">
            <a:extLst>
              <a:ext uri="{FF2B5EF4-FFF2-40B4-BE49-F238E27FC236}">
                <a16:creationId xmlns:a16="http://schemas.microsoft.com/office/drawing/2014/main" id="{12678438-8D5D-459E-AF91-B5E204CD7F5D}"/>
              </a:ext>
            </a:extLst>
          </p:cNvPr>
          <p:cNvSpPr/>
          <p:nvPr/>
        </p:nvSpPr>
        <p:spPr bwMode="auto">
          <a:xfrm>
            <a:off x="2189254" y="1760053"/>
            <a:ext cx="218892" cy="218892"/>
          </a:xfrm>
          <a:prstGeom prst="ellipse">
            <a:avLst/>
          </a:prstGeom>
          <a:solidFill>
            <a:schemeClr val="accent2">
              <a:alpha val="20000"/>
            </a:schemeClr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" name="稿定PPT-6-4">
            <a:extLst>
              <a:ext uri="{FF2B5EF4-FFF2-40B4-BE49-F238E27FC236}">
                <a16:creationId xmlns:a16="http://schemas.microsoft.com/office/drawing/2014/main" id="{E120BBE8-A268-4517-9ACA-16F68E9E7903}"/>
              </a:ext>
            </a:extLst>
          </p:cNvPr>
          <p:cNvSpPr txBox="1"/>
          <p:nvPr/>
        </p:nvSpPr>
        <p:spPr>
          <a:xfrm>
            <a:off x="623836" y="1371498"/>
            <a:ext cx="1528201" cy="646331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none" lIns="0" tIns="0" rIns="0" bIns="0" rtlCol="0" anchor="b">
            <a:no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.05.20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9DB3D12-26F1-437B-96CA-28F5AA278A9F}"/>
              </a:ext>
            </a:extLst>
          </p:cNvPr>
          <p:cNvSpPr/>
          <p:nvPr/>
        </p:nvSpPr>
        <p:spPr>
          <a:xfrm>
            <a:off x="2751622" y="1513035"/>
            <a:ext cx="8816542" cy="712929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70000">
                <a:schemeClr val="accent5">
                  <a:alpha val="0"/>
                </a:schemeClr>
              </a:gs>
            </a:gsLst>
            <a:lin ang="0" scaled="1"/>
            <a:tileRect/>
          </a:gradFill>
          <a:ln w="19050">
            <a:gradFill flip="none" rotWithShape="1">
              <a:gsLst>
                <a:gs pos="0">
                  <a:schemeClr val="accent2"/>
                </a:gs>
                <a:gs pos="42000">
                  <a:schemeClr val="accent4"/>
                </a:gs>
                <a:gs pos="100000">
                  <a:schemeClr val="accent5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465D2D00-7338-4D65-8DDD-3AF8372E27C2}"/>
              </a:ext>
            </a:extLst>
          </p:cNvPr>
          <p:cNvCxnSpPr>
            <a:cxnSpLocks/>
          </p:cNvCxnSpPr>
          <p:nvPr/>
        </p:nvCxnSpPr>
        <p:spPr>
          <a:xfrm>
            <a:off x="4176917" y="1639132"/>
            <a:ext cx="0" cy="460734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稿定PPT-6-4">
            <a:extLst>
              <a:ext uri="{FF2B5EF4-FFF2-40B4-BE49-F238E27FC236}">
                <a16:creationId xmlns:a16="http://schemas.microsoft.com/office/drawing/2014/main" id="{8C27B7CE-C4E4-468C-BA3A-78F489D7CED9}"/>
              </a:ext>
            </a:extLst>
          </p:cNvPr>
          <p:cNvSpPr txBox="1"/>
          <p:nvPr/>
        </p:nvSpPr>
        <p:spPr>
          <a:xfrm>
            <a:off x="2907962" y="1740830"/>
            <a:ext cx="1162547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20" name="稿定PPT-10-2">
            <a:extLst>
              <a:ext uri="{FF2B5EF4-FFF2-40B4-BE49-F238E27FC236}">
                <a16:creationId xmlns:a16="http://schemas.microsoft.com/office/drawing/2014/main" id="{4FB0724F-99F5-4B9A-82E2-64DAC29194DD}"/>
              </a:ext>
            </a:extLst>
          </p:cNvPr>
          <p:cNvSpPr txBox="1"/>
          <p:nvPr/>
        </p:nvSpPr>
        <p:spPr>
          <a:xfrm>
            <a:off x="4283326" y="1770115"/>
            <a:ext cx="715787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31" name="椭圆 1">
            <a:extLst>
              <a:ext uri="{FF2B5EF4-FFF2-40B4-BE49-F238E27FC236}">
                <a16:creationId xmlns:a16="http://schemas.microsoft.com/office/drawing/2014/main" id="{B23204E7-0BD0-4C0F-B78C-F939EC9A2398}"/>
              </a:ext>
            </a:extLst>
          </p:cNvPr>
          <p:cNvSpPr/>
          <p:nvPr/>
        </p:nvSpPr>
        <p:spPr bwMode="auto">
          <a:xfrm>
            <a:off x="2238375" y="2792630"/>
            <a:ext cx="120650" cy="120650"/>
          </a:xfrm>
          <a:prstGeom prst="ellipse">
            <a:avLst/>
          </a:prstGeom>
          <a:solidFill>
            <a:schemeClr val="accent3"/>
          </a:solidFill>
          <a:ln w="50800" cap="flat" cmpd="sng" algn="ctr">
            <a:solidFill>
              <a:schemeClr val="accent1">
                <a:alpha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2" name="椭圆 2">
            <a:extLst>
              <a:ext uri="{FF2B5EF4-FFF2-40B4-BE49-F238E27FC236}">
                <a16:creationId xmlns:a16="http://schemas.microsoft.com/office/drawing/2014/main" id="{C3AD2D0B-2ADD-423E-8F74-939E592DF151}"/>
              </a:ext>
            </a:extLst>
          </p:cNvPr>
          <p:cNvSpPr/>
          <p:nvPr/>
        </p:nvSpPr>
        <p:spPr bwMode="auto">
          <a:xfrm>
            <a:off x="2189254" y="2743509"/>
            <a:ext cx="218892" cy="218892"/>
          </a:xfrm>
          <a:prstGeom prst="ellipse">
            <a:avLst/>
          </a:prstGeom>
          <a:solidFill>
            <a:schemeClr val="accent2">
              <a:alpha val="20000"/>
            </a:schemeClr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5" name="稿定PPT-6-4">
            <a:extLst>
              <a:ext uri="{FF2B5EF4-FFF2-40B4-BE49-F238E27FC236}">
                <a16:creationId xmlns:a16="http://schemas.microsoft.com/office/drawing/2014/main" id="{1D66B02F-804E-457C-9583-A279450D4BBF}"/>
              </a:ext>
            </a:extLst>
          </p:cNvPr>
          <p:cNvSpPr txBox="1"/>
          <p:nvPr/>
        </p:nvSpPr>
        <p:spPr>
          <a:xfrm>
            <a:off x="623836" y="2354954"/>
            <a:ext cx="1528201" cy="646331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none" lIns="0" tIns="0" rIns="0" bIns="0" rtlCol="0" anchor="b">
            <a:no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.05.20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EFB3EFA-D719-4D7E-81CB-8EC015FEDB2A}"/>
              </a:ext>
            </a:extLst>
          </p:cNvPr>
          <p:cNvSpPr/>
          <p:nvPr/>
        </p:nvSpPr>
        <p:spPr>
          <a:xfrm>
            <a:off x="2751622" y="2496491"/>
            <a:ext cx="8816542" cy="712929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70000">
                <a:schemeClr val="accent5">
                  <a:alpha val="0"/>
                </a:schemeClr>
              </a:gs>
            </a:gsLst>
            <a:lin ang="0" scaled="1"/>
            <a:tileRect/>
          </a:gradFill>
          <a:ln w="19050">
            <a:gradFill flip="none" rotWithShape="1">
              <a:gsLst>
                <a:gs pos="0">
                  <a:schemeClr val="accent2"/>
                </a:gs>
                <a:gs pos="42000">
                  <a:schemeClr val="accent4"/>
                </a:gs>
                <a:gs pos="100000">
                  <a:schemeClr val="accent5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6A0EE85A-E10A-493C-994B-8AC1462F4F77}"/>
              </a:ext>
            </a:extLst>
          </p:cNvPr>
          <p:cNvCxnSpPr>
            <a:cxnSpLocks/>
          </p:cNvCxnSpPr>
          <p:nvPr/>
        </p:nvCxnSpPr>
        <p:spPr>
          <a:xfrm>
            <a:off x="4176917" y="2622588"/>
            <a:ext cx="0" cy="460734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稿定PPT-6-4">
            <a:extLst>
              <a:ext uri="{FF2B5EF4-FFF2-40B4-BE49-F238E27FC236}">
                <a16:creationId xmlns:a16="http://schemas.microsoft.com/office/drawing/2014/main" id="{FA0ED50F-CBDE-45C6-90C5-D5E8CA84B61B}"/>
              </a:ext>
            </a:extLst>
          </p:cNvPr>
          <p:cNvSpPr txBox="1"/>
          <p:nvPr/>
        </p:nvSpPr>
        <p:spPr>
          <a:xfrm>
            <a:off x="2907962" y="2724286"/>
            <a:ext cx="1162547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30" name="稿定PPT-10-2">
            <a:extLst>
              <a:ext uri="{FF2B5EF4-FFF2-40B4-BE49-F238E27FC236}">
                <a16:creationId xmlns:a16="http://schemas.microsoft.com/office/drawing/2014/main" id="{EEDA6487-2501-4821-A6B1-D42C1ABED6C0}"/>
              </a:ext>
            </a:extLst>
          </p:cNvPr>
          <p:cNvSpPr txBox="1"/>
          <p:nvPr/>
        </p:nvSpPr>
        <p:spPr>
          <a:xfrm>
            <a:off x="4283326" y="2753571"/>
            <a:ext cx="715787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41" name="椭圆 1">
            <a:extLst>
              <a:ext uri="{FF2B5EF4-FFF2-40B4-BE49-F238E27FC236}">
                <a16:creationId xmlns:a16="http://schemas.microsoft.com/office/drawing/2014/main" id="{2AA250B1-1065-472B-B81C-E86B7886DC3E}"/>
              </a:ext>
            </a:extLst>
          </p:cNvPr>
          <p:cNvSpPr/>
          <p:nvPr/>
        </p:nvSpPr>
        <p:spPr bwMode="auto">
          <a:xfrm>
            <a:off x="2238375" y="3776086"/>
            <a:ext cx="120650" cy="120650"/>
          </a:xfrm>
          <a:prstGeom prst="ellipse">
            <a:avLst/>
          </a:prstGeom>
          <a:solidFill>
            <a:schemeClr val="accent3"/>
          </a:solidFill>
          <a:ln w="50800" cap="flat" cmpd="sng" algn="ctr">
            <a:solidFill>
              <a:schemeClr val="accent1">
                <a:alpha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2" name="椭圆 2">
            <a:extLst>
              <a:ext uri="{FF2B5EF4-FFF2-40B4-BE49-F238E27FC236}">
                <a16:creationId xmlns:a16="http://schemas.microsoft.com/office/drawing/2014/main" id="{498EFE4F-BD44-4749-BCAD-13AA9578F518}"/>
              </a:ext>
            </a:extLst>
          </p:cNvPr>
          <p:cNvSpPr/>
          <p:nvPr/>
        </p:nvSpPr>
        <p:spPr bwMode="auto">
          <a:xfrm>
            <a:off x="2189254" y="3726965"/>
            <a:ext cx="218892" cy="218892"/>
          </a:xfrm>
          <a:prstGeom prst="ellipse">
            <a:avLst/>
          </a:prstGeom>
          <a:solidFill>
            <a:schemeClr val="accent2">
              <a:alpha val="20000"/>
            </a:schemeClr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5" name="稿定PPT-6-4">
            <a:extLst>
              <a:ext uri="{FF2B5EF4-FFF2-40B4-BE49-F238E27FC236}">
                <a16:creationId xmlns:a16="http://schemas.microsoft.com/office/drawing/2014/main" id="{73966443-48BC-4ED6-AB59-1FDD78D57D31}"/>
              </a:ext>
            </a:extLst>
          </p:cNvPr>
          <p:cNvSpPr txBox="1"/>
          <p:nvPr/>
        </p:nvSpPr>
        <p:spPr>
          <a:xfrm>
            <a:off x="623836" y="3338410"/>
            <a:ext cx="1528201" cy="646331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none" lIns="0" tIns="0" rIns="0" bIns="0" rtlCol="0" anchor="b">
            <a:no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.05.20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DDBD8426-E3BB-4484-A3AF-8F542445F8D7}"/>
              </a:ext>
            </a:extLst>
          </p:cNvPr>
          <p:cNvSpPr/>
          <p:nvPr/>
        </p:nvSpPr>
        <p:spPr>
          <a:xfrm>
            <a:off x="2751622" y="3479947"/>
            <a:ext cx="8816542" cy="712929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70000">
                <a:schemeClr val="accent5">
                  <a:alpha val="0"/>
                </a:schemeClr>
              </a:gs>
            </a:gsLst>
            <a:lin ang="0" scaled="1"/>
            <a:tileRect/>
          </a:gradFill>
          <a:ln w="19050">
            <a:gradFill flip="none" rotWithShape="1">
              <a:gsLst>
                <a:gs pos="0">
                  <a:schemeClr val="accent2"/>
                </a:gs>
                <a:gs pos="42000">
                  <a:schemeClr val="accent4"/>
                </a:gs>
                <a:gs pos="100000">
                  <a:schemeClr val="accent5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F1117DF0-BFAF-4C5C-AA1E-4286D18DA487}"/>
              </a:ext>
            </a:extLst>
          </p:cNvPr>
          <p:cNvCxnSpPr>
            <a:cxnSpLocks/>
          </p:cNvCxnSpPr>
          <p:nvPr/>
        </p:nvCxnSpPr>
        <p:spPr>
          <a:xfrm>
            <a:off x="4176917" y="3606044"/>
            <a:ext cx="0" cy="460734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稿定PPT-6-4">
            <a:extLst>
              <a:ext uri="{FF2B5EF4-FFF2-40B4-BE49-F238E27FC236}">
                <a16:creationId xmlns:a16="http://schemas.microsoft.com/office/drawing/2014/main" id="{0AE133C5-45DD-42DA-B36D-227BAD653509}"/>
              </a:ext>
            </a:extLst>
          </p:cNvPr>
          <p:cNvSpPr txBox="1"/>
          <p:nvPr/>
        </p:nvSpPr>
        <p:spPr>
          <a:xfrm>
            <a:off x="2907962" y="3707742"/>
            <a:ext cx="1162547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40" name="稿定PPT-10-2">
            <a:extLst>
              <a:ext uri="{FF2B5EF4-FFF2-40B4-BE49-F238E27FC236}">
                <a16:creationId xmlns:a16="http://schemas.microsoft.com/office/drawing/2014/main" id="{E5F9EEF0-D09D-4949-AC8F-F6081B7F8083}"/>
              </a:ext>
            </a:extLst>
          </p:cNvPr>
          <p:cNvSpPr txBox="1"/>
          <p:nvPr/>
        </p:nvSpPr>
        <p:spPr>
          <a:xfrm>
            <a:off x="4283326" y="3737027"/>
            <a:ext cx="715787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51" name="椭圆 1">
            <a:extLst>
              <a:ext uri="{FF2B5EF4-FFF2-40B4-BE49-F238E27FC236}">
                <a16:creationId xmlns:a16="http://schemas.microsoft.com/office/drawing/2014/main" id="{5B85FF64-262E-4CB7-99B9-D0B17A57830F}"/>
              </a:ext>
            </a:extLst>
          </p:cNvPr>
          <p:cNvSpPr/>
          <p:nvPr/>
        </p:nvSpPr>
        <p:spPr bwMode="auto">
          <a:xfrm>
            <a:off x="2238375" y="4759542"/>
            <a:ext cx="120650" cy="120650"/>
          </a:xfrm>
          <a:prstGeom prst="ellipse">
            <a:avLst/>
          </a:prstGeom>
          <a:solidFill>
            <a:schemeClr val="accent3"/>
          </a:solidFill>
          <a:ln w="50800" cap="flat" cmpd="sng" algn="ctr">
            <a:solidFill>
              <a:schemeClr val="accent1">
                <a:alpha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2" name="椭圆 2">
            <a:extLst>
              <a:ext uri="{FF2B5EF4-FFF2-40B4-BE49-F238E27FC236}">
                <a16:creationId xmlns:a16="http://schemas.microsoft.com/office/drawing/2014/main" id="{90A76ACB-245F-4676-BD11-9E77795863AD}"/>
              </a:ext>
            </a:extLst>
          </p:cNvPr>
          <p:cNvSpPr/>
          <p:nvPr/>
        </p:nvSpPr>
        <p:spPr bwMode="auto">
          <a:xfrm>
            <a:off x="2189254" y="4710421"/>
            <a:ext cx="218892" cy="218892"/>
          </a:xfrm>
          <a:prstGeom prst="ellipse">
            <a:avLst/>
          </a:prstGeom>
          <a:solidFill>
            <a:schemeClr val="accent2">
              <a:alpha val="20000"/>
            </a:schemeClr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5" name="稿定PPT-6-4">
            <a:extLst>
              <a:ext uri="{FF2B5EF4-FFF2-40B4-BE49-F238E27FC236}">
                <a16:creationId xmlns:a16="http://schemas.microsoft.com/office/drawing/2014/main" id="{06EBF3DD-9907-48BA-B780-370AD760602C}"/>
              </a:ext>
            </a:extLst>
          </p:cNvPr>
          <p:cNvSpPr txBox="1"/>
          <p:nvPr/>
        </p:nvSpPr>
        <p:spPr>
          <a:xfrm>
            <a:off x="623836" y="4321866"/>
            <a:ext cx="1528201" cy="646331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none" lIns="0" tIns="0" rIns="0" bIns="0" rtlCol="0" anchor="b">
            <a:no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.05.20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52D51F12-708D-4DC6-85D6-2B366BFFD94E}"/>
              </a:ext>
            </a:extLst>
          </p:cNvPr>
          <p:cNvSpPr/>
          <p:nvPr/>
        </p:nvSpPr>
        <p:spPr>
          <a:xfrm>
            <a:off x="2751622" y="4463403"/>
            <a:ext cx="8816542" cy="712929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70000">
                <a:schemeClr val="accent5">
                  <a:alpha val="0"/>
                </a:schemeClr>
              </a:gs>
            </a:gsLst>
            <a:lin ang="0" scaled="1"/>
            <a:tileRect/>
          </a:gradFill>
          <a:ln w="19050">
            <a:gradFill flip="none" rotWithShape="1">
              <a:gsLst>
                <a:gs pos="0">
                  <a:schemeClr val="accent2"/>
                </a:gs>
                <a:gs pos="42000">
                  <a:schemeClr val="accent4"/>
                </a:gs>
                <a:gs pos="100000">
                  <a:schemeClr val="accent5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B7DDD801-A4E1-45D8-900B-3CF4D4299393}"/>
              </a:ext>
            </a:extLst>
          </p:cNvPr>
          <p:cNvCxnSpPr>
            <a:cxnSpLocks/>
          </p:cNvCxnSpPr>
          <p:nvPr/>
        </p:nvCxnSpPr>
        <p:spPr>
          <a:xfrm>
            <a:off x="4176917" y="4589500"/>
            <a:ext cx="0" cy="460734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稿定PPT-6-4">
            <a:extLst>
              <a:ext uri="{FF2B5EF4-FFF2-40B4-BE49-F238E27FC236}">
                <a16:creationId xmlns:a16="http://schemas.microsoft.com/office/drawing/2014/main" id="{98CE1FBD-322C-4F71-AA53-0A4BFF7BE7AB}"/>
              </a:ext>
            </a:extLst>
          </p:cNvPr>
          <p:cNvSpPr txBox="1"/>
          <p:nvPr/>
        </p:nvSpPr>
        <p:spPr>
          <a:xfrm>
            <a:off x="2907962" y="4691198"/>
            <a:ext cx="1162547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50" name="稿定PPT-10-2">
            <a:extLst>
              <a:ext uri="{FF2B5EF4-FFF2-40B4-BE49-F238E27FC236}">
                <a16:creationId xmlns:a16="http://schemas.microsoft.com/office/drawing/2014/main" id="{CB730128-3612-4B4F-B029-0ED54AA1A168}"/>
              </a:ext>
            </a:extLst>
          </p:cNvPr>
          <p:cNvSpPr txBox="1"/>
          <p:nvPr/>
        </p:nvSpPr>
        <p:spPr>
          <a:xfrm>
            <a:off x="4283326" y="4720483"/>
            <a:ext cx="715787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61" name="椭圆 1">
            <a:extLst>
              <a:ext uri="{FF2B5EF4-FFF2-40B4-BE49-F238E27FC236}">
                <a16:creationId xmlns:a16="http://schemas.microsoft.com/office/drawing/2014/main" id="{D991A57F-8E27-4AC3-A4BC-1028A4588C22}"/>
              </a:ext>
            </a:extLst>
          </p:cNvPr>
          <p:cNvSpPr/>
          <p:nvPr/>
        </p:nvSpPr>
        <p:spPr bwMode="auto">
          <a:xfrm>
            <a:off x="2238375" y="5742999"/>
            <a:ext cx="120650" cy="120650"/>
          </a:xfrm>
          <a:prstGeom prst="ellipse">
            <a:avLst/>
          </a:prstGeom>
          <a:solidFill>
            <a:schemeClr val="accent3"/>
          </a:solidFill>
          <a:ln w="50800" cap="flat" cmpd="sng" algn="ctr">
            <a:solidFill>
              <a:schemeClr val="accent1">
                <a:alpha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2" name="椭圆 2">
            <a:extLst>
              <a:ext uri="{FF2B5EF4-FFF2-40B4-BE49-F238E27FC236}">
                <a16:creationId xmlns:a16="http://schemas.microsoft.com/office/drawing/2014/main" id="{689E34E5-AB81-4536-93FB-2079608B4525}"/>
              </a:ext>
            </a:extLst>
          </p:cNvPr>
          <p:cNvSpPr/>
          <p:nvPr/>
        </p:nvSpPr>
        <p:spPr bwMode="auto">
          <a:xfrm>
            <a:off x="2189254" y="5693878"/>
            <a:ext cx="218892" cy="218892"/>
          </a:xfrm>
          <a:prstGeom prst="ellipse">
            <a:avLst/>
          </a:prstGeom>
          <a:solidFill>
            <a:schemeClr val="accent2">
              <a:alpha val="20000"/>
            </a:schemeClr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Black" panose="02000000000000000000" pitchFamily="2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5" name="稿定PPT-6-4">
            <a:extLst>
              <a:ext uri="{FF2B5EF4-FFF2-40B4-BE49-F238E27FC236}">
                <a16:creationId xmlns:a16="http://schemas.microsoft.com/office/drawing/2014/main" id="{7951C6AA-DC35-4F34-92B5-C3424A4E3B84}"/>
              </a:ext>
            </a:extLst>
          </p:cNvPr>
          <p:cNvSpPr txBox="1"/>
          <p:nvPr/>
        </p:nvSpPr>
        <p:spPr>
          <a:xfrm>
            <a:off x="623836" y="5582322"/>
            <a:ext cx="1624163" cy="369332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none" lIns="0" tIns="0" rIns="0" bIns="0" rtlCol="0" anchor="b">
            <a:no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.05.20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DB608E64-909A-464C-B2B8-0426977D524D}"/>
              </a:ext>
            </a:extLst>
          </p:cNvPr>
          <p:cNvSpPr/>
          <p:nvPr/>
        </p:nvSpPr>
        <p:spPr>
          <a:xfrm>
            <a:off x="2751622" y="5446860"/>
            <a:ext cx="8816542" cy="712929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70000">
                <a:schemeClr val="accent5">
                  <a:alpha val="0"/>
                </a:schemeClr>
              </a:gs>
            </a:gsLst>
            <a:lin ang="0" scaled="1"/>
            <a:tileRect/>
          </a:gradFill>
          <a:ln w="19050">
            <a:gradFill flip="none" rotWithShape="1">
              <a:gsLst>
                <a:gs pos="0">
                  <a:schemeClr val="accent2"/>
                </a:gs>
                <a:gs pos="42000">
                  <a:schemeClr val="accent4"/>
                </a:gs>
                <a:gs pos="100000">
                  <a:schemeClr val="accent5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2F369177-C7DF-4FFB-AB7A-2C4C111B79FB}"/>
              </a:ext>
            </a:extLst>
          </p:cNvPr>
          <p:cNvCxnSpPr>
            <a:cxnSpLocks/>
          </p:cNvCxnSpPr>
          <p:nvPr/>
        </p:nvCxnSpPr>
        <p:spPr>
          <a:xfrm>
            <a:off x="4176917" y="5572957"/>
            <a:ext cx="0" cy="460734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稿定PPT-6-4">
            <a:extLst>
              <a:ext uri="{FF2B5EF4-FFF2-40B4-BE49-F238E27FC236}">
                <a16:creationId xmlns:a16="http://schemas.microsoft.com/office/drawing/2014/main" id="{95076CAA-6A92-442A-B7AD-8B4B390E5210}"/>
              </a:ext>
            </a:extLst>
          </p:cNvPr>
          <p:cNvSpPr txBox="1"/>
          <p:nvPr/>
        </p:nvSpPr>
        <p:spPr>
          <a:xfrm>
            <a:off x="2907962" y="5674655"/>
            <a:ext cx="1162547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4312B"/>
                    </a:gs>
                    <a:gs pos="100000">
                      <a:srgbClr val="8F4B28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4312B"/>
                  </a:gs>
                  <a:gs pos="100000">
                    <a:srgbClr val="8F4B28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60" name="稿定PPT-10-2">
            <a:extLst>
              <a:ext uri="{FF2B5EF4-FFF2-40B4-BE49-F238E27FC236}">
                <a16:creationId xmlns:a16="http://schemas.microsoft.com/office/drawing/2014/main" id="{135E8068-1AFD-4BEA-BC29-9E3A6C2D1B94}"/>
              </a:ext>
            </a:extLst>
          </p:cNvPr>
          <p:cNvSpPr txBox="1"/>
          <p:nvPr/>
        </p:nvSpPr>
        <p:spPr>
          <a:xfrm>
            <a:off x="4283326" y="5703940"/>
            <a:ext cx="715787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</p:spTree>
    <p:extLst>
      <p:ext uri="{BB962C8B-B14F-4D97-AF65-F5344CB8AC3E}">
        <p14:creationId xmlns:p14="http://schemas.microsoft.com/office/powerpoint/2010/main" val="39863888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gaoding-1" descr="黑暗里有星球&#10;&#10;描述已自动生成">
            <a:extLst>
              <a:ext uri="{FF2B5EF4-FFF2-40B4-BE49-F238E27FC236}">
                <a16:creationId xmlns:a16="http://schemas.microsoft.com/office/drawing/2014/main" id="{265CBE71-6FC9-41AA-882F-F4A241FD527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85" r="20390"/>
          <a:stretch/>
        </p:blipFill>
        <p:spPr>
          <a:xfrm rot="11401188" flipH="1">
            <a:off x="-453825" y="1420280"/>
            <a:ext cx="3111555" cy="4943954"/>
          </a:xfrm>
          <a:custGeom>
            <a:avLst/>
            <a:gdLst>
              <a:gd name="connsiteX0" fmla="*/ 0 w 3111555"/>
              <a:gd name="connsiteY0" fmla="*/ 4943954 h 4943954"/>
              <a:gd name="connsiteX1" fmla="*/ 3111555 w 3111555"/>
              <a:gd name="connsiteY1" fmla="*/ 4943954 h 4943954"/>
              <a:gd name="connsiteX2" fmla="*/ 3111555 w 3111555"/>
              <a:gd name="connsiteY2" fmla="*/ 0 h 4943954"/>
              <a:gd name="connsiteX3" fmla="*/ 873514 w 3111555"/>
              <a:gd name="connsiteY3" fmla="*/ 0 h 494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11555" h="4943954">
                <a:moveTo>
                  <a:pt x="0" y="4943954"/>
                </a:moveTo>
                <a:lnTo>
                  <a:pt x="3111555" y="4943954"/>
                </a:lnTo>
                <a:lnTo>
                  <a:pt x="3111555" y="0"/>
                </a:lnTo>
                <a:lnTo>
                  <a:pt x="873514" y="0"/>
                </a:lnTo>
                <a:close/>
              </a:path>
            </a:pathLst>
          </a:custGeom>
        </p:spPr>
      </p:pic>
      <p:pic>
        <p:nvPicPr>
          <p:cNvPr id="63" name="gaoding-2">
            <a:extLst>
              <a:ext uri="{FF2B5EF4-FFF2-40B4-BE49-F238E27FC236}">
                <a16:creationId xmlns:a16="http://schemas.microsoft.com/office/drawing/2014/main" id="{330C3DD2-C6F3-483D-AB26-D56FC5B87A7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rcRect t="15717" r="20"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59" name="gaoding-3" descr="黑暗中的灯光&#10;&#10;描述已自动生成">
            <a:extLst>
              <a:ext uri="{FF2B5EF4-FFF2-40B4-BE49-F238E27FC236}">
                <a16:creationId xmlns:a16="http://schemas.microsoft.com/office/drawing/2014/main" id="{7FC64819-CFE8-4335-AF73-33F3BD3EAE5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5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427" r="40945" b="7684"/>
          <a:stretch>
            <a:fillRect/>
          </a:stretch>
        </p:blipFill>
        <p:spPr>
          <a:xfrm flipH="1">
            <a:off x="1" y="0"/>
            <a:ext cx="8117919" cy="6858000"/>
          </a:xfrm>
          <a:custGeom>
            <a:avLst/>
            <a:gdLst>
              <a:gd name="connsiteX0" fmla="*/ 8117919 w 8117919"/>
              <a:gd name="connsiteY0" fmla="*/ 0 h 6858000"/>
              <a:gd name="connsiteX1" fmla="*/ 0 w 8117919"/>
              <a:gd name="connsiteY1" fmla="*/ 0 h 6858000"/>
              <a:gd name="connsiteX2" fmla="*/ 0 w 8117919"/>
              <a:gd name="connsiteY2" fmla="*/ 6858000 h 6858000"/>
              <a:gd name="connsiteX3" fmla="*/ 8117919 w 811791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17919" h="6858000">
                <a:moveTo>
                  <a:pt x="8117919" y="0"/>
                </a:moveTo>
                <a:lnTo>
                  <a:pt x="0" y="0"/>
                </a:lnTo>
                <a:lnTo>
                  <a:pt x="0" y="6858000"/>
                </a:lnTo>
                <a:lnTo>
                  <a:pt x="8117919" y="6858000"/>
                </a:lnTo>
                <a:close/>
              </a:path>
            </a:pathLst>
          </a:custGeom>
        </p:spPr>
      </p:pic>
      <p:sp>
        <p:nvSpPr>
          <p:cNvPr id="87" name="gaoding-4">
            <a:extLst>
              <a:ext uri="{FF2B5EF4-FFF2-40B4-BE49-F238E27FC236}">
                <a16:creationId xmlns:a16="http://schemas.microsoft.com/office/drawing/2014/main" id="{D3D03B64-7C24-4C34-BEB2-4BB7F982969A}"/>
              </a:ext>
            </a:extLst>
          </p:cNvPr>
          <p:cNvSpPr/>
          <p:nvPr/>
        </p:nvSpPr>
        <p:spPr bwMode="auto">
          <a:xfrm>
            <a:off x="1393254" y="3674348"/>
            <a:ext cx="11547241" cy="582618"/>
          </a:xfrm>
          <a:prstGeom prst="rect">
            <a:avLst/>
          </a:prstGeom>
          <a:gradFill>
            <a:gsLst>
              <a:gs pos="52000">
                <a:schemeClr val="accent1">
                  <a:alpha val="30000"/>
                </a:schemeClr>
              </a:gs>
              <a:gs pos="0">
                <a:schemeClr val="accent1">
                  <a:alpha val="0"/>
                </a:schemeClr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cxnSp>
        <p:nvCxnSpPr>
          <p:cNvPr id="25" name="gaoding-5">
            <a:extLst>
              <a:ext uri="{FF2B5EF4-FFF2-40B4-BE49-F238E27FC236}">
                <a16:creationId xmlns:a16="http://schemas.microsoft.com/office/drawing/2014/main" id="{7FA79A73-2175-4CEF-BEE4-228ADC9C0670}"/>
              </a:ext>
            </a:extLst>
          </p:cNvPr>
          <p:cNvCxnSpPr>
            <a:cxnSpLocks/>
          </p:cNvCxnSpPr>
          <p:nvPr/>
        </p:nvCxnSpPr>
        <p:spPr bwMode="auto">
          <a:xfrm>
            <a:off x="1688697" y="3662773"/>
            <a:ext cx="11251797" cy="0"/>
          </a:xfrm>
          <a:prstGeom prst="line">
            <a:avLst/>
          </a:prstGeom>
          <a:solidFill>
            <a:schemeClr val="accent1"/>
          </a:solidFill>
          <a:ln w="19050" cap="flat" cmpd="sng" algn="ctr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0"/>
                  </a:schemeClr>
                </a:gs>
                <a:gs pos="53000">
                  <a:schemeClr val="accent2"/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6" name="gaoding-6">
            <a:extLst>
              <a:ext uri="{FF2B5EF4-FFF2-40B4-BE49-F238E27FC236}">
                <a16:creationId xmlns:a16="http://schemas.microsoft.com/office/drawing/2014/main" id="{F41598FA-84BC-4C49-B05B-C951AFF4EA73}"/>
              </a:ext>
            </a:extLst>
          </p:cNvPr>
          <p:cNvCxnSpPr>
            <a:cxnSpLocks/>
          </p:cNvCxnSpPr>
          <p:nvPr/>
        </p:nvCxnSpPr>
        <p:spPr bwMode="auto">
          <a:xfrm>
            <a:off x="1688697" y="4262627"/>
            <a:ext cx="11251797" cy="0"/>
          </a:xfrm>
          <a:prstGeom prst="line">
            <a:avLst/>
          </a:prstGeom>
          <a:solidFill>
            <a:schemeClr val="accent1"/>
          </a:solidFill>
          <a:ln w="19050" cap="flat" cmpd="sng" algn="ctr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alpha val="0"/>
                  </a:schemeClr>
                </a:gs>
                <a:gs pos="53000">
                  <a:schemeClr val="accent2"/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4" name="gaoding-7">
            <a:extLst>
              <a:ext uri="{FF2B5EF4-FFF2-40B4-BE49-F238E27FC236}">
                <a16:creationId xmlns:a16="http://schemas.microsoft.com/office/drawing/2014/main" id="{60D2ADDE-F61E-4555-9E75-E030F1F1AA4D}"/>
              </a:ext>
            </a:extLst>
          </p:cNvPr>
          <p:cNvSpPr/>
          <p:nvPr/>
        </p:nvSpPr>
        <p:spPr>
          <a:xfrm flipH="1">
            <a:off x="5314411" y="3878220"/>
            <a:ext cx="106484" cy="189280"/>
          </a:xfrm>
          <a:custGeom>
            <a:avLst/>
            <a:gdLst>
              <a:gd name="connsiteX0" fmla="*/ 186503 w 1071702"/>
              <a:gd name="connsiteY0" fmla="*/ 952130 h 1904991"/>
              <a:gd name="connsiteX1" fmla="*/ 1049108 w 1071702"/>
              <a:gd name="connsiteY1" fmla="*/ 135950 h 1904991"/>
              <a:gd name="connsiteX2" fmla="*/ 1049108 w 1071702"/>
              <a:gd name="connsiteY2" fmla="*/ 23204 h 1904991"/>
              <a:gd name="connsiteX3" fmla="*/ 940065 w 1071702"/>
              <a:gd name="connsiteY3" fmla="*/ 23204 h 1904991"/>
              <a:gd name="connsiteX4" fmla="*/ 21934 w 1071702"/>
              <a:gd name="connsiteY4" fmla="*/ 891770 h 1904991"/>
              <a:gd name="connsiteX5" fmla="*/ 133 w 1071702"/>
              <a:gd name="connsiteY5" fmla="*/ 952130 h 1904991"/>
              <a:gd name="connsiteX6" fmla="*/ 21934 w 1071702"/>
              <a:gd name="connsiteY6" fmla="*/ 1013195 h 1904991"/>
              <a:gd name="connsiteX7" fmla="*/ 940030 w 1071702"/>
              <a:gd name="connsiteY7" fmla="*/ 1881761 h 1904991"/>
              <a:gd name="connsiteX8" fmla="*/ 1049072 w 1071702"/>
              <a:gd name="connsiteY8" fmla="*/ 1881761 h 1904991"/>
              <a:gd name="connsiteX9" fmla="*/ 1049072 w 1071702"/>
              <a:gd name="connsiteY9" fmla="*/ 1769014 h 1904991"/>
              <a:gd name="connsiteX10" fmla="*/ 186503 w 1071702"/>
              <a:gd name="connsiteY10" fmla="*/ 952130 h 190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71702" h="1904991">
                <a:moveTo>
                  <a:pt x="186503" y="952130"/>
                </a:moveTo>
                <a:lnTo>
                  <a:pt x="1049108" y="135950"/>
                </a:lnTo>
                <a:cubicBezTo>
                  <a:pt x="1079235" y="105012"/>
                  <a:pt x="1079235" y="54142"/>
                  <a:pt x="1049108" y="23204"/>
                </a:cubicBezTo>
                <a:cubicBezTo>
                  <a:pt x="1018981" y="-7735"/>
                  <a:pt x="970051" y="-7735"/>
                  <a:pt x="940065" y="23204"/>
                </a:cubicBezTo>
                <a:lnTo>
                  <a:pt x="21934" y="891770"/>
                </a:lnTo>
                <a:cubicBezTo>
                  <a:pt x="5848" y="908456"/>
                  <a:pt x="-1032" y="930716"/>
                  <a:pt x="133" y="952130"/>
                </a:cubicBezTo>
                <a:cubicBezTo>
                  <a:pt x="-1067" y="974284"/>
                  <a:pt x="5848" y="996544"/>
                  <a:pt x="21934" y="1013195"/>
                </a:cubicBezTo>
                <a:lnTo>
                  <a:pt x="940030" y="1881761"/>
                </a:lnTo>
                <a:cubicBezTo>
                  <a:pt x="970016" y="1912735"/>
                  <a:pt x="1018981" y="1912735"/>
                  <a:pt x="1049072" y="1881761"/>
                </a:cubicBezTo>
                <a:cubicBezTo>
                  <a:pt x="1079199" y="1849976"/>
                  <a:pt x="1079199" y="1799953"/>
                  <a:pt x="1049072" y="1769014"/>
                </a:cubicBezTo>
                <a:lnTo>
                  <a:pt x="186503" y="952130"/>
                </a:lnTo>
              </a:path>
            </a:pathLst>
          </a:custGeom>
          <a:solidFill>
            <a:schemeClr val="bg1"/>
          </a:solidFill>
          <a:ln w="186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BD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0" name="gaoding-8">
            <a:extLst>
              <a:ext uri="{FF2B5EF4-FFF2-40B4-BE49-F238E27FC236}">
                <a16:creationId xmlns:a16="http://schemas.microsoft.com/office/drawing/2014/main" id="{8BBDDA4A-7FE3-4E11-80F0-1D10C10F6B87}"/>
              </a:ext>
            </a:extLst>
          </p:cNvPr>
          <p:cNvSpPr/>
          <p:nvPr/>
        </p:nvSpPr>
        <p:spPr>
          <a:xfrm flipH="1">
            <a:off x="8272488" y="3878220"/>
            <a:ext cx="106484" cy="189280"/>
          </a:xfrm>
          <a:custGeom>
            <a:avLst/>
            <a:gdLst>
              <a:gd name="connsiteX0" fmla="*/ 186503 w 1071702"/>
              <a:gd name="connsiteY0" fmla="*/ 952130 h 1904991"/>
              <a:gd name="connsiteX1" fmla="*/ 1049108 w 1071702"/>
              <a:gd name="connsiteY1" fmla="*/ 135950 h 1904991"/>
              <a:gd name="connsiteX2" fmla="*/ 1049108 w 1071702"/>
              <a:gd name="connsiteY2" fmla="*/ 23204 h 1904991"/>
              <a:gd name="connsiteX3" fmla="*/ 940065 w 1071702"/>
              <a:gd name="connsiteY3" fmla="*/ 23204 h 1904991"/>
              <a:gd name="connsiteX4" fmla="*/ 21934 w 1071702"/>
              <a:gd name="connsiteY4" fmla="*/ 891770 h 1904991"/>
              <a:gd name="connsiteX5" fmla="*/ 133 w 1071702"/>
              <a:gd name="connsiteY5" fmla="*/ 952130 h 1904991"/>
              <a:gd name="connsiteX6" fmla="*/ 21934 w 1071702"/>
              <a:gd name="connsiteY6" fmla="*/ 1013195 h 1904991"/>
              <a:gd name="connsiteX7" fmla="*/ 940030 w 1071702"/>
              <a:gd name="connsiteY7" fmla="*/ 1881761 h 1904991"/>
              <a:gd name="connsiteX8" fmla="*/ 1049072 w 1071702"/>
              <a:gd name="connsiteY8" fmla="*/ 1881761 h 1904991"/>
              <a:gd name="connsiteX9" fmla="*/ 1049072 w 1071702"/>
              <a:gd name="connsiteY9" fmla="*/ 1769014 h 1904991"/>
              <a:gd name="connsiteX10" fmla="*/ 186503 w 1071702"/>
              <a:gd name="connsiteY10" fmla="*/ 952130 h 190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71702" h="1904991">
                <a:moveTo>
                  <a:pt x="186503" y="952130"/>
                </a:moveTo>
                <a:lnTo>
                  <a:pt x="1049108" y="135950"/>
                </a:lnTo>
                <a:cubicBezTo>
                  <a:pt x="1079235" y="105012"/>
                  <a:pt x="1079235" y="54142"/>
                  <a:pt x="1049108" y="23204"/>
                </a:cubicBezTo>
                <a:cubicBezTo>
                  <a:pt x="1018981" y="-7735"/>
                  <a:pt x="970051" y="-7735"/>
                  <a:pt x="940065" y="23204"/>
                </a:cubicBezTo>
                <a:lnTo>
                  <a:pt x="21934" y="891770"/>
                </a:lnTo>
                <a:cubicBezTo>
                  <a:pt x="5848" y="908456"/>
                  <a:pt x="-1032" y="930716"/>
                  <a:pt x="133" y="952130"/>
                </a:cubicBezTo>
                <a:cubicBezTo>
                  <a:pt x="-1067" y="974284"/>
                  <a:pt x="5848" y="996544"/>
                  <a:pt x="21934" y="1013195"/>
                </a:cubicBezTo>
                <a:lnTo>
                  <a:pt x="940030" y="1881761"/>
                </a:lnTo>
                <a:cubicBezTo>
                  <a:pt x="970016" y="1912735"/>
                  <a:pt x="1018981" y="1912735"/>
                  <a:pt x="1049072" y="1881761"/>
                </a:cubicBezTo>
                <a:cubicBezTo>
                  <a:pt x="1079199" y="1849976"/>
                  <a:pt x="1079199" y="1799953"/>
                  <a:pt x="1049072" y="1769014"/>
                </a:cubicBezTo>
                <a:lnTo>
                  <a:pt x="186503" y="952130"/>
                </a:lnTo>
              </a:path>
            </a:pathLst>
          </a:custGeom>
          <a:solidFill>
            <a:schemeClr val="bg1"/>
          </a:solidFill>
          <a:ln w="186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BD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12" name="gaoding-9">
            <a:extLst>
              <a:ext uri="{FF2B5EF4-FFF2-40B4-BE49-F238E27FC236}">
                <a16:creationId xmlns:a16="http://schemas.microsoft.com/office/drawing/2014/main" id="{E483BEAB-E420-481C-8171-EFE722B6B58A}"/>
              </a:ext>
            </a:extLst>
          </p:cNvPr>
          <p:cNvSpPr/>
          <p:nvPr/>
        </p:nvSpPr>
        <p:spPr bwMode="auto">
          <a:xfrm>
            <a:off x="4503369" y="4142322"/>
            <a:ext cx="249532" cy="249532"/>
          </a:xfrm>
          <a:prstGeom prst="ellipse">
            <a:avLst/>
          </a:prstGeom>
          <a:solidFill>
            <a:schemeClr val="accent2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28" name="gaoding-10">
            <a:extLst>
              <a:ext uri="{FF2B5EF4-FFF2-40B4-BE49-F238E27FC236}">
                <a16:creationId xmlns:a16="http://schemas.microsoft.com/office/drawing/2014/main" id="{D7E284B6-88EA-4882-8FE5-8DA6A904CFA0}"/>
              </a:ext>
            </a:extLst>
          </p:cNvPr>
          <p:cNvSpPr/>
          <p:nvPr/>
        </p:nvSpPr>
        <p:spPr bwMode="auto">
          <a:xfrm>
            <a:off x="4551134" y="4190087"/>
            <a:ext cx="154002" cy="154002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29" name="gaoding-11">
            <a:extLst>
              <a:ext uri="{FF2B5EF4-FFF2-40B4-BE49-F238E27FC236}">
                <a16:creationId xmlns:a16="http://schemas.microsoft.com/office/drawing/2014/main" id="{808591B2-2F12-40D5-B0B9-C52A99D3D616}"/>
              </a:ext>
            </a:extLst>
          </p:cNvPr>
          <p:cNvSpPr/>
          <p:nvPr/>
        </p:nvSpPr>
        <p:spPr bwMode="auto">
          <a:xfrm>
            <a:off x="4600524" y="4239477"/>
            <a:ext cx="55222" cy="5522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33" name="gaoding-12">
            <a:extLst>
              <a:ext uri="{FF2B5EF4-FFF2-40B4-BE49-F238E27FC236}">
                <a16:creationId xmlns:a16="http://schemas.microsoft.com/office/drawing/2014/main" id="{FBA5EAE0-0DE7-4948-91D6-B874462CCFDC}"/>
              </a:ext>
            </a:extLst>
          </p:cNvPr>
          <p:cNvSpPr txBox="1"/>
          <p:nvPr/>
        </p:nvSpPr>
        <p:spPr>
          <a:xfrm>
            <a:off x="4051772" y="3838270"/>
            <a:ext cx="1152724" cy="25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2015.07</a:t>
            </a:r>
          </a:p>
        </p:txBody>
      </p:sp>
      <p:cxnSp>
        <p:nvCxnSpPr>
          <p:cNvPr id="51" name="gaoding-13">
            <a:extLst>
              <a:ext uri="{FF2B5EF4-FFF2-40B4-BE49-F238E27FC236}">
                <a16:creationId xmlns:a16="http://schemas.microsoft.com/office/drawing/2014/main" id="{A0D67524-C287-427C-AAD5-956FAA03562D}"/>
              </a:ext>
            </a:extLst>
          </p:cNvPr>
          <p:cNvCxnSpPr>
            <a:cxnSpLocks/>
          </p:cNvCxnSpPr>
          <p:nvPr/>
        </p:nvCxnSpPr>
        <p:spPr bwMode="auto">
          <a:xfrm>
            <a:off x="4628135" y="4367230"/>
            <a:ext cx="0" cy="787350"/>
          </a:xfrm>
          <a:prstGeom prst="line">
            <a:avLst/>
          </a:prstGeom>
          <a:solidFill>
            <a:schemeClr val="accent1"/>
          </a:solidFill>
          <a:ln w="1905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" name="gaoding-14">
            <a:extLst>
              <a:ext uri="{FF2B5EF4-FFF2-40B4-BE49-F238E27FC236}">
                <a16:creationId xmlns:a16="http://schemas.microsoft.com/office/drawing/2014/main" id="{D1F3DD28-5607-41B0-82E0-EA3031DC108D}"/>
              </a:ext>
            </a:extLst>
          </p:cNvPr>
          <p:cNvSpPr/>
          <p:nvPr/>
        </p:nvSpPr>
        <p:spPr bwMode="auto">
          <a:xfrm>
            <a:off x="7461446" y="4142322"/>
            <a:ext cx="249532" cy="249532"/>
          </a:xfrm>
          <a:prstGeom prst="ellipse">
            <a:avLst/>
          </a:prstGeom>
          <a:solidFill>
            <a:schemeClr val="accent2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35" name="gaoding-15">
            <a:extLst>
              <a:ext uri="{FF2B5EF4-FFF2-40B4-BE49-F238E27FC236}">
                <a16:creationId xmlns:a16="http://schemas.microsoft.com/office/drawing/2014/main" id="{27A5CD97-A250-4773-93D6-9A436541F0FA}"/>
              </a:ext>
            </a:extLst>
          </p:cNvPr>
          <p:cNvSpPr/>
          <p:nvPr/>
        </p:nvSpPr>
        <p:spPr bwMode="auto">
          <a:xfrm>
            <a:off x="7509211" y="4190087"/>
            <a:ext cx="154002" cy="154002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36" name="gaoding-16">
            <a:extLst>
              <a:ext uri="{FF2B5EF4-FFF2-40B4-BE49-F238E27FC236}">
                <a16:creationId xmlns:a16="http://schemas.microsoft.com/office/drawing/2014/main" id="{C730E3C4-68C8-4947-9BDD-D361CA07CC41}"/>
              </a:ext>
            </a:extLst>
          </p:cNvPr>
          <p:cNvSpPr/>
          <p:nvPr/>
        </p:nvSpPr>
        <p:spPr bwMode="auto">
          <a:xfrm>
            <a:off x="7558601" y="4239477"/>
            <a:ext cx="55222" cy="5522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39" name="gaoding-17">
            <a:extLst>
              <a:ext uri="{FF2B5EF4-FFF2-40B4-BE49-F238E27FC236}">
                <a16:creationId xmlns:a16="http://schemas.microsoft.com/office/drawing/2014/main" id="{69D534BD-D2C2-47CA-89A6-BE14F4DDA028}"/>
              </a:ext>
            </a:extLst>
          </p:cNvPr>
          <p:cNvSpPr txBox="1"/>
          <p:nvPr/>
        </p:nvSpPr>
        <p:spPr>
          <a:xfrm>
            <a:off x="7009847" y="3838270"/>
            <a:ext cx="1152724" cy="25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1600" spc="6">
                <a:solidFill>
                  <a:schemeClr val="bg1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2019.07</a:t>
            </a:r>
          </a:p>
        </p:txBody>
      </p:sp>
      <p:cxnSp>
        <p:nvCxnSpPr>
          <p:cNvPr id="52" name="gaoding-18">
            <a:extLst>
              <a:ext uri="{FF2B5EF4-FFF2-40B4-BE49-F238E27FC236}">
                <a16:creationId xmlns:a16="http://schemas.microsoft.com/office/drawing/2014/main" id="{5A367E98-1A64-4D07-826F-5128AD2663B7}"/>
              </a:ext>
            </a:extLst>
          </p:cNvPr>
          <p:cNvCxnSpPr>
            <a:cxnSpLocks/>
          </p:cNvCxnSpPr>
          <p:nvPr/>
        </p:nvCxnSpPr>
        <p:spPr bwMode="auto">
          <a:xfrm>
            <a:off x="7586212" y="4367230"/>
            <a:ext cx="0" cy="787350"/>
          </a:xfrm>
          <a:prstGeom prst="line">
            <a:avLst/>
          </a:prstGeom>
          <a:solidFill>
            <a:schemeClr val="accent1"/>
          </a:solidFill>
          <a:ln w="1905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" name="gaoding-19">
            <a:extLst>
              <a:ext uri="{FF2B5EF4-FFF2-40B4-BE49-F238E27FC236}">
                <a16:creationId xmlns:a16="http://schemas.microsoft.com/office/drawing/2014/main" id="{6FB53183-2174-4FD0-99E9-16AA568C1606}"/>
              </a:ext>
            </a:extLst>
          </p:cNvPr>
          <p:cNvSpPr/>
          <p:nvPr/>
        </p:nvSpPr>
        <p:spPr bwMode="auto">
          <a:xfrm>
            <a:off x="10419525" y="4142322"/>
            <a:ext cx="249532" cy="249532"/>
          </a:xfrm>
          <a:prstGeom prst="ellipse">
            <a:avLst/>
          </a:prstGeom>
          <a:solidFill>
            <a:schemeClr val="accent2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41" name="gaoding-20">
            <a:extLst>
              <a:ext uri="{FF2B5EF4-FFF2-40B4-BE49-F238E27FC236}">
                <a16:creationId xmlns:a16="http://schemas.microsoft.com/office/drawing/2014/main" id="{3407D068-AD8B-4BD3-94A6-2A2E4FDAA83D}"/>
              </a:ext>
            </a:extLst>
          </p:cNvPr>
          <p:cNvSpPr/>
          <p:nvPr/>
        </p:nvSpPr>
        <p:spPr bwMode="auto">
          <a:xfrm>
            <a:off x="10467290" y="4190087"/>
            <a:ext cx="154002" cy="154002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42" name="gaoding-21">
            <a:extLst>
              <a:ext uri="{FF2B5EF4-FFF2-40B4-BE49-F238E27FC236}">
                <a16:creationId xmlns:a16="http://schemas.microsoft.com/office/drawing/2014/main" id="{0A5EEDEC-B629-4028-B4A7-02DD333C4811}"/>
              </a:ext>
            </a:extLst>
          </p:cNvPr>
          <p:cNvSpPr/>
          <p:nvPr/>
        </p:nvSpPr>
        <p:spPr bwMode="auto">
          <a:xfrm>
            <a:off x="10516680" y="4239477"/>
            <a:ext cx="55222" cy="5522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47" name="gaoding-22">
            <a:extLst>
              <a:ext uri="{FF2B5EF4-FFF2-40B4-BE49-F238E27FC236}">
                <a16:creationId xmlns:a16="http://schemas.microsoft.com/office/drawing/2014/main" id="{E5F6F4FF-003A-4902-B950-BCBDD6C6DF61}"/>
              </a:ext>
            </a:extLst>
          </p:cNvPr>
          <p:cNvSpPr txBox="1"/>
          <p:nvPr/>
        </p:nvSpPr>
        <p:spPr>
          <a:xfrm>
            <a:off x="9967924" y="3838270"/>
            <a:ext cx="1152724" cy="25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1600" spc="6">
                <a:solidFill>
                  <a:schemeClr val="bg1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2021.09</a:t>
            </a:r>
          </a:p>
        </p:txBody>
      </p:sp>
      <p:sp>
        <p:nvSpPr>
          <p:cNvPr id="48" name="gaoding-23">
            <a:extLst>
              <a:ext uri="{FF2B5EF4-FFF2-40B4-BE49-F238E27FC236}">
                <a16:creationId xmlns:a16="http://schemas.microsoft.com/office/drawing/2014/main" id="{BA0A6EA4-3994-4C6C-B123-88AB0B0A1FCE}"/>
              </a:ext>
            </a:extLst>
          </p:cNvPr>
          <p:cNvSpPr/>
          <p:nvPr/>
        </p:nvSpPr>
        <p:spPr>
          <a:xfrm flipH="1">
            <a:off x="11156411" y="3878220"/>
            <a:ext cx="106484" cy="189280"/>
          </a:xfrm>
          <a:custGeom>
            <a:avLst/>
            <a:gdLst>
              <a:gd name="connsiteX0" fmla="*/ 186503 w 1071702"/>
              <a:gd name="connsiteY0" fmla="*/ 952130 h 1904991"/>
              <a:gd name="connsiteX1" fmla="*/ 1049108 w 1071702"/>
              <a:gd name="connsiteY1" fmla="*/ 135950 h 1904991"/>
              <a:gd name="connsiteX2" fmla="*/ 1049108 w 1071702"/>
              <a:gd name="connsiteY2" fmla="*/ 23204 h 1904991"/>
              <a:gd name="connsiteX3" fmla="*/ 940065 w 1071702"/>
              <a:gd name="connsiteY3" fmla="*/ 23204 h 1904991"/>
              <a:gd name="connsiteX4" fmla="*/ 21934 w 1071702"/>
              <a:gd name="connsiteY4" fmla="*/ 891770 h 1904991"/>
              <a:gd name="connsiteX5" fmla="*/ 133 w 1071702"/>
              <a:gd name="connsiteY5" fmla="*/ 952130 h 1904991"/>
              <a:gd name="connsiteX6" fmla="*/ 21934 w 1071702"/>
              <a:gd name="connsiteY6" fmla="*/ 1013195 h 1904991"/>
              <a:gd name="connsiteX7" fmla="*/ 940030 w 1071702"/>
              <a:gd name="connsiteY7" fmla="*/ 1881761 h 1904991"/>
              <a:gd name="connsiteX8" fmla="*/ 1049072 w 1071702"/>
              <a:gd name="connsiteY8" fmla="*/ 1881761 h 1904991"/>
              <a:gd name="connsiteX9" fmla="*/ 1049072 w 1071702"/>
              <a:gd name="connsiteY9" fmla="*/ 1769014 h 1904991"/>
              <a:gd name="connsiteX10" fmla="*/ 186503 w 1071702"/>
              <a:gd name="connsiteY10" fmla="*/ 952130 h 190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71702" h="1904991">
                <a:moveTo>
                  <a:pt x="186503" y="952130"/>
                </a:moveTo>
                <a:lnTo>
                  <a:pt x="1049108" y="135950"/>
                </a:lnTo>
                <a:cubicBezTo>
                  <a:pt x="1079235" y="105012"/>
                  <a:pt x="1079235" y="54142"/>
                  <a:pt x="1049108" y="23204"/>
                </a:cubicBezTo>
                <a:cubicBezTo>
                  <a:pt x="1018981" y="-7735"/>
                  <a:pt x="970051" y="-7735"/>
                  <a:pt x="940065" y="23204"/>
                </a:cubicBezTo>
                <a:lnTo>
                  <a:pt x="21934" y="891770"/>
                </a:lnTo>
                <a:cubicBezTo>
                  <a:pt x="5848" y="908456"/>
                  <a:pt x="-1032" y="930716"/>
                  <a:pt x="133" y="952130"/>
                </a:cubicBezTo>
                <a:cubicBezTo>
                  <a:pt x="-1067" y="974284"/>
                  <a:pt x="5848" y="996544"/>
                  <a:pt x="21934" y="1013195"/>
                </a:cubicBezTo>
                <a:lnTo>
                  <a:pt x="940030" y="1881761"/>
                </a:lnTo>
                <a:cubicBezTo>
                  <a:pt x="970016" y="1912735"/>
                  <a:pt x="1018981" y="1912735"/>
                  <a:pt x="1049072" y="1881761"/>
                </a:cubicBezTo>
                <a:cubicBezTo>
                  <a:pt x="1079199" y="1849976"/>
                  <a:pt x="1079199" y="1799953"/>
                  <a:pt x="1049072" y="1769014"/>
                </a:cubicBezTo>
                <a:lnTo>
                  <a:pt x="186503" y="952130"/>
                </a:lnTo>
              </a:path>
            </a:pathLst>
          </a:custGeom>
          <a:solidFill>
            <a:schemeClr val="bg1"/>
          </a:solidFill>
          <a:ln w="186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BD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cxnSp>
        <p:nvCxnSpPr>
          <p:cNvPr id="53" name="gaoding-24">
            <a:extLst>
              <a:ext uri="{FF2B5EF4-FFF2-40B4-BE49-F238E27FC236}">
                <a16:creationId xmlns:a16="http://schemas.microsoft.com/office/drawing/2014/main" id="{87ACD02D-3BB1-423A-9570-1BB7D651399E}"/>
              </a:ext>
            </a:extLst>
          </p:cNvPr>
          <p:cNvCxnSpPr>
            <a:cxnSpLocks/>
          </p:cNvCxnSpPr>
          <p:nvPr/>
        </p:nvCxnSpPr>
        <p:spPr bwMode="auto">
          <a:xfrm>
            <a:off x="10544291" y="4367230"/>
            <a:ext cx="0" cy="787350"/>
          </a:xfrm>
          <a:prstGeom prst="line">
            <a:avLst/>
          </a:prstGeom>
          <a:solidFill>
            <a:schemeClr val="accent1"/>
          </a:solidFill>
          <a:ln w="1905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9" name="gaoding-25">
            <a:extLst>
              <a:ext uri="{FF2B5EF4-FFF2-40B4-BE49-F238E27FC236}">
                <a16:creationId xmlns:a16="http://schemas.microsoft.com/office/drawing/2014/main" id="{3875E88C-2BA5-42FD-9430-3924BCE6F193}"/>
              </a:ext>
            </a:extLst>
          </p:cNvPr>
          <p:cNvSpPr/>
          <p:nvPr/>
        </p:nvSpPr>
        <p:spPr>
          <a:xfrm flipH="1">
            <a:off x="9751528" y="3882151"/>
            <a:ext cx="106484" cy="189280"/>
          </a:xfrm>
          <a:custGeom>
            <a:avLst/>
            <a:gdLst>
              <a:gd name="connsiteX0" fmla="*/ 186503 w 1071702"/>
              <a:gd name="connsiteY0" fmla="*/ 952130 h 1904991"/>
              <a:gd name="connsiteX1" fmla="*/ 1049108 w 1071702"/>
              <a:gd name="connsiteY1" fmla="*/ 135950 h 1904991"/>
              <a:gd name="connsiteX2" fmla="*/ 1049108 w 1071702"/>
              <a:gd name="connsiteY2" fmla="*/ 23204 h 1904991"/>
              <a:gd name="connsiteX3" fmla="*/ 940065 w 1071702"/>
              <a:gd name="connsiteY3" fmla="*/ 23204 h 1904991"/>
              <a:gd name="connsiteX4" fmla="*/ 21934 w 1071702"/>
              <a:gd name="connsiteY4" fmla="*/ 891770 h 1904991"/>
              <a:gd name="connsiteX5" fmla="*/ 133 w 1071702"/>
              <a:gd name="connsiteY5" fmla="*/ 952130 h 1904991"/>
              <a:gd name="connsiteX6" fmla="*/ 21934 w 1071702"/>
              <a:gd name="connsiteY6" fmla="*/ 1013195 h 1904991"/>
              <a:gd name="connsiteX7" fmla="*/ 940030 w 1071702"/>
              <a:gd name="connsiteY7" fmla="*/ 1881761 h 1904991"/>
              <a:gd name="connsiteX8" fmla="*/ 1049072 w 1071702"/>
              <a:gd name="connsiteY8" fmla="*/ 1881761 h 1904991"/>
              <a:gd name="connsiteX9" fmla="*/ 1049072 w 1071702"/>
              <a:gd name="connsiteY9" fmla="*/ 1769014 h 1904991"/>
              <a:gd name="connsiteX10" fmla="*/ 186503 w 1071702"/>
              <a:gd name="connsiteY10" fmla="*/ 952130 h 190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71702" h="1904991">
                <a:moveTo>
                  <a:pt x="186503" y="952130"/>
                </a:moveTo>
                <a:lnTo>
                  <a:pt x="1049108" y="135950"/>
                </a:lnTo>
                <a:cubicBezTo>
                  <a:pt x="1079235" y="105012"/>
                  <a:pt x="1079235" y="54142"/>
                  <a:pt x="1049108" y="23204"/>
                </a:cubicBezTo>
                <a:cubicBezTo>
                  <a:pt x="1018981" y="-7735"/>
                  <a:pt x="970051" y="-7735"/>
                  <a:pt x="940065" y="23204"/>
                </a:cubicBezTo>
                <a:lnTo>
                  <a:pt x="21934" y="891770"/>
                </a:lnTo>
                <a:cubicBezTo>
                  <a:pt x="5848" y="908456"/>
                  <a:pt x="-1032" y="930716"/>
                  <a:pt x="133" y="952130"/>
                </a:cubicBezTo>
                <a:cubicBezTo>
                  <a:pt x="-1067" y="974284"/>
                  <a:pt x="5848" y="996544"/>
                  <a:pt x="21934" y="1013195"/>
                </a:cubicBezTo>
                <a:lnTo>
                  <a:pt x="940030" y="1881761"/>
                </a:lnTo>
                <a:cubicBezTo>
                  <a:pt x="970016" y="1912735"/>
                  <a:pt x="1018981" y="1912735"/>
                  <a:pt x="1049072" y="1881761"/>
                </a:cubicBezTo>
                <a:cubicBezTo>
                  <a:pt x="1079199" y="1849976"/>
                  <a:pt x="1079199" y="1799953"/>
                  <a:pt x="1049072" y="1769014"/>
                </a:cubicBezTo>
                <a:lnTo>
                  <a:pt x="186503" y="952130"/>
                </a:lnTo>
              </a:path>
            </a:pathLst>
          </a:custGeom>
          <a:solidFill>
            <a:schemeClr val="bg1"/>
          </a:solidFill>
          <a:ln w="186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BD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75" name="gaoding-26">
            <a:extLst>
              <a:ext uri="{FF2B5EF4-FFF2-40B4-BE49-F238E27FC236}">
                <a16:creationId xmlns:a16="http://schemas.microsoft.com/office/drawing/2014/main" id="{B59DA9DD-367B-45EC-B4D8-0091229BB085}"/>
              </a:ext>
            </a:extLst>
          </p:cNvPr>
          <p:cNvSpPr/>
          <p:nvPr/>
        </p:nvSpPr>
        <p:spPr>
          <a:xfrm flipH="1">
            <a:off x="6793449" y="3882151"/>
            <a:ext cx="106484" cy="189280"/>
          </a:xfrm>
          <a:custGeom>
            <a:avLst/>
            <a:gdLst>
              <a:gd name="connsiteX0" fmla="*/ 186503 w 1071702"/>
              <a:gd name="connsiteY0" fmla="*/ 952130 h 1904991"/>
              <a:gd name="connsiteX1" fmla="*/ 1049108 w 1071702"/>
              <a:gd name="connsiteY1" fmla="*/ 135950 h 1904991"/>
              <a:gd name="connsiteX2" fmla="*/ 1049108 w 1071702"/>
              <a:gd name="connsiteY2" fmla="*/ 23204 h 1904991"/>
              <a:gd name="connsiteX3" fmla="*/ 940065 w 1071702"/>
              <a:gd name="connsiteY3" fmla="*/ 23204 h 1904991"/>
              <a:gd name="connsiteX4" fmla="*/ 21934 w 1071702"/>
              <a:gd name="connsiteY4" fmla="*/ 891770 h 1904991"/>
              <a:gd name="connsiteX5" fmla="*/ 133 w 1071702"/>
              <a:gd name="connsiteY5" fmla="*/ 952130 h 1904991"/>
              <a:gd name="connsiteX6" fmla="*/ 21934 w 1071702"/>
              <a:gd name="connsiteY6" fmla="*/ 1013195 h 1904991"/>
              <a:gd name="connsiteX7" fmla="*/ 940030 w 1071702"/>
              <a:gd name="connsiteY7" fmla="*/ 1881761 h 1904991"/>
              <a:gd name="connsiteX8" fmla="*/ 1049072 w 1071702"/>
              <a:gd name="connsiteY8" fmla="*/ 1881761 h 1904991"/>
              <a:gd name="connsiteX9" fmla="*/ 1049072 w 1071702"/>
              <a:gd name="connsiteY9" fmla="*/ 1769014 h 1904991"/>
              <a:gd name="connsiteX10" fmla="*/ 186503 w 1071702"/>
              <a:gd name="connsiteY10" fmla="*/ 952130 h 190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71702" h="1904991">
                <a:moveTo>
                  <a:pt x="186503" y="952130"/>
                </a:moveTo>
                <a:lnTo>
                  <a:pt x="1049108" y="135950"/>
                </a:lnTo>
                <a:cubicBezTo>
                  <a:pt x="1079235" y="105012"/>
                  <a:pt x="1079235" y="54142"/>
                  <a:pt x="1049108" y="23204"/>
                </a:cubicBezTo>
                <a:cubicBezTo>
                  <a:pt x="1018981" y="-7735"/>
                  <a:pt x="970051" y="-7735"/>
                  <a:pt x="940065" y="23204"/>
                </a:cubicBezTo>
                <a:lnTo>
                  <a:pt x="21934" y="891770"/>
                </a:lnTo>
                <a:cubicBezTo>
                  <a:pt x="5848" y="908456"/>
                  <a:pt x="-1032" y="930716"/>
                  <a:pt x="133" y="952130"/>
                </a:cubicBezTo>
                <a:cubicBezTo>
                  <a:pt x="-1067" y="974284"/>
                  <a:pt x="5848" y="996544"/>
                  <a:pt x="21934" y="1013195"/>
                </a:cubicBezTo>
                <a:lnTo>
                  <a:pt x="940030" y="1881761"/>
                </a:lnTo>
                <a:cubicBezTo>
                  <a:pt x="970016" y="1912735"/>
                  <a:pt x="1018981" y="1912735"/>
                  <a:pt x="1049072" y="1881761"/>
                </a:cubicBezTo>
                <a:cubicBezTo>
                  <a:pt x="1079199" y="1849976"/>
                  <a:pt x="1079199" y="1799953"/>
                  <a:pt x="1049072" y="1769014"/>
                </a:cubicBezTo>
                <a:lnTo>
                  <a:pt x="186503" y="952130"/>
                </a:lnTo>
              </a:path>
            </a:pathLst>
          </a:custGeom>
          <a:solidFill>
            <a:schemeClr val="bg1"/>
          </a:solidFill>
          <a:ln w="186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BD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22" name="gaoding-27">
            <a:extLst>
              <a:ext uri="{FF2B5EF4-FFF2-40B4-BE49-F238E27FC236}">
                <a16:creationId xmlns:a16="http://schemas.microsoft.com/office/drawing/2014/main" id="{6F6D840A-06A4-4FF7-9EF5-A98272BC0495}"/>
              </a:ext>
            </a:extLst>
          </p:cNvPr>
          <p:cNvSpPr/>
          <p:nvPr/>
        </p:nvSpPr>
        <p:spPr bwMode="auto">
          <a:xfrm flipV="1">
            <a:off x="8940486" y="3553372"/>
            <a:ext cx="249532" cy="249532"/>
          </a:xfrm>
          <a:prstGeom prst="ellipse">
            <a:avLst/>
          </a:prstGeom>
          <a:solidFill>
            <a:schemeClr val="accent2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64" name="gaoding-28">
            <a:extLst>
              <a:ext uri="{FF2B5EF4-FFF2-40B4-BE49-F238E27FC236}">
                <a16:creationId xmlns:a16="http://schemas.microsoft.com/office/drawing/2014/main" id="{50D42FDE-8BB5-4D67-B68F-699D0F5AC5BE}"/>
              </a:ext>
            </a:extLst>
          </p:cNvPr>
          <p:cNvSpPr/>
          <p:nvPr/>
        </p:nvSpPr>
        <p:spPr bwMode="auto">
          <a:xfrm flipV="1">
            <a:off x="8988251" y="3601137"/>
            <a:ext cx="154002" cy="154002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65" name="gaoding-29">
            <a:extLst>
              <a:ext uri="{FF2B5EF4-FFF2-40B4-BE49-F238E27FC236}">
                <a16:creationId xmlns:a16="http://schemas.microsoft.com/office/drawing/2014/main" id="{704F8104-DE33-4BE9-8A73-ABC5B134467C}"/>
              </a:ext>
            </a:extLst>
          </p:cNvPr>
          <p:cNvSpPr/>
          <p:nvPr/>
        </p:nvSpPr>
        <p:spPr bwMode="auto">
          <a:xfrm flipV="1">
            <a:off x="9037641" y="3650527"/>
            <a:ext cx="55222" cy="5522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68" name="gaoding-30">
            <a:extLst>
              <a:ext uri="{FF2B5EF4-FFF2-40B4-BE49-F238E27FC236}">
                <a16:creationId xmlns:a16="http://schemas.microsoft.com/office/drawing/2014/main" id="{8DA2C193-4028-4ADF-BEAC-D3075F7D9934}"/>
              </a:ext>
            </a:extLst>
          </p:cNvPr>
          <p:cNvSpPr txBox="1"/>
          <p:nvPr/>
        </p:nvSpPr>
        <p:spPr>
          <a:xfrm>
            <a:off x="8488886" y="3838270"/>
            <a:ext cx="1152724" cy="25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1600" spc="6">
                <a:solidFill>
                  <a:schemeClr val="bg1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6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2020.04</a:t>
            </a:r>
          </a:p>
        </p:txBody>
      </p:sp>
      <p:cxnSp>
        <p:nvCxnSpPr>
          <p:cNvPr id="79" name="gaoding-31">
            <a:extLst>
              <a:ext uri="{FF2B5EF4-FFF2-40B4-BE49-F238E27FC236}">
                <a16:creationId xmlns:a16="http://schemas.microsoft.com/office/drawing/2014/main" id="{2374C582-5194-49C9-9985-503F09F27AE6}"/>
              </a:ext>
            </a:extLst>
          </p:cNvPr>
          <p:cNvCxnSpPr>
            <a:cxnSpLocks/>
          </p:cNvCxnSpPr>
          <p:nvPr/>
        </p:nvCxnSpPr>
        <p:spPr bwMode="auto">
          <a:xfrm flipV="1">
            <a:off x="9065252" y="2813787"/>
            <a:ext cx="0" cy="787350"/>
          </a:xfrm>
          <a:prstGeom prst="line">
            <a:avLst/>
          </a:prstGeom>
          <a:solidFill>
            <a:schemeClr val="accent1"/>
          </a:solidFill>
          <a:ln w="1905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3" name="gaoding-32">
            <a:extLst>
              <a:ext uri="{FF2B5EF4-FFF2-40B4-BE49-F238E27FC236}">
                <a16:creationId xmlns:a16="http://schemas.microsoft.com/office/drawing/2014/main" id="{07B2B3F2-87B4-4706-87A1-FA98DB1F302F}"/>
              </a:ext>
            </a:extLst>
          </p:cNvPr>
          <p:cNvSpPr/>
          <p:nvPr/>
        </p:nvSpPr>
        <p:spPr bwMode="auto">
          <a:xfrm flipV="1">
            <a:off x="5982407" y="3553372"/>
            <a:ext cx="249532" cy="249532"/>
          </a:xfrm>
          <a:prstGeom prst="ellipse">
            <a:avLst/>
          </a:prstGeom>
          <a:solidFill>
            <a:schemeClr val="accent2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70" name="gaoding-33">
            <a:extLst>
              <a:ext uri="{FF2B5EF4-FFF2-40B4-BE49-F238E27FC236}">
                <a16:creationId xmlns:a16="http://schemas.microsoft.com/office/drawing/2014/main" id="{24756672-71E9-40C3-8CFA-4B7CE78561E6}"/>
              </a:ext>
            </a:extLst>
          </p:cNvPr>
          <p:cNvSpPr/>
          <p:nvPr/>
        </p:nvSpPr>
        <p:spPr bwMode="auto">
          <a:xfrm flipV="1">
            <a:off x="6030172" y="3601137"/>
            <a:ext cx="154002" cy="154002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71" name="gaoding-34">
            <a:extLst>
              <a:ext uri="{FF2B5EF4-FFF2-40B4-BE49-F238E27FC236}">
                <a16:creationId xmlns:a16="http://schemas.microsoft.com/office/drawing/2014/main" id="{F7FE45B0-B637-465B-B400-CF47F0D19921}"/>
              </a:ext>
            </a:extLst>
          </p:cNvPr>
          <p:cNvSpPr/>
          <p:nvPr/>
        </p:nvSpPr>
        <p:spPr bwMode="auto">
          <a:xfrm flipV="1">
            <a:off x="6079562" y="3650527"/>
            <a:ext cx="55222" cy="5522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74" name="gaoding-35">
            <a:extLst>
              <a:ext uri="{FF2B5EF4-FFF2-40B4-BE49-F238E27FC236}">
                <a16:creationId xmlns:a16="http://schemas.microsoft.com/office/drawing/2014/main" id="{00A1B34B-20F9-479B-AD8C-6FC7219BD2E7}"/>
              </a:ext>
            </a:extLst>
          </p:cNvPr>
          <p:cNvSpPr txBox="1"/>
          <p:nvPr/>
        </p:nvSpPr>
        <p:spPr>
          <a:xfrm>
            <a:off x="5530809" y="3838270"/>
            <a:ext cx="1152724" cy="25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1600" spc="6">
                <a:solidFill>
                  <a:schemeClr val="bg1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6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2017.02</a:t>
            </a:r>
          </a:p>
        </p:txBody>
      </p:sp>
      <p:cxnSp>
        <p:nvCxnSpPr>
          <p:cNvPr id="80" name="gaoding-36">
            <a:extLst>
              <a:ext uri="{FF2B5EF4-FFF2-40B4-BE49-F238E27FC236}">
                <a16:creationId xmlns:a16="http://schemas.microsoft.com/office/drawing/2014/main" id="{6DBF8B01-26AE-42CF-95E1-E1FDBAA5D2AE}"/>
              </a:ext>
            </a:extLst>
          </p:cNvPr>
          <p:cNvCxnSpPr>
            <a:cxnSpLocks/>
          </p:cNvCxnSpPr>
          <p:nvPr/>
        </p:nvCxnSpPr>
        <p:spPr bwMode="auto">
          <a:xfrm flipV="1">
            <a:off x="6107173" y="2813787"/>
            <a:ext cx="0" cy="787350"/>
          </a:xfrm>
          <a:prstGeom prst="line">
            <a:avLst/>
          </a:prstGeom>
          <a:solidFill>
            <a:schemeClr val="accent1"/>
          </a:solidFill>
          <a:ln w="1905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4" name="gaoding-37">
            <a:extLst>
              <a:ext uri="{FF2B5EF4-FFF2-40B4-BE49-F238E27FC236}">
                <a16:creationId xmlns:a16="http://schemas.microsoft.com/office/drawing/2014/main" id="{DBC8DE42-200B-4C73-8C9E-B06974EFBB16}"/>
              </a:ext>
            </a:extLst>
          </p:cNvPr>
          <p:cNvSpPr/>
          <p:nvPr/>
        </p:nvSpPr>
        <p:spPr bwMode="auto">
          <a:xfrm flipV="1">
            <a:off x="3024332" y="3553372"/>
            <a:ext cx="249532" cy="249532"/>
          </a:xfrm>
          <a:prstGeom prst="ellipse">
            <a:avLst/>
          </a:prstGeom>
          <a:solidFill>
            <a:schemeClr val="accent2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76" name="gaoding-38">
            <a:extLst>
              <a:ext uri="{FF2B5EF4-FFF2-40B4-BE49-F238E27FC236}">
                <a16:creationId xmlns:a16="http://schemas.microsoft.com/office/drawing/2014/main" id="{50BFFBC5-18A9-48C7-9CFE-1154858DF7AE}"/>
              </a:ext>
            </a:extLst>
          </p:cNvPr>
          <p:cNvSpPr/>
          <p:nvPr/>
        </p:nvSpPr>
        <p:spPr bwMode="auto">
          <a:xfrm flipV="1">
            <a:off x="3072097" y="3601137"/>
            <a:ext cx="154002" cy="154002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sp>
        <p:nvSpPr>
          <p:cNvPr id="77" name="gaoding-39">
            <a:extLst>
              <a:ext uri="{FF2B5EF4-FFF2-40B4-BE49-F238E27FC236}">
                <a16:creationId xmlns:a16="http://schemas.microsoft.com/office/drawing/2014/main" id="{FD479703-D5BE-4995-BB99-4CFC023E89A4}"/>
              </a:ext>
            </a:extLst>
          </p:cNvPr>
          <p:cNvSpPr/>
          <p:nvPr/>
        </p:nvSpPr>
        <p:spPr bwMode="auto">
          <a:xfrm flipV="1">
            <a:off x="3121487" y="3650527"/>
            <a:ext cx="55222" cy="5522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OPPOSans R" panose="00020600040101010101" pitchFamily="18" charset="-122"/>
              <a:cs typeface="+mn-cs"/>
            </a:endParaRPr>
          </a:p>
        </p:txBody>
      </p:sp>
      <p:cxnSp>
        <p:nvCxnSpPr>
          <p:cNvPr id="81" name="gaoding-40">
            <a:extLst>
              <a:ext uri="{FF2B5EF4-FFF2-40B4-BE49-F238E27FC236}">
                <a16:creationId xmlns:a16="http://schemas.microsoft.com/office/drawing/2014/main" id="{17014F7A-EDD7-4B36-96F7-65AE4B979044}"/>
              </a:ext>
            </a:extLst>
          </p:cNvPr>
          <p:cNvCxnSpPr>
            <a:cxnSpLocks/>
          </p:cNvCxnSpPr>
          <p:nvPr/>
        </p:nvCxnSpPr>
        <p:spPr bwMode="auto">
          <a:xfrm flipV="1">
            <a:off x="3149098" y="2813787"/>
            <a:ext cx="0" cy="787350"/>
          </a:xfrm>
          <a:prstGeom prst="line">
            <a:avLst/>
          </a:prstGeom>
          <a:solidFill>
            <a:schemeClr val="accent1"/>
          </a:solidFill>
          <a:ln w="1905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4" name="gaoding-41">
            <a:extLst>
              <a:ext uri="{FF2B5EF4-FFF2-40B4-BE49-F238E27FC236}">
                <a16:creationId xmlns:a16="http://schemas.microsoft.com/office/drawing/2014/main" id="{B0547288-E8AA-45E0-9C5E-C969BBDCA799}"/>
              </a:ext>
            </a:extLst>
          </p:cNvPr>
          <p:cNvSpPr txBox="1"/>
          <p:nvPr/>
        </p:nvSpPr>
        <p:spPr>
          <a:xfrm>
            <a:off x="2572736" y="3838270"/>
            <a:ext cx="1152724" cy="25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6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R"/>
                <a:ea typeface="OPPOSans R"/>
                <a:cs typeface="Noto Sans S Chinese Medium" charset="-122"/>
              </a:rPr>
              <a:t>2014.06</a:t>
            </a:r>
          </a:p>
        </p:txBody>
      </p:sp>
      <p:sp>
        <p:nvSpPr>
          <p:cNvPr id="85" name="gaoding-42">
            <a:extLst>
              <a:ext uri="{FF2B5EF4-FFF2-40B4-BE49-F238E27FC236}">
                <a16:creationId xmlns:a16="http://schemas.microsoft.com/office/drawing/2014/main" id="{9DC0CAAE-782E-492F-9CB7-B5FF897310EE}"/>
              </a:ext>
            </a:extLst>
          </p:cNvPr>
          <p:cNvSpPr/>
          <p:nvPr/>
        </p:nvSpPr>
        <p:spPr>
          <a:xfrm flipH="1">
            <a:off x="3835374" y="3882151"/>
            <a:ext cx="106484" cy="189280"/>
          </a:xfrm>
          <a:custGeom>
            <a:avLst/>
            <a:gdLst>
              <a:gd name="connsiteX0" fmla="*/ 186503 w 1071702"/>
              <a:gd name="connsiteY0" fmla="*/ 952130 h 1904991"/>
              <a:gd name="connsiteX1" fmla="*/ 1049108 w 1071702"/>
              <a:gd name="connsiteY1" fmla="*/ 135950 h 1904991"/>
              <a:gd name="connsiteX2" fmla="*/ 1049108 w 1071702"/>
              <a:gd name="connsiteY2" fmla="*/ 23204 h 1904991"/>
              <a:gd name="connsiteX3" fmla="*/ 940065 w 1071702"/>
              <a:gd name="connsiteY3" fmla="*/ 23204 h 1904991"/>
              <a:gd name="connsiteX4" fmla="*/ 21934 w 1071702"/>
              <a:gd name="connsiteY4" fmla="*/ 891770 h 1904991"/>
              <a:gd name="connsiteX5" fmla="*/ 133 w 1071702"/>
              <a:gd name="connsiteY5" fmla="*/ 952130 h 1904991"/>
              <a:gd name="connsiteX6" fmla="*/ 21934 w 1071702"/>
              <a:gd name="connsiteY6" fmla="*/ 1013195 h 1904991"/>
              <a:gd name="connsiteX7" fmla="*/ 940030 w 1071702"/>
              <a:gd name="connsiteY7" fmla="*/ 1881761 h 1904991"/>
              <a:gd name="connsiteX8" fmla="*/ 1049072 w 1071702"/>
              <a:gd name="connsiteY8" fmla="*/ 1881761 h 1904991"/>
              <a:gd name="connsiteX9" fmla="*/ 1049072 w 1071702"/>
              <a:gd name="connsiteY9" fmla="*/ 1769014 h 1904991"/>
              <a:gd name="connsiteX10" fmla="*/ 186503 w 1071702"/>
              <a:gd name="connsiteY10" fmla="*/ 952130 h 190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71702" h="1904991">
                <a:moveTo>
                  <a:pt x="186503" y="952130"/>
                </a:moveTo>
                <a:lnTo>
                  <a:pt x="1049108" y="135950"/>
                </a:lnTo>
                <a:cubicBezTo>
                  <a:pt x="1079235" y="105012"/>
                  <a:pt x="1079235" y="54142"/>
                  <a:pt x="1049108" y="23204"/>
                </a:cubicBezTo>
                <a:cubicBezTo>
                  <a:pt x="1018981" y="-7735"/>
                  <a:pt x="970051" y="-7735"/>
                  <a:pt x="940065" y="23204"/>
                </a:cubicBezTo>
                <a:lnTo>
                  <a:pt x="21934" y="891770"/>
                </a:lnTo>
                <a:cubicBezTo>
                  <a:pt x="5848" y="908456"/>
                  <a:pt x="-1032" y="930716"/>
                  <a:pt x="133" y="952130"/>
                </a:cubicBezTo>
                <a:cubicBezTo>
                  <a:pt x="-1067" y="974284"/>
                  <a:pt x="5848" y="996544"/>
                  <a:pt x="21934" y="1013195"/>
                </a:cubicBezTo>
                <a:lnTo>
                  <a:pt x="940030" y="1881761"/>
                </a:lnTo>
                <a:cubicBezTo>
                  <a:pt x="970016" y="1912735"/>
                  <a:pt x="1018981" y="1912735"/>
                  <a:pt x="1049072" y="1881761"/>
                </a:cubicBezTo>
                <a:cubicBezTo>
                  <a:pt x="1079199" y="1849976"/>
                  <a:pt x="1079199" y="1799953"/>
                  <a:pt x="1049072" y="1769014"/>
                </a:cubicBezTo>
                <a:lnTo>
                  <a:pt x="186503" y="952130"/>
                </a:lnTo>
              </a:path>
            </a:pathLst>
          </a:custGeom>
          <a:solidFill>
            <a:schemeClr val="bg1"/>
          </a:solidFill>
          <a:ln w="186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BD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89" name="gaoding-43" descr="标题 1">
            <a:extLst>
              <a:ext uri="{FF2B5EF4-FFF2-40B4-BE49-F238E27FC236}">
                <a16:creationId xmlns:a16="http://schemas.microsoft.com/office/drawing/2014/main" id="{BF5DAD41-9A42-4926-8379-671EAB9F91A1}"/>
              </a:ext>
            </a:extLst>
          </p:cNvPr>
          <p:cNvSpPr/>
          <p:nvPr/>
        </p:nvSpPr>
        <p:spPr>
          <a:xfrm>
            <a:off x="2712407" y="2093984"/>
            <a:ext cx="1751236" cy="28219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19BDFF"/>
                    </a:gs>
                  </a:gsLst>
                  <a:lin ang="0" scaled="0"/>
                </a:gradFill>
                <a:effectLst/>
                <a:uLnTx/>
                <a:uFillTx/>
                <a:latin typeface="OPPOSans B"/>
                <a:ea typeface="OPPOSans B"/>
                <a:cs typeface="Microsoft YaHei" charset="-122"/>
                <a:sym typeface="Helvetica"/>
              </a:rPr>
              <a:t>产品上市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white"/>
                  </a:gs>
                  <a:gs pos="100000">
                    <a:srgbClr val="19BDFF"/>
                  </a:gs>
                </a:gsLst>
                <a:lin ang="0" scaled="0"/>
              </a:gradFill>
              <a:effectLst/>
              <a:uLnTx/>
              <a:uFillTx/>
              <a:latin typeface="OPPOSans R"/>
              <a:ea typeface="OPPOSans R"/>
              <a:cs typeface="Microsoft YaHei" charset="-122"/>
              <a:sym typeface="Helvetica"/>
            </a:endParaRPr>
          </a:p>
        </p:txBody>
      </p:sp>
      <p:sp>
        <p:nvSpPr>
          <p:cNvPr id="95" name="gaoding-44" descr="标题 1">
            <a:extLst>
              <a:ext uri="{FF2B5EF4-FFF2-40B4-BE49-F238E27FC236}">
                <a16:creationId xmlns:a16="http://schemas.microsoft.com/office/drawing/2014/main" id="{5C5033B5-D557-42F7-BE31-23954E36E249}"/>
              </a:ext>
            </a:extLst>
          </p:cNvPr>
          <p:cNvSpPr/>
          <p:nvPr/>
        </p:nvSpPr>
        <p:spPr>
          <a:xfrm>
            <a:off x="4184003" y="5340270"/>
            <a:ext cx="1751236" cy="28219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19BDFF"/>
                    </a:gs>
                  </a:gsLst>
                  <a:lin ang="0" scaled="0"/>
                </a:gradFill>
                <a:effectLst/>
                <a:uLnTx/>
                <a:uFillTx/>
                <a:latin typeface="OPPOSans B"/>
                <a:ea typeface="OPPOSans B"/>
                <a:cs typeface="Microsoft YaHei" charset="-122"/>
                <a:sym typeface="Helvetica"/>
              </a:rPr>
              <a:t>企业发展</a:t>
            </a:r>
          </a:p>
        </p:txBody>
      </p:sp>
      <p:sp>
        <p:nvSpPr>
          <p:cNvPr id="96" name="gaoding-45" descr="标题 1">
            <a:extLst>
              <a:ext uri="{FF2B5EF4-FFF2-40B4-BE49-F238E27FC236}">
                <a16:creationId xmlns:a16="http://schemas.microsoft.com/office/drawing/2014/main" id="{E96A7288-3684-45F7-A553-0C6CE138C3DA}"/>
              </a:ext>
            </a:extLst>
          </p:cNvPr>
          <p:cNvSpPr/>
          <p:nvPr/>
        </p:nvSpPr>
        <p:spPr>
          <a:xfrm>
            <a:off x="5655599" y="2093984"/>
            <a:ext cx="1751236" cy="28219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19BDFF"/>
                    </a:gs>
                  </a:gsLst>
                  <a:lin ang="0" scaled="0"/>
                </a:gradFill>
                <a:effectLst/>
                <a:uLnTx/>
                <a:uFillTx/>
                <a:latin typeface="OPPOSans B"/>
                <a:ea typeface="OPPOSans B"/>
                <a:cs typeface="Microsoft YaHei" charset="-122"/>
                <a:sym typeface="Helvetica"/>
              </a:rPr>
              <a:t>搭建平台</a:t>
            </a:r>
          </a:p>
        </p:txBody>
      </p:sp>
      <p:sp>
        <p:nvSpPr>
          <p:cNvPr id="97" name="gaoding-46" descr="标题 1">
            <a:extLst>
              <a:ext uri="{FF2B5EF4-FFF2-40B4-BE49-F238E27FC236}">
                <a16:creationId xmlns:a16="http://schemas.microsoft.com/office/drawing/2014/main" id="{4608D233-6AFE-44E5-9ED7-6776F24E3416}"/>
              </a:ext>
            </a:extLst>
          </p:cNvPr>
          <p:cNvSpPr/>
          <p:nvPr/>
        </p:nvSpPr>
        <p:spPr>
          <a:xfrm>
            <a:off x="7127195" y="5340270"/>
            <a:ext cx="1751236" cy="28219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19BDFF"/>
                    </a:gs>
                  </a:gsLst>
                  <a:lin ang="0" scaled="0"/>
                </a:gradFill>
                <a:effectLst/>
                <a:uLnTx/>
                <a:uFillTx/>
                <a:latin typeface="OPPOSans B"/>
                <a:ea typeface="OPPOSans B"/>
                <a:cs typeface="Microsoft YaHei" charset="-122"/>
                <a:sym typeface="Helvetica"/>
              </a:rPr>
              <a:t>研发创新</a:t>
            </a:r>
          </a:p>
        </p:txBody>
      </p:sp>
      <p:sp>
        <p:nvSpPr>
          <p:cNvPr id="98" name="gaoding-47" descr="标题 1">
            <a:extLst>
              <a:ext uri="{FF2B5EF4-FFF2-40B4-BE49-F238E27FC236}">
                <a16:creationId xmlns:a16="http://schemas.microsoft.com/office/drawing/2014/main" id="{98C23FEF-10F7-450F-B8FE-37A0B10B6C8F}"/>
              </a:ext>
            </a:extLst>
          </p:cNvPr>
          <p:cNvSpPr/>
          <p:nvPr/>
        </p:nvSpPr>
        <p:spPr>
          <a:xfrm>
            <a:off x="8598791" y="2093984"/>
            <a:ext cx="1751236" cy="28219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19BDFF"/>
                    </a:gs>
                  </a:gsLst>
                  <a:lin ang="0" scaled="0"/>
                </a:gradFill>
                <a:effectLst/>
                <a:uLnTx/>
                <a:uFillTx/>
                <a:latin typeface="OPPOSans B"/>
                <a:ea typeface="OPPOSans B"/>
                <a:cs typeface="Microsoft YaHei" charset="-122"/>
                <a:sym typeface="Helvetica"/>
              </a:rPr>
              <a:t>线上宣传</a:t>
            </a:r>
          </a:p>
        </p:txBody>
      </p:sp>
      <p:sp>
        <p:nvSpPr>
          <p:cNvPr id="99" name="gaoding-48" descr="标题 1">
            <a:extLst>
              <a:ext uri="{FF2B5EF4-FFF2-40B4-BE49-F238E27FC236}">
                <a16:creationId xmlns:a16="http://schemas.microsoft.com/office/drawing/2014/main" id="{EE6CBED5-5887-4728-B488-2B370C09095F}"/>
              </a:ext>
            </a:extLst>
          </p:cNvPr>
          <p:cNvSpPr/>
          <p:nvPr/>
        </p:nvSpPr>
        <p:spPr>
          <a:xfrm>
            <a:off x="10070385" y="5340270"/>
            <a:ext cx="1751236" cy="28219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white"/>
                    </a:gs>
                    <a:gs pos="100000">
                      <a:srgbClr val="19BDFF"/>
                    </a:gs>
                  </a:gsLst>
                  <a:lin ang="0" scaled="0"/>
                </a:gradFill>
                <a:effectLst/>
                <a:uLnTx/>
                <a:uFillTx/>
                <a:latin typeface="OPPOSans B"/>
                <a:ea typeface="OPPOSans B"/>
                <a:cs typeface="Microsoft YaHei" charset="-122"/>
                <a:sym typeface="Helvetica"/>
              </a:rPr>
              <a:t>推出新品</a:t>
            </a:r>
          </a:p>
        </p:txBody>
      </p:sp>
      <p:sp>
        <p:nvSpPr>
          <p:cNvPr id="100" name="gaoding-49">
            <a:extLst>
              <a:ext uri="{FF2B5EF4-FFF2-40B4-BE49-F238E27FC236}">
                <a16:creationId xmlns:a16="http://schemas.microsoft.com/office/drawing/2014/main" id="{B551E401-2AA7-4DB8-A697-7D0410BD8778}"/>
              </a:ext>
            </a:extLst>
          </p:cNvPr>
          <p:cNvSpPr txBox="1"/>
          <p:nvPr/>
        </p:nvSpPr>
        <p:spPr>
          <a:xfrm>
            <a:off x="250646" y="2886196"/>
            <a:ext cx="95990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200" b="0" i="0" u="none" strike="noStrike" kern="1200" cap="none" spc="0" normalizeH="0" baseline="0" noProof="0">
                <a:ln w="22225">
                  <a:noFill/>
                </a:ln>
                <a:noFill/>
                <a:effectLst/>
                <a:uLnTx/>
                <a:uFillTx/>
                <a:latin typeface="OPPOSans B"/>
                <a:ea typeface="OPPOSans B"/>
                <a:cs typeface="+mn-cs"/>
              </a:rPr>
              <a:t>GD</a:t>
            </a:r>
            <a:endParaRPr kumimoji="0" lang="zh-CN" altLang="en-US" sz="7200" b="0" i="0" u="none" strike="noStrike" kern="1200" cap="none" spc="0" normalizeH="0" baseline="0" noProof="0">
              <a:ln w="22225">
                <a:noFill/>
              </a:ln>
              <a:noFill/>
              <a:effectLst/>
              <a:uLnTx/>
              <a:uFillTx/>
              <a:latin typeface="OPPOSans B"/>
              <a:ea typeface="OPPOSans B"/>
              <a:cs typeface="+mn-cs"/>
            </a:endParaRPr>
          </a:p>
        </p:txBody>
      </p:sp>
      <p:sp>
        <p:nvSpPr>
          <p:cNvPr id="101" name="gaoding-50">
            <a:extLst>
              <a:ext uri="{FF2B5EF4-FFF2-40B4-BE49-F238E27FC236}">
                <a16:creationId xmlns:a16="http://schemas.microsoft.com/office/drawing/2014/main" id="{4EE50FAD-EE24-46CD-B320-FE51EC6EDBE4}"/>
              </a:ext>
            </a:extLst>
          </p:cNvPr>
          <p:cNvSpPr txBox="1"/>
          <p:nvPr/>
        </p:nvSpPr>
        <p:spPr>
          <a:xfrm>
            <a:off x="558851" y="3128759"/>
            <a:ext cx="331410" cy="2688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9900" i="1">
                <a:gradFill>
                  <a:gsLst>
                    <a:gs pos="0">
                      <a:schemeClr val="bg1">
                        <a:alpha val="60000"/>
                      </a:schemeClr>
                    </a:gs>
                    <a:gs pos="79000">
                      <a:schemeClr val="accent2">
                        <a:alpha val="0"/>
                      </a:schemeClr>
                    </a:gs>
                  </a:gsLst>
                  <a:lin ang="5400000" scaled="0"/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500" b="0" i="1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white">
                        <a:alpha val="60000"/>
                      </a:prstClr>
                    </a:gs>
                    <a:gs pos="79000">
                      <a:srgbClr val="0F98FF">
                        <a:alpha val="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OPPOSans B"/>
                <a:ea typeface="OPPOSans B"/>
                <a:cs typeface="+mn-cs"/>
              </a:rPr>
              <a:t>GD</a:t>
            </a:r>
            <a:endParaRPr kumimoji="0" lang="zh-CN" altLang="en-US" sz="11500" b="0" i="1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prstClr val="white">
                      <a:alpha val="60000"/>
                    </a:prstClr>
                  </a:gs>
                  <a:gs pos="79000">
                    <a:srgbClr val="0F98FF">
                      <a:alpha val="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OPPOSans B"/>
              <a:ea typeface="OPPOSans B"/>
              <a:cs typeface="+mn-cs"/>
            </a:endParaRPr>
          </a:p>
        </p:txBody>
      </p:sp>
      <p:sp>
        <p:nvSpPr>
          <p:cNvPr id="58" name="gaoding-51">
            <a:extLst>
              <a:ext uri="{FF2B5EF4-FFF2-40B4-BE49-F238E27FC236}">
                <a16:creationId xmlns:a16="http://schemas.microsoft.com/office/drawing/2014/main" id="{2DBF8752-6CA5-4DB4-88B6-1A8C12A88217}"/>
              </a:ext>
            </a:extLst>
          </p:cNvPr>
          <p:cNvSpPr/>
          <p:nvPr/>
        </p:nvSpPr>
        <p:spPr>
          <a:xfrm>
            <a:off x="2286000" y="359790"/>
            <a:ext cx="7620000" cy="571843"/>
          </a:xfrm>
          <a:prstGeom prst="rect">
            <a:avLst/>
          </a:prstGeom>
          <a:gradFill>
            <a:gsLst>
              <a:gs pos="0">
                <a:schemeClr val="accent2">
                  <a:alpha val="0"/>
                </a:schemeClr>
              </a:gs>
              <a:gs pos="40000">
                <a:schemeClr val="accent1">
                  <a:alpha val="30000"/>
                </a:schemeClr>
              </a:gs>
              <a:gs pos="60000">
                <a:schemeClr val="accent1">
                  <a:alpha val="3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 w="15875" cap="flat" cmpd="sng" algn="ctr">
            <a:gradFill>
              <a:gsLst>
                <a:gs pos="0">
                  <a:schemeClr val="accent2">
                    <a:alpha val="0"/>
                  </a:schemeClr>
                </a:gs>
                <a:gs pos="30000">
                  <a:schemeClr val="accent1"/>
                </a:gs>
                <a:gs pos="70000">
                  <a:schemeClr val="accent1"/>
                </a:gs>
                <a:gs pos="100000">
                  <a:schemeClr val="accent2">
                    <a:alpha val="0"/>
                  </a:schemeClr>
                </a:gs>
              </a:gsLst>
              <a:lin ang="0" scaled="0"/>
            </a:gra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14" name="gaoding-52">
            <a:extLst>
              <a:ext uri="{FF2B5EF4-FFF2-40B4-BE49-F238E27FC236}">
                <a16:creationId xmlns:a16="http://schemas.microsoft.com/office/drawing/2014/main" id="{0F5E5C31-6C3C-4D6E-83FF-ADD63EB3F05B}"/>
              </a:ext>
            </a:extLst>
          </p:cNvPr>
          <p:cNvSpPr txBox="1"/>
          <p:nvPr/>
        </p:nvSpPr>
        <p:spPr>
          <a:xfrm>
            <a:off x="3916101" y="430268"/>
            <a:ext cx="435979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0">
                      <a:prstClr val="white"/>
                    </a:gs>
                    <a:gs pos="89000">
                      <a:srgbClr val="0F98FF"/>
                    </a:gs>
                  </a:gsLst>
                  <a:lin ang="2700000" scaled="1"/>
                </a:gradFill>
                <a:effectLst/>
                <a:uLnTx/>
                <a:uFillTx/>
                <a:latin typeface="OPPOSans B"/>
                <a:ea typeface="OPPOSans B"/>
                <a:cs typeface="+mn-cs"/>
              </a:rPr>
              <a:t>我们的发展历史</a:t>
            </a:r>
          </a:p>
        </p:txBody>
      </p:sp>
      <p:cxnSp>
        <p:nvCxnSpPr>
          <p:cNvPr id="5" name="gaoding-53">
            <a:extLst>
              <a:ext uri="{FF2B5EF4-FFF2-40B4-BE49-F238E27FC236}">
                <a16:creationId xmlns:a16="http://schemas.microsoft.com/office/drawing/2014/main" id="{965A3339-CC62-4D60-8487-9F1F0ADA3796}"/>
              </a:ext>
            </a:extLst>
          </p:cNvPr>
          <p:cNvCxnSpPr>
            <a:cxnSpLocks/>
          </p:cNvCxnSpPr>
          <p:nvPr/>
        </p:nvCxnSpPr>
        <p:spPr>
          <a:xfrm>
            <a:off x="2105206" y="607314"/>
            <a:ext cx="1786890" cy="0"/>
          </a:xfrm>
          <a:prstGeom prst="line">
            <a:avLst/>
          </a:prstGeom>
          <a:ln w="12700" cap="rnd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8000">
                  <a:schemeClr val="accent2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aoding-54">
            <a:extLst>
              <a:ext uri="{FF2B5EF4-FFF2-40B4-BE49-F238E27FC236}">
                <a16:creationId xmlns:a16="http://schemas.microsoft.com/office/drawing/2014/main" id="{BAFEC13F-FE9E-4131-A18B-659068FB39D4}"/>
              </a:ext>
            </a:extLst>
          </p:cNvPr>
          <p:cNvCxnSpPr>
            <a:cxnSpLocks/>
          </p:cNvCxnSpPr>
          <p:nvPr/>
        </p:nvCxnSpPr>
        <p:spPr>
          <a:xfrm>
            <a:off x="2524306" y="706374"/>
            <a:ext cx="678180" cy="0"/>
          </a:xfrm>
          <a:prstGeom prst="line">
            <a:avLst/>
          </a:prstGeom>
          <a:ln w="12700" cap="rnd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8000">
                  <a:schemeClr val="accent2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aoding-55">
            <a:extLst>
              <a:ext uri="{FF2B5EF4-FFF2-40B4-BE49-F238E27FC236}">
                <a16:creationId xmlns:a16="http://schemas.microsoft.com/office/drawing/2014/main" id="{E7D261E4-EF04-4C5E-9551-E92CE61450CF}"/>
              </a:ext>
            </a:extLst>
          </p:cNvPr>
          <p:cNvCxnSpPr>
            <a:cxnSpLocks/>
          </p:cNvCxnSpPr>
          <p:nvPr/>
        </p:nvCxnSpPr>
        <p:spPr>
          <a:xfrm flipH="1" flipV="1">
            <a:off x="8299904" y="706374"/>
            <a:ext cx="1786890" cy="0"/>
          </a:xfrm>
          <a:prstGeom prst="line">
            <a:avLst/>
          </a:prstGeom>
          <a:ln w="12700" cap="rnd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8000">
                  <a:schemeClr val="accent2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aoding-56">
            <a:extLst>
              <a:ext uri="{FF2B5EF4-FFF2-40B4-BE49-F238E27FC236}">
                <a16:creationId xmlns:a16="http://schemas.microsoft.com/office/drawing/2014/main" id="{B3211D7F-2CD4-4BC5-953F-632913881989}"/>
              </a:ext>
            </a:extLst>
          </p:cNvPr>
          <p:cNvCxnSpPr>
            <a:cxnSpLocks/>
          </p:cNvCxnSpPr>
          <p:nvPr/>
        </p:nvCxnSpPr>
        <p:spPr>
          <a:xfrm flipH="1" flipV="1">
            <a:off x="8989514" y="607314"/>
            <a:ext cx="678180" cy="0"/>
          </a:xfrm>
          <a:prstGeom prst="line">
            <a:avLst/>
          </a:prstGeom>
          <a:ln w="12700" cap="rnd"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8000">
                  <a:schemeClr val="accent2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gaoding-57" descr="标题 1">
            <a:extLst>
              <a:ext uri="{FF2B5EF4-FFF2-40B4-BE49-F238E27FC236}">
                <a16:creationId xmlns:a16="http://schemas.microsoft.com/office/drawing/2014/main" id="{B5A4BE25-E5F9-4201-A0B4-B41EC5749461}"/>
              </a:ext>
            </a:extLst>
          </p:cNvPr>
          <p:cNvSpPr/>
          <p:nvPr/>
        </p:nvSpPr>
        <p:spPr>
          <a:xfrm>
            <a:off x="2731448" y="2436330"/>
            <a:ext cx="1751236" cy="37401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Nunc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viverra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eni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Fusc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est. </a:t>
            </a:r>
          </a:p>
        </p:txBody>
      </p:sp>
      <p:sp>
        <p:nvSpPr>
          <p:cNvPr id="93" name="gaoding-58" descr="标题 1">
            <a:extLst>
              <a:ext uri="{FF2B5EF4-FFF2-40B4-BE49-F238E27FC236}">
                <a16:creationId xmlns:a16="http://schemas.microsoft.com/office/drawing/2014/main" id="{9DE1D80A-C548-4FE0-AB4E-EF52738C333E}"/>
              </a:ext>
            </a:extLst>
          </p:cNvPr>
          <p:cNvSpPr/>
          <p:nvPr/>
        </p:nvSpPr>
        <p:spPr>
          <a:xfrm>
            <a:off x="5677925" y="2436330"/>
            <a:ext cx="1751236" cy="37401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Nunc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viverra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eni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Fusc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est. </a:t>
            </a:r>
          </a:p>
        </p:txBody>
      </p:sp>
      <p:sp>
        <p:nvSpPr>
          <p:cNvPr id="94" name="gaoding-59" descr="标题 1">
            <a:extLst>
              <a:ext uri="{FF2B5EF4-FFF2-40B4-BE49-F238E27FC236}">
                <a16:creationId xmlns:a16="http://schemas.microsoft.com/office/drawing/2014/main" id="{DDCD5615-6544-4239-A833-DE9773AB2629}"/>
              </a:ext>
            </a:extLst>
          </p:cNvPr>
          <p:cNvSpPr/>
          <p:nvPr/>
        </p:nvSpPr>
        <p:spPr>
          <a:xfrm>
            <a:off x="8624402" y="2436330"/>
            <a:ext cx="1751236" cy="37401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Nunc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viverra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eni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Fusc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est. </a:t>
            </a:r>
          </a:p>
        </p:txBody>
      </p:sp>
      <p:sp>
        <p:nvSpPr>
          <p:cNvPr id="102" name="gaoding-60" descr="标题 1">
            <a:extLst>
              <a:ext uri="{FF2B5EF4-FFF2-40B4-BE49-F238E27FC236}">
                <a16:creationId xmlns:a16="http://schemas.microsoft.com/office/drawing/2014/main" id="{87DDD7DF-CB44-44BC-AE4C-573B1B3DE0DB}"/>
              </a:ext>
            </a:extLst>
          </p:cNvPr>
          <p:cNvSpPr/>
          <p:nvPr/>
        </p:nvSpPr>
        <p:spPr>
          <a:xfrm>
            <a:off x="4196216" y="5680435"/>
            <a:ext cx="1751236" cy="37401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Nunc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viverra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eni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Fusc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est. </a:t>
            </a:r>
          </a:p>
        </p:txBody>
      </p:sp>
      <p:sp>
        <p:nvSpPr>
          <p:cNvPr id="103" name="gaoding-61" descr="标题 1">
            <a:extLst>
              <a:ext uri="{FF2B5EF4-FFF2-40B4-BE49-F238E27FC236}">
                <a16:creationId xmlns:a16="http://schemas.microsoft.com/office/drawing/2014/main" id="{37D1CE8A-28AB-472E-92BE-D70AB69B958A}"/>
              </a:ext>
            </a:extLst>
          </p:cNvPr>
          <p:cNvSpPr/>
          <p:nvPr/>
        </p:nvSpPr>
        <p:spPr>
          <a:xfrm>
            <a:off x="7142693" y="5680435"/>
            <a:ext cx="1751236" cy="37401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Nunc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viverra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eni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Fusc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est. </a:t>
            </a:r>
          </a:p>
        </p:txBody>
      </p:sp>
      <p:sp>
        <p:nvSpPr>
          <p:cNvPr id="104" name="gaoding-62" descr="标题 1">
            <a:extLst>
              <a:ext uri="{FF2B5EF4-FFF2-40B4-BE49-F238E27FC236}">
                <a16:creationId xmlns:a16="http://schemas.microsoft.com/office/drawing/2014/main" id="{41904EE3-7779-45AA-8A2E-E502C456A074}"/>
              </a:ext>
            </a:extLst>
          </p:cNvPr>
          <p:cNvSpPr/>
          <p:nvPr/>
        </p:nvSpPr>
        <p:spPr>
          <a:xfrm>
            <a:off x="10089170" y="5680435"/>
            <a:ext cx="1751236" cy="374013"/>
          </a:xfrm>
          <a:prstGeom prst="rect">
            <a:avLst/>
          </a:prstGeom>
          <a:ln w="12700">
            <a:miter lim="400000"/>
          </a:ln>
          <a:effectLst>
            <a:outerShdw blurRad="279400" dir="5400000" rotWithShape="0">
              <a:schemeClr val="accent2">
                <a:alpha val="75000"/>
              </a:scheme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914400">
              <a:lnSpc>
                <a:spcPct val="90000"/>
              </a:lnSpc>
              <a:defRPr sz="72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Nunc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viverra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eni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Fusc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Microsoft YaHei" charset="-122"/>
                <a:sym typeface="Helvetica"/>
              </a:rPr>
              <a:t> est. </a:t>
            </a:r>
          </a:p>
        </p:txBody>
      </p:sp>
    </p:spTree>
    <p:extLst>
      <p:ext uri="{BB962C8B-B14F-4D97-AF65-F5344CB8AC3E}">
        <p14:creationId xmlns:p14="http://schemas.microsoft.com/office/powerpoint/2010/main" val="202779328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alpha val="20000"/>
              </a:schemeClr>
            </a:gs>
            <a:gs pos="50000">
              <a:schemeClr val="bg1">
                <a:alpha val="0"/>
              </a:schemeClr>
            </a:gs>
            <a:gs pos="100000">
              <a:schemeClr val="accent2">
                <a:alpha val="2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直接连接符 91">
            <a:extLst>
              <a:ext uri="{FF2B5EF4-FFF2-40B4-BE49-F238E27FC236}">
                <a16:creationId xmlns:a16="http://schemas.microsoft.com/office/drawing/2014/main" id="{47FE691C-1470-4726-B2CB-FA799DA2DABF}"/>
              </a:ext>
            </a:extLst>
          </p:cNvPr>
          <p:cNvCxnSpPr>
            <a:cxnSpLocks/>
          </p:cNvCxnSpPr>
          <p:nvPr/>
        </p:nvCxnSpPr>
        <p:spPr>
          <a:xfrm>
            <a:off x="3638698" y="4427442"/>
            <a:ext cx="0" cy="15545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泪滴形 92">
            <a:extLst>
              <a:ext uri="{FF2B5EF4-FFF2-40B4-BE49-F238E27FC236}">
                <a16:creationId xmlns:a16="http://schemas.microsoft.com/office/drawing/2014/main" id="{96836E0A-8E7A-46FB-B341-0588011F9CA3}"/>
              </a:ext>
            </a:extLst>
          </p:cNvPr>
          <p:cNvSpPr/>
          <p:nvPr/>
        </p:nvSpPr>
        <p:spPr>
          <a:xfrm rot="13500000" flipV="1">
            <a:off x="3559323" y="5971516"/>
            <a:ext cx="158750" cy="158750"/>
          </a:xfrm>
          <a:prstGeom prst="teardrop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D65FAF48-BC4C-4753-BA36-DEB20F3AA985}"/>
              </a:ext>
            </a:extLst>
          </p:cNvPr>
          <p:cNvSpPr txBox="1"/>
          <p:nvPr/>
        </p:nvSpPr>
        <p:spPr>
          <a:xfrm>
            <a:off x="2389531" y="4565237"/>
            <a:ext cx="10322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91" name="稿定PPT-10-2">
            <a:extLst>
              <a:ext uri="{FF2B5EF4-FFF2-40B4-BE49-F238E27FC236}">
                <a16:creationId xmlns:a16="http://schemas.microsoft.com/office/drawing/2014/main" id="{920FB8FB-72FB-4E5A-AD39-286E9A4519DF}"/>
              </a:ext>
            </a:extLst>
          </p:cNvPr>
          <p:cNvSpPr txBox="1"/>
          <p:nvPr/>
        </p:nvSpPr>
        <p:spPr>
          <a:xfrm>
            <a:off x="1437799" y="4988603"/>
            <a:ext cx="1958698" cy="12505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D6AC757C-CB8B-4103-B332-343F583958E1}"/>
              </a:ext>
            </a:extLst>
          </p:cNvPr>
          <p:cNvCxnSpPr/>
          <p:nvPr/>
        </p:nvCxnSpPr>
        <p:spPr>
          <a:xfrm>
            <a:off x="2562974" y="4910053"/>
            <a:ext cx="83700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连接符 100">
            <a:extLst>
              <a:ext uri="{FF2B5EF4-FFF2-40B4-BE49-F238E27FC236}">
                <a16:creationId xmlns:a16="http://schemas.microsoft.com/office/drawing/2014/main" id="{6BF8D071-ED31-4D21-9FD0-F9BBA7C1B561}"/>
              </a:ext>
            </a:extLst>
          </p:cNvPr>
          <p:cNvCxnSpPr>
            <a:cxnSpLocks/>
          </p:cNvCxnSpPr>
          <p:nvPr/>
        </p:nvCxnSpPr>
        <p:spPr>
          <a:xfrm>
            <a:off x="6677162" y="4427442"/>
            <a:ext cx="0" cy="15545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泪滴形 101">
            <a:extLst>
              <a:ext uri="{FF2B5EF4-FFF2-40B4-BE49-F238E27FC236}">
                <a16:creationId xmlns:a16="http://schemas.microsoft.com/office/drawing/2014/main" id="{AA0F573A-7F2D-4F14-AADB-91C85888AFDE}"/>
              </a:ext>
            </a:extLst>
          </p:cNvPr>
          <p:cNvSpPr/>
          <p:nvPr/>
        </p:nvSpPr>
        <p:spPr>
          <a:xfrm rot="13500000" flipV="1">
            <a:off x="6597787" y="5971516"/>
            <a:ext cx="158750" cy="158750"/>
          </a:xfrm>
          <a:prstGeom prst="teardrop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99" name="文本框 98">
            <a:extLst>
              <a:ext uri="{FF2B5EF4-FFF2-40B4-BE49-F238E27FC236}">
                <a16:creationId xmlns:a16="http://schemas.microsoft.com/office/drawing/2014/main" id="{A864FCE7-F56E-44FC-A3C4-54D2B4B530FC}"/>
              </a:ext>
            </a:extLst>
          </p:cNvPr>
          <p:cNvSpPr txBox="1"/>
          <p:nvPr/>
        </p:nvSpPr>
        <p:spPr>
          <a:xfrm>
            <a:off x="5427995" y="4565237"/>
            <a:ext cx="10322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100" name="稿定PPT-10-2">
            <a:extLst>
              <a:ext uri="{FF2B5EF4-FFF2-40B4-BE49-F238E27FC236}">
                <a16:creationId xmlns:a16="http://schemas.microsoft.com/office/drawing/2014/main" id="{59629213-9E91-419D-9B07-3919EC3C872A}"/>
              </a:ext>
            </a:extLst>
          </p:cNvPr>
          <p:cNvSpPr txBox="1"/>
          <p:nvPr/>
        </p:nvSpPr>
        <p:spPr>
          <a:xfrm>
            <a:off x="4476263" y="4988603"/>
            <a:ext cx="1958698" cy="12505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98" name="直接连接符 97">
            <a:extLst>
              <a:ext uri="{FF2B5EF4-FFF2-40B4-BE49-F238E27FC236}">
                <a16:creationId xmlns:a16="http://schemas.microsoft.com/office/drawing/2014/main" id="{5B697EB0-55D1-487D-B9D5-51F1CDB28AC7}"/>
              </a:ext>
            </a:extLst>
          </p:cNvPr>
          <p:cNvCxnSpPr/>
          <p:nvPr/>
        </p:nvCxnSpPr>
        <p:spPr>
          <a:xfrm>
            <a:off x="5601438" y="4910053"/>
            <a:ext cx="83700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直接连接符 109">
            <a:extLst>
              <a:ext uri="{FF2B5EF4-FFF2-40B4-BE49-F238E27FC236}">
                <a16:creationId xmlns:a16="http://schemas.microsoft.com/office/drawing/2014/main" id="{6E963028-CC43-45D2-A545-44D139C0A41B}"/>
              </a:ext>
            </a:extLst>
          </p:cNvPr>
          <p:cNvCxnSpPr>
            <a:cxnSpLocks/>
          </p:cNvCxnSpPr>
          <p:nvPr/>
        </p:nvCxnSpPr>
        <p:spPr>
          <a:xfrm>
            <a:off x="9782112" y="4427442"/>
            <a:ext cx="0" cy="15545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泪滴形 110">
            <a:extLst>
              <a:ext uri="{FF2B5EF4-FFF2-40B4-BE49-F238E27FC236}">
                <a16:creationId xmlns:a16="http://schemas.microsoft.com/office/drawing/2014/main" id="{CF5BE46E-DB34-4D49-B6F5-1D3057F9163F}"/>
              </a:ext>
            </a:extLst>
          </p:cNvPr>
          <p:cNvSpPr/>
          <p:nvPr/>
        </p:nvSpPr>
        <p:spPr>
          <a:xfrm rot="13500000" flipV="1">
            <a:off x="9702737" y="5971516"/>
            <a:ext cx="158750" cy="158750"/>
          </a:xfrm>
          <a:prstGeom prst="teardrop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08" name="文本框 107">
            <a:extLst>
              <a:ext uri="{FF2B5EF4-FFF2-40B4-BE49-F238E27FC236}">
                <a16:creationId xmlns:a16="http://schemas.microsoft.com/office/drawing/2014/main" id="{939266C5-BFFD-439A-B667-F3EEB18F3BEE}"/>
              </a:ext>
            </a:extLst>
          </p:cNvPr>
          <p:cNvSpPr txBox="1"/>
          <p:nvPr/>
        </p:nvSpPr>
        <p:spPr>
          <a:xfrm>
            <a:off x="8532945" y="4565237"/>
            <a:ext cx="10322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109" name="稿定PPT-10-2">
            <a:extLst>
              <a:ext uri="{FF2B5EF4-FFF2-40B4-BE49-F238E27FC236}">
                <a16:creationId xmlns:a16="http://schemas.microsoft.com/office/drawing/2014/main" id="{67F456B0-2E13-44B4-9DEC-1F06ADECB5DD}"/>
              </a:ext>
            </a:extLst>
          </p:cNvPr>
          <p:cNvSpPr txBox="1"/>
          <p:nvPr/>
        </p:nvSpPr>
        <p:spPr>
          <a:xfrm>
            <a:off x="7581213" y="4988603"/>
            <a:ext cx="1958698" cy="12505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107" name="直接连接符 106">
            <a:extLst>
              <a:ext uri="{FF2B5EF4-FFF2-40B4-BE49-F238E27FC236}">
                <a16:creationId xmlns:a16="http://schemas.microsoft.com/office/drawing/2014/main" id="{3DDB35AC-0C1E-4D09-8E94-2FD8DB8359B7}"/>
              </a:ext>
            </a:extLst>
          </p:cNvPr>
          <p:cNvCxnSpPr/>
          <p:nvPr/>
        </p:nvCxnSpPr>
        <p:spPr>
          <a:xfrm>
            <a:off x="8706388" y="4910053"/>
            <a:ext cx="83700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D030692E-3419-47D8-8862-DCFD1740FC43}"/>
              </a:ext>
            </a:extLst>
          </p:cNvPr>
          <p:cNvCxnSpPr>
            <a:cxnSpLocks/>
          </p:cNvCxnSpPr>
          <p:nvPr/>
        </p:nvCxnSpPr>
        <p:spPr>
          <a:xfrm flipV="1">
            <a:off x="2071131" y="1600127"/>
            <a:ext cx="0" cy="15545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泪滴形 56">
            <a:extLst>
              <a:ext uri="{FF2B5EF4-FFF2-40B4-BE49-F238E27FC236}">
                <a16:creationId xmlns:a16="http://schemas.microsoft.com/office/drawing/2014/main" id="{5787A62F-3D79-4BA8-8307-94D6545A080E}"/>
              </a:ext>
            </a:extLst>
          </p:cNvPr>
          <p:cNvSpPr/>
          <p:nvPr/>
        </p:nvSpPr>
        <p:spPr>
          <a:xfrm rot="8100000">
            <a:off x="1991756" y="1451856"/>
            <a:ext cx="158750" cy="158750"/>
          </a:xfrm>
          <a:prstGeom prst="teardrop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F0531D41-36A7-4EAD-A118-CC6EAE1D6876}"/>
              </a:ext>
            </a:extLst>
          </p:cNvPr>
          <p:cNvSpPr txBox="1"/>
          <p:nvPr/>
        </p:nvSpPr>
        <p:spPr>
          <a:xfrm>
            <a:off x="2249547" y="1394135"/>
            <a:ext cx="10322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60" name="稿定PPT-10-2">
            <a:extLst>
              <a:ext uri="{FF2B5EF4-FFF2-40B4-BE49-F238E27FC236}">
                <a16:creationId xmlns:a16="http://schemas.microsoft.com/office/drawing/2014/main" id="{97CF3CFE-B8DB-4C1B-96FD-E6E663A25CCF}"/>
              </a:ext>
            </a:extLst>
          </p:cNvPr>
          <p:cNvSpPr txBox="1"/>
          <p:nvPr/>
        </p:nvSpPr>
        <p:spPr>
          <a:xfrm>
            <a:off x="2249547" y="1811107"/>
            <a:ext cx="1958698" cy="12505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B654937D-3D3C-4EF8-93C1-6D9003C42641}"/>
              </a:ext>
            </a:extLst>
          </p:cNvPr>
          <p:cNvCxnSpPr/>
          <p:nvPr/>
        </p:nvCxnSpPr>
        <p:spPr>
          <a:xfrm>
            <a:off x="2243950" y="1738951"/>
            <a:ext cx="83700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>
            <a:extLst>
              <a:ext uri="{FF2B5EF4-FFF2-40B4-BE49-F238E27FC236}">
                <a16:creationId xmlns:a16="http://schemas.microsoft.com/office/drawing/2014/main" id="{471FB1CB-78B8-46F6-9800-01F02150B6D9}"/>
              </a:ext>
            </a:extLst>
          </p:cNvPr>
          <p:cNvCxnSpPr>
            <a:cxnSpLocks/>
          </p:cNvCxnSpPr>
          <p:nvPr/>
        </p:nvCxnSpPr>
        <p:spPr>
          <a:xfrm flipV="1">
            <a:off x="5109595" y="1600127"/>
            <a:ext cx="0" cy="15545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泪滴形 74">
            <a:extLst>
              <a:ext uri="{FF2B5EF4-FFF2-40B4-BE49-F238E27FC236}">
                <a16:creationId xmlns:a16="http://schemas.microsoft.com/office/drawing/2014/main" id="{AD37B503-9455-447D-B9EA-D0F8061108E1}"/>
              </a:ext>
            </a:extLst>
          </p:cNvPr>
          <p:cNvSpPr/>
          <p:nvPr/>
        </p:nvSpPr>
        <p:spPr>
          <a:xfrm rot="8100000">
            <a:off x="5030220" y="1451856"/>
            <a:ext cx="158750" cy="158750"/>
          </a:xfrm>
          <a:prstGeom prst="teardrop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7CB3EB3C-0A74-4FD5-92B2-F79040F75889}"/>
              </a:ext>
            </a:extLst>
          </p:cNvPr>
          <p:cNvSpPr txBox="1"/>
          <p:nvPr/>
        </p:nvSpPr>
        <p:spPr>
          <a:xfrm>
            <a:off x="5288011" y="1394135"/>
            <a:ext cx="10322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73" name="稿定PPT-10-2">
            <a:extLst>
              <a:ext uri="{FF2B5EF4-FFF2-40B4-BE49-F238E27FC236}">
                <a16:creationId xmlns:a16="http://schemas.microsoft.com/office/drawing/2014/main" id="{81936B76-BFD0-4938-BBD2-84B4F7E15CC0}"/>
              </a:ext>
            </a:extLst>
          </p:cNvPr>
          <p:cNvSpPr txBox="1"/>
          <p:nvPr/>
        </p:nvSpPr>
        <p:spPr>
          <a:xfrm>
            <a:off x="5288011" y="1811107"/>
            <a:ext cx="1958698" cy="12505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B32D01C0-2715-4132-9EE9-96DD3245B1A4}"/>
              </a:ext>
            </a:extLst>
          </p:cNvPr>
          <p:cNvCxnSpPr/>
          <p:nvPr/>
        </p:nvCxnSpPr>
        <p:spPr>
          <a:xfrm>
            <a:off x="5282414" y="1738951"/>
            <a:ext cx="83700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>
            <a:extLst>
              <a:ext uri="{FF2B5EF4-FFF2-40B4-BE49-F238E27FC236}">
                <a16:creationId xmlns:a16="http://schemas.microsoft.com/office/drawing/2014/main" id="{D57B3A94-4BF5-4488-ADB1-B28F9E632B74}"/>
              </a:ext>
            </a:extLst>
          </p:cNvPr>
          <p:cNvCxnSpPr>
            <a:cxnSpLocks/>
          </p:cNvCxnSpPr>
          <p:nvPr/>
        </p:nvCxnSpPr>
        <p:spPr>
          <a:xfrm flipV="1">
            <a:off x="8214545" y="1600127"/>
            <a:ext cx="0" cy="15545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泪滴形 83">
            <a:extLst>
              <a:ext uri="{FF2B5EF4-FFF2-40B4-BE49-F238E27FC236}">
                <a16:creationId xmlns:a16="http://schemas.microsoft.com/office/drawing/2014/main" id="{17A7A969-CFA2-404F-8F7E-8525956BEDF2}"/>
              </a:ext>
            </a:extLst>
          </p:cNvPr>
          <p:cNvSpPr/>
          <p:nvPr/>
        </p:nvSpPr>
        <p:spPr>
          <a:xfrm rot="8100000">
            <a:off x="8135170" y="1451856"/>
            <a:ext cx="158750" cy="158750"/>
          </a:xfrm>
          <a:prstGeom prst="teardrop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39457EDC-F7E0-435E-913C-2F67CDE69D55}"/>
              </a:ext>
            </a:extLst>
          </p:cNvPr>
          <p:cNvSpPr txBox="1"/>
          <p:nvPr/>
        </p:nvSpPr>
        <p:spPr>
          <a:xfrm>
            <a:off x="8392961" y="1394135"/>
            <a:ext cx="10322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Medium" panose="02020500000000000000" pitchFamily="18" charset="-122"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82" name="稿定PPT-10-2">
            <a:extLst>
              <a:ext uri="{FF2B5EF4-FFF2-40B4-BE49-F238E27FC236}">
                <a16:creationId xmlns:a16="http://schemas.microsoft.com/office/drawing/2014/main" id="{4703A9FB-3D1B-4FDE-BFCC-72CDEC13440C}"/>
              </a:ext>
            </a:extLst>
          </p:cNvPr>
          <p:cNvSpPr txBox="1"/>
          <p:nvPr/>
        </p:nvSpPr>
        <p:spPr>
          <a:xfrm>
            <a:off x="8392961" y="1811107"/>
            <a:ext cx="1958698" cy="12505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FB8FC8DA-CD46-47A1-98DC-92C15B412794}"/>
              </a:ext>
            </a:extLst>
          </p:cNvPr>
          <p:cNvCxnSpPr/>
          <p:nvPr/>
        </p:nvCxnSpPr>
        <p:spPr>
          <a:xfrm>
            <a:off x="8387364" y="1738951"/>
            <a:ext cx="83700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箭头: 五边形 1">
            <a:extLst>
              <a:ext uri="{FF2B5EF4-FFF2-40B4-BE49-F238E27FC236}">
                <a16:creationId xmlns:a16="http://schemas.microsoft.com/office/drawing/2014/main" id="{8871CF92-3357-4EE6-A548-8D9A2B700E80}"/>
              </a:ext>
            </a:extLst>
          </p:cNvPr>
          <p:cNvSpPr/>
          <p:nvPr/>
        </p:nvSpPr>
        <p:spPr>
          <a:xfrm>
            <a:off x="-355333" y="3238493"/>
            <a:ext cx="1666575" cy="1058114"/>
          </a:xfrm>
          <a:prstGeom prst="homePlate">
            <a:avLst>
              <a:gd name="adj" fmla="val 2059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41" name="任意多边形: 形状 1">
            <a:extLst>
              <a:ext uri="{FF2B5EF4-FFF2-40B4-BE49-F238E27FC236}">
                <a16:creationId xmlns:a16="http://schemas.microsoft.com/office/drawing/2014/main" id="{FD46656B-640B-4801-9455-380BBB4D84A7}"/>
              </a:ext>
            </a:extLst>
          </p:cNvPr>
          <p:cNvSpPr/>
          <p:nvPr/>
        </p:nvSpPr>
        <p:spPr>
          <a:xfrm>
            <a:off x="10492908" y="2863090"/>
            <a:ext cx="1572794" cy="1808921"/>
          </a:xfrm>
          <a:custGeom>
            <a:avLst/>
            <a:gdLst>
              <a:gd name="connsiteX0" fmla="*/ 867126 w 1572794"/>
              <a:gd name="connsiteY0" fmla="*/ 0 h 1808921"/>
              <a:gd name="connsiteX1" fmla="*/ 1572794 w 1572794"/>
              <a:gd name="connsiteY1" fmla="*/ 904461 h 1808921"/>
              <a:gd name="connsiteX2" fmla="*/ 867126 w 1572794"/>
              <a:gd name="connsiteY2" fmla="*/ 1808921 h 1808921"/>
              <a:gd name="connsiteX3" fmla="*/ 867126 w 1572794"/>
              <a:gd name="connsiteY3" fmla="*/ 1432892 h 1808921"/>
              <a:gd name="connsiteX4" fmla="*/ 0 w 1572794"/>
              <a:gd name="connsiteY4" fmla="*/ 1432892 h 1808921"/>
              <a:gd name="connsiteX5" fmla="*/ 217651 w 1572794"/>
              <a:gd name="connsiteY5" fmla="*/ 904460 h 1808921"/>
              <a:gd name="connsiteX6" fmla="*/ 1 w 1572794"/>
              <a:gd name="connsiteY6" fmla="*/ 376029 h 1808921"/>
              <a:gd name="connsiteX7" fmla="*/ 867126 w 1572794"/>
              <a:gd name="connsiteY7" fmla="*/ 376029 h 1808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2794" h="1808921">
                <a:moveTo>
                  <a:pt x="867126" y="0"/>
                </a:moveTo>
                <a:lnTo>
                  <a:pt x="1572794" y="904461"/>
                </a:lnTo>
                <a:lnTo>
                  <a:pt x="867126" y="1808921"/>
                </a:lnTo>
                <a:lnTo>
                  <a:pt x="867126" y="1432892"/>
                </a:lnTo>
                <a:lnTo>
                  <a:pt x="0" y="1432892"/>
                </a:lnTo>
                <a:lnTo>
                  <a:pt x="217651" y="904460"/>
                </a:lnTo>
                <a:lnTo>
                  <a:pt x="1" y="376029"/>
                </a:lnTo>
                <a:lnTo>
                  <a:pt x="867126" y="3760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9" name="箭头: V 形 8">
            <a:extLst>
              <a:ext uri="{FF2B5EF4-FFF2-40B4-BE49-F238E27FC236}">
                <a16:creationId xmlns:a16="http://schemas.microsoft.com/office/drawing/2014/main" id="{EC9D5EB2-FAD1-4292-9ED1-14CD24ADAB86}"/>
              </a:ext>
            </a:extLst>
          </p:cNvPr>
          <p:cNvSpPr/>
          <p:nvPr/>
        </p:nvSpPr>
        <p:spPr>
          <a:xfrm>
            <a:off x="1157004" y="3238493"/>
            <a:ext cx="615106" cy="1058114"/>
          </a:xfrm>
          <a:prstGeom prst="chevron">
            <a:avLst>
              <a:gd name="adj" fmla="val 37003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1" name="箭头: V 形 10">
            <a:extLst>
              <a:ext uri="{FF2B5EF4-FFF2-40B4-BE49-F238E27FC236}">
                <a16:creationId xmlns:a16="http://schemas.microsoft.com/office/drawing/2014/main" id="{76018BF7-E666-4270-8612-C558068AF109}"/>
              </a:ext>
            </a:extLst>
          </p:cNvPr>
          <p:cNvSpPr/>
          <p:nvPr/>
        </p:nvSpPr>
        <p:spPr>
          <a:xfrm>
            <a:off x="1536710" y="3011901"/>
            <a:ext cx="1294155" cy="1511299"/>
          </a:xfrm>
          <a:prstGeom prst="chevron">
            <a:avLst>
              <a:gd name="adj" fmla="val 25599"/>
            </a:avLst>
          </a:prstGeom>
          <a:gradFill>
            <a:gsLst>
              <a:gs pos="53100">
                <a:schemeClr val="accent2"/>
              </a:gs>
              <a:gs pos="0">
                <a:schemeClr val="accent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4" name="箭头: V 形 23">
            <a:extLst>
              <a:ext uri="{FF2B5EF4-FFF2-40B4-BE49-F238E27FC236}">
                <a16:creationId xmlns:a16="http://schemas.microsoft.com/office/drawing/2014/main" id="{20F03864-3457-41C6-8718-F74FBB5787E2}"/>
              </a:ext>
            </a:extLst>
          </p:cNvPr>
          <p:cNvSpPr/>
          <p:nvPr/>
        </p:nvSpPr>
        <p:spPr>
          <a:xfrm>
            <a:off x="2700054" y="3238493"/>
            <a:ext cx="615106" cy="1058114"/>
          </a:xfrm>
          <a:prstGeom prst="chevron">
            <a:avLst>
              <a:gd name="adj" fmla="val 37003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5" name="箭头: V 形 24">
            <a:extLst>
              <a:ext uri="{FF2B5EF4-FFF2-40B4-BE49-F238E27FC236}">
                <a16:creationId xmlns:a16="http://schemas.microsoft.com/office/drawing/2014/main" id="{157828D8-4C8E-4359-84CE-00D54B2F528F}"/>
              </a:ext>
            </a:extLst>
          </p:cNvPr>
          <p:cNvSpPr/>
          <p:nvPr/>
        </p:nvSpPr>
        <p:spPr>
          <a:xfrm>
            <a:off x="3079760" y="3011901"/>
            <a:ext cx="1294155" cy="1511299"/>
          </a:xfrm>
          <a:prstGeom prst="chevron">
            <a:avLst>
              <a:gd name="adj" fmla="val 25599"/>
            </a:avLst>
          </a:prstGeom>
          <a:gradFill>
            <a:gsLst>
              <a:gs pos="53100">
                <a:schemeClr val="accent2"/>
              </a:gs>
              <a:gs pos="0">
                <a:schemeClr val="accent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7" name="箭头: V 形 26">
            <a:extLst>
              <a:ext uri="{FF2B5EF4-FFF2-40B4-BE49-F238E27FC236}">
                <a16:creationId xmlns:a16="http://schemas.microsoft.com/office/drawing/2014/main" id="{6E0B2DB3-1BB3-4484-8069-5D32A029E96F}"/>
              </a:ext>
            </a:extLst>
          </p:cNvPr>
          <p:cNvSpPr/>
          <p:nvPr/>
        </p:nvSpPr>
        <p:spPr>
          <a:xfrm>
            <a:off x="4243104" y="3238493"/>
            <a:ext cx="615106" cy="1058114"/>
          </a:xfrm>
          <a:prstGeom prst="chevron">
            <a:avLst>
              <a:gd name="adj" fmla="val 37003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28" name="箭头: V 形 27">
            <a:extLst>
              <a:ext uri="{FF2B5EF4-FFF2-40B4-BE49-F238E27FC236}">
                <a16:creationId xmlns:a16="http://schemas.microsoft.com/office/drawing/2014/main" id="{9803869D-6EC9-48DB-A050-16BC161B9123}"/>
              </a:ext>
            </a:extLst>
          </p:cNvPr>
          <p:cNvSpPr/>
          <p:nvPr/>
        </p:nvSpPr>
        <p:spPr>
          <a:xfrm>
            <a:off x="4622810" y="3011901"/>
            <a:ext cx="1294155" cy="1511299"/>
          </a:xfrm>
          <a:prstGeom prst="chevron">
            <a:avLst>
              <a:gd name="adj" fmla="val 25599"/>
            </a:avLst>
          </a:prstGeom>
          <a:gradFill>
            <a:gsLst>
              <a:gs pos="53100">
                <a:schemeClr val="accent2"/>
              </a:gs>
              <a:gs pos="0">
                <a:schemeClr val="accent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0" name="箭头: V 形 29">
            <a:extLst>
              <a:ext uri="{FF2B5EF4-FFF2-40B4-BE49-F238E27FC236}">
                <a16:creationId xmlns:a16="http://schemas.microsoft.com/office/drawing/2014/main" id="{BDB77711-0D52-4CF8-AEB7-85F956AED1CC}"/>
              </a:ext>
            </a:extLst>
          </p:cNvPr>
          <p:cNvSpPr/>
          <p:nvPr/>
        </p:nvSpPr>
        <p:spPr>
          <a:xfrm>
            <a:off x="5786154" y="3238493"/>
            <a:ext cx="615106" cy="1058114"/>
          </a:xfrm>
          <a:prstGeom prst="chevron">
            <a:avLst>
              <a:gd name="adj" fmla="val 37003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1" name="箭头: V 形 30">
            <a:extLst>
              <a:ext uri="{FF2B5EF4-FFF2-40B4-BE49-F238E27FC236}">
                <a16:creationId xmlns:a16="http://schemas.microsoft.com/office/drawing/2014/main" id="{AF6F0702-6E4A-4363-B0F0-775C7FF85CA1}"/>
              </a:ext>
            </a:extLst>
          </p:cNvPr>
          <p:cNvSpPr/>
          <p:nvPr/>
        </p:nvSpPr>
        <p:spPr>
          <a:xfrm>
            <a:off x="6165860" y="3011901"/>
            <a:ext cx="1294155" cy="1511299"/>
          </a:xfrm>
          <a:prstGeom prst="chevron">
            <a:avLst>
              <a:gd name="adj" fmla="val 25599"/>
            </a:avLst>
          </a:prstGeom>
          <a:gradFill>
            <a:gsLst>
              <a:gs pos="53100">
                <a:schemeClr val="accent2"/>
              </a:gs>
              <a:gs pos="0">
                <a:schemeClr val="accent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3" name="箭头: V 形 32">
            <a:extLst>
              <a:ext uri="{FF2B5EF4-FFF2-40B4-BE49-F238E27FC236}">
                <a16:creationId xmlns:a16="http://schemas.microsoft.com/office/drawing/2014/main" id="{CE6D89D4-CCE5-41A9-9AF3-78A7DDCF1938}"/>
              </a:ext>
            </a:extLst>
          </p:cNvPr>
          <p:cNvSpPr/>
          <p:nvPr/>
        </p:nvSpPr>
        <p:spPr>
          <a:xfrm>
            <a:off x="7329204" y="3238493"/>
            <a:ext cx="615106" cy="1058114"/>
          </a:xfrm>
          <a:prstGeom prst="chevron">
            <a:avLst>
              <a:gd name="adj" fmla="val 37003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4" name="箭头: V 形 33">
            <a:extLst>
              <a:ext uri="{FF2B5EF4-FFF2-40B4-BE49-F238E27FC236}">
                <a16:creationId xmlns:a16="http://schemas.microsoft.com/office/drawing/2014/main" id="{338EA09A-00B8-47BE-8D16-165F76A6D284}"/>
              </a:ext>
            </a:extLst>
          </p:cNvPr>
          <p:cNvSpPr/>
          <p:nvPr/>
        </p:nvSpPr>
        <p:spPr>
          <a:xfrm>
            <a:off x="7708910" y="3011901"/>
            <a:ext cx="1294155" cy="1511299"/>
          </a:xfrm>
          <a:prstGeom prst="chevron">
            <a:avLst>
              <a:gd name="adj" fmla="val 25599"/>
            </a:avLst>
          </a:prstGeom>
          <a:gradFill>
            <a:gsLst>
              <a:gs pos="53100">
                <a:schemeClr val="accent2"/>
              </a:gs>
              <a:gs pos="0">
                <a:schemeClr val="accent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6" name="箭头: V 形 35">
            <a:extLst>
              <a:ext uri="{FF2B5EF4-FFF2-40B4-BE49-F238E27FC236}">
                <a16:creationId xmlns:a16="http://schemas.microsoft.com/office/drawing/2014/main" id="{78223857-715B-4B7E-AE62-588F4EF7744B}"/>
              </a:ext>
            </a:extLst>
          </p:cNvPr>
          <p:cNvSpPr/>
          <p:nvPr/>
        </p:nvSpPr>
        <p:spPr>
          <a:xfrm>
            <a:off x="8872254" y="3238493"/>
            <a:ext cx="615106" cy="1058114"/>
          </a:xfrm>
          <a:prstGeom prst="chevron">
            <a:avLst>
              <a:gd name="adj" fmla="val 37003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37" name="箭头: V 形 36">
            <a:extLst>
              <a:ext uri="{FF2B5EF4-FFF2-40B4-BE49-F238E27FC236}">
                <a16:creationId xmlns:a16="http://schemas.microsoft.com/office/drawing/2014/main" id="{5A4A75A4-356B-4353-ADC2-DBC969960F7A}"/>
              </a:ext>
            </a:extLst>
          </p:cNvPr>
          <p:cNvSpPr/>
          <p:nvPr/>
        </p:nvSpPr>
        <p:spPr>
          <a:xfrm>
            <a:off x="9251960" y="3011901"/>
            <a:ext cx="1294155" cy="1511299"/>
          </a:xfrm>
          <a:prstGeom prst="chevron">
            <a:avLst>
              <a:gd name="adj" fmla="val 25599"/>
            </a:avLst>
          </a:prstGeom>
          <a:gradFill>
            <a:gsLst>
              <a:gs pos="53100">
                <a:schemeClr val="accent2"/>
              </a:gs>
              <a:gs pos="0">
                <a:schemeClr val="accent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F9169C90-9034-4359-A375-537BE0464692}"/>
              </a:ext>
            </a:extLst>
          </p:cNvPr>
          <p:cNvSpPr txBox="1"/>
          <p:nvPr/>
        </p:nvSpPr>
        <p:spPr>
          <a:xfrm>
            <a:off x="2025888" y="3400008"/>
            <a:ext cx="322266" cy="735085"/>
          </a:xfrm>
          <a:custGeom>
            <a:avLst/>
            <a:gdLst/>
            <a:ahLst/>
            <a:cxnLst/>
            <a:rect l="l" t="t" r="r" b="b"/>
            <a:pathLst>
              <a:path w="432197" h="985837">
                <a:moveTo>
                  <a:pt x="0" y="171450"/>
                </a:moveTo>
                <a:lnTo>
                  <a:pt x="432197" y="171450"/>
                </a:lnTo>
                <a:lnTo>
                  <a:pt x="432197" y="985837"/>
                </a:lnTo>
                <a:lnTo>
                  <a:pt x="389334" y="985837"/>
                </a:lnTo>
                <a:lnTo>
                  <a:pt x="389334" y="214312"/>
                </a:lnTo>
                <a:lnTo>
                  <a:pt x="346472" y="214312"/>
                </a:lnTo>
                <a:lnTo>
                  <a:pt x="346472" y="985837"/>
                </a:lnTo>
                <a:lnTo>
                  <a:pt x="303609" y="985837"/>
                </a:lnTo>
                <a:lnTo>
                  <a:pt x="303609" y="214312"/>
                </a:lnTo>
                <a:lnTo>
                  <a:pt x="260747" y="214312"/>
                </a:lnTo>
                <a:lnTo>
                  <a:pt x="260747" y="985837"/>
                </a:lnTo>
                <a:lnTo>
                  <a:pt x="217884" y="985837"/>
                </a:lnTo>
                <a:lnTo>
                  <a:pt x="217884" y="214312"/>
                </a:lnTo>
                <a:lnTo>
                  <a:pt x="175022" y="214312"/>
                </a:lnTo>
                <a:lnTo>
                  <a:pt x="175022" y="985837"/>
                </a:lnTo>
                <a:lnTo>
                  <a:pt x="132159" y="985837"/>
                </a:lnTo>
                <a:lnTo>
                  <a:pt x="132159" y="214312"/>
                </a:lnTo>
                <a:lnTo>
                  <a:pt x="0" y="214312"/>
                </a:lnTo>
                <a:close/>
                <a:moveTo>
                  <a:pt x="0" y="85725"/>
                </a:moveTo>
                <a:lnTo>
                  <a:pt x="432197" y="85725"/>
                </a:lnTo>
                <a:lnTo>
                  <a:pt x="432197" y="128587"/>
                </a:lnTo>
                <a:lnTo>
                  <a:pt x="0" y="128587"/>
                </a:lnTo>
                <a:close/>
                <a:moveTo>
                  <a:pt x="0" y="0"/>
                </a:moveTo>
                <a:lnTo>
                  <a:pt x="432197" y="0"/>
                </a:lnTo>
                <a:lnTo>
                  <a:pt x="432197" y="42862"/>
                </a:lnTo>
                <a:lnTo>
                  <a:pt x="0" y="42862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 sz="9600"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/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  <a:latin typeface="Monoton" pitchFamily="2" charset="0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FF6C02">
                      <a:lumMod val="40000"/>
                      <a:lumOff val="60000"/>
                    </a:srgbClr>
                  </a:gs>
                  <a:gs pos="100000">
                    <a:srgbClr val="FF6C02"/>
                  </a:gs>
                </a:gsLst>
                <a:path path="circle">
                  <a:fillToRect l="50000" t="130000" r="50000" b="-30000"/>
                </a:path>
                <a:tileRect/>
              </a:gradFill>
              <a:effectLst/>
              <a:uLnTx/>
              <a:uFillTx/>
              <a:latin typeface="Monoton" pitchFamily="2" charset="0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BB8224D8-8F1D-4DD1-BB5B-8B73625DD08D}"/>
              </a:ext>
            </a:extLst>
          </p:cNvPr>
          <p:cNvSpPr txBox="1"/>
          <p:nvPr/>
        </p:nvSpPr>
        <p:spPr>
          <a:xfrm>
            <a:off x="3509955" y="3384027"/>
            <a:ext cx="482067" cy="767046"/>
          </a:xfrm>
          <a:custGeom>
            <a:avLst/>
            <a:gdLst/>
            <a:ahLst/>
            <a:cxnLst/>
            <a:rect l="l" t="t" r="r" b="b"/>
            <a:pathLst>
              <a:path w="646509" h="1028700">
                <a:moveTo>
                  <a:pt x="15478" y="985838"/>
                </a:moveTo>
                <a:lnTo>
                  <a:pt x="596503" y="985838"/>
                </a:lnTo>
                <a:lnTo>
                  <a:pt x="596503" y="1028700"/>
                </a:lnTo>
                <a:lnTo>
                  <a:pt x="15478" y="1028700"/>
                </a:lnTo>
                <a:close/>
                <a:moveTo>
                  <a:pt x="15478" y="900113"/>
                </a:moveTo>
                <a:lnTo>
                  <a:pt x="596503" y="900113"/>
                </a:lnTo>
                <a:lnTo>
                  <a:pt x="596503" y="942975"/>
                </a:lnTo>
                <a:lnTo>
                  <a:pt x="15478" y="942975"/>
                </a:lnTo>
                <a:close/>
                <a:moveTo>
                  <a:pt x="15478" y="814388"/>
                </a:moveTo>
                <a:lnTo>
                  <a:pt x="596503" y="814388"/>
                </a:lnTo>
                <a:lnTo>
                  <a:pt x="596503" y="857250"/>
                </a:lnTo>
                <a:lnTo>
                  <a:pt x="15478" y="857250"/>
                </a:lnTo>
                <a:close/>
                <a:moveTo>
                  <a:pt x="243483" y="255985"/>
                </a:moveTo>
                <a:cubicBezTo>
                  <a:pt x="266105" y="255985"/>
                  <a:pt x="285750" y="257274"/>
                  <a:pt x="302419" y="259854"/>
                </a:cubicBezTo>
                <a:cubicBezTo>
                  <a:pt x="319088" y="262434"/>
                  <a:pt x="334268" y="266799"/>
                  <a:pt x="347960" y="272951"/>
                </a:cubicBezTo>
                <a:cubicBezTo>
                  <a:pt x="361652" y="279103"/>
                  <a:pt x="372070" y="288032"/>
                  <a:pt x="379214" y="299740"/>
                </a:cubicBezTo>
                <a:cubicBezTo>
                  <a:pt x="386358" y="311448"/>
                  <a:pt x="389930" y="325835"/>
                  <a:pt x="389930" y="342900"/>
                </a:cubicBezTo>
                <a:cubicBezTo>
                  <a:pt x="389930" y="359966"/>
                  <a:pt x="381198" y="381794"/>
                  <a:pt x="363736" y="408385"/>
                </a:cubicBezTo>
                <a:cubicBezTo>
                  <a:pt x="346274" y="434975"/>
                  <a:pt x="301427" y="496491"/>
                  <a:pt x="229195" y="592931"/>
                </a:cubicBezTo>
                <a:cubicBezTo>
                  <a:pt x="170458" y="671116"/>
                  <a:pt x="121245" y="736997"/>
                  <a:pt x="81558" y="790575"/>
                </a:cubicBezTo>
                <a:lnTo>
                  <a:pt x="31552" y="790575"/>
                </a:lnTo>
                <a:cubicBezTo>
                  <a:pt x="59333" y="752872"/>
                  <a:pt x="86717" y="715963"/>
                  <a:pt x="113705" y="679847"/>
                </a:cubicBezTo>
                <a:cubicBezTo>
                  <a:pt x="140692" y="643731"/>
                  <a:pt x="163215" y="613668"/>
                  <a:pt x="181273" y="589657"/>
                </a:cubicBezTo>
                <a:cubicBezTo>
                  <a:pt x="199331" y="565646"/>
                  <a:pt x="216892" y="542131"/>
                  <a:pt x="233958" y="519113"/>
                </a:cubicBezTo>
                <a:cubicBezTo>
                  <a:pt x="251024" y="496094"/>
                  <a:pt x="264815" y="477639"/>
                  <a:pt x="275332" y="463749"/>
                </a:cubicBezTo>
                <a:cubicBezTo>
                  <a:pt x="285849" y="449858"/>
                  <a:pt x="295870" y="436364"/>
                  <a:pt x="305395" y="423267"/>
                </a:cubicBezTo>
                <a:cubicBezTo>
                  <a:pt x="314920" y="410170"/>
                  <a:pt x="322064" y="399951"/>
                  <a:pt x="326827" y="392609"/>
                </a:cubicBezTo>
                <a:cubicBezTo>
                  <a:pt x="331589" y="385267"/>
                  <a:pt x="335856" y="378222"/>
                  <a:pt x="339626" y="371475"/>
                </a:cubicBezTo>
                <a:cubicBezTo>
                  <a:pt x="343396" y="364728"/>
                  <a:pt x="345877" y="359271"/>
                  <a:pt x="347067" y="355104"/>
                </a:cubicBezTo>
                <a:cubicBezTo>
                  <a:pt x="348258" y="350937"/>
                  <a:pt x="348853" y="346869"/>
                  <a:pt x="348853" y="342900"/>
                </a:cubicBezTo>
                <a:cubicBezTo>
                  <a:pt x="348853" y="324644"/>
                  <a:pt x="341313" y="312936"/>
                  <a:pt x="326231" y="307777"/>
                </a:cubicBezTo>
                <a:cubicBezTo>
                  <a:pt x="311150" y="302617"/>
                  <a:pt x="284559" y="300038"/>
                  <a:pt x="246459" y="300038"/>
                </a:cubicBezTo>
                <a:cubicBezTo>
                  <a:pt x="184547" y="300038"/>
                  <a:pt x="122634" y="308174"/>
                  <a:pt x="60722" y="324445"/>
                </a:cubicBezTo>
                <a:lnTo>
                  <a:pt x="51792" y="283369"/>
                </a:lnTo>
                <a:cubicBezTo>
                  <a:pt x="61714" y="279003"/>
                  <a:pt x="86816" y="273348"/>
                  <a:pt x="127099" y="266402"/>
                </a:cubicBezTo>
                <a:cubicBezTo>
                  <a:pt x="167382" y="259457"/>
                  <a:pt x="206177" y="255985"/>
                  <a:pt x="243483" y="255985"/>
                </a:cubicBezTo>
                <a:close/>
                <a:moveTo>
                  <a:pt x="246459" y="171450"/>
                </a:moveTo>
                <a:cubicBezTo>
                  <a:pt x="271859" y="171450"/>
                  <a:pt x="295374" y="173137"/>
                  <a:pt x="317004" y="176510"/>
                </a:cubicBezTo>
                <a:cubicBezTo>
                  <a:pt x="338634" y="179884"/>
                  <a:pt x="359370" y="185539"/>
                  <a:pt x="379214" y="193477"/>
                </a:cubicBezTo>
                <a:cubicBezTo>
                  <a:pt x="399058" y="201414"/>
                  <a:pt x="415925" y="211634"/>
                  <a:pt x="429816" y="224135"/>
                </a:cubicBezTo>
                <a:cubicBezTo>
                  <a:pt x="443706" y="236637"/>
                  <a:pt x="454720" y="252413"/>
                  <a:pt x="462856" y="271463"/>
                </a:cubicBezTo>
                <a:cubicBezTo>
                  <a:pt x="470991" y="290513"/>
                  <a:pt x="475059" y="312341"/>
                  <a:pt x="475059" y="336947"/>
                </a:cubicBezTo>
                <a:cubicBezTo>
                  <a:pt x="475059" y="362347"/>
                  <a:pt x="462558" y="394295"/>
                  <a:pt x="437555" y="432792"/>
                </a:cubicBezTo>
                <a:cubicBezTo>
                  <a:pt x="412552" y="471289"/>
                  <a:pt x="337741" y="574874"/>
                  <a:pt x="213122" y="743545"/>
                </a:cubicBezTo>
                <a:cubicBezTo>
                  <a:pt x="198041" y="763786"/>
                  <a:pt x="186531" y="779463"/>
                  <a:pt x="178594" y="790575"/>
                </a:cubicBezTo>
                <a:lnTo>
                  <a:pt x="128588" y="790575"/>
                </a:lnTo>
                <a:cubicBezTo>
                  <a:pt x="276622" y="591344"/>
                  <a:pt x="358775" y="480020"/>
                  <a:pt x="375047" y="456605"/>
                </a:cubicBezTo>
                <a:cubicBezTo>
                  <a:pt x="408384" y="408980"/>
                  <a:pt x="427038" y="375047"/>
                  <a:pt x="431006" y="354806"/>
                </a:cubicBezTo>
                <a:cubicBezTo>
                  <a:pt x="432197" y="349250"/>
                  <a:pt x="432792" y="343297"/>
                  <a:pt x="432792" y="336947"/>
                </a:cubicBezTo>
                <a:cubicBezTo>
                  <a:pt x="432792" y="254794"/>
                  <a:pt x="370483" y="213717"/>
                  <a:pt x="245864" y="213717"/>
                </a:cubicBezTo>
                <a:cubicBezTo>
                  <a:pt x="207764" y="213717"/>
                  <a:pt x="169069" y="217091"/>
                  <a:pt x="129778" y="223838"/>
                </a:cubicBezTo>
                <a:cubicBezTo>
                  <a:pt x="90488" y="230585"/>
                  <a:pt x="61714" y="237331"/>
                  <a:pt x="43458" y="244078"/>
                </a:cubicBezTo>
                <a:lnTo>
                  <a:pt x="35124" y="203002"/>
                </a:lnTo>
                <a:cubicBezTo>
                  <a:pt x="102989" y="181967"/>
                  <a:pt x="173434" y="171450"/>
                  <a:pt x="246459" y="171450"/>
                </a:cubicBezTo>
                <a:close/>
                <a:moveTo>
                  <a:pt x="244078" y="83939"/>
                </a:moveTo>
                <a:cubicBezTo>
                  <a:pt x="279797" y="83939"/>
                  <a:pt x="312936" y="86519"/>
                  <a:pt x="343495" y="91678"/>
                </a:cubicBezTo>
                <a:cubicBezTo>
                  <a:pt x="374055" y="96838"/>
                  <a:pt x="402927" y="105470"/>
                  <a:pt x="430113" y="117574"/>
                </a:cubicBezTo>
                <a:cubicBezTo>
                  <a:pt x="457299" y="129679"/>
                  <a:pt x="480318" y="145058"/>
                  <a:pt x="499170" y="163711"/>
                </a:cubicBezTo>
                <a:cubicBezTo>
                  <a:pt x="518021" y="182364"/>
                  <a:pt x="533003" y="205879"/>
                  <a:pt x="544116" y="234256"/>
                </a:cubicBezTo>
                <a:cubicBezTo>
                  <a:pt x="555228" y="262632"/>
                  <a:pt x="560784" y="294878"/>
                  <a:pt x="560784" y="330994"/>
                </a:cubicBezTo>
                <a:cubicBezTo>
                  <a:pt x="560784" y="356791"/>
                  <a:pt x="554732" y="383084"/>
                  <a:pt x="542627" y="409873"/>
                </a:cubicBezTo>
                <a:cubicBezTo>
                  <a:pt x="530523" y="436662"/>
                  <a:pt x="505520" y="477441"/>
                  <a:pt x="467618" y="532210"/>
                </a:cubicBezTo>
                <a:cubicBezTo>
                  <a:pt x="429716" y="586978"/>
                  <a:pt x="366514" y="673100"/>
                  <a:pt x="278011" y="790575"/>
                </a:cubicBezTo>
                <a:lnTo>
                  <a:pt x="228005" y="790575"/>
                </a:lnTo>
                <a:cubicBezTo>
                  <a:pt x="363339" y="605631"/>
                  <a:pt x="445492" y="490438"/>
                  <a:pt x="474464" y="444996"/>
                </a:cubicBezTo>
                <a:cubicBezTo>
                  <a:pt x="503436" y="399554"/>
                  <a:pt x="517922" y="361553"/>
                  <a:pt x="517922" y="330994"/>
                </a:cubicBezTo>
                <a:cubicBezTo>
                  <a:pt x="517922" y="293688"/>
                  <a:pt x="510679" y="261541"/>
                  <a:pt x="496193" y="234553"/>
                </a:cubicBezTo>
                <a:cubicBezTo>
                  <a:pt x="481707" y="207566"/>
                  <a:pt x="461466" y="186531"/>
                  <a:pt x="435471" y="171450"/>
                </a:cubicBezTo>
                <a:cubicBezTo>
                  <a:pt x="409476" y="156369"/>
                  <a:pt x="380901" y="145455"/>
                  <a:pt x="349746" y="138708"/>
                </a:cubicBezTo>
                <a:cubicBezTo>
                  <a:pt x="318591" y="131961"/>
                  <a:pt x="283964" y="128588"/>
                  <a:pt x="245864" y="128588"/>
                </a:cubicBezTo>
                <a:cubicBezTo>
                  <a:pt x="172442" y="128588"/>
                  <a:pt x="99219" y="139700"/>
                  <a:pt x="26194" y="161925"/>
                </a:cubicBezTo>
                <a:lnTo>
                  <a:pt x="17264" y="118467"/>
                </a:lnTo>
                <a:cubicBezTo>
                  <a:pt x="95449" y="95449"/>
                  <a:pt x="171053" y="83939"/>
                  <a:pt x="244078" y="83939"/>
                </a:cubicBezTo>
                <a:close/>
                <a:moveTo>
                  <a:pt x="245864" y="0"/>
                </a:moveTo>
                <a:cubicBezTo>
                  <a:pt x="305395" y="0"/>
                  <a:pt x="359271" y="6449"/>
                  <a:pt x="407491" y="19348"/>
                </a:cubicBezTo>
                <a:cubicBezTo>
                  <a:pt x="455712" y="32246"/>
                  <a:pt x="497781" y="51594"/>
                  <a:pt x="533698" y="77391"/>
                </a:cubicBezTo>
                <a:cubicBezTo>
                  <a:pt x="569615" y="103188"/>
                  <a:pt x="597396" y="137120"/>
                  <a:pt x="617042" y="179189"/>
                </a:cubicBezTo>
                <a:cubicBezTo>
                  <a:pt x="636687" y="221258"/>
                  <a:pt x="646509" y="269875"/>
                  <a:pt x="646509" y="325041"/>
                </a:cubicBezTo>
                <a:cubicBezTo>
                  <a:pt x="646509" y="359966"/>
                  <a:pt x="640854" y="392906"/>
                  <a:pt x="629543" y="423863"/>
                </a:cubicBezTo>
                <a:cubicBezTo>
                  <a:pt x="618232" y="454819"/>
                  <a:pt x="593626" y="498674"/>
                  <a:pt x="555724" y="555427"/>
                </a:cubicBezTo>
                <a:cubicBezTo>
                  <a:pt x="517823" y="612180"/>
                  <a:pt x="459581" y="690563"/>
                  <a:pt x="381000" y="790575"/>
                </a:cubicBezTo>
                <a:lnTo>
                  <a:pt x="330994" y="790575"/>
                </a:lnTo>
                <a:cubicBezTo>
                  <a:pt x="414734" y="679847"/>
                  <a:pt x="475357" y="596603"/>
                  <a:pt x="512862" y="540842"/>
                </a:cubicBezTo>
                <a:cubicBezTo>
                  <a:pt x="550367" y="485081"/>
                  <a:pt x="574874" y="442813"/>
                  <a:pt x="586383" y="414040"/>
                </a:cubicBezTo>
                <a:cubicBezTo>
                  <a:pt x="597892" y="385267"/>
                  <a:pt x="603647" y="355600"/>
                  <a:pt x="603647" y="325041"/>
                </a:cubicBezTo>
                <a:cubicBezTo>
                  <a:pt x="603647" y="286147"/>
                  <a:pt x="597793" y="250924"/>
                  <a:pt x="586085" y="219373"/>
                </a:cubicBezTo>
                <a:cubicBezTo>
                  <a:pt x="574377" y="187821"/>
                  <a:pt x="557907" y="161231"/>
                  <a:pt x="536674" y="139601"/>
                </a:cubicBezTo>
                <a:cubicBezTo>
                  <a:pt x="515441" y="117971"/>
                  <a:pt x="489942" y="99814"/>
                  <a:pt x="460177" y="85130"/>
                </a:cubicBezTo>
                <a:cubicBezTo>
                  <a:pt x="430411" y="70445"/>
                  <a:pt x="397768" y="59730"/>
                  <a:pt x="362248" y="52983"/>
                </a:cubicBezTo>
                <a:cubicBezTo>
                  <a:pt x="326727" y="46236"/>
                  <a:pt x="288330" y="42863"/>
                  <a:pt x="247055" y="42863"/>
                </a:cubicBezTo>
                <a:cubicBezTo>
                  <a:pt x="170855" y="42863"/>
                  <a:pt x="91480" y="54769"/>
                  <a:pt x="8930" y="78581"/>
                </a:cubicBezTo>
                <a:lnTo>
                  <a:pt x="0" y="36314"/>
                </a:lnTo>
                <a:cubicBezTo>
                  <a:pt x="83741" y="12105"/>
                  <a:pt x="165695" y="0"/>
                  <a:pt x="245864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 sz="9600"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/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  <a:latin typeface="Monoton" pitchFamily="2" charset="0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FF6C02">
                      <a:lumMod val="40000"/>
                      <a:lumOff val="60000"/>
                    </a:srgbClr>
                  </a:gs>
                  <a:gs pos="100000">
                    <a:srgbClr val="FF6C02"/>
                  </a:gs>
                </a:gsLst>
                <a:path path="circle">
                  <a:fillToRect l="50000" t="130000" r="50000" b="-30000"/>
                </a:path>
                <a:tileRect/>
              </a:gradFill>
              <a:effectLst/>
              <a:uLnTx/>
              <a:uFillTx/>
              <a:latin typeface="Monoton" pitchFamily="2" charset="0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514CF7BE-D393-4175-8118-9E71EB17FF39}"/>
              </a:ext>
            </a:extLst>
          </p:cNvPr>
          <p:cNvSpPr txBox="1"/>
          <p:nvPr/>
        </p:nvSpPr>
        <p:spPr>
          <a:xfrm>
            <a:off x="5068098" y="3368269"/>
            <a:ext cx="505593" cy="798562"/>
          </a:xfrm>
          <a:custGeom>
            <a:avLst/>
            <a:gdLst/>
            <a:ahLst/>
            <a:cxnLst/>
            <a:rect l="l" t="t" r="r" b="b"/>
            <a:pathLst>
              <a:path w="678061" h="1070967">
                <a:moveTo>
                  <a:pt x="163116" y="644724"/>
                </a:moveTo>
                <a:lnTo>
                  <a:pt x="293489" y="644724"/>
                </a:lnTo>
                <a:cubicBezTo>
                  <a:pt x="330002" y="644724"/>
                  <a:pt x="360363" y="651074"/>
                  <a:pt x="384572" y="663774"/>
                </a:cubicBezTo>
                <a:cubicBezTo>
                  <a:pt x="408782" y="676474"/>
                  <a:pt x="420886" y="696714"/>
                  <a:pt x="420886" y="724496"/>
                </a:cubicBezTo>
                <a:cubicBezTo>
                  <a:pt x="420886" y="754261"/>
                  <a:pt x="408682" y="776585"/>
                  <a:pt x="384275" y="791468"/>
                </a:cubicBezTo>
                <a:cubicBezTo>
                  <a:pt x="359867" y="806351"/>
                  <a:pt x="328414" y="813792"/>
                  <a:pt x="289918" y="813792"/>
                </a:cubicBezTo>
                <a:cubicBezTo>
                  <a:pt x="197843" y="813792"/>
                  <a:pt x="118269" y="804267"/>
                  <a:pt x="51197" y="785217"/>
                </a:cubicBezTo>
                <a:lnTo>
                  <a:pt x="59532" y="745331"/>
                </a:lnTo>
                <a:cubicBezTo>
                  <a:pt x="114300" y="762397"/>
                  <a:pt x="191096" y="770930"/>
                  <a:pt x="289918" y="770930"/>
                </a:cubicBezTo>
                <a:cubicBezTo>
                  <a:pt x="348655" y="770930"/>
                  <a:pt x="378024" y="755452"/>
                  <a:pt x="378024" y="724496"/>
                </a:cubicBezTo>
                <a:cubicBezTo>
                  <a:pt x="378024" y="699889"/>
                  <a:pt x="349647" y="687586"/>
                  <a:pt x="292894" y="687586"/>
                </a:cubicBezTo>
                <a:lnTo>
                  <a:pt x="163116" y="687586"/>
                </a:lnTo>
                <a:close/>
                <a:moveTo>
                  <a:pt x="163116" y="558999"/>
                </a:moveTo>
                <a:lnTo>
                  <a:pt x="298847" y="558999"/>
                </a:lnTo>
                <a:cubicBezTo>
                  <a:pt x="356394" y="558999"/>
                  <a:pt x="405408" y="573981"/>
                  <a:pt x="445889" y="603945"/>
                </a:cubicBezTo>
                <a:cubicBezTo>
                  <a:pt x="486371" y="633909"/>
                  <a:pt x="506611" y="674092"/>
                  <a:pt x="506611" y="724496"/>
                </a:cubicBezTo>
                <a:cubicBezTo>
                  <a:pt x="506611" y="778867"/>
                  <a:pt x="485974" y="821631"/>
                  <a:pt x="444699" y="852785"/>
                </a:cubicBezTo>
                <a:cubicBezTo>
                  <a:pt x="403424" y="883940"/>
                  <a:pt x="351830" y="899517"/>
                  <a:pt x="289918" y="899517"/>
                </a:cubicBezTo>
                <a:cubicBezTo>
                  <a:pt x="193874" y="899517"/>
                  <a:pt x="108744" y="888802"/>
                  <a:pt x="34529" y="867371"/>
                </a:cubicBezTo>
                <a:lnTo>
                  <a:pt x="42863" y="825699"/>
                </a:lnTo>
                <a:cubicBezTo>
                  <a:pt x="115491" y="846336"/>
                  <a:pt x="197843" y="856655"/>
                  <a:pt x="289918" y="856655"/>
                </a:cubicBezTo>
                <a:cubicBezTo>
                  <a:pt x="339924" y="856655"/>
                  <a:pt x="381397" y="845046"/>
                  <a:pt x="414338" y="821829"/>
                </a:cubicBezTo>
                <a:cubicBezTo>
                  <a:pt x="447278" y="798612"/>
                  <a:pt x="463749" y="766167"/>
                  <a:pt x="463749" y="724496"/>
                </a:cubicBezTo>
                <a:cubicBezTo>
                  <a:pt x="463749" y="685999"/>
                  <a:pt x="447576" y="655935"/>
                  <a:pt x="415231" y="634306"/>
                </a:cubicBezTo>
                <a:cubicBezTo>
                  <a:pt x="382886" y="612676"/>
                  <a:pt x="343893" y="601861"/>
                  <a:pt x="298252" y="601861"/>
                </a:cubicBezTo>
                <a:lnTo>
                  <a:pt x="163116" y="601861"/>
                </a:lnTo>
                <a:close/>
                <a:moveTo>
                  <a:pt x="163116" y="473274"/>
                </a:moveTo>
                <a:lnTo>
                  <a:pt x="302419" y="473274"/>
                </a:lnTo>
                <a:cubicBezTo>
                  <a:pt x="354807" y="473274"/>
                  <a:pt x="403225" y="484287"/>
                  <a:pt x="447675" y="506313"/>
                </a:cubicBezTo>
                <a:cubicBezTo>
                  <a:pt x="492125" y="528340"/>
                  <a:pt x="527348" y="558701"/>
                  <a:pt x="553343" y="597396"/>
                </a:cubicBezTo>
                <a:cubicBezTo>
                  <a:pt x="579339" y="636092"/>
                  <a:pt x="592336" y="678458"/>
                  <a:pt x="592336" y="724496"/>
                </a:cubicBezTo>
                <a:cubicBezTo>
                  <a:pt x="592336" y="776089"/>
                  <a:pt x="578644" y="821928"/>
                  <a:pt x="551260" y="862013"/>
                </a:cubicBezTo>
                <a:cubicBezTo>
                  <a:pt x="523875" y="902097"/>
                  <a:pt x="487363" y="932656"/>
                  <a:pt x="441722" y="953691"/>
                </a:cubicBezTo>
                <a:cubicBezTo>
                  <a:pt x="396082" y="974725"/>
                  <a:pt x="345480" y="985242"/>
                  <a:pt x="289918" y="985242"/>
                </a:cubicBezTo>
                <a:cubicBezTo>
                  <a:pt x="190302" y="985242"/>
                  <a:pt x="99418" y="973733"/>
                  <a:pt x="17264" y="950714"/>
                </a:cubicBezTo>
                <a:lnTo>
                  <a:pt x="26194" y="907852"/>
                </a:lnTo>
                <a:cubicBezTo>
                  <a:pt x="111125" y="930871"/>
                  <a:pt x="199033" y="942380"/>
                  <a:pt x="289918" y="942380"/>
                </a:cubicBezTo>
                <a:cubicBezTo>
                  <a:pt x="363736" y="942380"/>
                  <a:pt x="425450" y="922635"/>
                  <a:pt x="475060" y="883146"/>
                </a:cubicBezTo>
                <a:cubicBezTo>
                  <a:pt x="524669" y="843657"/>
                  <a:pt x="549474" y="790774"/>
                  <a:pt x="549474" y="724496"/>
                </a:cubicBezTo>
                <a:cubicBezTo>
                  <a:pt x="549474" y="661392"/>
                  <a:pt x="525165" y="610890"/>
                  <a:pt x="476548" y="572989"/>
                </a:cubicBezTo>
                <a:cubicBezTo>
                  <a:pt x="427931" y="535087"/>
                  <a:pt x="369491" y="516136"/>
                  <a:pt x="301228" y="516136"/>
                </a:cubicBezTo>
                <a:lnTo>
                  <a:pt x="163116" y="516136"/>
                </a:lnTo>
                <a:close/>
                <a:moveTo>
                  <a:pt x="163116" y="387549"/>
                </a:moveTo>
                <a:lnTo>
                  <a:pt x="304800" y="387549"/>
                </a:lnTo>
                <a:cubicBezTo>
                  <a:pt x="353616" y="387549"/>
                  <a:pt x="400546" y="395685"/>
                  <a:pt x="445592" y="411956"/>
                </a:cubicBezTo>
                <a:cubicBezTo>
                  <a:pt x="490637" y="428228"/>
                  <a:pt x="530325" y="450652"/>
                  <a:pt x="564654" y="479227"/>
                </a:cubicBezTo>
                <a:cubicBezTo>
                  <a:pt x="598984" y="507802"/>
                  <a:pt x="626468" y="543421"/>
                  <a:pt x="647105" y="586085"/>
                </a:cubicBezTo>
                <a:cubicBezTo>
                  <a:pt x="667743" y="628749"/>
                  <a:pt x="678061" y="674886"/>
                  <a:pt x="678061" y="724496"/>
                </a:cubicBezTo>
                <a:cubicBezTo>
                  <a:pt x="678061" y="791964"/>
                  <a:pt x="660599" y="852289"/>
                  <a:pt x="625674" y="905471"/>
                </a:cubicBezTo>
                <a:cubicBezTo>
                  <a:pt x="590749" y="958652"/>
                  <a:pt x="543818" y="999530"/>
                  <a:pt x="484882" y="1028105"/>
                </a:cubicBezTo>
                <a:cubicBezTo>
                  <a:pt x="425946" y="1056680"/>
                  <a:pt x="360958" y="1070967"/>
                  <a:pt x="289918" y="1070967"/>
                </a:cubicBezTo>
                <a:cubicBezTo>
                  <a:pt x="183158" y="1070967"/>
                  <a:pt x="86519" y="1059061"/>
                  <a:pt x="0" y="1035249"/>
                </a:cubicBezTo>
                <a:lnTo>
                  <a:pt x="8930" y="992386"/>
                </a:lnTo>
                <a:cubicBezTo>
                  <a:pt x="99021" y="1016199"/>
                  <a:pt x="192683" y="1028105"/>
                  <a:pt x="289918" y="1028105"/>
                </a:cubicBezTo>
                <a:cubicBezTo>
                  <a:pt x="353418" y="1028105"/>
                  <a:pt x="411262" y="1015703"/>
                  <a:pt x="463451" y="990898"/>
                </a:cubicBezTo>
                <a:cubicBezTo>
                  <a:pt x="515640" y="966093"/>
                  <a:pt x="557312" y="930374"/>
                  <a:pt x="588467" y="883742"/>
                </a:cubicBezTo>
                <a:cubicBezTo>
                  <a:pt x="619621" y="837109"/>
                  <a:pt x="635199" y="784027"/>
                  <a:pt x="635199" y="724496"/>
                </a:cubicBezTo>
                <a:cubicBezTo>
                  <a:pt x="635199" y="680839"/>
                  <a:pt x="625674" y="640259"/>
                  <a:pt x="606624" y="602754"/>
                </a:cubicBezTo>
                <a:cubicBezTo>
                  <a:pt x="587574" y="565249"/>
                  <a:pt x="562471" y="534095"/>
                  <a:pt x="531317" y="509290"/>
                </a:cubicBezTo>
                <a:cubicBezTo>
                  <a:pt x="500162" y="484485"/>
                  <a:pt x="464741" y="465138"/>
                  <a:pt x="425053" y="451247"/>
                </a:cubicBezTo>
                <a:cubicBezTo>
                  <a:pt x="385366" y="437356"/>
                  <a:pt x="344488" y="430411"/>
                  <a:pt x="302419" y="430411"/>
                </a:cubicBezTo>
                <a:lnTo>
                  <a:pt x="163116" y="430411"/>
                </a:lnTo>
                <a:close/>
                <a:moveTo>
                  <a:pt x="289918" y="257175"/>
                </a:moveTo>
                <a:cubicBezTo>
                  <a:pt x="328414" y="257175"/>
                  <a:pt x="359867" y="265113"/>
                  <a:pt x="384275" y="280988"/>
                </a:cubicBezTo>
                <a:cubicBezTo>
                  <a:pt x="408682" y="296863"/>
                  <a:pt x="420886" y="320675"/>
                  <a:pt x="420886" y="352425"/>
                </a:cubicBezTo>
                <a:cubicBezTo>
                  <a:pt x="420886" y="369491"/>
                  <a:pt x="418505" y="382389"/>
                  <a:pt x="413743" y="391121"/>
                </a:cubicBezTo>
                <a:lnTo>
                  <a:pt x="372666" y="382191"/>
                </a:lnTo>
                <a:cubicBezTo>
                  <a:pt x="376238" y="376238"/>
                  <a:pt x="378024" y="366316"/>
                  <a:pt x="378024" y="352425"/>
                </a:cubicBezTo>
                <a:cubicBezTo>
                  <a:pt x="378024" y="317500"/>
                  <a:pt x="348655" y="300038"/>
                  <a:pt x="289918" y="300038"/>
                </a:cubicBezTo>
                <a:cubicBezTo>
                  <a:pt x="191096" y="300038"/>
                  <a:pt x="114300" y="308571"/>
                  <a:pt x="59532" y="325636"/>
                </a:cubicBezTo>
                <a:lnTo>
                  <a:pt x="51197" y="285750"/>
                </a:lnTo>
                <a:cubicBezTo>
                  <a:pt x="118269" y="266700"/>
                  <a:pt x="197843" y="257175"/>
                  <a:pt x="289918" y="257175"/>
                </a:cubicBezTo>
                <a:close/>
                <a:moveTo>
                  <a:pt x="289918" y="171450"/>
                </a:moveTo>
                <a:cubicBezTo>
                  <a:pt x="351830" y="171450"/>
                  <a:pt x="403424" y="187623"/>
                  <a:pt x="444699" y="219968"/>
                </a:cubicBezTo>
                <a:cubicBezTo>
                  <a:pt x="485974" y="252314"/>
                  <a:pt x="506611" y="296466"/>
                  <a:pt x="506611" y="352425"/>
                </a:cubicBezTo>
                <a:cubicBezTo>
                  <a:pt x="506611" y="375047"/>
                  <a:pt x="502246" y="397471"/>
                  <a:pt x="493514" y="419696"/>
                </a:cubicBezTo>
                <a:lnTo>
                  <a:pt x="453628" y="403622"/>
                </a:lnTo>
                <a:cubicBezTo>
                  <a:pt x="460375" y="388541"/>
                  <a:pt x="463749" y="371475"/>
                  <a:pt x="463749" y="352425"/>
                </a:cubicBezTo>
                <a:cubicBezTo>
                  <a:pt x="463749" y="308769"/>
                  <a:pt x="447278" y="274836"/>
                  <a:pt x="414338" y="250627"/>
                </a:cubicBezTo>
                <a:cubicBezTo>
                  <a:pt x="381397" y="226417"/>
                  <a:pt x="339924" y="214313"/>
                  <a:pt x="289918" y="214313"/>
                </a:cubicBezTo>
                <a:cubicBezTo>
                  <a:pt x="197843" y="214313"/>
                  <a:pt x="115491" y="224632"/>
                  <a:pt x="42863" y="245269"/>
                </a:cubicBezTo>
                <a:lnTo>
                  <a:pt x="34529" y="203597"/>
                </a:lnTo>
                <a:cubicBezTo>
                  <a:pt x="108744" y="182166"/>
                  <a:pt x="193874" y="171450"/>
                  <a:pt x="289918" y="171450"/>
                </a:cubicBezTo>
                <a:close/>
                <a:moveTo>
                  <a:pt x="289918" y="85725"/>
                </a:moveTo>
                <a:cubicBezTo>
                  <a:pt x="345480" y="85725"/>
                  <a:pt x="396082" y="96441"/>
                  <a:pt x="441722" y="117872"/>
                </a:cubicBezTo>
                <a:cubicBezTo>
                  <a:pt x="487363" y="139303"/>
                  <a:pt x="523875" y="170557"/>
                  <a:pt x="551260" y="211634"/>
                </a:cubicBezTo>
                <a:cubicBezTo>
                  <a:pt x="578644" y="252710"/>
                  <a:pt x="592336" y="299641"/>
                  <a:pt x="592336" y="352425"/>
                </a:cubicBezTo>
                <a:cubicBezTo>
                  <a:pt x="592336" y="390922"/>
                  <a:pt x="584002" y="426839"/>
                  <a:pt x="567333" y="460177"/>
                </a:cubicBezTo>
                <a:lnTo>
                  <a:pt x="532210" y="438746"/>
                </a:lnTo>
                <a:cubicBezTo>
                  <a:pt x="543719" y="411361"/>
                  <a:pt x="549474" y="382588"/>
                  <a:pt x="549474" y="352425"/>
                </a:cubicBezTo>
                <a:cubicBezTo>
                  <a:pt x="549474" y="284560"/>
                  <a:pt x="524669" y="230287"/>
                  <a:pt x="475060" y="189607"/>
                </a:cubicBezTo>
                <a:cubicBezTo>
                  <a:pt x="425450" y="148928"/>
                  <a:pt x="363736" y="128588"/>
                  <a:pt x="289918" y="128588"/>
                </a:cubicBezTo>
                <a:cubicBezTo>
                  <a:pt x="199033" y="128588"/>
                  <a:pt x="111125" y="140097"/>
                  <a:pt x="26194" y="163116"/>
                </a:cubicBezTo>
                <a:lnTo>
                  <a:pt x="17264" y="120253"/>
                </a:lnTo>
                <a:cubicBezTo>
                  <a:pt x="99418" y="97235"/>
                  <a:pt x="190302" y="85725"/>
                  <a:pt x="289918" y="85725"/>
                </a:cubicBezTo>
                <a:close/>
                <a:moveTo>
                  <a:pt x="289918" y="0"/>
                </a:moveTo>
                <a:cubicBezTo>
                  <a:pt x="343099" y="0"/>
                  <a:pt x="393403" y="8533"/>
                  <a:pt x="440829" y="25599"/>
                </a:cubicBezTo>
                <a:cubicBezTo>
                  <a:pt x="488256" y="42664"/>
                  <a:pt x="529432" y="66378"/>
                  <a:pt x="564357" y="96739"/>
                </a:cubicBezTo>
                <a:cubicBezTo>
                  <a:pt x="599282" y="127099"/>
                  <a:pt x="626964" y="164406"/>
                  <a:pt x="647403" y="208657"/>
                </a:cubicBezTo>
                <a:cubicBezTo>
                  <a:pt x="667842" y="252909"/>
                  <a:pt x="678061" y="300832"/>
                  <a:pt x="678061" y="352425"/>
                </a:cubicBezTo>
                <a:cubicBezTo>
                  <a:pt x="678061" y="414735"/>
                  <a:pt x="662385" y="471289"/>
                  <a:pt x="631032" y="522089"/>
                </a:cubicBezTo>
                <a:lnTo>
                  <a:pt x="600075" y="489942"/>
                </a:lnTo>
                <a:cubicBezTo>
                  <a:pt x="623491" y="447477"/>
                  <a:pt x="635199" y="401638"/>
                  <a:pt x="635199" y="352425"/>
                </a:cubicBezTo>
                <a:cubicBezTo>
                  <a:pt x="635199" y="291703"/>
                  <a:pt x="619621" y="237530"/>
                  <a:pt x="588467" y="189905"/>
                </a:cubicBezTo>
                <a:cubicBezTo>
                  <a:pt x="557312" y="142280"/>
                  <a:pt x="515640" y="105867"/>
                  <a:pt x="463451" y="80665"/>
                </a:cubicBezTo>
                <a:cubicBezTo>
                  <a:pt x="411262" y="55463"/>
                  <a:pt x="353418" y="42863"/>
                  <a:pt x="289918" y="42863"/>
                </a:cubicBezTo>
                <a:cubicBezTo>
                  <a:pt x="192683" y="42863"/>
                  <a:pt x="99021" y="54769"/>
                  <a:pt x="8930" y="78581"/>
                </a:cubicBezTo>
                <a:lnTo>
                  <a:pt x="0" y="35719"/>
                </a:lnTo>
                <a:cubicBezTo>
                  <a:pt x="86519" y="11906"/>
                  <a:pt x="183158" y="0"/>
                  <a:pt x="28991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 sz="9600"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/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  <a:latin typeface="Monoton" pitchFamily="2" charset="0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FF6C02">
                      <a:lumMod val="40000"/>
                      <a:lumOff val="60000"/>
                    </a:srgbClr>
                  </a:gs>
                  <a:gs pos="100000">
                    <a:srgbClr val="FF6C02"/>
                  </a:gs>
                </a:gsLst>
                <a:path path="circle">
                  <a:fillToRect l="50000" t="130000" r="50000" b="-30000"/>
                </a:path>
                <a:tileRect/>
              </a:gradFill>
              <a:effectLst/>
              <a:uLnTx/>
              <a:uFillTx/>
              <a:latin typeface="Monoton" pitchFamily="2" charset="0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07384EA8-46DD-46D6-831E-1E32113D717D}"/>
              </a:ext>
            </a:extLst>
          </p:cNvPr>
          <p:cNvSpPr txBox="1"/>
          <p:nvPr/>
        </p:nvSpPr>
        <p:spPr>
          <a:xfrm>
            <a:off x="6611667" y="3400008"/>
            <a:ext cx="512252" cy="735085"/>
          </a:xfrm>
          <a:custGeom>
            <a:avLst/>
            <a:gdLst/>
            <a:ahLst/>
            <a:cxnLst/>
            <a:rect l="l" t="t" r="r" b="b"/>
            <a:pathLst>
              <a:path w="686991" h="985837">
                <a:moveTo>
                  <a:pt x="579239" y="836414"/>
                </a:moveTo>
                <a:lnTo>
                  <a:pt x="622102" y="836414"/>
                </a:lnTo>
                <a:lnTo>
                  <a:pt x="622102" y="985837"/>
                </a:lnTo>
                <a:lnTo>
                  <a:pt x="579239" y="985837"/>
                </a:lnTo>
                <a:close/>
                <a:moveTo>
                  <a:pt x="493514" y="836414"/>
                </a:moveTo>
                <a:lnTo>
                  <a:pt x="536377" y="836414"/>
                </a:lnTo>
                <a:lnTo>
                  <a:pt x="536377" y="985837"/>
                </a:lnTo>
                <a:lnTo>
                  <a:pt x="493514" y="985837"/>
                </a:lnTo>
                <a:close/>
                <a:moveTo>
                  <a:pt x="1191" y="771525"/>
                </a:moveTo>
                <a:lnTo>
                  <a:pt x="686991" y="771525"/>
                </a:lnTo>
                <a:lnTo>
                  <a:pt x="686991" y="814387"/>
                </a:lnTo>
                <a:lnTo>
                  <a:pt x="1191" y="814387"/>
                </a:lnTo>
                <a:close/>
                <a:moveTo>
                  <a:pt x="1191" y="685800"/>
                </a:moveTo>
                <a:lnTo>
                  <a:pt x="686991" y="685800"/>
                </a:lnTo>
                <a:lnTo>
                  <a:pt x="686991" y="728662"/>
                </a:lnTo>
                <a:lnTo>
                  <a:pt x="1191" y="728662"/>
                </a:lnTo>
                <a:close/>
                <a:moveTo>
                  <a:pt x="1191" y="600075"/>
                </a:moveTo>
                <a:lnTo>
                  <a:pt x="686991" y="600075"/>
                </a:lnTo>
                <a:lnTo>
                  <a:pt x="686991" y="642937"/>
                </a:lnTo>
                <a:lnTo>
                  <a:pt x="1191" y="642937"/>
                </a:lnTo>
                <a:close/>
                <a:moveTo>
                  <a:pt x="579239" y="408384"/>
                </a:moveTo>
                <a:lnTo>
                  <a:pt x="622102" y="408384"/>
                </a:lnTo>
                <a:lnTo>
                  <a:pt x="622102" y="579239"/>
                </a:lnTo>
                <a:lnTo>
                  <a:pt x="579239" y="579239"/>
                </a:lnTo>
                <a:close/>
                <a:moveTo>
                  <a:pt x="493514" y="408384"/>
                </a:moveTo>
                <a:lnTo>
                  <a:pt x="536377" y="408384"/>
                </a:lnTo>
                <a:lnTo>
                  <a:pt x="536377" y="579239"/>
                </a:lnTo>
                <a:lnTo>
                  <a:pt x="493514" y="579239"/>
                </a:lnTo>
                <a:close/>
                <a:moveTo>
                  <a:pt x="460772" y="595"/>
                </a:moveTo>
                <a:lnTo>
                  <a:pt x="509588" y="595"/>
                </a:lnTo>
                <a:lnTo>
                  <a:pt x="246459" y="578643"/>
                </a:lnTo>
                <a:lnTo>
                  <a:pt x="196453" y="578643"/>
                </a:lnTo>
                <a:close/>
                <a:moveTo>
                  <a:pt x="364927" y="595"/>
                </a:moveTo>
                <a:lnTo>
                  <a:pt x="412552" y="595"/>
                </a:lnTo>
                <a:lnTo>
                  <a:pt x="147042" y="578643"/>
                </a:lnTo>
                <a:lnTo>
                  <a:pt x="97036" y="578643"/>
                </a:lnTo>
                <a:close/>
                <a:moveTo>
                  <a:pt x="607814" y="0"/>
                </a:moveTo>
                <a:lnTo>
                  <a:pt x="349448" y="578643"/>
                </a:lnTo>
                <a:lnTo>
                  <a:pt x="299442" y="578643"/>
                </a:lnTo>
                <a:lnTo>
                  <a:pt x="558403" y="595"/>
                </a:lnTo>
                <a:close/>
                <a:moveTo>
                  <a:pt x="316706" y="0"/>
                </a:moveTo>
                <a:lnTo>
                  <a:pt x="50006" y="578643"/>
                </a:lnTo>
                <a:lnTo>
                  <a:pt x="0" y="578643"/>
                </a:lnTo>
                <a:lnTo>
                  <a:pt x="267295" y="595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 sz="9600"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/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  <a:latin typeface="Monoton" pitchFamily="2" charset="0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FF6C02">
                      <a:lumMod val="40000"/>
                      <a:lumOff val="60000"/>
                    </a:srgbClr>
                  </a:gs>
                  <a:gs pos="100000">
                    <a:srgbClr val="FF6C02"/>
                  </a:gs>
                </a:gsLst>
                <a:path path="circle">
                  <a:fillToRect l="50000" t="130000" r="50000" b="-30000"/>
                </a:path>
                <a:tileRect/>
              </a:gradFill>
              <a:effectLst/>
              <a:uLnTx/>
              <a:uFillTx/>
              <a:latin typeface="Monoton" pitchFamily="2" charset="0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EE6B08D4-F125-4633-B017-3E2079102B56}"/>
              </a:ext>
            </a:extLst>
          </p:cNvPr>
          <p:cNvSpPr txBox="1"/>
          <p:nvPr/>
        </p:nvSpPr>
        <p:spPr>
          <a:xfrm>
            <a:off x="8142845" y="3384250"/>
            <a:ext cx="586382" cy="766601"/>
          </a:xfrm>
          <a:custGeom>
            <a:avLst/>
            <a:gdLst/>
            <a:ahLst/>
            <a:cxnLst/>
            <a:rect l="l" t="t" r="r" b="b"/>
            <a:pathLst>
              <a:path w="786408" h="1028104">
                <a:moveTo>
                  <a:pt x="389930" y="578048"/>
                </a:moveTo>
                <a:cubicBezTo>
                  <a:pt x="415330" y="578048"/>
                  <a:pt x="438051" y="581025"/>
                  <a:pt x="458093" y="586978"/>
                </a:cubicBezTo>
                <a:cubicBezTo>
                  <a:pt x="478136" y="592931"/>
                  <a:pt x="495003" y="603448"/>
                  <a:pt x="508695" y="618529"/>
                </a:cubicBezTo>
                <a:cubicBezTo>
                  <a:pt x="522387" y="633611"/>
                  <a:pt x="529233" y="652661"/>
                  <a:pt x="529233" y="675679"/>
                </a:cubicBezTo>
                <a:cubicBezTo>
                  <a:pt x="529233" y="707429"/>
                  <a:pt x="514251" y="731242"/>
                  <a:pt x="484287" y="747117"/>
                </a:cubicBezTo>
                <a:cubicBezTo>
                  <a:pt x="454323" y="762992"/>
                  <a:pt x="415727" y="770929"/>
                  <a:pt x="368499" y="770929"/>
                </a:cubicBezTo>
                <a:cubicBezTo>
                  <a:pt x="295077" y="770929"/>
                  <a:pt x="239118" y="759023"/>
                  <a:pt x="200621" y="735211"/>
                </a:cubicBezTo>
                <a:lnTo>
                  <a:pt x="235149" y="709017"/>
                </a:lnTo>
                <a:cubicBezTo>
                  <a:pt x="260946" y="721717"/>
                  <a:pt x="305396" y="728067"/>
                  <a:pt x="368499" y="728067"/>
                </a:cubicBezTo>
                <a:cubicBezTo>
                  <a:pt x="447080" y="728067"/>
                  <a:pt x="486371" y="710604"/>
                  <a:pt x="486371" y="675679"/>
                </a:cubicBezTo>
                <a:cubicBezTo>
                  <a:pt x="486371" y="655439"/>
                  <a:pt x="477243" y="640754"/>
                  <a:pt x="458986" y="631626"/>
                </a:cubicBezTo>
                <a:cubicBezTo>
                  <a:pt x="440730" y="622498"/>
                  <a:pt x="417513" y="617934"/>
                  <a:pt x="389335" y="617934"/>
                </a:cubicBezTo>
                <a:cubicBezTo>
                  <a:pt x="345678" y="617934"/>
                  <a:pt x="310952" y="623093"/>
                  <a:pt x="285155" y="633412"/>
                </a:cubicBezTo>
                <a:lnTo>
                  <a:pt x="285155" y="590550"/>
                </a:lnTo>
                <a:cubicBezTo>
                  <a:pt x="319683" y="582215"/>
                  <a:pt x="354608" y="578048"/>
                  <a:pt x="389930" y="578048"/>
                </a:cubicBezTo>
                <a:close/>
                <a:moveTo>
                  <a:pt x="401241" y="496490"/>
                </a:moveTo>
                <a:cubicBezTo>
                  <a:pt x="460772" y="496490"/>
                  <a:pt x="511275" y="512465"/>
                  <a:pt x="552748" y="544413"/>
                </a:cubicBezTo>
                <a:cubicBezTo>
                  <a:pt x="594221" y="576361"/>
                  <a:pt x="614958" y="620117"/>
                  <a:pt x="614958" y="675679"/>
                </a:cubicBezTo>
                <a:cubicBezTo>
                  <a:pt x="614958" y="731639"/>
                  <a:pt x="591542" y="775791"/>
                  <a:pt x="544711" y="808136"/>
                </a:cubicBezTo>
                <a:cubicBezTo>
                  <a:pt x="497880" y="840482"/>
                  <a:pt x="439143" y="856654"/>
                  <a:pt x="368499" y="856654"/>
                </a:cubicBezTo>
                <a:cubicBezTo>
                  <a:pt x="267693" y="856654"/>
                  <a:pt x="189508" y="834033"/>
                  <a:pt x="133946" y="788789"/>
                </a:cubicBezTo>
                <a:lnTo>
                  <a:pt x="167878" y="762595"/>
                </a:lnTo>
                <a:cubicBezTo>
                  <a:pt x="215107" y="796726"/>
                  <a:pt x="281980" y="813792"/>
                  <a:pt x="368499" y="813792"/>
                </a:cubicBezTo>
                <a:cubicBezTo>
                  <a:pt x="427236" y="813792"/>
                  <a:pt x="475853" y="801687"/>
                  <a:pt x="514350" y="777478"/>
                </a:cubicBezTo>
                <a:cubicBezTo>
                  <a:pt x="552847" y="753268"/>
                  <a:pt x="572096" y="719336"/>
                  <a:pt x="572096" y="675679"/>
                </a:cubicBezTo>
                <a:cubicBezTo>
                  <a:pt x="572096" y="631229"/>
                  <a:pt x="555427" y="596999"/>
                  <a:pt x="522089" y="572988"/>
                </a:cubicBezTo>
                <a:cubicBezTo>
                  <a:pt x="488752" y="548977"/>
                  <a:pt x="448271" y="536972"/>
                  <a:pt x="400646" y="536972"/>
                </a:cubicBezTo>
                <a:cubicBezTo>
                  <a:pt x="364133" y="536972"/>
                  <a:pt x="325636" y="541536"/>
                  <a:pt x="285155" y="550664"/>
                </a:cubicBezTo>
                <a:lnTo>
                  <a:pt x="285155" y="505420"/>
                </a:lnTo>
                <a:cubicBezTo>
                  <a:pt x="333971" y="499467"/>
                  <a:pt x="372666" y="496490"/>
                  <a:pt x="401241" y="496490"/>
                </a:cubicBezTo>
                <a:close/>
                <a:moveTo>
                  <a:pt x="410766" y="414337"/>
                </a:moveTo>
                <a:cubicBezTo>
                  <a:pt x="463550" y="414337"/>
                  <a:pt x="512068" y="425450"/>
                  <a:pt x="556320" y="447675"/>
                </a:cubicBezTo>
                <a:cubicBezTo>
                  <a:pt x="600571" y="469900"/>
                  <a:pt x="635695" y="501054"/>
                  <a:pt x="661690" y="541139"/>
                </a:cubicBezTo>
                <a:cubicBezTo>
                  <a:pt x="687685" y="581223"/>
                  <a:pt x="700683" y="626070"/>
                  <a:pt x="700683" y="675679"/>
                </a:cubicBezTo>
                <a:cubicBezTo>
                  <a:pt x="700683" y="728464"/>
                  <a:pt x="685701" y="775394"/>
                  <a:pt x="655737" y="816471"/>
                </a:cubicBezTo>
                <a:cubicBezTo>
                  <a:pt x="625773" y="857547"/>
                  <a:pt x="585689" y="888801"/>
                  <a:pt x="535484" y="910233"/>
                </a:cubicBezTo>
                <a:cubicBezTo>
                  <a:pt x="485279" y="931664"/>
                  <a:pt x="429618" y="942379"/>
                  <a:pt x="368499" y="942379"/>
                </a:cubicBezTo>
                <a:cubicBezTo>
                  <a:pt x="307380" y="942379"/>
                  <a:pt x="250627" y="933648"/>
                  <a:pt x="198239" y="916186"/>
                </a:cubicBezTo>
                <a:cubicBezTo>
                  <a:pt x="145852" y="898723"/>
                  <a:pt x="101997" y="874117"/>
                  <a:pt x="66675" y="842367"/>
                </a:cubicBezTo>
                <a:lnTo>
                  <a:pt x="100013" y="815578"/>
                </a:lnTo>
                <a:cubicBezTo>
                  <a:pt x="131763" y="842565"/>
                  <a:pt x="170954" y="863302"/>
                  <a:pt x="217587" y="877788"/>
                </a:cubicBezTo>
                <a:cubicBezTo>
                  <a:pt x="264220" y="892274"/>
                  <a:pt x="314524" y="899517"/>
                  <a:pt x="368499" y="899517"/>
                </a:cubicBezTo>
                <a:cubicBezTo>
                  <a:pt x="450652" y="899517"/>
                  <a:pt x="519410" y="879177"/>
                  <a:pt x="574775" y="838497"/>
                </a:cubicBezTo>
                <a:cubicBezTo>
                  <a:pt x="630139" y="797818"/>
                  <a:pt x="657821" y="743545"/>
                  <a:pt x="657821" y="675679"/>
                </a:cubicBezTo>
                <a:cubicBezTo>
                  <a:pt x="657821" y="629642"/>
                  <a:pt x="646014" y="589558"/>
                  <a:pt x="622400" y="555426"/>
                </a:cubicBezTo>
                <a:cubicBezTo>
                  <a:pt x="598786" y="521295"/>
                  <a:pt x="568524" y="496093"/>
                  <a:pt x="531614" y="479822"/>
                </a:cubicBezTo>
                <a:cubicBezTo>
                  <a:pt x="494705" y="463550"/>
                  <a:pt x="454025" y="455414"/>
                  <a:pt x="409575" y="455414"/>
                </a:cubicBezTo>
                <a:cubicBezTo>
                  <a:pt x="365522" y="455414"/>
                  <a:pt x="324049" y="458787"/>
                  <a:pt x="285155" y="465534"/>
                </a:cubicBezTo>
                <a:lnTo>
                  <a:pt x="285155" y="422076"/>
                </a:lnTo>
                <a:cubicBezTo>
                  <a:pt x="331192" y="416917"/>
                  <a:pt x="373063" y="414337"/>
                  <a:pt x="410766" y="414337"/>
                </a:cubicBezTo>
                <a:close/>
                <a:moveTo>
                  <a:pt x="425053" y="330993"/>
                </a:moveTo>
                <a:cubicBezTo>
                  <a:pt x="472282" y="330993"/>
                  <a:pt x="517724" y="339229"/>
                  <a:pt x="561380" y="355699"/>
                </a:cubicBezTo>
                <a:cubicBezTo>
                  <a:pt x="605036" y="372169"/>
                  <a:pt x="643533" y="394990"/>
                  <a:pt x="676871" y="424160"/>
                </a:cubicBezTo>
                <a:cubicBezTo>
                  <a:pt x="710208" y="453330"/>
                  <a:pt x="736799" y="489743"/>
                  <a:pt x="756642" y="533400"/>
                </a:cubicBezTo>
                <a:cubicBezTo>
                  <a:pt x="776486" y="577056"/>
                  <a:pt x="786408" y="624483"/>
                  <a:pt x="786408" y="675679"/>
                </a:cubicBezTo>
                <a:cubicBezTo>
                  <a:pt x="786408" y="727273"/>
                  <a:pt x="775395" y="775196"/>
                  <a:pt x="753368" y="819447"/>
                </a:cubicBezTo>
                <a:cubicBezTo>
                  <a:pt x="731342" y="863699"/>
                  <a:pt x="701477" y="901005"/>
                  <a:pt x="663774" y="931366"/>
                </a:cubicBezTo>
                <a:cubicBezTo>
                  <a:pt x="626071" y="961727"/>
                  <a:pt x="581720" y="985440"/>
                  <a:pt x="530721" y="1002506"/>
                </a:cubicBezTo>
                <a:cubicBezTo>
                  <a:pt x="479723" y="1019572"/>
                  <a:pt x="425649" y="1028104"/>
                  <a:pt x="368499" y="1028104"/>
                </a:cubicBezTo>
                <a:cubicBezTo>
                  <a:pt x="294283" y="1028104"/>
                  <a:pt x="225128" y="1016496"/>
                  <a:pt x="161032" y="993279"/>
                </a:cubicBezTo>
                <a:cubicBezTo>
                  <a:pt x="96937" y="970061"/>
                  <a:pt x="43260" y="937617"/>
                  <a:pt x="0" y="895945"/>
                </a:cubicBezTo>
                <a:lnTo>
                  <a:pt x="34528" y="870347"/>
                </a:lnTo>
                <a:cubicBezTo>
                  <a:pt x="73819" y="906859"/>
                  <a:pt x="122535" y="935136"/>
                  <a:pt x="180678" y="955179"/>
                </a:cubicBezTo>
                <a:cubicBezTo>
                  <a:pt x="238820" y="975221"/>
                  <a:pt x="301427" y="985242"/>
                  <a:pt x="368499" y="985242"/>
                </a:cubicBezTo>
                <a:cubicBezTo>
                  <a:pt x="419696" y="985242"/>
                  <a:pt x="468214" y="977800"/>
                  <a:pt x="514053" y="962918"/>
                </a:cubicBezTo>
                <a:cubicBezTo>
                  <a:pt x="559892" y="948035"/>
                  <a:pt x="599678" y="927298"/>
                  <a:pt x="633413" y="900708"/>
                </a:cubicBezTo>
                <a:cubicBezTo>
                  <a:pt x="667147" y="874117"/>
                  <a:pt x="693936" y="841375"/>
                  <a:pt x="713780" y="802481"/>
                </a:cubicBezTo>
                <a:cubicBezTo>
                  <a:pt x="733624" y="763587"/>
                  <a:pt x="743546" y="721320"/>
                  <a:pt x="743546" y="675679"/>
                </a:cubicBezTo>
                <a:cubicBezTo>
                  <a:pt x="743546" y="630436"/>
                  <a:pt x="734418" y="588367"/>
                  <a:pt x="716161" y="549473"/>
                </a:cubicBezTo>
                <a:cubicBezTo>
                  <a:pt x="697905" y="510579"/>
                  <a:pt x="673696" y="478333"/>
                  <a:pt x="643533" y="452735"/>
                </a:cubicBezTo>
                <a:cubicBezTo>
                  <a:pt x="613371" y="427136"/>
                  <a:pt x="579140" y="407193"/>
                  <a:pt x="540842" y="392906"/>
                </a:cubicBezTo>
                <a:cubicBezTo>
                  <a:pt x="502543" y="378618"/>
                  <a:pt x="463153" y="371475"/>
                  <a:pt x="422672" y="371475"/>
                </a:cubicBezTo>
                <a:cubicBezTo>
                  <a:pt x="402035" y="371475"/>
                  <a:pt x="384771" y="371971"/>
                  <a:pt x="370880" y="372963"/>
                </a:cubicBezTo>
                <a:cubicBezTo>
                  <a:pt x="356989" y="373955"/>
                  <a:pt x="341313" y="375741"/>
                  <a:pt x="323850" y="378321"/>
                </a:cubicBezTo>
                <a:cubicBezTo>
                  <a:pt x="306388" y="380901"/>
                  <a:pt x="293489" y="382587"/>
                  <a:pt x="285155" y="383381"/>
                </a:cubicBezTo>
                <a:lnTo>
                  <a:pt x="285155" y="339328"/>
                </a:lnTo>
                <a:cubicBezTo>
                  <a:pt x="324049" y="333772"/>
                  <a:pt x="370682" y="330993"/>
                  <a:pt x="425053" y="330993"/>
                </a:cubicBezTo>
                <a:close/>
                <a:moveTo>
                  <a:pt x="42268" y="171450"/>
                </a:moveTo>
                <a:lnTo>
                  <a:pt x="694135" y="171450"/>
                </a:lnTo>
                <a:lnTo>
                  <a:pt x="694135" y="214312"/>
                </a:lnTo>
                <a:lnTo>
                  <a:pt x="256580" y="214312"/>
                </a:lnTo>
                <a:lnTo>
                  <a:pt x="256580" y="629840"/>
                </a:lnTo>
                <a:lnTo>
                  <a:pt x="213718" y="629840"/>
                </a:lnTo>
                <a:lnTo>
                  <a:pt x="213718" y="214312"/>
                </a:lnTo>
                <a:lnTo>
                  <a:pt x="170855" y="214312"/>
                </a:lnTo>
                <a:lnTo>
                  <a:pt x="170855" y="629840"/>
                </a:lnTo>
                <a:lnTo>
                  <a:pt x="127993" y="629840"/>
                </a:lnTo>
                <a:lnTo>
                  <a:pt x="127993" y="214312"/>
                </a:lnTo>
                <a:lnTo>
                  <a:pt x="85130" y="214312"/>
                </a:lnTo>
                <a:lnTo>
                  <a:pt x="85130" y="629840"/>
                </a:lnTo>
                <a:lnTo>
                  <a:pt x="42268" y="629840"/>
                </a:lnTo>
                <a:close/>
                <a:moveTo>
                  <a:pt x="42268" y="85725"/>
                </a:moveTo>
                <a:lnTo>
                  <a:pt x="694135" y="85725"/>
                </a:lnTo>
                <a:lnTo>
                  <a:pt x="694135" y="128587"/>
                </a:lnTo>
                <a:lnTo>
                  <a:pt x="42268" y="128587"/>
                </a:lnTo>
                <a:close/>
                <a:moveTo>
                  <a:pt x="42268" y="0"/>
                </a:moveTo>
                <a:lnTo>
                  <a:pt x="694135" y="0"/>
                </a:lnTo>
                <a:lnTo>
                  <a:pt x="694135" y="42862"/>
                </a:lnTo>
                <a:lnTo>
                  <a:pt x="42268" y="42862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 sz="9600"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/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  <a:latin typeface="Monoton" pitchFamily="2" charset="0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FF6C02">
                      <a:lumMod val="40000"/>
                      <a:lumOff val="60000"/>
                    </a:srgbClr>
                  </a:gs>
                  <a:gs pos="100000">
                    <a:srgbClr val="FF6C02"/>
                  </a:gs>
                </a:gsLst>
                <a:path path="circle">
                  <a:fillToRect l="50000" t="130000" r="50000" b="-30000"/>
                </a:path>
                <a:tileRect/>
              </a:gradFill>
              <a:effectLst/>
              <a:uLnTx/>
              <a:uFillTx/>
              <a:latin typeface="Monoton" pitchFamily="2" charset="0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B1CB3B21-AF07-413F-A093-CFB0CFEEBB6B}"/>
              </a:ext>
            </a:extLst>
          </p:cNvPr>
          <p:cNvSpPr txBox="1"/>
          <p:nvPr/>
        </p:nvSpPr>
        <p:spPr>
          <a:xfrm>
            <a:off x="9691004" y="3368269"/>
            <a:ext cx="654297" cy="798562"/>
          </a:xfrm>
          <a:custGeom>
            <a:avLst/>
            <a:gdLst/>
            <a:ahLst/>
            <a:cxnLst/>
            <a:rect l="l" t="t" r="r" b="b"/>
            <a:pathLst>
              <a:path w="877490" h="1070967">
                <a:moveTo>
                  <a:pt x="447675" y="257175"/>
                </a:moveTo>
                <a:cubicBezTo>
                  <a:pt x="521097" y="257175"/>
                  <a:pt x="577056" y="269081"/>
                  <a:pt x="615553" y="292894"/>
                </a:cubicBezTo>
                <a:lnTo>
                  <a:pt x="581025" y="319088"/>
                </a:lnTo>
                <a:cubicBezTo>
                  <a:pt x="555228" y="306388"/>
                  <a:pt x="510778" y="300038"/>
                  <a:pt x="447675" y="300038"/>
                </a:cubicBezTo>
                <a:cubicBezTo>
                  <a:pt x="403225" y="300038"/>
                  <a:pt x="367506" y="308868"/>
                  <a:pt x="340519" y="326529"/>
                </a:cubicBezTo>
                <a:cubicBezTo>
                  <a:pt x="313531" y="344190"/>
                  <a:pt x="300037" y="372864"/>
                  <a:pt x="300037" y="412552"/>
                </a:cubicBezTo>
                <a:lnTo>
                  <a:pt x="300037" y="670917"/>
                </a:lnTo>
                <a:cubicBezTo>
                  <a:pt x="300037" y="688380"/>
                  <a:pt x="302915" y="703362"/>
                  <a:pt x="308669" y="715863"/>
                </a:cubicBezTo>
                <a:cubicBezTo>
                  <a:pt x="314424" y="728365"/>
                  <a:pt x="321766" y="738188"/>
                  <a:pt x="330696" y="745331"/>
                </a:cubicBezTo>
                <a:cubicBezTo>
                  <a:pt x="339626" y="752475"/>
                  <a:pt x="351532" y="757932"/>
                  <a:pt x="366415" y="761703"/>
                </a:cubicBezTo>
                <a:cubicBezTo>
                  <a:pt x="381298" y="765473"/>
                  <a:pt x="395585" y="767953"/>
                  <a:pt x="409277" y="769144"/>
                </a:cubicBezTo>
                <a:cubicBezTo>
                  <a:pt x="422969" y="770335"/>
                  <a:pt x="439737" y="770930"/>
                  <a:pt x="459581" y="770930"/>
                </a:cubicBezTo>
                <a:cubicBezTo>
                  <a:pt x="538162" y="770930"/>
                  <a:pt x="577453" y="753467"/>
                  <a:pt x="577453" y="718542"/>
                </a:cubicBezTo>
                <a:cubicBezTo>
                  <a:pt x="577453" y="698302"/>
                  <a:pt x="569515" y="683617"/>
                  <a:pt x="553640" y="674489"/>
                </a:cubicBezTo>
                <a:cubicBezTo>
                  <a:pt x="537765" y="665361"/>
                  <a:pt x="517326" y="660797"/>
                  <a:pt x="492323" y="660797"/>
                </a:cubicBezTo>
                <a:cubicBezTo>
                  <a:pt x="435173" y="660797"/>
                  <a:pt x="381992" y="671910"/>
                  <a:pt x="332779" y="694135"/>
                </a:cubicBezTo>
                <a:lnTo>
                  <a:pt x="332779" y="651272"/>
                </a:lnTo>
                <a:cubicBezTo>
                  <a:pt x="382389" y="631031"/>
                  <a:pt x="435769" y="620911"/>
                  <a:pt x="492919" y="620911"/>
                </a:cubicBezTo>
                <a:cubicBezTo>
                  <a:pt x="529431" y="620911"/>
                  <a:pt x="559792" y="628749"/>
                  <a:pt x="584001" y="644426"/>
                </a:cubicBezTo>
                <a:cubicBezTo>
                  <a:pt x="608211" y="660102"/>
                  <a:pt x="620315" y="684808"/>
                  <a:pt x="620315" y="718542"/>
                </a:cubicBezTo>
                <a:cubicBezTo>
                  <a:pt x="620315" y="750292"/>
                  <a:pt x="605333" y="774105"/>
                  <a:pt x="575369" y="789980"/>
                </a:cubicBezTo>
                <a:cubicBezTo>
                  <a:pt x="545405" y="805855"/>
                  <a:pt x="506809" y="813792"/>
                  <a:pt x="459581" y="813792"/>
                </a:cubicBezTo>
                <a:cubicBezTo>
                  <a:pt x="436165" y="813792"/>
                  <a:pt x="414933" y="812502"/>
                  <a:pt x="395883" y="809923"/>
                </a:cubicBezTo>
                <a:cubicBezTo>
                  <a:pt x="376833" y="807343"/>
                  <a:pt x="358477" y="802779"/>
                  <a:pt x="340816" y="796231"/>
                </a:cubicBezTo>
                <a:cubicBezTo>
                  <a:pt x="323155" y="789682"/>
                  <a:pt x="308372" y="781149"/>
                  <a:pt x="296465" y="770632"/>
                </a:cubicBezTo>
                <a:cubicBezTo>
                  <a:pt x="284559" y="760115"/>
                  <a:pt x="275034" y="746423"/>
                  <a:pt x="267890" y="729556"/>
                </a:cubicBezTo>
                <a:cubicBezTo>
                  <a:pt x="260747" y="712688"/>
                  <a:pt x="257175" y="693142"/>
                  <a:pt x="257175" y="670917"/>
                </a:cubicBezTo>
                <a:lnTo>
                  <a:pt x="257175" y="412552"/>
                </a:lnTo>
                <a:cubicBezTo>
                  <a:pt x="257175" y="360958"/>
                  <a:pt x="274935" y="322163"/>
                  <a:pt x="310455" y="296168"/>
                </a:cubicBezTo>
                <a:cubicBezTo>
                  <a:pt x="345976" y="270173"/>
                  <a:pt x="391715" y="257175"/>
                  <a:pt x="447675" y="257175"/>
                </a:cubicBezTo>
                <a:close/>
                <a:moveTo>
                  <a:pt x="447675" y="171450"/>
                </a:moveTo>
                <a:cubicBezTo>
                  <a:pt x="548481" y="171450"/>
                  <a:pt x="626665" y="194072"/>
                  <a:pt x="682228" y="239316"/>
                </a:cubicBezTo>
                <a:lnTo>
                  <a:pt x="648295" y="265510"/>
                </a:lnTo>
                <a:cubicBezTo>
                  <a:pt x="601067" y="231378"/>
                  <a:pt x="534194" y="214313"/>
                  <a:pt x="447675" y="214313"/>
                </a:cubicBezTo>
                <a:cubicBezTo>
                  <a:pt x="379809" y="214313"/>
                  <a:pt x="323949" y="231478"/>
                  <a:pt x="280094" y="265807"/>
                </a:cubicBezTo>
                <a:cubicBezTo>
                  <a:pt x="236240" y="300137"/>
                  <a:pt x="214312" y="349052"/>
                  <a:pt x="214312" y="412552"/>
                </a:cubicBezTo>
                <a:lnTo>
                  <a:pt x="214312" y="670917"/>
                </a:lnTo>
                <a:cubicBezTo>
                  <a:pt x="214312" y="704255"/>
                  <a:pt x="220563" y="733227"/>
                  <a:pt x="233065" y="757833"/>
                </a:cubicBezTo>
                <a:cubicBezTo>
                  <a:pt x="245566" y="782439"/>
                  <a:pt x="263326" y="801787"/>
                  <a:pt x="286345" y="815876"/>
                </a:cubicBezTo>
                <a:cubicBezTo>
                  <a:pt x="309364" y="829965"/>
                  <a:pt x="335161" y="840284"/>
                  <a:pt x="363736" y="846832"/>
                </a:cubicBezTo>
                <a:cubicBezTo>
                  <a:pt x="392311" y="853381"/>
                  <a:pt x="424259" y="856655"/>
                  <a:pt x="459581" y="856655"/>
                </a:cubicBezTo>
                <a:cubicBezTo>
                  <a:pt x="518319" y="856655"/>
                  <a:pt x="566936" y="844550"/>
                  <a:pt x="605433" y="820341"/>
                </a:cubicBezTo>
                <a:cubicBezTo>
                  <a:pt x="643929" y="796131"/>
                  <a:pt x="663178" y="762199"/>
                  <a:pt x="663178" y="718542"/>
                </a:cubicBezTo>
                <a:cubicBezTo>
                  <a:pt x="663178" y="674092"/>
                  <a:pt x="647105" y="639862"/>
                  <a:pt x="614958" y="615851"/>
                </a:cubicBezTo>
                <a:cubicBezTo>
                  <a:pt x="582811" y="591840"/>
                  <a:pt x="543719" y="579835"/>
                  <a:pt x="497681" y="579835"/>
                </a:cubicBezTo>
                <a:cubicBezTo>
                  <a:pt x="439340" y="579835"/>
                  <a:pt x="384373" y="590352"/>
                  <a:pt x="332779" y="611386"/>
                </a:cubicBezTo>
                <a:lnTo>
                  <a:pt x="332779" y="566142"/>
                </a:lnTo>
                <a:cubicBezTo>
                  <a:pt x="386358" y="548283"/>
                  <a:pt x="441523" y="539353"/>
                  <a:pt x="498276" y="539353"/>
                </a:cubicBezTo>
                <a:cubicBezTo>
                  <a:pt x="556220" y="539353"/>
                  <a:pt x="605333" y="555327"/>
                  <a:pt x="645616" y="587276"/>
                </a:cubicBezTo>
                <a:cubicBezTo>
                  <a:pt x="685899" y="619224"/>
                  <a:pt x="706040" y="662980"/>
                  <a:pt x="706040" y="718542"/>
                </a:cubicBezTo>
                <a:cubicBezTo>
                  <a:pt x="706040" y="774502"/>
                  <a:pt x="682625" y="818654"/>
                  <a:pt x="635794" y="850999"/>
                </a:cubicBezTo>
                <a:cubicBezTo>
                  <a:pt x="588962" y="883345"/>
                  <a:pt x="530225" y="899517"/>
                  <a:pt x="459581" y="899517"/>
                </a:cubicBezTo>
                <a:cubicBezTo>
                  <a:pt x="419100" y="899517"/>
                  <a:pt x="381794" y="895053"/>
                  <a:pt x="347662" y="886123"/>
                </a:cubicBezTo>
                <a:cubicBezTo>
                  <a:pt x="313531" y="877193"/>
                  <a:pt x="283170" y="863799"/>
                  <a:pt x="256579" y="845939"/>
                </a:cubicBezTo>
                <a:cubicBezTo>
                  <a:pt x="229989" y="828080"/>
                  <a:pt x="209153" y="804267"/>
                  <a:pt x="194072" y="774502"/>
                </a:cubicBezTo>
                <a:cubicBezTo>
                  <a:pt x="178990" y="744736"/>
                  <a:pt x="171450" y="710208"/>
                  <a:pt x="171450" y="670917"/>
                </a:cubicBezTo>
                <a:lnTo>
                  <a:pt x="171450" y="412552"/>
                </a:lnTo>
                <a:cubicBezTo>
                  <a:pt x="171450" y="360561"/>
                  <a:pt x="184051" y="316012"/>
                  <a:pt x="209252" y="278904"/>
                </a:cubicBezTo>
                <a:cubicBezTo>
                  <a:pt x="234454" y="241796"/>
                  <a:pt x="267494" y="214610"/>
                  <a:pt x="308372" y="197346"/>
                </a:cubicBezTo>
                <a:cubicBezTo>
                  <a:pt x="349250" y="180082"/>
                  <a:pt x="395684" y="171450"/>
                  <a:pt x="447675" y="171450"/>
                </a:cubicBezTo>
                <a:close/>
                <a:moveTo>
                  <a:pt x="447675" y="85725"/>
                </a:moveTo>
                <a:cubicBezTo>
                  <a:pt x="508794" y="85725"/>
                  <a:pt x="565547" y="94456"/>
                  <a:pt x="617934" y="111919"/>
                </a:cubicBezTo>
                <a:cubicBezTo>
                  <a:pt x="670322" y="129381"/>
                  <a:pt x="714176" y="153988"/>
                  <a:pt x="749498" y="185738"/>
                </a:cubicBezTo>
                <a:lnTo>
                  <a:pt x="716161" y="212527"/>
                </a:lnTo>
                <a:cubicBezTo>
                  <a:pt x="684411" y="185539"/>
                  <a:pt x="645219" y="164803"/>
                  <a:pt x="598587" y="150317"/>
                </a:cubicBezTo>
                <a:cubicBezTo>
                  <a:pt x="551954" y="135831"/>
                  <a:pt x="501650" y="128588"/>
                  <a:pt x="447675" y="128588"/>
                </a:cubicBezTo>
                <a:cubicBezTo>
                  <a:pt x="403622" y="128588"/>
                  <a:pt x="362347" y="134838"/>
                  <a:pt x="323850" y="147340"/>
                </a:cubicBezTo>
                <a:cubicBezTo>
                  <a:pt x="285353" y="159842"/>
                  <a:pt x="251519" y="177800"/>
                  <a:pt x="222349" y="201216"/>
                </a:cubicBezTo>
                <a:cubicBezTo>
                  <a:pt x="193179" y="224631"/>
                  <a:pt x="170259" y="254496"/>
                  <a:pt x="153590" y="290810"/>
                </a:cubicBezTo>
                <a:cubicBezTo>
                  <a:pt x="136922" y="327124"/>
                  <a:pt x="128587" y="367705"/>
                  <a:pt x="128587" y="412552"/>
                </a:cubicBezTo>
                <a:lnTo>
                  <a:pt x="128587" y="670917"/>
                </a:lnTo>
                <a:cubicBezTo>
                  <a:pt x="128587" y="715764"/>
                  <a:pt x="137219" y="755749"/>
                  <a:pt x="154483" y="790873"/>
                </a:cubicBezTo>
                <a:cubicBezTo>
                  <a:pt x="171747" y="825996"/>
                  <a:pt x="195560" y="854472"/>
                  <a:pt x="225921" y="876300"/>
                </a:cubicBezTo>
                <a:cubicBezTo>
                  <a:pt x="256282" y="898128"/>
                  <a:pt x="291207" y="914599"/>
                  <a:pt x="330696" y="925711"/>
                </a:cubicBezTo>
                <a:cubicBezTo>
                  <a:pt x="370185" y="936824"/>
                  <a:pt x="413147" y="942380"/>
                  <a:pt x="459581" y="942380"/>
                </a:cubicBezTo>
                <a:cubicBezTo>
                  <a:pt x="541734" y="942380"/>
                  <a:pt x="610493" y="922040"/>
                  <a:pt x="665857" y="881360"/>
                </a:cubicBezTo>
                <a:cubicBezTo>
                  <a:pt x="721221" y="840681"/>
                  <a:pt x="748903" y="786408"/>
                  <a:pt x="748903" y="718542"/>
                </a:cubicBezTo>
                <a:cubicBezTo>
                  <a:pt x="748903" y="672505"/>
                  <a:pt x="737096" y="632420"/>
                  <a:pt x="713482" y="598289"/>
                </a:cubicBezTo>
                <a:cubicBezTo>
                  <a:pt x="689868" y="564158"/>
                  <a:pt x="659606" y="538956"/>
                  <a:pt x="622697" y="522685"/>
                </a:cubicBezTo>
                <a:cubicBezTo>
                  <a:pt x="585787" y="506413"/>
                  <a:pt x="545108" y="498277"/>
                  <a:pt x="500658" y="498277"/>
                </a:cubicBezTo>
                <a:cubicBezTo>
                  <a:pt x="442317" y="498277"/>
                  <a:pt x="386358" y="507603"/>
                  <a:pt x="332779" y="526256"/>
                </a:cubicBezTo>
                <a:lnTo>
                  <a:pt x="332779" y="482799"/>
                </a:lnTo>
                <a:cubicBezTo>
                  <a:pt x="388739" y="465733"/>
                  <a:pt x="445095" y="457200"/>
                  <a:pt x="501848" y="457200"/>
                </a:cubicBezTo>
                <a:cubicBezTo>
                  <a:pt x="554633" y="457200"/>
                  <a:pt x="603151" y="468313"/>
                  <a:pt x="647402" y="490538"/>
                </a:cubicBezTo>
                <a:cubicBezTo>
                  <a:pt x="691654" y="512763"/>
                  <a:pt x="726777" y="543917"/>
                  <a:pt x="752772" y="584002"/>
                </a:cubicBezTo>
                <a:cubicBezTo>
                  <a:pt x="778768" y="624086"/>
                  <a:pt x="791765" y="668933"/>
                  <a:pt x="791765" y="718542"/>
                </a:cubicBezTo>
                <a:cubicBezTo>
                  <a:pt x="791765" y="771327"/>
                  <a:pt x="776783" y="818257"/>
                  <a:pt x="746819" y="859334"/>
                </a:cubicBezTo>
                <a:cubicBezTo>
                  <a:pt x="716855" y="900410"/>
                  <a:pt x="676771" y="931664"/>
                  <a:pt x="626566" y="953096"/>
                </a:cubicBezTo>
                <a:cubicBezTo>
                  <a:pt x="576361" y="974527"/>
                  <a:pt x="520700" y="985242"/>
                  <a:pt x="459581" y="985242"/>
                </a:cubicBezTo>
                <a:cubicBezTo>
                  <a:pt x="407590" y="985242"/>
                  <a:pt x="359271" y="978496"/>
                  <a:pt x="314623" y="965002"/>
                </a:cubicBezTo>
                <a:cubicBezTo>
                  <a:pt x="269974" y="951508"/>
                  <a:pt x="230485" y="931962"/>
                  <a:pt x="196155" y="906363"/>
                </a:cubicBezTo>
                <a:cubicBezTo>
                  <a:pt x="161826" y="880765"/>
                  <a:pt x="134838" y="847824"/>
                  <a:pt x="115193" y="807542"/>
                </a:cubicBezTo>
                <a:cubicBezTo>
                  <a:pt x="95547" y="767259"/>
                  <a:pt x="85725" y="721717"/>
                  <a:pt x="85725" y="670917"/>
                </a:cubicBezTo>
                <a:lnTo>
                  <a:pt x="85725" y="412552"/>
                </a:lnTo>
                <a:cubicBezTo>
                  <a:pt x="85725" y="360958"/>
                  <a:pt x="95250" y="314226"/>
                  <a:pt x="114300" y="272356"/>
                </a:cubicBezTo>
                <a:cubicBezTo>
                  <a:pt x="133350" y="230485"/>
                  <a:pt x="159345" y="196156"/>
                  <a:pt x="192286" y="169367"/>
                </a:cubicBezTo>
                <a:cubicBezTo>
                  <a:pt x="225226" y="142577"/>
                  <a:pt x="263525" y="121940"/>
                  <a:pt x="307181" y="107454"/>
                </a:cubicBezTo>
                <a:cubicBezTo>
                  <a:pt x="350837" y="92968"/>
                  <a:pt x="397669" y="85725"/>
                  <a:pt x="447675" y="85725"/>
                </a:cubicBezTo>
                <a:close/>
                <a:moveTo>
                  <a:pt x="447675" y="0"/>
                </a:moveTo>
                <a:cubicBezTo>
                  <a:pt x="521890" y="0"/>
                  <a:pt x="591046" y="11609"/>
                  <a:pt x="655141" y="34826"/>
                </a:cubicBezTo>
                <a:cubicBezTo>
                  <a:pt x="719237" y="58043"/>
                  <a:pt x="772914" y="90488"/>
                  <a:pt x="816173" y="132160"/>
                </a:cubicBezTo>
                <a:lnTo>
                  <a:pt x="781645" y="157758"/>
                </a:lnTo>
                <a:cubicBezTo>
                  <a:pt x="742355" y="121245"/>
                  <a:pt x="693638" y="92968"/>
                  <a:pt x="635496" y="72926"/>
                </a:cubicBezTo>
                <a:cubicBezTo>
                  <a:pt x="577354" y="52884"/>
                  <a:pt x="514747" y="42863"/>
                  <a:pt x="447675" y="42863"/>
                </a:cubicBezTo>
                <a:cubicBezTo>
                  <a:pt x="391715" y="42863"/>
                  <a:pt x="339328" y="51098"/>
                  <a:pt x="290512" y="67568"/>
                </a:cubicBezTo>
                <a:cubicBezTo>
                  <a:pt x="241697" y="84038"/>
                  <a:pt x="198834" y="107454"/>
                  <a:pt x="161925" y="137815"/>
                </a:cubicBezTo>
                <a:cubicBezTo>
                  <a:pt x="125015" y="168176"/>
                  <a:pt x="95944" y="206970"/>
                  <a:pt x="74712" y="254199"/>
                </a:cubicBezTo>
                <a:cubicBezTo>
                  <a:pt x="53479" y="301427"/>
                  <a:pt x="42862" y="354211"/>
                  <a:pt x="42862" y="412552"/>
                </a:cubicBezTo>
                <a:lnTo>
                  <a:pt x="42862" y="670917"/>
                </a:lnTo>
                <a:cubicBezTo>
                  <a:pt x="42862" y="716161"/>
                  <a:pt x="50006" y="758131"/>
                  <a:pt x="64294" y="796826"/>
                </a:cubicBezTo>
                <a:cubicBezTo>
                  <a:pt x="78581" y="835521"/>
                  <a:pt x="98425" y="868958"/>
                  <a:pt x="123825" y="897136"/>
                </a:cubicBezTo>
                <a:cubicBezTo>
                  <a:pt x="149225" y="925314"/>
                  <a:pt x="179288" y="949325"/>
                  <a:pt x="214015" y="969169"/>
                </a:cubicBezTo>
                <a:cubicBezTo>
                  <a:pt x="248741" y="989013"/>
                  <a:pt x="286841" y="1003796"/>
                  <a:pt x="328315" y="1013520"/>
                </a:cubicBezTo>
                <a:cubicBezTo>
                  <a:pt x="369788" y="1023243"/>
                  <a:pt x="413544" y="1028105"/>
                  <a:pt x="459581" y="1028105"/>
                </a:cubicBezTo>
                <a:cubicBezTo>
                  <a:pt x="510778" y="1028105"/>
                  <a:pt x="559296" y="1020663"/>
                  <a:pt x="605135" y="1005781"/>
                </a:cubicBezTo>
                <a:cubicBezTo>
                  <a:pt x="650974" y="990898"/>
                  <a:pt x="690761" y="970161"/>
                  <a:pt x="724495" y="943570"/>
                </a:cubicBezTo>
                <a:cubicBezTo>
                  <a:pt x="758229" y="916980"/>
                  <a:pt x="785019" y="884238"/>
                  <a:pt x="804862" y="845344"/>
                </a:cubicBezTo>
                <a:cubicBezTo>
                  <a:pt x="824706" y="806450"/>
                  <a:pt x="834628" y="764183"/>
                  <a:pt x="834628" y="718542"/>
                </a:cubicBezTo>
                <a:cubicBezTo>
                  <a:pt x="834628" y="673299"/>
                  <a:pt x="825103" y="631230"/>
                  <a:pt x="806053" y="592336"/>
                </a:cubicBezTo>
                <a:cubicBezTo>
                  <a:pt x="787003" y="553442"/>
                  <a:pt x="761901" y="521196"/>
                  <a:pt x="730746" y="495598"/>
                </a:cubicBezTo>
                <a:cubicBezTo>
                  <a:pt x="699591" y="469999"/>
                  <a:pt x="664170" y="450056"/>
                  <a:pt x="624483" y="435769"/>
                </a:cubicBezTo>
                <a:cubicBezTo>
                  <a:pt x="584795" y="421481"/>
                  <a:pt x="543917" y="414338"/>
                  <a:pt x="501848" y="414338"/>
                </a:cubicBezTo>
                <a:cubicBezTo>
                  <a:pt x="441523" y="414338"/>
                  <a:pt x="385167" y="423267"/>
                  <a:pt x="332779" y="441127"/>
                </a:cubicBezTo>
                <a:lnTo>
                  <a:pt x="332779" y="397074"/>
                </a:lnTo>
                <a:cubicBezTo>
                  <a:pt x="387151" y="381595"/>
                  <a:pt x="444301" y="373856"/>
                  <a:pt x="504229" y="373856"/>
                </a:cubicBezTo>
                <a:cubicBezTo>
                  <a:pt x="553045" y="373856"/>
                  <a:pt x="599976" y="382092"/>
                  <a:pt x="645021" y="398562"/>
                </a:cubicBezTo>
                <a:cubicBezTo>
                  <a:pt x="690066" y="415032"/>
                  <a:pt x="729754" y="437852"/>
                  <a:pt x="764083" y="467023"/>
                </a:cubicBezTo>
                <a:cubicBezTo>
                  <a:pt x="798413" y="496193"/>
                  <a:pt x="825897" y="532606"/>
                  <a:pt x="846534" y="576263"/>
                </a:cubicBezTo>
                <a:cubicBezTo>
                  <a:pt x="867172" y="619919"/>
                  <a:pt x="877490" y="667345"/>
                  <a:pt x="877490" y="718542"/>
                </a:cubicBezTo>
                <a:cubicBezTo>
                  <a:pt x="877490" y="770136"/>
                  <a:pt x="866477" y="818059"/>
                  <a:pt x="844451" y="862310"/>
                </a:cubicBezTo>
                <a:cubicBezTo>
                  <a:pt x="822424" y="906562"/>
                  <a:pt x="792559" y="943868"/>
                  <a:pt x="754856" y="974229"/>
                </a:cubicBezTo>
                <a:cubicBezTo>
                  <a:pt x="717153" y="1004590"/>
                  <a:pt x="672802" y="1028303"/>
                  <a:pt x="621804" y="1045369"/>
                </a:cubicBezTo>
                <a:cubicBezTo>
                  <a:pt x="570805" y="1062435"/>
                  <a:pt x="516731" y="1070967"/>
                  <a:pt x="459581" y="1070967"/>
                </a:cubicBezTo>
                <a:cubicBezTo>
                  <a:pt x="395684" y="1070967"/>
                  <a:pt x="336054" y="1062038"/>
                  <a:pt x="280690" y="1044178"/>
                </a:cubicBezTo>
                <a:cubicBezTo>
                  <a:pt x="225326" y="1026319"/>
                  <a:pt x="176708" y="1000721"/>
                  <a:pt x="134838" y="967383"/>
                </a:cubicBezTo>
                <a:cubicBezTo>
                  <a:pt x="92968" y="934045"/>
                  <a:pt x="60027" y="891878"/>
                  <a:pt x="36016" y="840879"/>
                </a:cubicBezTo>
                <a:cubicBezTo>
                  <a:pt x="12005" y="789881"/>
                  <a:pt x="0" y="733227"/>
                  <a:pt x="0" y="670917"/>
                </a:cubicBezTo>
                <a:lnTo>
                  <a:pt x="0" y="412552"/>
                </a:lnTo>
                <a:cubicBezTo>
                  <a:pt x="0" y="349845"/>
                  <a:pt x="11807" y="292398"/>
                  <a:pt x="35421" y="240209"/>
                </a:cubicBezTo>
                <a:cubicBezTo>
                  <a:pt x="59035" y="188020"/>
                  <a:pt x="91083" y="144562"/>
                  <a:pt x="131564" y="109835"/>
                </a:cubicBezTo>
                <a:cubicBezTo>
                  <a:pt x="172045" y="75109"/>
                  <a:pt x="219472" y="48121"/>
                  <a:pt x="273844" y="28873"/>
                </a:cubicBezTo>
                <a:cubicBezTo>
                  <a:pt x="328215" y="9624"/>
                  <a:pt x="386159" y="0"/>
                  <a:pt x="44767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 sz="9600"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/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  <a:latin typeface="Monoton" pitchFamily="2" charset="0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FF6C02">
                      <a:lumMod val="40000"/>
                      <a:lumOff val="60000"/>
                    </a:srgbClr>
                  </a:gs>
                  <a:gs pos="100000">
                    <a:srgbClr val="FF6C02"/>
                  </a:gs>
                </a:gsLst>
                <a:path path="circle">
                  <a:fillToRect l="50000" t="130000" r="50000" b="-30000"/>
                </a:path>
                <a:tileRect/>
              </a:gradFill>
              <a:effectLst/>
              <a:uLnTx/>
              <a:uFillTx/>
              <a:latin typeface="Monoton" pitchFamily="2" charset="0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C41DB89D-2B62-4B4A-8FAB-23736629B83E}"/>
              </a:ext>
            </a:extLst>
          </p:cNvPr>
          <p:cNvSpPr txBox="1"/>
          <p:nvPr/>
        </p:nvSpPr>
        <p:spPr>
          <a:xfrm>
            <a:off x="10725462" y="3582884"/>
            <a:ext cx="116089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海量素材</a:t>
            </a:r>
          </a:p>
        </p:txBody>
      </p:sp>
      <p:sp>
        <p:nvSpPr>
          <p:cNvPr id="118" name="文本框 117">
            <a:extLst>
              <a:ext uri="{FF2B5EF4-FFF2-40B4-BE49-F238E27FC236}">
                <a16:creationId xmlns:a16="http://schemas.microsoft.com/office/drawing/2014/main" id="{0FFBABA8-A3A7-434D-AD2D-89F193A46D55}"/>
              </a:ext>
            </a:extLst>
          </p:cNvPr>
          <p:cNvSpPr txBox="1"/>
          <p:nvPr/>
        </p:nvSpPr>
        <p:spPr>
          <a:xfrm>
            <a:off x="-8650" y="3582884"/>
            <a:ext cx="116089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持续更新</a:t>
            </a:r>
          </a:p>
        </p:txBody>
      </p:sp>
    </p:spTree>
    <p:extLst>
      <p:ext uri="{BB962C8B-B14F-4D97-AF65-F5344CB8AC3E}">
        <p14:creationId xmlns:p14="http://schemas.microsoft.com/office/powerpoint/2010/main" val="3154320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C7FFBBB-4F2C-3185-2066-0538129DAC2B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B8257B1A-3562-636E-ADD2-EA9F2D3F4B22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57577D2-EA0E-D2AD-C7B2-7D5AA0F3504F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1FA823C6-DEAC-10E6-6272-E62A8AC3B062}"/>
              </a:ext>
            </a:extLst>
          </p:cNvPr>
          <p:cNvSpPr/>
          <p:nvPr/>
        </p:nvSpPr>
        <p:spPr>
          <a:xfrm>
            <a:off x="787295" y="2019834"/>
            <a:ext cx="2614119" cy="3942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547" extrusionOk="0">
                <a:moveTo>
                  <a:pt x="97" y="2385"/>
                </a:moveTo>
                <a:cubicBezTo>
                  <a:pt x="17" y="1981"/>
                  <a:pt x="-5" y="1412"/>
                  <a:pt x="40" y="913"/>
                </a:cubicBezTo>
                <a:cubicBezTo>
                  <a:pt x="88" y="361"/>
                  <a:pt x="207" y="-1"/>
                  <a:pt x="340" y="0"/>
                </a:cubicBezTo>
                <a:lnTo>
                  <a:pt x="19743" y="6"/>
                </a:lnTo>
                <a:cubicBezTo>
                  <a:pt x="19799" y="-12"/>
                  <a:pt x="19856" y="30"/>
                  <a:pt x="19909" y="129"/>
                </a:cubicBezTo>
                <a:cubicBezTo>
                  <a:pt x="19958" y="221"/>
                  <a:pt x="20001" y="361"/>
                  <a:pt x="20037" y="537"/>
                </a:cubicBezTo>
                <a:lnTo>
                  <a:pt x="21522" y="9784"/>
                </a:lnTo>
                <a:cubicBezTo>
                  <a:pt x="21560" y="10073"/>
                  <a:pt x="21581" y="10403"/>
                  <a:pt x="21581" y="10739"/>
                </a:cubicBezTo>
                <a:cubicBezTo>
                  <a:pt x="21582" y="11071"/>
                  <a:pt x="21563" y="11397"/>
                  <a:pt x="21527" y="11686"/>
                </a:cubicBezTo>
                <a:lnTo>
                  <a:pt x="20077" y="20744"/>
                </a:lnTo>
                <a:cubicBezTo>
                  <a:pt x="20042" y="20962"/>
                  <a:pt x="19998" y="21145"/>
                  <a:pt x="19946" y="21280"/>
                </a:cubicBezTo>
                <a:cubicBezTo>
                  <a:pt x="19890" y="21427"/>
                  <a:pt x="19827" y="21515"/>
                  <a:pt x="19762" y="21536"/>
                </a:cubicBezTo>
                <a:lnTo>
                  <a:pt x="332" y="21540"/>
                </a:lnTo>
                <a:cubicBezTo>
                  <a:pt x="224" y="21588"/>
                  <a:pt x="119" y="21374"/>
                  <a:pt x="56" y="20979"/>
                </a:cubicBezTo>
                <a:cubicBezTo>
                  <a:pt x="-9" y="20569"/>
                  <a:pt x="-18" y="20033"/>
                  <a:pt x="32" y="19584"/>
                </a:cubicBezTo>
                <a:lnTo>
                  <a:pt x="1284" y="11790"/>
                </a:lnTo>
                <a:cubicBezTo>
                  <a:pt x="1335" y="11487"/>
                  <a:pt x="1361" y="11118"/>
                  <a:pt x="1359" y="10741"/>
                </a:cubicBezTo>
                <a:cubicBezTo>
                  <a:pt x="1357" y="10437"/>
                  <a:pt x="1336" y="10140"/>
                  <a:pt x="1300" y="9884"/>
                </a:cubicBezTo>
                <a:lnTo>
                  <a:pt x="97" y="2385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55203754-15B2-DCC8-56A4-2C73FB1E78E6}"/>
              </a:ext>
            </a:extLst>
          </p:cNvPr>
          <p:cNvSpPr/>
          <p:nvPr/>
        </p:nvSpPr>
        <p:spPr>
          <a:xfrm>
            <a:off x="3421621" y="2019834"/>
            <a:ext cx="2614119" cy="3942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547" extrusionOk="0">
                <a:moveTo>
                  <a:pt x="97" y="2385"/>
                </a:moveTo>
                <a:cubicBezTo>
                  <a:pt x="17" y="1981"/>
                  <a:pt x="-5" y="1412"/>
                  <a:pt x="40" y="913"/>
                </a:cubicBezTo>
                <a:cubicBezTo>
                  <a:pt x="88" y="361"/>
                  <a:pt x="207" y="-1"/>
                  <a:pt x="340" y="0"/>
                </a:cubicBezTo>
                <a:lnTo>
                  <a:pt x="19743" y="6"/>
                </a:lnTo>
                <a:cubicBezTo>
                  <a:pt x="19799" y="-12"/>
                  <a:pt x="19856" y="30"/>
                  <a:pt x="19909" y="129"/>
                </a:cubicBezTo>
                <a:cubicBezTo>
                  <a:pt x="19958" y="221"/>
                  <a:pt x="20001" y="361"/>
                  <a:pt x="20037" y="537"/>
                </a:cubicBezTo>
                <a:lnTo>
                  <a:pt x="21522" y="9784"/>
                </a:lnTo>
                <a:cubicBezTo>
                  <a:pt x="21560" y="10073"/>
                  <a:pt x="21581" y="10403"/>
                  <a:pt x="21581" y="10739"/>
                </a:cubicBezTo>
                <a:cubicBezTo>
                  <a:pt x="21582" y="11071"/>
                  <a:pt x="21563" y="11397"/>
                  <a:pt x="21527" y="11686"/>
                </a:cubicBezTo>
                <a:lnTo>
                  <a:pt x="20077" y="20744"/>
                </a:lnTo>
                <a:cubicBezTo>
                  <a:pt x="20042" y="20962"/>
                  <a:pt x="19998" y="21145"/>
                  <a:pt x="19946" y="21280"/>
                </a:cubicBezTo>
                <a:cubicBezTo>
                  <a:pt x="19890" y="21427"/>
                  <a:pt x="19827" y="21515"/>
                  <a:pt x="19762" y="21536"/>
                </a:cubicBezTo>
                <a:lnTo>
                  <a:pt x="332" y="21540"/>
                </a:lnTo>
                <a:cubicBezTo>
                  <a:pt x="224" y="21588"/>
                  <a:pt x="119" y="21374"/>
                  <a:pt x="56" y="20979"/>
                </a:cubicBezTo>
                <a:cubicBezTo>
                  <a:pt x="-9" y="20569"/>
                  <a:pt x="-18" y="20033"/>
                  <a:pt x="32" y="19584"/>
                </a:cubicBezTo>
                <a:lnTo>
                  <a:pt x="1284" y="11790"/>
                </a:lnTo>
                <a:cubicBezTo>
                  <a:pt x="1335" y="11487"/>
                  <a:pt x="1361" y="11118"/>
                  <a:pt x="1359" y="10741"/>
                </a:cubicBezTo>
                <a:cubicBezTo>
                  <a:pt x="1357" y="10437"/>
                  <a:pt x="1336" y="10140"/>
                  <a:pt x="1300" y="9884"/>
                </a:cubicBezTo>
                <a:lnTo>
                  <a:pt x="97" y="2385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CC1778D4-5901-8B3A-3AB7-AD9DB87526A4}"/>
              </a:ext>
            </a:extLst>
          </p:cNvPr>
          <p:cNvSpPr/>
          <p:nvPr/>
        </p:nvSpPr>
        <p:spPr>
          <a:xfrm>
            <a:off x="6055948" y="2019834"/>
            <a:ext cx="2614119" cy="3942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547" extrusionOk="0">
                <a:moveTo>
                  <a:pt x="97" y="2385"/>
                </a:moveTo>
                <a:cubicBezTo>
                  <a:pt x="17" y="1981"/>
                  <a:pt x="-5" y="1412"/>
                  <a:pt x="40" y="913"/>
                </a:cubicBezTo>
                <a:cubicBezTo>
                  <a:pt x="88" y="361"/>
                  <a:pt x="207" y="-1"/>
                  <a:pt x="340" y="0"/>
                </a:cubicBezTo>
                <a:lnTo>
                  <a:pt x="19743" y="6"/>
                </a:lnTo>
                <a:cubicBezTo>
                  <a:pt x="19799" y="-12"/>
                  <a:pt x="19856" y="30"/>
                  <a:pt x="19909" y="129"/>
                </a:cubicBezTo>
                <a:cubicBezTo>
                  <a:pt x="19958" y="221"/>
                  <a:pt x="20001" y="361"/>
                  <a:pt x="20037" y="537"/>
                </a:cubicBezTo>
                <a:lnTo>
                  <a:pt x="21522" y="9784"/>
                </a:lnTo>
                <a:cubicBezTo>
                  <a:pt x="21560" y="10073"/>
                  <a:pt x="21581" y="10403"/>
                  <a:pt x="21581" y="10739"/>
                </a:cubicBezTo>
                <a:cubicBezTo>
                  <a:pt x="21582" y="11071"/>
                  <a:pt x="21563" y="11397"/>
                  <a:pt x="21527" y="11686"/>
                </a:cubicBezTo>
                <a:lnTo>
                  <a:pt x="20077" y="20744"/>
                </a:lnTo>
                <a:cubicBezTo>
                  <a:pt x="20042" y="20962"/>
                  <a:pt x="19998" y="21145"/>
                  <a:pt x="19946" y="21280"/>
                </a:cubicBezTo>
                <a:cubicBezTo>
                  <a:pt x="19890" y="21427"/>
                  <a:pt x="19827" y="21515"/>
                  <a:pt x="19762" y="21536"/>
                </a:cubicBezTo>
                <a:lnTo>
                  <a:pt x="332" y="21540"/>
                </a:lnTo>
                <a:cubicBezTo>
                  <a:pt x="224" y="21588"/>
                  <a:pt x="119" y="21374"/>
                  <a:pt x="56" y="20979"/>
                </a:cubicBezTo>
                <a:cubicBezTo>
                  <a:pt x="-9" y="20569"/>
                  <a:pt x="-18" y="20033"/>
                  <a:pt x="32" y="19584"/>
                </a:cubicBezTo>
                <a:lnTo>
                  <a:pt x="1284" y="11790"/>
                </a:lnTo>
                <a:cubicBezTo>
                  <a:pt x="1335" y="11487"/>
                  <a:pt x="1361" y="11118"/>
                  <a:pt x="1359" y="10741"/>
                </a:cubicBezTo>
                <a:cubicBezTo>
                  <a:pt x="1357" y="10437"/>
                  <a:pt x="1336" y="10140"/>
                  <a:pt x="1300" y="9884"/>
                </a:cubicBezTo>
                <a:lnTo>
                  <a:pt x="97" y="2385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11" name="Shape">
            <a:extLst>
              <a:ext uri="{FF2B5EF4-FFF2-40B4-BE49-F238E27FC236}">
                <a16:creationId xmlns:a16="http://schemas.microsoft.com/office/drawing/2014/main" id="{0C776106-35B0-8C2A-6DE4-AF5506F99495}"/>
              </a:ext>
            </a:extLst>
          </p:cNvPr>
          <p:cNvSpPr/>
          <p:nvPr/>
        </p:nvSpPr>
        <p:spPr>
          <a:xfrm>
            <a:off x="8690273" y="2019834"/>
            <a:ext cx="2614119" cy="3942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547" extrusionOk="0">
                <a:moveTo>
                  <a:pt x="97" y="2385"/>
                </a:moveTo>
                <a:cubicBezTo>
                  <a:pt x="17" y="1981"/>
                  <a:pt x="-5" y="1412"/>
                  <a:pt x="40" y="913"/>
                </a:cubicBezTo>
                <a:cubicBezTo>
                  <a:pt x="88" y="361"/>
                  <a:pt x="207" y="-1"/>
                  <a:pt x="340" y="0"/>
                </a:cubicBezTo>
                <a:lnTo>
                  <a:pt x="19743" y="6"/>
                </a:lnTo>
                <a:cubicBezTo>
                  <a:pt x="19799" y="-12"/>
                  <a:pt x="19856" y="30"/>
                  <a:pt x="19909" y="129"/>
                </a:cubicBezTo>
                <a:cubicBezTo>
                  <a:pt x="19958" y="221"/>
                  <a:pt x="20001" y="361"/>
                  <a:pt x="20037" y="537"/>
                </a:cubicBezTo>
                <a:lnTo>
                  <a:pt x="21522" y="9784"/>
                </a:lnTo>
                <a:cubicBezTo>
                  <a:pt x="21560" y="10073"/>
                  <a:pt x="21581" y="10403"/>
                  <a:pt x="21581" y="10739"/>
                </a:cubicBezTo>
                <a:cubicBezTo>
                  <a:pt x="21582" y="11071"/>
                  <a:pt x="21563" y="11397"/>
                  <a:pt x="21527" y="11686"/>
                </a:cubicBezTo>
                <a:lnTo>
                  <a:pt x="20077" y="20744"/>
                </a:lnTo>
                <a:cubicBezTo>
                  <a:pt x="20042" y="20962"/>
                  <a:pt x="19998" y="21145"/>
                  <a:pt x="19946" y="21280"/>
                </a:cubicBezTo>
                <a:cubicBezTo>
                  <a:pt x="19890" y="21427"/>
                  <a:pt x="19827" y="21515"/>
                  <a:pt x="19762" y="21536"/>
                </a:cubicBezTo>
                <a:lnTo>
                  <a:pt x="332" y="21540"/>
                </a:lnTo>
                <a:cubicBezTo>
                  <a:pt x="224" y="21588"/>
                  <a:pt x="119" y="21374"/>
                  <a:pt x="56" y="20979"/>
                </a:cubicBezTo>
                <a:cubicBezTo>
                  <a:pt x="-9" y="20569"/>
                  <a:pt x="-18" y="20033"/>
                  <a:pt x="32" y="19584"/>
                </a:cubicBezTo>
                <a:lnTo>
                  <a:pt x="1284" y="11790"/>
                </a:lnTo>
                <a:cubicBezTo>
                  <a:pt x="1335" y="11487"/>
                  <a:pt x="1361" y="11118"/>
                  <a:pt x="1359" y="10741"/>
                </a:cubicBezTo>
                <a:cubicBezTo>
                  <a:pt x="1357" y="10437"/>
                  <a:pt x="1336" y="10140"/>
                  <a:pt x="1300" y="9884"/>
                </a:cubicBezTo>
                <a:lnTo>
                  <a:pt x="97" y="2385"/>
                </a:lnTo>
                <a:close/>
              </a:path>
            </a:pathLst>
          </a:cu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2AFDCF8-CF94-0BFC-57E4-0CBEE830ABBC}"/>
              </a:ext>
            </a:extLst>
          </p:cNvPr>
          <p:cNvSpPr/>
          <p:nvPr/>
        </p:nvSpPr>
        <p:spPr>
          <a:xfrm>
            <a:off x="839175" y="2851023"/>
            <a:ext cx="2510359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marL="0" marR="0" lvl="0" indent="0" algn="l" defTabSz="15287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14" name="Rounded Rectangle">
            <a:extLst>
              <a:ext uri="{FF2B5EF4-FFF2-40B4-BE49-F238E27FC236}">
                <a16:creationId xmlns:a16="http://schemas.microsoft.com/office/drawing/2014/main" id="{3D819325-2EA6-0A2A-E553-755480FD8393}"/>
              </a:ext>
            </a:extLst>
          </p:cNvPr>
          <p:cNvSpPr/>
          <p:nvPr/>
        </p:nvSpPr>
        <p:spPr>
          <a:xfrm>
            <a:off x="1066382" y="2714709"/>
            <a:ext cx="2055944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16" name="Shape">
            <a:extLst>
              <a:ext uri="{FF2B5EF4-FFF2-40B4-BE49-F238E27FC236}">
                <a16:creationId xmlns:a16="http://schemas.microsoft.com/office/drawing/2014/main" id="{B2CE8E08-AC25-FA6F-D2BD-06B36CA02D0E}"/>
              </a:ext>
            </a:extLst>
          </p:cNvPr>
          <p:cNvSpPr/>
          <p:nvPr/>
        </p:nvSpPr>
        <p:spPr>
          <a:xfrm>
            <a:off x="3473502" y="2851023"/>
            <a:ext cx="2510359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7E0A9B24-B547-41D9-1621-B8C1B8ED6FDF}"/>
              </a:ext>
            </a:extLst>
          </p:cNvPr>
          <p:cNvSpPr/>
          <p:nvPr/>
        </p:nvSpPr>
        <p:spPr>
          <a:xfrm>
            <a:off x="3700709" y="2714709"/>
            <a:ext cx="2055944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18" name="Shape">
            <a:extLst>
              <a:ext uri="{FF2B5EF4-FFF2-40B4-BE49-F238E27FC236}">
                <a16:creationId xmlns:a16="http://schemas.microsoft.com/office/drawing/2014/main" id="{ABED7CBF-04CF-31A6-D5D5-E1C6122AA049}"/>
              </a:ext>
            </a:extLst>
          </p:cNvPr>
          <p:cNvSpPr/>
          <p:nvPr/>
        </p:nvSpPr>
        <p:spPr>
          <a:xfrm>
            <a:off x="6107828" y="2851023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19" name="Rounded Rectangle">
            <a:extLst>
              <a:ext uri="{FF2B5EF4-FFF2-40B4-BE49-F238E27FC236}">
                <a16:creationId xmlns:a16="http://schemas.microsoft.com/office/drawing/2014/main" id="{07E0E2A5-C85B-99B4-4368-655A9884D6C9}"/>
              </a:ext>
            </a:extLst>
          </p:cNvPr>
          <p:cNvSpPr/>
          <p:nvPr/>
        </p:nvSpPr>
        <p:spPr>
          <a:xfrm>
            <a:off x="6335037" y="2714709"/>
            <a:ext cx="2055943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0" name="Shape">
            <a:extLst>
              <a:ext uri="{FF2B5EF4-FFF2-40B4-BE49-F238E27FC236}">
                <a16:creationId xmlns:a16="http://schemas.microsoft.com/office/drawing/2014/main" id="{EDBF933E-54EF-1792-9D66-6AB24ED5A73E}"/>
              </a:ext>
            </a:extLst>
          </p:cNvPr>
          <p:cNvSpPr/>
          <p:nvPr/>
        </p:nvSpPr>
        <p:spPr>
          <a:xfrm>
            <a:off x="8767284" y="2851023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21" name="Rounded Rectangle">
            <a:extLst>
              <a:ext uri="{FF2B5EF4-FFF2-40B4-BE49-F238E27FC236}">
                <a16:creationId xmlns:a16="http://schemas.microsoft.com/office/drawing/2014/main" id="{D4634269-712B-1205-BB84-4AF29B00B500}"/>
              </a:ext>
            </a:extLst>
          </p:cNvPr>
          <p:cNvSpPr/>
          <p:nvPr/>
        </p:nvSpPr>
        <p:spPr>
          <a:xfrm>
            <a:off x="8994492" y="2714709"/>
            <a:ext cx="2055943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207FE96A-7144-0AD2-F74D-4E590421F521}"/>
              </a:ext>
            </a:extLst>
          </p:cNvPr>
          <p:cNvSpPr/>
          <p:nvPr/>
        </p:nvSpPr>
        <p:spPr>
          <a:xfrm>
            <a:off x="839175" y="3700346"/>
            <a:ext cx="2510358" cy="313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23" name="Rounded Rectangle">
            <a:extLst>
              <a:ext uri="{FF2B5EF4-FFF2-40B4-BE49-F238E27FC236}">
                <a16:creationId xmlns:a16="http://schemas.microsoft.com/office/drawing/2014/main" id="{2CC30256-0D19-15FD-5172-2C9EBDF79BBF}"/>
              </a:ext>
            </a:extLst>
          </p:cNvPr>
          <p:cNvSpPr/>
          <p:nvPr/>
        </p:nvSpPr>
        <p:spPr>
          <a:xfrm>
            <a:off x="1066382" y="3564032"/>
            <a:ext cx="2055944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51AA17DC-4CFB-1D7A-AAFB-A2E5BC0D6AFD}"/>
              </a:ext>
            </a:extLst>
          </p:cNvPr>
          <p:cNvSpPr/>
          <p:nvPr/>
        </p:nvSpPr>
        <p:spPr>
          <a:xfrm>
            <a:off x="3473502" y="3700346"/>
            <a:ext cx="2510358" cy="313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25" name="Rounded Rectangle">
            <a:extLst>
              <a:ext uri="{FF2B5EF4-FFF2-40B4-BE49-F238E27FC236}">
                <a16:creationId xmlns:a16="http://schemas.microsoft.com/office/drawing/2014/main" id="{BBB5B253-6B32-3630-A7DB-9228905E9D2A}"/>
              </a:ext>
            </a:extLst>
          </p:cNvPr>
          <p:cNvSpPr/>
          <p:nvPr/>
        </p:nvSpPr>
        <p:spPr>
          <a:xfrm>
            <a:off x="3700709" y="3564032"/>
            <a:ext cx="2055944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D38F9E84-334F-F99D-53C6-4013FDA23AF6}"/>
              </a:ext>
            </a:extLst>
          </p:cNvPr>
          <p:cNvSpPr/>
          <p:nvPr/>
        </p:nvSpPr>
        <p:spPr>
          <a:xfrm>
            <a:off x="6107828" y="3700346"/>
            <a:ext cx="2510358" cy="313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27" name="Rounded Rectangle">
            <a:extLst>
              <a:ext uri="{FF2B5EF4-FFF2-40B4-BE49-F238E27FC236}">
                <a16:creationId xmlns:a16="http://schemas.microsoft.com/office/drawing/2014/main" id="{4095008B-83EA-53EE-7E9A-B0B022E3C72D}"/>
              </a:ext>
            </a:extLst>
          </p:cNvPr>
          <p:cNvSpPr/>
          <p:nvPr/>
        </p:nvSpPr>
        <p:spPr>
          <a:xfrm>
            <a:off x="6335037" y="3564032"/>
            <a:ext cx="2055943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28" name="Shape">
            <a:extLst>
              <a:ext uri="{FF2B5EF4-FFF2-40B4-BE49-F238E27FC236}">
                <a16:creationId xmlns:a16="http://schemas.microsoft.com/office/drawing/2014/main" id="{933728A0-D448-C346-9C97-8E4D7783BE1C}"/>
              </a:ext>
            </a:extLst>
          </p:cNvPr>
          <p:cNvSpPr/>
          <p:nvPr/>
        </p:nvSpPr>
        <p:spPr>
          <a:xfrm>
            <a:off x="8767284" y="3700346"/>
            <a:ext cx="2510358" cy="313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29" name="Rounded Rectangle">
            <a:extLst>
              <a:ext uri="{FF2B5EF4-FFF2-40B4-BE49-F238E27FC236}">
                <a16:creationId xmlns:a16="http://schemas.microsoft.com/office/drawing/2014/main" id="{436D2706-3B0F-E948-C241-44A24E09EF44}"/>
              </a:ext>
            </a:extLst>
          </p:cNvPr>
          <p:cNvSpPr/>
          <p:nvPr/>
        </p:nvSpPr>
        <p:spPr>
          <a:xfrm>
            <a:off x="8994492" y="3564032"/>
            <a:ext cx="2055943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30" name="Shape">
            <a:extLst>
              <a:ext uri="{FF2B5EF4-FFF2-40B4-BE49-F238E27FC236}">
                <a16:creationId xmlns:a16="http://schemas.microsoft.com/office/drawing/2014/main" id="{781858DB-4B60-4C0E-2156-859DAC9ABAB3}"/>
              </a:ext>
            </a:extLst>
          </p:cNvPr>
          <p:cNvSpPr/>
          <p:nvPr/>
        </p:nvSpPr>
        <p:spPr>
          <a:xfrm>
            <a:off x="839175" y="4514302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31" name="Rounded Rectangle">
            <a:extLst>
              <a:ext uri="{FF2B5EF4-FFF2-40B4-BE49-F238E27FC236}">
                <a16:creationId xmlns:a16="http://schemas.microsoft.com/office/drawing/2014/main" id="{308EBF8D-4796-6606-989D-DF32DB8D1C44}"/>
              </a:ext>
            </a:extLst>
          </p:cNvPr>
          <p:cNvSpPr/>
          <p:nvPr/>
        </p:nvSpPr>
        <p:spPr>
          <a:xfrm>
            <a:off x="1066382" y="4377988"/>
            <a:ext cx="2055944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32" name="Shape">
            <a:extLst>
              <a:ext uri="{FF2B5EF4-FFF2-40B4-BE49-F238E27FC236}">
                <a16:creationId xmlns:a16="http://schemas.microsoft.com/office/drawing/2014/main" id="{B046C532-CABA-7793-08DB-3BD69A44A98C}"/>
              </a:ext>
            </a:extLst>
          </p:cNvPr>
          <p:cNvSpPr/>
          <p:nvPr/>
        </p:nvSpPr>
        <p:spPr>
          <a:xfrm>
            <a:off x="3473502" y="4514302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33" name="Rounded Rectangle">
            <a:extLst>
              <a:ext uri="{FF2B5EF4-FFF2-40B4-BE49-F238E27FC236}">
                <a16:creationId xmlns:a16="http://schemas.microsoft.com/office/drawing/2014/main" id="{84026F90-BEF4-750C-8077-7B3AFAB34B33}"/>
              </a:ext>
            </a:extLst>
          </p:cNvPr>
          <p:cNvSpPr/>
          <p:nvPr/>
        </p:nvSpPr>
        <p:spPr>
          <a:xfrm>
            <a:off x="3700709" y="4377988"/>
            <a:ext cx="2055944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34" name="Shape">
            <a:extLst>
              <a:ext uri="{FF2B5EF4-FFF2-40B4-BE49-F238E27FC236}">
                <a16:creationId xmlns:a16="http://schemas.microsoft.com/office/drawing/2014/main" id="{F00DA995-2207-4766-7A99-BE7E4C0F1041}"/>
              </a:ext>
            </a:extLst>
          </p:cNvPr>
          <p:cNvSpPr/>
          <p:nvPr/>
        </p:nvSpPr>
        <p:spPr>
          <a:xfrm>
            <a:off x="6107828" y="4514302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35" name="Rounded Rectangle">
            <a:extLst>
              <a:ext uri="{FF2B5EF4-FFF2-40B4-BE49-F238E27FC236}">
                <a16:creationId xmlns:a16="http://schemas.microsoft.com/office/drawing/2014/main" id="{009E7514-CA11-1203-3820-35A67CA5F5AC}"/>
              </a:ext>
            </a:extLst>
          </p:cNvPr>
          <p:cNvSpPr/>
          <p:nvPr/>
        </p:nvSpPr>
        <p:spPr>
          <a:xfrm>
            <a:off x="6335037" y="4377988"/>
            <a:ext cx="2055943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36" name="Shape">
            <a:extLst>
              <a:ext uri="{FF2B5EF4-FFF2-40B4-BE49-F238E27FC236}">
                <a16:creationId xmlns:a16="http://schemas.microsoft.com/office/drawing/2014/main" id="{CD8279BE-1BB9-D80A-CA6F-DDE10C783B3A}"/>
              </a:ext>
            </a:extLst>
          </p:cNvPr>
          <p:cNvSpPr/>
          <p:nvPr/>
        </p:nvSpPr>
        <p:spPr>
          <a:xfrm>
            <a:off x="8767284" y="4514302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37" name="Rounded Rectangle">
            <a:extLst>
              <a:ext uri="{FF2B5EF4-FFF2-40B4-BE49-F238E27FC236}">
                <a16:creationId xmlns:a16="http://schemas.microsoft.com/office/drawing/2014/main" id="{F8E62921-E295-7A95-75BD-1A4A30880971}"/>
              </a:ext>
            </a:extLst>
          </p:cNvPr>
          <p:cNvSpPr/>
          <p:nvPr/>
        </p:nvSpPr>
        <p:spPr>
          <a:xfrm>
            <a:off x="8994492" y="4377988"/>
            <a:ext cx="2055943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38" name="Shape">
            <a:extLst>
              <a:ext uri="{FF2B5EF4-FFF2-40B4-BE49-F238E27FC236}">
                <a16:creationId xmlns:a16="http://schemas.microsoft.com/office/drawing/2014/main" id="{8C1C9DE0-6031-BF09-4F9B-E37D2F3DDD33}"/>
              </a:ext>
            </a:extLst>
          </p:cNvPr>
          <p:cNvSpPr/>
          <p:nvPr/>
        </p:nvSpPr>
        <p:spPr>
          <a:xfrm>
            <a:off x="839175" y="5328259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F38E8284-56EE-E65B-8350-4F15AE452921}"/>
              </a:ext>
            </a:extLst>
          </p:cNvPr>
          <p:cNvSpPr/>
          <p:nvPr/>
        </p:nvSpPr>
        <p:spPr>
          <a:xfrm>
            <a:off x="1066382" y="5191945"/>
            <a:ext cx="2055944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40" name="Shape">
            <a:extLst>
              <a:ext uri="{FF2B5EF4-FFF2-40B4-BE49-F238E27FC236}">
                <a16:creationId xmlns:a16="http://schemas.microsoft.com/office/drawing/2014/main" id="{C147D92C-8A61-DE8B-0421-7A75978521FD}"/>
              </a:ext>
            </a:extLst>
          </p:cNvPr>
          <p:cNvSpPr/>
          <p:nvPr/>
        </p:nvSpPr>
        <p:spPr>
          <a:xfrm>
            <a:off x="3473502" y="5328259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41" name="Rounded Rectangle">
            <a:extLst>
              <a:ext uri="{FF2B5EF4-FFF2-40B4-BE49-F238E27FC236}">
                <a16:creationId xmlns:a16="http://schemas.microsoft.com/office/drawing/2014/main" id="{41DCEDE4-7E17-9D84-C12A-224570F6AFF0}"/>
              </a:ext>
            </a:extLst>
          </p:cNvPr>
          <p:cNvSpPr/>
          <p:nvPr/>
        </p:nvSpPr>
        <p:spPr>
          <a:xfrm>
            <a:off x="3700709" y="5191945"/>
            <a:ext cx="2055944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42" name="Shape">
            <a:extLst>
              <a:ext uri="{FF2B5EF4-FFF2-40B4-BE49-F238E27FC236}">
                <a16:creationId xmlns:a16="http://schemas.microsoft.com/office/drawing/2014/main" id="{6BDFA9DD-6BF5-3EFE-903A-685BBA3FB659}"/>
              </a:ext>
            </a:extLst>
          </p:cNvPr>
          <p:cNvSpPr/>
          <p:nvPr/>
        </p:nvSpPr>
        <p:spPr>
          <a:xfrm>
            <a:off x="6107828" y="5328259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43" name="Rounded Rectangle">
            <a:extLst>
              <a:ext uri="{FF2B5EF4-FFF2-40B4-BE49-F238E27FC236}">
                <a16:creationId xmlns:a16="http://schemas.microsoft.com/office/drawing/2014/main" id="{1A9FBE63-69FE-C19D-708E-AFDCA686592B}"/>
              </a:ext>
            </a:extLst>
          </p:cNvPr>
          <p:cNvSpPr/>
          <p:nvPr/>
        </p:nvSpPr>
        <p:spPr>
          <a:xfrm>
            <a:off x="6335037" y="5191945"/>
            <a:ext cx="2055943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44" name="Shape">
            <a:extLst>
              <a:ext uri="{FF2B5EF4-FFF2-40B4-BE49-F238E27FC236}">
                <a16:creationId xmlns:a16="http://schemas.microsoft.com/office/drawing/2014/main" id="{72C95566-A3E1-33C2-9074-034395EC33BF}"/>
              </a:ext>
            </a:extLst>
          </p:cNvPr>
          <p:cNvSpPr/>
          <p:nvPr/>
        </p:nvSpPr>
        <p:spPr>
          <a:xfrm>
            <a:off x="8767284" y="5328259"/>
            <a:ext cx="2510358" cy="313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501" extrusionOk="0">
                <a:moveTo>
                  <a:pt x="20030" y="21501"/>
                </a:moveTo>
                <a:cubicBezTo>
                  <a:pt x="19963" y="21501"/>
                  <a:pt x="19896" y="21402"/>
                  <a:pt x="19834" y="21205"/>
                </a:cubicBezTo>
                <a:cubicBezTo>
                  <a:pt x="19785" y="21050"/>
                  <a:pt x="19741" y="20839"/>
                  <a:pt x="19702" y="20581"/>
                </a:cubicBezTo>
                <a:cubicBezTo>
                  <a:pt x="19664" y="20323"/>
                  <a:pt x="19632" y="20021"/>
                  <a:pt x="19609" y="19688"/>
                </a:cubicBezTo>
                <a:cubicBezTo>
                  <a:pt x="19551" y="18847"/>
                  <a:pt x="19551" y="17874"/>
                  <a:pt x="19609" y="17032"/>
                </a:cubicBezTo>
                <a:cubicBezTo>
                  <a:pt x="19628" y="16772"/>
                  <a:pt x="19659" y="16498"/>
                  <a:pt x="19703" y="16167"/>
                </a:cubicBezTo>
                <a:cubicBezTo>
                  <a:pt x="19747" y="15836"/>
                  <a:pt x="19804" y="15448"/>
                  <a:pt x="19876" y="14964"/>
                </a:cubicBezTo>
                <a:lnTo>
                  <a:pt x="20034" y="13894"/>
                </a:lnTo>
                <a:lnTo>
                  <a:pt x="710" y="13894"/>
                </a:lnTo>
                <a:cubicBezTo>
                  <a:pt x="609" y="13894"/>
                  <a:pt x="528" y="13894"/>
                  <a:pt x="463" y="13871"/>
                </a:cubicBezTo>
                <a:cubicBezTo>
                  <a:pt x="397" y="13848"/>
                  <a:pt x="347" y="13802"/>
                  <a:pt x="306" y="13707"/>
                </a:cubicBezTo>
                <a:cubicBezTo>
                  <a:pt x="177" y="13390"/>
                  <a:pt x="75" y="12700"/>
                  <a:pt x="28" y="11826"/>
                </a:cubicBezTo>
                <a:cubicBezTo>
                  <a:pt x="9" y="11481"/>
                  <a:pt x="0" y="11117"/>
                  <a:pt x="0" y="10750"/>
                </a:cubicBezTo>
                <a:cubicBezTo>
                  <a:pt x="0" y="10386"/>
                  <a:pt x="9" y="10023"/>
                  <a:pt x="28" y="9680"/>
                </a:cubicBezTo>
                <a:cubicBezTo>
                  <a:pt x="75" y="8805"/>
                  <a:pt x="177" y="8116"/>
                  <a:pt x="306" y="7799"/>
                </a:cubicBezTo>
                <a:cubicBezTo>
                  <a:pt x="347" y="7704"/>
                  <a:pt x="397" y="7657"/>
                  <a:pt x="463" y="7634"/>
                </a:cubicBezTo>
                <a:cubicBezTo>
                  <a:pt x="528" y="7611"/>
                  <a:pt x="609" y="7612"/>
                  <a:pt x="710" y="7612"/>
                </a:cubicBezTo>
                <a:lnTo>
                  <a:pt x="20034" y="7612"/>
                </a:lnTo>
                <a:lnTo>
                  <a:pt x="19876" y="6541"/>
                </a:lnTo>
                <a:cubicBezTo>
                  <a:pt x="19804" y="6058"/>
                  <a:pt x="19747" y="5674"/>
                  <a:pt x="19703" y="5343"/>
                </a:cubicBezTo>
                <a:cubicBezTo>
                  <a:pt x="19659" y="5012"/>
                  <a:pt x="19628" y="4734"/>
                  <a:pt x="19609" y="4473"/>
                </a:cubicBezTo>
                <a:cubicBezTo>
                  <a:pt x="19551" y="3632"/>
                  <a:pt x="19551" y="2659"/>
                  <a:pt x="19609" y="1817"/>
                </a:cubicBezTo>
                <a:cubicBezTo>
                  <a:pt x="19632" y="1485"/>
                  <a:pt x="19664" y="1184"/>
                  <a:pt x="19702" y="924"/>
                </a:cubicBezTo>
                <a:cubicBezTo>
                  <a:pt x="19741" y="665"/>
                  <a:pt x="19785" y="451"/>
                  <a:pt x="19834" y="296"/>
                </a:cubicBezTo>
                <a:cubicBezTo>
                  <a:pt x="19959" y="-98"/>
                  <a:pt x="20103" y="-98"/>
                  <a:pt x="20227" y="296"/>
                </a:cubicBezTo>
                <a:cubicBezTo>
                  <a:pt x="20266" y="422"/>
                  <a:pt x="20307" y="630"/>
                  <a:pt x="20356" y="929"/>
                </a:cubicBezTo>
                <a:cubicBezTo>
                  <a:pt x="20405" y="1227"/>
                  <a:pt x="20462" y="1616"/>
                  <a:pt x="20533" y="2100"/>
                </a:cubicBezTo>
                <a:lnTo>
                  <a:pt x="21290" y="7215"/>
                </a:lnTo>
                <a:cubicBezTo>
                  <a:pt x="21362" y="7699"/>
                  <a:pt x="21419" y="8087"/>
                  <a:pt x="21463" y="8418"/>
                </a:cubicBezTo>
                <a:cubicBezTo>
                  <a:pt x="21507" y="8749"/>
                  <a:pt x="21538" y="9023"/>
                  <a:pt x="21557" y="9284"/>
                </a:cubicBezTo>
                <a:cubicBezTo>
                  <a:pt x="21572" y="9514"/>
                  <a:pt x="21584" y="9755"/>
                  <a:pt x="21591" y="10003"/>
                </a:cubicBezTo>
                <a:cubicBezTo>
                  <a:pt x="21597" y="10250"/>
                  <a:pt x="21600" y="10500"/>
                  <a:pt x="21598" y="10750"/>
                </a:cubicBezTo>
                <a:cubicBezTo>
                  <a:pt x="21600" y="11002"/>
                  <a:pt x="21598" y="11254"/>
                  <a:pt x="21591" y="11502"/>
                </a:cubicBezTo>
                <a:cubicBezTo>
                  <a:pt x="21584" y="11750"/>
                  <a:pt x="21572" y="11992"/>
                  <a:pt x="21557" y="12222"/>
                </a:cubicBezTo>
                <a:cubicBezTo>
                  <a:pt x="21538" y="12482"/>
                  <a:pt x="21507" y="12761"/>
                  <a:pt x="21463" y="13092"/>
                </a:cubicBezTo>
                <a:cubicBezTo>
                  <a:pt x="21419" y="13423"/>
                  <a:pt x="21362" y="13806"/>
                  <a:pt x="21290" y="14290"/>
                </a:cubicBezTo>
                <a:lnTo>
                  <a:pt x="20533" y="19406"/>
                </a:lnTo>
                <a:cubicBezTo>
                  <a:pt x="20462" y="19890"/>
                  <a:pt x="20405" y="20279"/>
                  <a:pt x="20356" y="20577"/>
                </a:cubicBezTo>
                <a:cubicBezTo>
                  <a:pt x="20307" y="20874"/>
                  <a:pt x="20266" y="21079"/>
                  <a:pt x="20227" y="21205"/>
                </a:cubicBezTo>
                <a:cubicBezTo>
                  <a:pt x="20166" y="21401"/>
                  <a:pt x="20097" y="21502"/>
                  <a:pt x="20030" y="21501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sysDash"/>
            <a:miter lim="400000"/>
          </a:ln>
        </p:spPr>
        <p:txBody>
          <a:bodyPr lIns="0" tIns="0" rIns="0" bIns="0" anchor="ctr"/>
          <a:lstStyle/>
          <a:p>
            <a:pPr defTabSz="1528703"/>
            <a:endParaRPr sz="1400" dirty="0">
              <a:solidFill>
                <a:srgbClr val="FFFFFF"/>
              </a:solidFill>
              <a:latin typeface="OPPOSans R"/>
              <a:ea typeface="OPPOSans R" panose="00020600040101010101" pitchFamily="18" charset="-122"/>
              <a:cs typeface="OPPOSans R" panose="00020600040101010101" pitchFamily="18" charset="-122"/>
              <a:sym typeface="Helvetica Neue Medium"/>
            </a:endParaRPr>
          </a:p>
        </p:txBody>
      </p:sp>
      <p:sp>
        <p:nvSpPr>
          <p:cNvPr id="45" name="Rounded Rectangle">
            <a:extLst>
              <a:ext uri="{FF2B5EF4-FFF2-40B4-BE49-F238E27FC236}">
                <a16:creationId xmlns:a16="http://schemas.microsoft.com/office/drawing/2014/main" id="{F50B7730-04D2-668E-C367-8B2D411A27A1}"/>
              </a:ext>
            </a:extLst>
          </p:cNvPr>
          <p:cNvSpPr/>
          <p:nvPr/>
        </p:nvSpPr>
        <p:spPr>
          <a:xfrm>
            <a:off x="8994492" y="5191945"/>
            <a:ext cx="2055943" cy="585855"/>
          </a:xfrm>
          <a:prstGeom prst="roundRect">
            <a:avLst>
              <a:gd name="adj" fmla="val 18173"/>
            </a:avLst>
          </a:prstGeom>
          <a:solidFill>
            <a:schemeClr val="tx1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sz="900" dirty="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Helvetica Neue Medium"/>
            </a:endParaRPr>
          </a:p>
        </p:txBody>
      </p:sp>
      <p:sp>
        <p:nvSpPr>
          <p:cNvPr id="62" name="稿定-31">
            <a:extLst>
              <a:ext uri="{FF2B5EF4-FFF2-40B4-BE49-F238E27FC236}">
                <a16:creationId xmlns:a16="http://schemas.microsoft.com/office/drawing/2014/main" id="{852CB714-C7E4-512A-BBC2-1ECE8419E49D}"/>
              </a:ext>
            </a:extLst>
          </p:cNvPr>
          <p:cNvSpPr/>
          <p:nvPr/>
        </p:nvSpPr>
        <p:spPr>
          <a:xfrm flipH="1">
            <a:off x="1226207" y="2831177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3" name="稿定-31">
            <a:extLst>
              <a:ext uri="{FF2B5EF4-FFF2-40B4-BE49-F238E27FC236}">
                <a16:creationId xmlns:a16="http://schemas.microsoft.com/office/drawing/2014/main" id="{EEAC3BE6-B44E-4AE5-A28A-90C77183970E}"/>
              </a:ext>
            </a:extLst>
          </p:cNvPr>
          <p:cNvSpPr/>
          <p:nvPr/>
        </p:nvSpPr>
        <p:spPr>
          <a:xfrm flipH="1">
            <a:off x="1226207" y="3682661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4" name="稿定-31">
            <a:extLst>
              <a:ext uri="{FF2B5EF4-FFF2-40B4-BE49-F238E27FC236}">
                <a16:creationId xmlns:a16="http://schemas.microsoft.com/office/drawing/2014/main" id="{1235169E-ECE1-90C5-3927-909078600152}"/>
              </a:ext>
            </a:extLst>
          </p:cNvPr>
          <p:cNvSpPr/>
          <p:nvPr/>
        </p:nvSpPr>
        <p:spPr>
          <a:xfrm flipH="1">
            <a:off x="1226207" y="4494456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5" name="稿定-31">
            <a:extLst>
              <a:ext uri="{FF2B5EF4-FFF2-40B4-BE49-F238E27FC236}">
                <a16:creationId xmlns:a16="http://schemas.microsoft.com/office/drawing/2014/main" id="{28DB77D6-B8B1-5D4D-CCC4-83A7D0D1460D}"/>
              </a:ext>
            </a:extLst>
          </p:cNvPr>
          <p:cNvSpPr/>
          <p:nvPr/>
        </p:nvSpPr>
        <p:spPr>
          <a:xfrm flipH="1">
            <a:off x="1226207" y="5308413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6" name="稿定-31">
            <a:extLst>
              <a:ext uri="{FF2B5EF4-FFF2-40B4-BE49-F238E27FC236}">
                <a16:creationId xmlns:a16="http://schemas.microsoft.com/office/drawing/2014/main" id="{8FF279F0-FF0B-9FB0-D0AE-F6EC0EFBE092}"/>
              </a:ext>
            </a:extLst>
          </p:cNvPr>
          <p:cNvSpPr/>
          <p:nvPr/>
        </p:nvSpPr>
        <p:spPr>
          <a:xfrm flipH="1">
            <a:off x="3884745" y="2831177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7" name="稿定-31">
            <a:extLst>
              <a:ext uri="{FF2B5EF4-FFF2-40B4-BE49-F238E27FC236}">
                <a16:creationId xmlns:a16="http://schemas.microsoft.com/office/drawing/2014/main" id="{9895C939-DA65-2E36-6971-0729DFD730A2}"/>
              </a:ext>
            </a:extLst>
          </p:cNvPr>
          <p:cNvSpPr/>
          <p:nvPr/>
        </p:nvSpPr>
        <p:spPr>
          <a:xfrm flipH="1">
            <a:off x="3884745" y="3682661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8" name="稿定-31">
            <a:extLst>
              <a:ext uri="{FF2B5EF4-FFF2-40B4-BE49-F238E27FC236}">
                <a16:creationId xmlns:a16="http://schemas.microsoft.com/office/drawing/2014/main" id="{C8ECCA76-0C3F-D312-2731-4BA9933E2186}"/>
              </a:ext>
            </a:extLst>
          </p:cNvPr>
          <p:cNvSpPr/>
          <p:nvPr/>
        </p:nvSpPr>
        <p:spPr>
          <a:xfrm flipH="1">
            <a:off x="3884745" y="4494456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9" name="稿定-31">
            <a:extLst>
              <a:ext uri="{FF2B5EF4-FFF2-40B4-BE49-F238E27FC236}">
                <a16:creationId xmlns:a16="http://schemas.microsoft.com/office/drawing/2014/main" id="{D2DA3199-D712-5E6B-50A1-D38C03E721C1}"/>
              </a:ext>
            </a:extLst>
          </p:cNvPr>
          <p:cNvSpPr/>
          <p:nvPr/>
        </p:nvSpPr>
        <p:spPr>
          <a:xfrm flipH="1">
            <a:off x="3884745" y="5308413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0" name="稿定-31">
            <a:extLst>
              <a:ext uri="{FF2B5EF4-FFF2-40B4-BE49-F238E27FC236}">
                <a16:creationId xmlns:a16="http://schemas.microsoft.com/office/drawing/2014/main" id="{C1B4FD52-367A-5FB4-1917-B6C439E2014A}"/>
              </a:ext>
            </a:extLst>
          </p:cNvPr>
          <p:cNvSpPr/>
          <p:nvPr/>
        </p:nvSpPr>
        <p:spPr>
          <a:xfrm flipH="1">
            <a:off x="6529011" y="2831177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1" name="稿定-31">
            <a:extLst>
              <a:ext uri="{FF2B5EF4-FFF2-40B4-BE49-F238E27FC236}">
                <a16:creationId xmlns:a16="http://schemas.microsoft.com/office/drawing/2014/main" id="{1632FAA1-93E4-DC46-1C87-D5E906BF50D0}"/>
              </a:ext>
            </a:extLst>
          </p:cNvPr>
          <p:cNvSpPr/>
          <p:nvPr/>
        </p:nvSpPr>
        <p:spPr>
          <a:xfrm flipH="1">
            <a:off x="6529011" y="3682661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2" name="稿定-31">
            <a:extLst>
              <a:ext uri="{FF2B5EF4-FFF2-40B4-BE49-F238E27FC236}">
                <a16:creationId xmlns:a16="http://schemas.microsoft.com/office/drawing/2014/main" id="{7E47BDEE-B08F-5874-5698-FAF44E25CFBD}"/>
              </a:ext>
            </a:extLst>
          </p:cNvPr>
          <p:cNvSpPr/>
          <p:nvPr/>
        </p:nvSpPr>
        <p:spPr>
          <a:xfrm flipH="1">
            <a:off x="6529011" y="4494456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3" name="稿定-31">
            <a:extLst>
              <a:ext uri="{FF2B5EF4-FFF2-40B4-BE49-F238E27FC236}">
                <a16:creationId xmlns:a16="http://schemas.microsoft.com/office/drawing/2014/main" id="{DCF6C9C8-3651-FBD5-B239-81A2416CF028}"/>
              </a:ext>
            </a:extLst>
          </p:cNvPr>
          <p:cNvSpPr/>
          <p:nvPr/>
        </p:nvSpPr>
        <p:spPr>
          <a:xfrm flipH="1">
            <a:off x="6529011" y="5308413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4" name="稿定-31">
            <a:extLst>
              <a:ext uri="{FF2B5EF4-FFF2-40B4-BE49-F238E27FC236}">
                <a16:creationId xmlns:a16="http://schemas.microsoft.com/office/drawing/2014/main" id="{BD5EFAB8-5C12-DE28-C37E-B7DD009D00CF}"/>
              </a:ext>
            </a:extLst>
          </p:cNvPr>
          <p:cNvSpPr/>
          <p:nvPr/>
        </p:nvSpPr>
        <p:spPr>
          <a:xfrm flipH="1">
            <a:off x="9187549" y="2831177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5" name="稿定-31">
            <a:extLst>
              <a:ext uri="{FF2B5EF4-FFF2-40B4-BE49-F238E27FC236}">
                <a16:creationId xmlns:a16="http://schemas.microsoft.com/office/drawing/2014/main" id="{EE0F8089-9632-07D4-3749-0BBC54BD7181}"/>
              </a:ext>
            </a:extLst>
          </p:cNvPr>
          <p:cNvSpPr/>
          <p:nvPr/>
        </p:nvSpPr>
        <p:spPr>
          <a:xfrm flipH="1">
            <a:off x="9187549" y="3682661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6" name="稿定-31">
            <a:extLst>
              <a:ext uri="{FF2B5EF4-FFF2-40B4-BE49-F238E27FC236}">
                <a16:creationId xmlns:a16="http://schemas.microsoft.com/office/drawing/2014/main" id="{03F97AA3-664C-3B42-3FCC-9298A52A290A}"/>
              </a:ext>
            </a:extLst>
          </p:cNvPr>
          <p:cNvSpPr/>
          <p:nvPr/>
        </p:nvSpPr>
        <p:spPr>
          <a:xfrm flipH="1">
            <a:off x="9187549" y="4494456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7" name="稿定-31">
            <a:extLst>
              <a:ext uri="{FF2B5EF4-FFF2-40B4-BE49-F238E27FC236}">
                <a16:creationId xmlns:a16="http://schemas.microsoft.com/office/drawing/2014/main" id="{7C713BE3-09A8-DC0A-DA5A-16918AB72E4B}"/>
              </a:ext>
            </a:extLst>
          </p:cNvPr>
          <p:cNvSpPr/>
          <p:nvPr/>
        </p:nvSpPr>
        <p:spPr>
          <a:xfrm flipH="1">
            <a:off x="9187549" y="5308413"/>
            <a:ext cx="1668911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lang="en-US" sz="8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8" name="稿定-9">
            <a:extLst>
              <a:ext uri="{FF2B5EF4-FFF2-40B4-BE49-F238E27FC236}">
                <a16:creationId xmlns:a16="http://schemas.microsoft.com/office/drawing/2014/main" id="{3209D2C0-0267-F61F-30B3-74191CE8116F}"/>
              </a:ext>
            </a:extLst>
          </p:cNvPr>
          <p:cNvSpPr/>
          <p:nvPr/>
        </p:nvSpPr>
        <p:spPr>
          <a:xfrm flipH="1">
            <a:off x="1514490" y="2036007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9" name="稿定-9">
            <a:extLst>
              <a:ext uri="{FF2B5EF4-FFF2-40B4-BE49-F238E27FC236}">
                <a16:creationId xmlns:a16="http://schemas.microsoft.com/office/drawing/2014/main" id="{25937048-B759-8E76-A253-890ADD2ED7CB}"/>
              </a:ext>
            </a:extLst>
          </p:cNvPr>
          <p:cNvSpPr/>
          <p:nvPr/>
        </p:nvSpPr>
        <p:spPr>
          <a:xfrm flipH="1">
            <a:off x="4173028" y="2036007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0" name="稿定-9">
            <a:extLst>
              <a:ext uri="{FF2B5EF4-FFF2-40B4-BE49-F238E27FC236}">
                <a16:creationId xmlns:a16="http://schemas.microsoft.com/office/drawing/2014/main" id="{FB0D40ED-F8CC-5656-BA1B-7F51F1727C24}"/>
              </a:ext>
            </a:extLst>
          </p:cNvPr>
          <p:cNvSpPr/>
          <p:nvPr/>
        </p:nvSpPr>
        <p:spPr>
          <a:xfrm flipH="1">
            <a:off x="6804729" y="2036007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1" name="稿定-9">
            <a:extLst>
              <a:ext uri="{FF2B5EF4-FFF2-40B4-BE49-F238E27FC236}">
                <a16:creationId xmlns:a16="http://schemas.microsoft.com/office/drawing/2014/main" id="{5D0D5119-897D-566B-1601-55D66BF75FDA}"/>
              </a:ext>
            </a:extLst>
          </p:cNvPr>
          <p:cNvSpPr/>
          <p:nvPr/>
        </p:nvSpPr>
        <p:spPr>
          <a:xfrm flipH="1">
            <a:off x="9463267" y="2036007"/>
            <a:ext cx="1092344" cy="2944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771863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>
            <a:extLst>
              <a:ext uri="{FF2B5EF4-FFF2-40B4-BE49-F238E27FC236}">
                <a16:creationId xmlns:a16="http://schemas.microsoft.com/office/drawing/2014/main" id="{92D72626-3E63-401B-92C1-D05CFC188B7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1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/>
              <a:cs typeface="+mn-cs"/>
            </a:endParaRPr>
          </a:p>
        </p:txBody>
      </p:sp>
      <p:sp>
        <p:nvSpPr>
          <p:cNvPr id="113" name="任意多边形: 形状 112">
            <a:extLst>
              <a:ext uri="{FF2B5EF4-FFF2-40B4-BE49-F238E27FC236}">
                <a16:creationId xmlns:a16="http://schemas.microsoft.com/office/drawing/2014/main" id="{CFA36D87-B719-4CB1-B851-925D96CA1BBA}"/>
              </a:ext>
            </a:extLst>
          </p:cNvPr>
          <p:cNvSpPr/>
          <p:nvPr/>
        </p:nvSpPr>
        <p:spPr>
          <a:xfrm>
            <a:off x="2153254" y="3631156"/>
            <a:ext cx="7885495" cy="3226845"/>
          </a:xfrm>
          <a:custGeom>
            <a:avLst/>
            <a:gdLst>
              <a:gd name="connsiteX0" fmla="*/ 3942747 w 7885495"/>
              <a:gd name="connsiteY0" fmla="*/ 0 h 3226845"/>
              <a:gd name="connsiteX1" fmla="*/ 7882691 w 7885495"/>
              <a:gd name="connsiteY1" fmla="*/ 3211148 h 3226845"/>
              <a:gd name="connsiteX2" fmla="*/ 7885495 w 7885495"/>
              <a:gd name="connsiteY2" fmla="*/ 3226845 h 3226845"/>
              <a:gd name="connsiteX3" fmla="*/ 0 w 7885495"/>
              <a:gd name="connsiteY3" fmla="*/ 3226845 h 3226845"/>
              <a:gd name="connsiteX4" fmla="*/ 2803 w 7885495"/>
              <a:gd name="connsiteY4" fmla="*/ 3211148 h 3226845"/>
              <a:gd name="connsiteX5" fmla="*/ 3942747 w 7885495"/>
              <a:gd name="connsiteY5" fmla="*/ 0 h 3226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85495" h="3226845">
                <a:moveTo>
                  <a:pt x="3942747" y="0"/>
                </a:moveTo>
                <a:cubicBezTo>
                  <a:pt x="5886206" y="0"/>
                  <a:pt x="7507688" y="1378550"/>
                  <a:pt x="7882691" y="3211148"/>
                </a:cubicBezTo>
                <a:lnTo>
                  <a:pt x="7885495" y="3226845"/>
                </a:lnTo>
                <a:lnTo>
                  <a:pt x="0" y="3226845"/>
                </a:lnTo>
                <a:lnTo>
                  <a:pt x="2803" y="3211148"/>
                </a:lnTo>
                <a:cubicBezTo>
                  <a:pt x="377807" y="1378550"/>
                  <a:pt x="1999288" y="0"/>
                  <a:pt x="3942747" y="0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30" name="图形 1">
            <a:extLst>
              <a:ext uri="{FF2B5EF4-FFF2-40B4-BE49-F238E27FC236}">
                <a16:creationId xmlns:a16="http://schemas.microsoft.com/office/drawing/2014/main" id="{9A8E9196-2579-4F85-B8D7-905215766F6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6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740" y="1358759"/>
            <a:ext cx="4392521" cy="5499242"/>
          </a:xfrm>
          <a:custGeom>
            <a:avLst/>
            <a:gdLst>
              <a:gd name="connsiteX0" fmla="*/ 0 w 4388755"/>
              <a:gd name="connsiteY0" fmla="*/ 0 h 5494528"/>
              <a:gd name="connsiteX1" fmla="*/ 4388755 w 4388755"/>
              <a:gd name="connsiteY1" fmla="*/ 0 h 5494528"/>
              <a:gd name="connsiteX2" fmla="*/ 4388755 w 4388755"/>
              <a:gd name="connsiteY2" fmla="*/ 5494528 h 5494528"/>
              <a:gd name="connsiteX3" fmla="*/ 0 w 4388755"/>
              <a:gd name="connsiteY3" fmla="*/ 5494528 h 5494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8755" h="5494528">
                <a:moveTo>
                  <a:pt x="0" y="0"/>
                </a:moveTo>
                <a:lnTo>
                  <a:pt x="4388755" y="0"/>
                </a:lnTo>
                <a:lnTo>
                  <a:pt x="4388755" y="5494528"/>
                </a:lnTo>
                <a:lnTo>
                  <a:pt x="0" y="5494528"/>
                </a:lnTo>
                <a:close/>
              </a:path>
            </a:pathLst>
          </a:custGeom>
        </p:spPr>
      </p:pic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971E5C9F-854C-4736-B2E8-1B4A6D463977}"/>
              </a:ext>
            </a:extLst>
          </p:cNvPr>
          <p:cNvCxnSpPr>
            <a:cxnSpLocks/>
          </p:cNvCxnSpPr>
          <p:nvPr/>
        </p:nvCxnSpPr>
        <p:spPr>
          <a:xfrm rot="1200000">
            <a:off x="5257920" y="2559103"/>
            <a:ext cx="1549400" cy="0"/>
          </a:xfrm>
          <a:prstGeom prst="line">
            <a:avLst/>
          </a:prstGeom>
          <a:ln w="76200" cap="rnd">
            <a:solidFill>
              <a:schemeClr val="accent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7A9A4BA6-472D-4AB6-A6E6-7BE34C75712C}"/>
              </a:ext>
            </a:extLst>
          </p:cNvPr>
          <p:cNvCxnSpPr>
            <a:cxnSpLocks/>
          </p:cNvCxnSpPr>
          <p:nvPr/>
        </p:nvCxnSpPr>
        <p:spPr>
          <a:xfrm rot="20400000" flipV="1">
            <a:off x="5257920" y="3126043"/>
            <a:ext cx="1549400" cy="0"/>
          </a:xfrm>
          <a:prstGeom prst="line">
            <a:avLst/>
          </a:prstGeom>
          <a:ln w="76200" cap="rnd">
            <a:solidFill>
              <a:schemeClr val="accent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1BCD12F3-79BF-415F-9FEB-474BD19960AD}"/>
              </a:ext>
            </a:extLst>
          </p:cNvPr>
          <p:cNvCxnSpPr>
            <a:cxnSpLocks/>
          </p:cNvCxnSpPr>
          <p:nvPr/>
        </p:nvCxnSpPr>
        <p:spPr>
          <a:xfrm rot="1200000">
            <a:off x="5257920" y="3692983"/>
            <a:ext cx="1549400" cy="0"/>
          </a:xfrm>
          <a:prstGeom prst="line">
            <a:avLst/>
          </a:prstGeom>
          <a:ln w="76200" cap="rnd">
            <a:solidFill>
              <a:schemeClr val="accent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D8F42BE4-77F4-4AC8-ACF7-A9CEF6F2828F}"/>
              </a:ext>
            </a:extLst>
          </p:cNvPr>
          <p:cNvCxnSpPr>
            <a:cxnSpLocks/>
          </p:cNvCxnSpPr>
          <p:nvPr/>
        </p:nvCxnSpPr>
        <p:spPr>
          <a:xfrm rot="20400000" flipV="1">
            <a:off x="5257920" y="4259923"/>
            <a:ext cx="1549400" cy="0"/>
          </a:xfrm>
          <a:prstGeom prst="line">
            <a:avLst/>
          </a:prstGeom>
          <a:ln w="76200" cap="rnd">
            <a:solidFill>
              <a:schemeClr val="accent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9E62AA37-6B55-4C3C-9E85-C4DD72C34B4D}"/>
              </a:ext>
            </a:extLst>
          </p:cNvPr>
          <p:cNvCxnSpPr>
            <a:cxnSpLocks/>
          </p:cNvCxnSpPr>
          <p:nvPr/>
        </p:nvCxnSpPr>
        <p:spPr>
          <a:xfrm rot="1200000">
            <a:off x="5257920" y="4826864"/>
            <a:ext cx="1549400" cy="0"/>
          </a:xfrm>
          <a:prstGeom prst="line">
            <a:avLst/>
          </a:prstGeom>
          <a:ln w="76200" cap="rnd">
            <a:solidFill>
              <a:schemeClr val="accent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椭圆 54">
            <a:extLst>
              <a:ext uri="{FF2B5EF4-FFF2-40B4-BE49-F238E27FC236}">
                <a16:creationId xmlns:a16="http://schemas.microsoft.com/office/drawing/2014/main" id="{8EE9AB73-5524-4EDB-9806-63542F3E6FB0}"/>
              </a:ext>
            </a:extLst>
          </p:cNvPr>
          <p:cNvSpPr/>
          <p:nvPr/>
        </p:nvSpPr>
        <p:spPr>
          <a:xfrm>
            <a:off x="6716691" y="2761814"/>
            <a:ext cx="186832" cy="1868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0E0D5775-307E-4F2D-B214-0928F84F60E8}"/>
              </a:ext>
            </a:extLst>
          </p:cNvPr>
          <p:cNvSpPr/>
          <p:nvPr/>
        </p:nvSpPr>
        <p:spPr>
          <a:xfrm>
            <a:off x="6758530" y="2803653"/>
            <a:ext cx="103155" cy="10315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8" name="六边形 57">
            <a:extLst>
              <a:ext uri="{FF2B5EF4-FFF2-40B4-BE49-F238E27FC236}">
                <a16:creationId xmlns:a16="http://schemas.microsoft.com/office/drawing/2014/main" id="{1FE80994-08FF-45D8-9947-278E218F08D1}"/>
              </a:ext>
            </a:extLst>
          </p:cNvPr>
          <p:cNvSpPr/>
          <p:nvPr/>
        </p:nvSpPr>
        <p:spPr>
          <a:xfrm rot="5400000">
            <a:off x="6937056" y="2492373"/>
            <a:ext cx="841828" cy="725714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9" name="六边形 58">
            <a:extLst>
              <a:ext uri="{FF2B5EF4-FFF2-40B4-BE49-F238E27FC236}">
                <a16:creationId xmlns:a16="http://schemas.microsoft.com/office/drawing/2014/main" id="{AF802C5D-D72D-4DD8-8B9F-265954546DCC}"/>
              </a:ext>
            </a:extLst>
          </p:cNvPr>
          <p:cNvSpPr/>
          <p:nvPr/>
        </p:nvSpPr>
        <p:spPr>
          <a:xfrm rot="5400000">
            <a:off x="7013256" y="2558063"/>
            <a:ext cx="689428" cy="594335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34" name="图形 73">
            <a:extLst>
              <a:ext uri="{FF2B5EF4-FFF2-40B4-BE49-F238E27FC236}">
                <a16:creationId xmlns:a16="http://schemas.microsoft.com/office/drawing/2014/main" id="{1E2789C8-2EB6-4EBA-812F-65A1BEC7E97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1862" y="2619430"/>
            <a:ext cx="472216" cy="471600"/>
          </a:xfrm>
          <a:custGeom>
            <a:avLst/>
            <a:gdLst>
              <a:gd name="connsiteX0" fmla="*/ 0 w 472216"/>
              <a:gd name="connsiteY0" fmla="*/ 0 h 471600"/>
              <a:gd name="connsiteX1" fmla="*/ 472216 w 472216"/>
              <a:gd name="connsiteY1" fmla="*/ 0 h 471600"/>
              <a:gd name="connsiteX2" fmla="*/ 472216 w 472216"/>
              <a:gd name="connsiteY2" fmla="*/ 471600 h 471600"/>
              <a:gd name="connsiteX3" fmla="*/ 0 w 472216"/>
              <a:gd name="connsiteY3" fmla="*/ 471600 h 4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2216" h="471600">
                <a:moveTo>
                  <a:pt x="0" y="0"/>
                </a:moveTo>
                <a:lnTo>
                  <a:pt x="472216" y="0"/>
                </a:lnTo>
                <a:lnTo>
                  <a:pt x="472216" y="471600"/>
                </a:lnTo>
                <a:lnTo>
                  <a:pt x="0" y="471600"/>
                </a:lnTo>
                <a:close/>
              </a:path>
            </a:pathLst>
          </a:custGeom>
        </p:spPr>
      </p:pic>
      <p:sp>
        <p:nvSpPr>
          <p:cNvPr id="89" name="文本框 88">
            <a:extLst>
              <a:ext uri="{FF2B5EF4-FFF2-40B4-BE49-F238E27FC236}">
                <a16:creationId xmlns:a16="http://schemas.microsoft.com/office/drawing/2014/main" id="{A236F441-02C3-4B29-9855-D16660DEF3F7}"/>
              </a:ext>
            </a:extLst>
          </p:cNvPr>
          <p:cNvSpPr txBox="1"/>
          <p:nvPr/>
        </p:nvSpPr>
        <p:spPr>
          <a:xfrm>
            <a:off x="8092698" y="2428245"/>
            <a:ext cx="24014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90" name="稿定PPT-11-2">
            <a:extLst>
              <a:ext uri="{FF2B5EF4-FFF2-40B4-BE49-F238E27FC236}">
                <a16:creationId xmlns:a16="http://schemas.microsoft.com/office/drawing/2014/main" id="{DB9B49AE-0523-4D59-9189-5B1228EFC17B}"/>
              </a:ext>
            </a:extLst>
          </p:cNvPr>
          <p:cNvSpPr txBox="1"/>
          <p:nvPr/>
        </p:nvSpPr>
        <p:spPr>
          <a:xfrm>
            <a:off x="8092698" y="2668393"/>
            <a:ext cx="2824081" cy="5294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找到适合的模板。</a:t>
            </a:r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32D5C333-BFD2-4AD0-9681-AC508108C1A4}"/>
              </a:ext>
            </a:extLst>
          </p:cNvPr>
          <p:cNvSpPr/>
          <p:nvPr/>
        </p:nvSpPr>
        <p:spPr>
          <a:xfrm>
            <a:off x="6716691" y="3894058"/>
            <a:ext cx="186832" cy="186832"/>
          </a:xfrm>
          <a:prstGeom prst="ellipse">
            <a:avLst/>
          </a:prstGeom>
          <a:solidFill>
            <a:srgbClr val="9A90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EF1088E1-075A-46E8-8BAC-574D4AC8D0DB}"/>
              </a:ext>
            </a:extLst>
          </p:cNvPr>
          <p:cNvSpPr/>
          <p:nvPr/>
        </p:nvSpPr>
        <p:spPr>
          <a:xfrm>
            <a:off x="6758530" y="3935897"/>
            <a:ext cx="103155" cy="10315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4" name="六边形 63">
            <a:extLst>
              <a:ext uri="{FF2B5EF4-FFF2-40B4-BE49-F238E27FC236}">
                <a16:creationId xmlns:a16="http://schemas.microsoft.com/office/drawing/2014/main" id="{AF065321-DC18-4FBB-B703-EC32D336F34D}"/>
              </a:ext>
            </a:extLst>
          </p:cNvPr>
          <p:cNvSpPr/>
          <p:nvPr/>
        </p:nvSpPr>
        <p:spPr>
          <a:xfrm rot="5400000">
            <a:off x="6937056" y="3624617"/>
            <a:ext cx="841828" cy="725714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5" name="六边形 64">
            <a:extLst>
              <a:ext uri="{FF2B5EF4-FFF2-40B4-BE49-F238E27FC236}">
                <a16:creationId xmlns:a16="http://schemas.microsoft.com/office/drawing/2014/main" id="{34D7EBF0-8260-4B1D-89ED-48F67CDBFEE9}"/>
              </a:ext>
            </a:extLst>
          </p:cNvPr>
          <p:cNvSpPr/>
          <p:nvPr/>
        </p:nvSpPr>
        <p:spPr>
          <a:xfrm rot="5400000">
            <a:off x="7013256" y="3690307"/>
            <a:ext cx="689428" cy="594335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35" name="图形 79">
            <a:extLst>
              <a:ext uri="{FF2B5EF4-FFF2-40B4-BE49-F238E27FC236}">
                <a16:creationId xmlns:a16="http://schemas.microsoft.com/office/drawing/2014/main" id="{004FED0A-36A9-4A4D-B1CD-78CF6CFADD5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8140" y="3751674"/>
            <a:ext cx="459661" cy="471599"/>
          </a:xfrm>
          <a:custGeom>
            <a:avLst/>
            <a:gdLst>
              <a:gd name="connsiteX0" fmla="*/ 0 w 459661"/>
              <a:gd name="connsiteY0" fmla="*/ 0 h 471599"/>
              <a:gd name="connsiteX1" fmla="*/ 459661 w 459661"/>
              <a:gd name="connsiteY1" fmla="*/ 0 h 471599"/>
              <a:gd name="connsiteX2" fmla="*/ 459661 w 459661"/>
              <a:gd name="connsiteY2" fmla="*/ 471600 h 471599"/>
              <a:gd name="connsiteX3" fmla="*/ 0 w 459661"/>
              <a:gd name="connsiteY3" fmla="*/ 471600 h 47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661" h="471599">
                <a:moveTo>
                  <a:pt x="0" y="0"/>
                </a:moveTo>
                <a:lnTo>
                  <a:pt x="459661" y="0"/>
                </a:lnTo>
                <a:lnTo>
                  <a:pt x="459661" y="471600"/>
                </a:lnTo>
                <a:lnTo>
                  <a:pt x="0" y="471600"/>
                </a:lnTo>
                <a:close/>
              </a:path>
            </a:pathLst>
          </a:custGeom>
        </p:spPr>
      </p:pic>
      <p:sp>
        <p:nvSpPr>
          <p:cNvPr id="93" name="文本框 92">
            <a:extLst>
              <a:ext uri="{FF2B5EF4-FFF2-40B4-BE49-F238E27FC236}">
                <a16:creationId xmlns:a16="http://schemas.microsoft.com/office/drawing/2014/main" id="{9BD95FAB-1DB4-4ACA-9532-4475407240AC}"/>
              </a:ext>
            </a:extLst>
          </p:cNvPr>
          <p:cNvSpPr txBox="1"/>
          <p:nvPr/>
        </p:nvSpPr>
        <p:spPr>
          <a:xfrm>
            <a:off x="8092698" y="3560489"/>
            <a:ext cx="24014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94" name="稿定PPT-11-2">
            <a:extLst>
              <a:ext uri="{FF2B5EF4-FFF2-40B4-BE49-F238E27FC236}">
                <a16:creationId xmlns:a16="http://schemas.microsoft.com/office/drawing/2014/main" id="{78BFD5D1-37B4-4621-98AA-E1B54662EC0F}"/>
              </a:ext>
            </a:extLst>
          </p:cNvPr>
          <p:cNvSpPr txBox="1"/>
          <p:nvPr/>
        </p:nvSpPr>
        <p:spPr>
          <a:xfrm>
            <a:off x="8092698" y="3800637"/>
            <a:ext cx="2824081" cy="5294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找到适合的模板。</a:t>
            </a:r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077748F8-FC22-4B3E-8459-9314E7D009D8}"/>
              </a:ext>
            </a:extLst>
          </p:cNvPr>
          <p:cNvSpPr/>
          <p:nvPr/>
        </p:nvSpPr>
        <p:spPr>
          <a:xfrm>
            <a:off x="6716691" y="5026303"/>
            <a:ext cx="186832" cy="186832"/>
          </a:xfrm>
          <a:prstGeom prst="ellipse">
            <a:avLst/>
          </a:prstGeom>
          <a:solidFill>
            <a:srgbClr val="BBA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6115509B-B32D-4F2A-8AC6-8165FBF3EA9D}"/>
              </a:ext>
            </a:extLst>
          </p:cNvPr>
          <p:cNvSpPr/>
          <p:nvPr/>
        </p:nvSpPr>
        <p:spPr>
          <a:xfrm>
            <a:off x="6758530" y="5068142"/>
            <a:ext cx="103155" cy="10315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9" name="六边形 68">
            <a:extLst>
              <a:ext uri="{FF2B5EF4-FFF2-40B4-BE49-F238E27FC236}">
                <a16:creationId xmlns:a16="http://schemas.microsoft.com/office/drawing/2014/main" id="{027B99C2-1FBF-4346-96A1-F8ADA4EDEE1D}"/>
              </a:ext>
            </a:extLst>
          </p:cNvPr>
          <p:cNvSpPr/>
          <p:nvPr/>
        </p:nvSpPr>
        <p:spPr>
          <a:xfrm rot="5400000">
            <a:off x="6937056" y="4756862"/>
            <a:ext cx="841828" cy="72571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0" name="六边形 69">
            <a:extLst>
              <a:ext uri="{FF2B5EF4-FFF2-40B4-BE49-F238E27FC236}">
                <a16:creationId xmlns:a16="http://schemas.microsoft.com/office/drawing/2014/main" id="{62A2A371-DDB4-4BAA-A137-831BB2CAB10F}"/>
              </a:ext>
            </a:extLst>
          </p:cNvPr>
          <p:cNvSpPr/>
          <p:nvPr/>
        </p:nvSpPr>
        <p:spPr>
          <a:xfrm rot="5400000">
            <a:off x="7013256" y="4822552"/>
            <a:ext cx="689428" cy="594335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36" name="图形 76">
            <a:extLst>
              <a:ext uri="{FF2B5EF4-FFF2-40B4-BE49-F238E27FC236}">
                <a16:creationId xmlns:a16="http://schemas.microsoft.com/office/drawing/2014/main" id="{204638E7-1B41-4CDD-976B-6E6CA3D9D7B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1871" y="4883919"/>
            <a:ext cx="472198" cy="471600"/>
          </a:xfrm>
          <a:custGeom>
            <a:avLst/>
            <a:gdLst>
              <a:gd name="connsiteX0" fmla="*/ 0 w 472198"/>
              <a:gd name="connsiteY0" fmla="*/ 0 h 471600"/>
              <a:gd name="connsiteX1" fmla="*/ 472198 w 472198"/>
              <a:gd name="connsiteY1" fmla="*/ 0 h 471600"/>
              <a:gd name="connsiteX2" fmla="*/ 472198 w 472198"/>
              <a:gd name="connsiteY2" fmla="*/ 471600 h 471600"/>
              <a:gd name="connsiteX3" fmla="*/ 0 w 472198"/>
              <a:gd name="connsiteY3" fmla="*/ 471600 h 4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2198" h="471600">
                <a:moveTo>
                  <a:pt x="0" y="0"/>
                </a:moveTo>
                <a:lnTo>
                  <a:pt x="472198" y="0"/>
                </a:lnTo>
                <a:lnTo>
                  <a:pt x="472198" y="471600"/>
                </a:lnTo>
                <a:lnTo>
                  <a:pt x="0" y="471600"/>
                </a:lnTo>
                <a:close/>
              </a:path>
            </a:pathLst>
          </a:custGeom>
        </p:spPr>
      </p:pic>
      <p:sp>
        <p:nvSpPr>
          <p:cNvPr id="96" name="文本框 95">
            <a:extLst>
              <a:ext uri="{FF2B5EF4-FFF2-40B4-BE49-F238E27FC236}">
                <a16:creationId xmlns:a16="http://schemas.microsoft.com/office/drawing/2014/main" id="{2CE37CA6-4659-47B7-BD7E-94E61039F0AC}"/>
              </a:ext>
            </a:extLst>
          </p:cNvPr>
          <p:cNvSpPr txBox="1"/>
          <p:nvPr/>
        </p:nvSpPr>
        <p:spPr>
          <a:xfrm>
            <a:off x="8092698" y="4692734"/>
            <a:ext cx="24014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97" name="稿定PPT-11-2">
            <a:extLst>
              <a:ext uri="{FF2B5EF4-FFF2-40B4-BE49-F238E27FC236}">
                <a16:creationId xmlns:a16="http://schemas.microsoft.com/office/drawing/2014/main" id="{F19C1745-37C9-476C-A7D5-FB2797F13450}"/>
              </a:ext>
            </a:extLst>
          </p:cNvPr>
          <p:cNvSpPr txBox="1"/>
          <p:nvPr/>
        </p:nvSpPr>
        <p:spPr>
          <a:xfrm>
            <a:off x="8092698" y="4932882"/>
            <a:ext cx="2824081" cy="5294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找到适合的模板。</a:t>
            </a:r>
          </a:p>
        </p:txBody>
      </p:sp>
      <p:sp>
        <p:nvSpPr>
          <p:cNvPr id="10" name="六边形 9">
            <a:extLst>
              <a:ext uri="{FF2B5EF4-FFF2-40B4-BE49-F238E27FC236}">
                <a16:creationId xmlns:a16="http://schemas.microsoft.com/office/drawing/2014/main" id="{26F671AE-D4BE-477D-9061-50008D18C3EF}"/>
              </a:ext>
            </a:extLst>
          </p:cNvPr>
          <p:cNvSpPr/>
          <p:nvPr/>
        </p:nvSpPr>
        <p:spPr>
          <a:xfrm rot="5400000">
            <a:off x="4327645" y="1926251"/>
            <a:ext cx="841828" cy="725714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" name="六边形 10">
            <a:extLst>
              <a:ext uri="{FF2B5EF4-FFF2-40B4-BE49-F238E27FC236}">
                <a16:creationId xmlns:a16="http://schemas.microsoft.com/office/drawing/2014/main" id="{18A332A2-5FC7-4ACD-8E60-C7E490D5760F}"/>
              </a:ext>
            </a:extLst>
          </p:cNvPr>
          <p:cNvSpPr/>
          <p:nvPr/>
        </p:nvSpPr>
        <p:spPr>
          <a:xfrm rot="5400000">
            <a:off x="4403845" y="1991941"/>
            <a:ext cx="689428" cy="594335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31" name="图形 12">
            <a:extLst>
              <a:ext uri="{FF2B5EF4-FFF2-40B4-BE49-F238E27FC236}">
                <a16:creationId xmlns:a16="http://schemas.microsoft.com/office/drawing/2014/main" id="{B7353521-96C8-4185-9166-B8FBE047E93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5144" y="2053308"/>
            <a:ext cx="426831" cy="471600"/>
          </a:xfrm>
          <a:custGeom>
            <a:avLst/>
            <a:gdLst>
              <a:gd name="connsiteX0" fmla="*/ 0 w 426831"/>
              <a:gd name="connsiteY0" fmla="*/ 0 h 471600"/>
              <a:gd name="connsiteX1" fmla="*/ 426831 w 426831"/>
              <a:gd name="connsiteY1" fmla="*/ 0 h 471600"/>
              <a:gd name="connsiteX2" fmla="*/ 426831 w 426831"/>
              <a:gd name="connsiteY2" fmla="*/ 471600 h 471600"/>
              <a:gd name="connsiteX3" fmla="*/ 0 w 426831"/>
              <a:gd name="connsiteY3" fmla="*/ 471600 h 4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831" h="471600">
                <a:moveTo>
                  <a:pt x="0" y="0"/>
                </a:moveTo>
                <a:lnTo>
                  <a:pt x="426831" y="0"/>
                </a:lnTo>
                <a:lnTo>
                  <a:pt x="426831" y="471600"/>
                </a:lnTo>
                <a:lnTo>
                  <a:pt x="0" y="471600"/>
                </a:lnTo>
                <a:close/>
              </a:path>
            </a:pathLst>
          </a:custGeom>
        </p:spPr>
      </p:pic>
      <p:sp>
        <p:nvSpPr>
          <p:cNvPr id="30" name="椭圆 29">
            <a:extLst>
              <a:ext uri="{FF2B5EF4-FFF2-40B4-BE49-F238E27FC236}">
                <a16:creationId xmlns:a16="http://schemas.microsoft.com/office/drawing/2014/main" id="{0A2031B6-2C4E-4493-BF77-70519B0024A8}"/>
              </a:ext>
            </a:extLst>
          </p:cNvPr>
          <p:cNvSpPr/>
          <p:nvPr/>
        </p:nvSpPr>
        <p:spPr>
          <a:xfrm>
            <a:off x="5205674" y="2195692"/>
            <a:ext cx="186832" cy="18683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09D1B6B8-478D-4DF9-80CD-388F824D5A67}"/>
              </a:ext>
            </a:extLst>
          </p:cNvPr>
          <p:cNvSpPr/>
          <p:nvPr/>
        </p:nvSpPr>
        <p:spPr>
          <a:xfrm>
            <a:off x="5247513" y="2237531"/>
            <a:ext cx="103155" cy="10315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9" name="文本框 98">
            <a:extLst>
              <a:ext uri="{FF2B5EF4-FFF2-40B4-BE49-F238E27FC236}">
                <a16:creationId xmlns:a16="http://schemas.microsoft.com/office/drawing/2014/main" id="{F41CBE9E-98E9-4626-9025-276845122A8D}"/>
              </a:ext>
            </a:extLst>
          </p:cNvPr>
          <p:cNvSpPr txBox="1"/>
          <p:nvPr/>
        </p:nvSpPr>
        <p:spPr>
          <a:xfrm>
            <a:off x="1697892" y="1862123"/>
            <a:ext cx="24014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100" name="稿定PPT-11-2">
            <a:extLst>
              <a:ext uri="{FF2B5EF4-FFF2-40B4-BE49-F238E27FC236}">
                <a16:creationId xmlns:a16="http://schemas.microsoft.com/office/drawing/2014/main" id="{4B56B741-6FD6-4A00-AE80-FADD6C70CD6E}"/>
              </a:ext>
            </a:extLst>
          </p:cNvPr>
          <p:cNvSpPr txBox="1"/>
          <p:nvPr/>
        </p:nvSpPr>
        <p:spPr>
          <a:xfrm>
            <a:off x="1275221" y="2102271"/>
            <a:ext cx="2824081" cy="5294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找到适合的模板。</a:t>
            </a: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73D7B0B3-C586-4A02-8DA1-99C3BAFBFBB4}"/>
              </a:ext>
            </a:extLst>
          </p:cNvPr>
          <p:cNvSpPr/>
          <p:nvPr/>
        </p:nvSpPr>
        <p:spPr>
          <a:xfrm>
            <a:off x="5205674" y="3327936"/>
            <a:ext cx="186832" cy="186832"/>
          </a:xfrm>
          <a:prstGeom prst="ellipse">
            <a:avLst/>
          </a:prstGeom>
          <a:solidFill>
            <a:srgbClr val="9A90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0C5C819E-FD7F-4506-BE41-7F788E17E245}"/>
              </a:ext>
            </a:extLst>
          </p:cNvPr>
          <p:cNvSpPr/>
          <p:nvPr/>
        </p:nvSpPr>
        <p:spPr>
          <a:xfrm>
            <a:off x="5247513" y="3369775"/>
            <a:ext cx="103155" cy="10315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6" name="六边形 15">
            <a:extLst>
              <a:ext uri="{FF2B5EF4-FFF2-40B4-BE49-F238E27FC236}">
                <a16:creationId xmlns:a16="http://schemas.microsoft.com/office/drawing/2014/main" id="{BD335FB1-48F5-44D1-A484-FBBEC7E79239}"/>
              </a:ext>
            </a:extLst>
          </p:cNvPr>
          <p:cNvSpPr/>
          <p:nvPr/>
        </p:nvSpPr>
        <p:spPr>
          <a:xfrm rot="5400000">
            <a:off x="4327723" y="3058495"/>
            <a:ext cx="841828" cy="725714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7" name="六边形 16">
            <a:extLst>
              <a:ext uri="{FF2B5EF4-FFF2-40B4-BE49-F238E27FC236}">
                <a16:creationId xmlns:a16="http://schemas.microsoft.com/office/drawing/2014/main" id="{AADD7B6F-0409-48BC-9487-CBB2A5A8CD9D}"/>
              </a:ext>
            </a:extLst>
          </p:cNvPr>
          <p:cNvSpPr/>
          <p:nvPr/>
        </p:nvSpPr>
        <p:spPr>
          <a:xfrm rot="5400000">
            <a:off x="4403923" y="3124185"/>
            <a:ext cx="689428" cy="594335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32" name="图形 40">
            <a:extLst>
              <a:ext uri="{FF2B5EF4-FFF2-40B4-BE49-F238E27FC236}">
                <a16:creationId xmlns:a16="http://schemas.microsoft.com/office/drawing/2014/main" id="{64EC8ADE-1B6A-4C7E-87C2-B02E383D342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6775" y="3185552"/>
            <a:ext cx="483724" cy="471600"/>
          </a:xfrm>
          <a:custGeom>
            <a:avLst/>
            <a:gdLst>
              <a:gd name="connsiteX0" fmla="*/ 0 w 483724"/>
              <a:gd name="connsiteY0" fmla="*/ 0 h 471600"/>
              <a:gd name="connsiteX1" fmla="*/ 483725 w 483724"/>
              <a:gd name="connsiteY1" fmla="*/ 0 h 471600"/>
              <a:gd name="connsiteX2" fmla="*/ 483725 w 483724"/>
              <a:gd name="connsiteY2" fmla="*/ 471600 h 471600"/>
              <a:gd name="connsiteX3" fmla="*/ 0 w 483724"/>
              <a:gd name="connsiteY3" fmla="*/ 471600 h 4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3724" h="471600">
                <a:moveTo>
                  <a:pt x="0" y="0"/>
                </a:moveTo>
                <a:lnTo>
                  <a:pt x="483725" y="0"/>
                </a:lnTo>
                <a:lnTo>
                  <a:pt x="483725" y="471600"/>
                </a:lnTo>
                <a:lnTo>
                  <a:pt x="0" y="471600"/>
                </a:lnTo>
                <a:close/>
              </a:path>
            </a:pathLst>
          </a:custGeom>
        </p:spPr>
      </p:pic>
      <p:sp>
        <p:nvSpPr>
          <p:cNvPr id="102" name="文本框 101">
            <a:extLst>
              <a:ext uri="{FF2B5EF4-FFF2-40B4-BE49-F238E27FC236}">
                <a16:creationId xmlns:a16="http://schemas.microsoft.com/office/drawing/2014/main" id="{6E7BB3CB-9A24-4DE6-B0F3-F141E8042696}"/>
              </a:ext>
            </a:extLst>
          </p:cNvPr>
          <p:cNvSpPr txBox="1"/>
          <p:nvPr/>
        </p:nvSpPr>
        <p:spPr>
          <a:xfrm>
            <a:off x="1697892" y="2994367"/>
            <a:ext cx="24014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103" name="稿定PPT-11-2">
            <a:extLst>
              <a:ext uri="{FF2B5EF4-FFF2-40B4-BE49-F238E27FC236}">
                <a16:creationId xmlns:a16="http://schemas.microsoft.com/office/drawing/2014/main" id="{AE1E6A54-EC52-43A0-9B50-ECAAEBF2F50B}"/>
              </a:ext>
            </a:extLst>
          </p:cNvPr>
          <p:cNvSpPr txBox="1"/>
          <p:nvPr/>
        </p:nvSpPr>
        <p:spPr>
          <a:xfrm>
            <a:off x="1275221" y="3234515"/>
            <a:ext cx="2824081" cy="5294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找到适合的模板。</a:t>
            </a: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4DFD52E7-12B4-4655-A59D-C60BBE58B90A}"/>
              </a:ext>
            </a:extLst>
          </p:cNvPr>
          <p:cNvSpPr/>
          <p:nvPr/>
        </p:nvSpPr>
        <p:spPr>
          <a:xfrm>
            <a:off x="5205674" y="4460180"/>
            <a:ext cx="186832" cy="186832"/>
          </a:xfrm>
          <a:prstGeom prst="ellipse">
            <a:avLst/>
          </a:prstGeom>
          <a:solidFill>
            <a:srgbClr val="BBA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AF4B6AE6-3F35-4298-A9BF-0D95EAE45EB7}"/>
              </a:ext>
            </a:extLst>
          </p:cNvPr>
          <p:cNvSpPr/>
          <p:nvPr/>
        </p:nvSpPr>
        <p:spPr>
          <a:xfrm>
            <a:off x="5247513" y="4502019"/>
            <a:ext cx="103155" cy="10315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0" name="六边形 19">
            <a:extLst>
              <a:ext uri="{FF2B5EF4-FFF2-40B4-BE49-F238E27FC236}">
                <a16:creationId xmlns:a16="http://schemas.microsoft.com/office/drawing/2014/main" id="{24ABEE0C-BDA3-4E85-B3D0-B5877DB1CBB2}"/>
              </a:ext>
            </a:extLst>
          </p:cNvPr>
          <p:cNvSpPr/>
          <p:nvPr/>
        </p:nvSpPr>
        <p:spPr>
          <a:xfrm rot="5400000">
            <a:off x="4327723" y="4190739"/>
            <a:ext cx="841828" cy="72571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1" name="六边形 20">
            <a:extLst>
              <a:ext uri="{FF2B5EF4-FFF2-40B4-BE49-F238E27FC236}">
                <a16:creationId xmlns:a16="http://schemas.microsoft.com/office/drawing/2014/main" id="{BF1CE10F-A19C-488C-8B02-CA1AD19F2BB9}"/>
              </a:ext>
            </a:extLst>
          </p:cNvPr>
          <p:cNvSpPr/>
          <p:nvPr/>
        </p:nvSpPr>
        <p:spPr>
          <a:xfrm rot="5400000">
            <a:off x="4403923" y="4256429"/>
            <a:ext cx="689428" cy="594335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33" name="图形 43">
            <a:extLst>
              <a:ext uri="{FF2B5EF4-FFF2-40B4-BE49-F238E27FC236}">
                <a16:creationId xmlns:a16="http://schemas.microsoft.com/office/drawing/2014/main" id="{91EAA79C-DA21-4C85-8BA2-D0A76B84A4C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52" y="4317796"/>
            <a:ext cx="464571" cy="471600"/>
          </a:xfrm>
          <a:custGeom>
            <a:avLst/>
            <a:gdLst>
              <a:gd name="connsiteX0" fmla="*/ 0 w 464571"/>
              <a:gd name="connsiteY0" fmla="*/ 0 h 471600"/>
              <a:gd name="connsiteX1" fmla="*/ 464571 w 464571"/>
              <a:gd name="connsiteY1" fmla="*/ 0 h 471600"/>
              <a:gd name="connsiteX2" fmla="*/ 464571 w 464571"/>
              <a:gd name="connsiteY2" fmla="*/ 471600 h 471600"/>
              <a:gd name="connsiteX3" fmla="*/ 0 w 464571"/>
              <a:gd name="connsiteY3" fmla="*/ 471600 h 4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71" h="471600">
                <a:moveTo>
                  <a:pt x="0" y="0"/>
                </a:moveTo>
                <a:lnTo>
                  <a:pt x="464571" y="0"/>
                </a:lnTo>
                <a:lnTo>
                  <a:pt x="464571" y="471600"/>
                </a:lnTo>
                <a:lnTo>
                  <a:pt x="0" y="471600"/>
                </a:lnTo>
                <a:close/>
              </a:path>
            </a:pathLst>
          </a:custGeom>
        </p:spPr>
      </p:pic>
      <p:sp>
        <p:nvSpPr>
          <p:cNvPr id="105" name="文本框 104">
            <a:extLst>
              <a:ext uri="{FF2B5EF4-FFF2-40B4-BE49-F238E27FC236}">
                <a16:creationId xmlns:a16="http://schemas.microsoft.com/office/drawing/2014/main" id="{ABAD651D-4F22-404F-A6E8-A5A52494B0C5}"/>
              </a:ext>
            </a:extLst>
          </p:cNvPr>
          <p:cNvSpPr txBox="1"/>
          <p:nvPr/>
        </p:nvSpPr>
        <p:spPr>
          <a:xfrm>
            <a:off x="1697892" y="4126611"/>
            <a:ext cx="24014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BBA6F3"/>
                    </a:gs>
                    <a:gs pos="100000">
                      <a:srgbClr val="5848B2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106" name="稿定PPT-11-2">
            <a:extLst>
              <a:ext uri="{FF2B5EF4-FFF2-40B4-BE49-F238E27FC236}">
                <a16:creationId xmlns:a16="http://schemas.microsoft.com/office/drawing/2014/main" id="{59ABEB2E-AB30-43D3-99E4-A4DC6152411E}"/>
              </a:ext>
            </a:extLst>
          </p:cNvPr>
          <p:cNvSpPr txBox="1"/>
          <p:nvPr/>
        </p:nvSpPr>
        <p:spPr>
          <a:xfrm>
            <a:off x="1275221" y="4366759"/>
            <a:ext cx="2824081" cy="5294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找到适合的模板。</a:t>
            </a:r>
          </a:p>
        </p:txBody>
      </p:sp>
      <p:cxnSp>
        <p:nvCxnSpPr>
          <p:cNvPr id="115" name="直接连接符 114">
            <a:extLst>
              <a:ext uri="{FF2B5EF4-FFF2-40B4-BE49-F238E27FC236}">
                <a16:creationId xmlns:a16="http://schemas.microsoft.com/office/drawing/2014/main" id="{A2B3B9A5-D541-43E7-B89D-75962B17CB04}"/>
              </a:ext>
            </a:extLst>
          </p:cNvPr>
          <p:cNvCxnSpPr>
            <a:cxnSpLocks/>
          </p:cNvCxnSpPr>
          <p:nvPr/>
        </p:nvCxnSpPr>
        <p:spPr>
          <a:xfrm flipH="1">
            <a:off x="1241925" y="2839058"/>
            <a:ext cx="2809875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椭圆 115">
            <a:extLst>
              <a:ext uri="{FF2B5EF4-FFF2-40B4-BE49-F238E27FC236}">
                <a16:creationId xmlns:a16="http://schemas.microsoft.com/office/drawing/2014/main" id="{21BA4F80-EB9F-405D-BA5A-8FC3DF8FB2F9}"/>
              </a:ext>
            </a:extLst>
          </p:cNvPr>
          <p:cNvSpPr/>
          <p:nvPr/>
        </p:nvSpPr>
        <p:spPr>
          <a:xfrm>
            <a:off x="1180865" y="2803058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4F15585A-7E23-48C4-9A12-FEF4E395A315}"/>
              </a:ext>
            </a:extLst>
          </p:cNvPr>
          <p:cNvCxnSpPr>
            <a:cxnSpLocks/>
          </p:cNvCxnSpPr>
          <p:nvPr/>
        </p:nvCxnSpPr>
        <p:spPr>
          <a:xfrm flipH="1">
            <a:off x="1241925" y="3990007"/>
            <a:ext cx="2809875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椭圆 119">
            <a:extLst>
              <a:ext uri="{FF2B5EF4-FFF2-40B4-BE49-F238E27FC236}">
                <a16:creationId xmlns:a16="http://schemas.microsoft.com/office/drawing/2014/main" id="{D18048D9-4EDC-4E20-83B7-00314BD1BC80}"/>
              </a:ext>
            </a:extLst>
          </p:cNvPr>
          <p:cNvSpPr/>
          <p:nvPr/>
        </p:nvSpPr>
        <p:spPr>
          <a:xfrm>
            <a:off x="1180865" y="3954007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127" name="直接连接符 126">
            <a:extLst>
              <a:ext uri="{FF2B5EF4-FFF2-40B4-BE49-F238E27FC236}">
                <a16:creationId xmlns:a16="http://schemas.microsoft.com/office/drawing/2014/main" id="{33CE0411-F810-49BE-B2DE-52723F1699C9}"/>
              </a:ext>
            </a:extLst>
          </p:cNvPr>
          <p:cNvCxnSpPr>
            <a:cxnSpLocks/>
          </p:cNvCxnSpPr>
          <p:nvPr/>
        </p:nvCxnSpPr>
        <p:spPr>
          <a:xfrm>
            <a:off x="8140201" y="3418820"/>
            <a:ext cx="2809875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椭圆 127">
            <a:extLst>
              <a:ext uri="{FF2B5EF4-FFF2-40B4-BE49-F238E27FC236}">
                <a16:creationId xmlns:a16="http://schemas.microsoft.com/office/drawing/2014/main" id="{FF4BBA49-C191-4084-9587-52767128FFFE}"/>
              </a:ext>
            </a:extLst>
          </p:cNvPr>
          <p:cNvSpPr/>
          <p:nvPr/>
        </p:nvSpPr>
        <p:spPr>
          <a:xfrm flipH="1">
            <a:off x="10939136" y="3382820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C30083C8-D210-436C-BD3C-1A940D06F404}"/>
              </a:ext>
            </a:extLst>
          </p:cNvPr>
          <p:cNvCxnSpPr>
            <a:cxnSpLocks/>
          </p:cNvCxnSpPr>
          <p:nvPr/>
        </p:nvCxnSpPr>
        <p:spPr>
          <a:xfrm>
            <a:off x="8140201" y="4569769"/>
            <a:ext cx="2809875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椭圆 125">
            <a:extLst>
              <a:ext uri="{FF2B5EF4-FFF2-40B4-BE49-F238E27FC236}">
                <a16:creationId xmlns:a16="http://schemas.microsoft.com/office/drawing/2014/main" id="{FD64D451-8DD9-4626-B4A0-8344F4638ABF}"/>
              </a:ext>
            </a:extLst>
          </p:cNvPr>
          <p:cNvSpPr/>
          <p:nvPr/>
        </p:nvSpPr>
        <p:spPr>
          <a:xfrm flipH="1">
            <a:off x="10939136" y="4533769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77272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" name="组合 165">
            <a:extLst>
              <a:ext uri="{FF2B5EF4-FFF2-40B4-BE49-F238E27FC236}">
                <a16:creationId xmlns:a16="http://schemas.microsoft.com/office/drawing/2014/main" id="{BDAA7811-4BA9-4B5A-93D3-0CB329E61489}"/>
              </a:ext>
            </a:extLst>
          </p:cNvPr>
          <p:cNvGrpSpPr/>
          <p:nvPr/>
        </p:nvGrpSpPr>
        <p:grpSpPr>
          <a:xfrm>
            <a:off x="0" y="0"/>
            <a:ext cx="12190413" cy="6858000"/>
            <a:chOff x="-1488" y="272"/>
            <a:chExt cx="12190413" cy="6858000"/>
          </a:xfrm>
        </p:grpSpPr>
        <p:sp>
          <p:nvSpPr>
            <p:cNvPr id="167" name="矩形 166">
              <a:extLst>
                <a:ext uri="{FF2B5EF4-FFF2-40B4-BE49-F238E27FC236}">
                  <a16:creationId xmlns:a16="http://schemas.microsoft.com/office/drawing/2014/main" id="{9C64F559-B256-42CE-8D55-EA0818E163ED}"/>
                </a:ext>
              </a:extLst>
            </p:cNvPr>
            <p:cNvSpPr>
              <a:spLocks/>
            </p:cNvSpPr>
            <p:nvPr/>
          </p:nvSpPr>
          <p:spPr>
            <a:xfrm>
              <a:off x="-1488" y="272"/>
              <a:ext cx="12190413" cy="6858000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168" name="图形 9">
              <a:extLst>
                <a:ext uri="{FF2B5EF4-FFF2-40B4-BE49-F238E27FC236}">
                  <a16:creationId xmlns:a16="http://schemas.microsoft.com/office/drawing/2014/main" id="{E53BBD96-5276-4F0F-BFE3-15ECB2459003}"/>
                </a:ext>
              </a:extLst>
            </p:cNvPr>
            <p:cNvSpPr/>
            <p:nvPr/>
          </p:nvSpPr>
          <p:spPr>
            <a:xfrm>
              <a:off x="1586" y="272"/>
              <a:ext cx="12187339" cy="6851196"/>
            </a:xfrm>
            <a:custGeom>
              <a:avLst/>
              <a:gdLst>
                <a:gd name="connsiteX0" fmla="*/ 12185574 w 12187339"/>
                <a:gd name="connsiteY0" fmla="*/ 2197 h 6851196"/>
                <a:gd name="connsiteX1" fmla="*/ 12182372 w 12187339"/>
                <a:gd name="connsiteY1" fmla="*/ 2197 h 6851196"/>
                <a:gd name="connsiteX2" fmla="*/ 12182372 w 12187339"/>
                <a:gd name="connsiteY2" fmla="*/ -1205 h 6851196"/>
                <a:gd name="connsiteX3" fmla="*/ 1435 w 12187339"/>
                <a:gd name="connsiteY3" fmla="*/ -1205 h 6851196"/>
                <a:gd name="connsiteX4" fmla="*/ 1435 w 12187339"/>
                <a:gd name="connsiteY4" fmla="*/ 2197 h 6851196"/>
                <a:gd name="connsiteX5" fmla="*/ -1766 w 12187339"/>
                <a:gd name="connsiteY5" fmla="*/ 2197 h 6851196"/>
                <a:gd name="connsiteX6" fmla="*/ -1766 w 12187339"/>
                <a:gd name="connsiteY6" fmla="*/ 6846590 h 6851196"/>
                <a:gd name="connsiteX7" fmla="*/ 1435 w 12187339"/>
                <a:gd name="connsiteY7" fmla="*/ 6846590 h 6851196"/>
                <a:gd name="connsiteX8" fmla="*/ 1435 w 12187339"/>
                <a:gd name="connsiteY8" fmla="*/ 6849992 h 6851196"/>
                <a:gd name="connsiteX9" fmla="*/ 12182372 w 12187339"/>
                <a:gd name="connsiteY9" fmla="*/ 6849992 h 6851196"/>
                <a:gd name="connsiteX10" fmla="*/ 12182372 w 12187339"/>
                <a:gd name="connsiteY10" fmla="*/ 6846590 h 6851196"/>
                <a:gd name="connsiteX11" fmla="*/ 12185574 w 12187339"/>
                <a:gd name="connsiteY11" fmla="*/ 6846590 h 6851196"/>
                <a:gd name="connsiteX12" fmla="*/ 8728209 w 12187339"/>
                <a:gd name="connsiteY12" fmla="*/ 3421264 h 6851196"/>
                <a:gd name="connsiteX13" fmla="*/ 8504120 w 12187339"/>
                <a:gd name="connsiteY13" fmla="*/ 3421264 h 6851196"/>
                <a:gd name="connsiteX14" fmla="*/ 8504120 w 12187339"/>
                <a:gd name="connsiteY14" fmla="*/ 3183139 h 6851196"/>
                <a:gd name="connsiteX15" fmla="*/ 8728209 w 12187339"/>
                <a:gd name="connsiteY15" fmla="*/ 3183139 h 6851196"/>
                <a:gd name="connsiteX16" fmla="*/ 8734611 w 12187339"/>
                <a:gd name="connsiteY16" fmla="*/ 3183139 h 6851196"/>
                <a:gd name="connsiteX17" fmla="*/ 8957162 w 12187339"/>
                <a:gd name="connsiteY17" fmla="*/ 3183139 h 6851196"/>
                <a:gd name="connsiteX18" fmla="*/ 8957162 w 12187339"/>
                <a:gd name="connsiteY18" fmla="*/ 3421264 h 6851196"/>
                <a:gd name="connsiteX19" fmla="*/ 8734611 w 12187339"/>
                <a:gd name="connsiteY19" fmla="*/ 3421264 h 6851196"/>
                <a:gd name="connsiteX20" fmla="*/ 8497718 w 12187339"/>
                <a:gd name="connsiteY20" fmla="*/ 3421264 h 6851196"/>
                <a:gd name="connsiteX21" fmla="*/ 8273629 w 12187339"/>
                <a:gd name="connsiteY21" fmla="*/ 3421264 h 6851196"/>
                <a:gd name="connsiteX22" fmla="*/ 8273629 w 12187339"/>
                <a:gd name="connsiteY22" fmla="*/ 3183139 h 6851196"/>
                <a:gd name="connsiteX23" fmla="*/ 8497718 w 12187339"/>
                <a:gd name="connsiteY23" fmla="*/ 3183139 h 6851196"/>
                <a:gd name="connsiteX24" fmla="*/ 8267227 w 12187339"/>
                <a:gd name="connsiteY24" fmla="*/ 3421264 h 6851196"/>
                <a:gd name="connsiteX25" fmla="*/ 8044420 w 12187339"/>
                <a:gd name="connsiteY25" fmla="*/ 3421264 h 6851196"/>
                <a:gd name="connsiteX26" fmla="*/ 8044420 w 12187339"/>
                <a:gd name="connsiteY26" fmla="*/ 3183139 h 6851196"/>
                <a:gd name="connsiteX27" fmla="*/ 8267227 w 12187339"/>
                <a:gd name="connsiteY27" fmla="*/ 3183139 h 6851196"/>
                <a:gd name="connsiteX28" fmla="*/ 8038274 w 12187339"/>
                <a:gd name="connsiteY28" fmla="*/ 3421264 h 6851196"/>
                <a:gd name="connsiteX29" fmla="*/ 7814186 w 12187339"/>
                <a:gd name="connsiteY29" fmla="*/ 3421264 h 6851196"/>
                <a:gd name="connsiteX30" fmla="*/ 7814186 w 12187339"/>
                <a:gd name="connsiteY30" fmla="*/ 3183139 h 6851196"/>
                <a:gd name="connsiteX31" fmla="*/ 8038274 w 12187339"/>
                <a:gd name="connsiteY31" fmla="*/ 3183139 h 6851196"/>
                <a:gd name="connsiteX32" fmla="*/ 7807783 w 12187339"/>
                <a:gd name="connsiteY32" fmla="*/ 3421264 h 6851196"/>
                <a:gd name="connsiteX33" fmla="*/ 7583695 w 12187339"/>
                <a:gd name="connsiteY33" fmla="*/ 3421264 h 6851196"/>
                <a:gd name="connsiteX34" fmla="*/ 7583695 w 12187339"/>
                <a:gd name="connsiteY34" fmla="*/ 3183139 h 6851196"/>
                <a:gd name="connsiteX35" fmla="*/ 7807783 w 12187339"/>
                <a:gd name="connsiteY35" fmla="*/ 3183139 h 6851196"/>
                <a:gd name="connsiteX36" fmla="*/ 7577292 w 12187339"/>
                <a:gd name="connsiteY36" fmla="*/ 3421264 h 6851196"/>
                <a:gd name="connsiteX37" fmla="*/ 7353204 w 12187339"/>
                <a:gd name="connsiteY37" fmla="*/ 3421264 h 6851196"/>
                <a:gd name="connsiteX38" fmla="*/ 7353204 w 12187339"/>
                <a:gd name="connsiteY38" fmla="*/ 3183139 h 6851196"/>
                <a:gd name="connsiteX39" fmla="*/ 7577292 w 12187339"/>
                <a:gd name="connsiteY39" fmla="*/ 3183139 h 6851196"/>
                <a:gd name="connsiteX40" fmla="*/ 7346801 w 12187339"/>
                <a:gd name="connsiteY40" fmla="*/ 3421264 h 6851196"/>
                <a:gd name="connsiteX41" fmla="*/ 7124247 w 12187339"/>
                <a:gd name="connsiteY41" fmla="*/ 3421264 h 6851196"/>
                <a:gd name="connsiteX42" fmla="*/ 7124247 w 12187339"/>
                <a:gd name="connsiteY42" fmla="*/ 3183139 h 6851196"/>
                <a:gd name="connsiteX43" fmla="*/ 7346801 w 12187339"/>
                <a:gd name="connsiteY43" fmla="*/ 3183139 h 6851196"/>
                <a:gd name="connsiteX44" fmla="*/ 7117845 w 12187339"/>
                <a:gd name="connsiteY44" fmla="*/ 3421264 h 6851196"/>
                <a:gd name="connsiteX45" fmla="*/ 6893756 w 12187339"/>
                <a:gd name="connsiteY45" fmla="*/ 3421264 h 6851196"/>
                <a:gd name="connsiteX46" fmla="*/ 6893756 w 12187339"/>
                <a:gd name="connsiteY46" fmla="*/ 3183139 h 6851196"/>
                <a:gd name="connsiteX47" fmla="*/ 7117845 w 12187339"/>
                <a:gd name="connsiteY47" fmla="*/ 3183139 h 6851196"/>
                <a:gd name="connsiteX48" fmla="*/ 6887354 w 12187339"/>
                <a:gd name="connsiteY48" fmla="*/ 3421264 h 6851196"/>
                <a:gd name="connsiteX49" fmla="*/ 6663265 w 12187339"/>
                <a:gd name="connsiteY49" fmla="*/ 3421264 h 6851196"/>
                <a:gd name="connsiteX50" fmla="*/ 6663265 w 12187339"/>
                <a:gd name="connsiteY50" fmla="*/ 3183139 h 6851196"/>
                <a:gd name="connsiteX51" fmla="*/ 6887354 w 12187339"/>
                <a:gd name="connsiteY51" fmla="*/ 3183139 h 6851196"/>
                <a:gd name="connsiteX52" fmla="*/ 6656863 w 12187339"/>
                <a:gd name="connsiteY52" fmla="*/ 3421264 h 6851196"/>
                <a:gd name="connsiteX53" fmla="*/ 6446349 w 12187339"/>
                <a:gd name="connsiteY53" fmla="*/ 3421264 h 6851196"/>
                <a:gd name="connsiteX54" fmla="*/ 6446349 w 12187339"/>
                <a:gd name="connsiteY54" fmla="*/ 3183139 h 6851196"/>
                <a:gd name="connsiteX55" fmla="*/ 6656863 w 12187339"/>
                <a:gd name="connsiteY55" fmla="*/ 3183139 h 6851196"/>
                <a:gd name="connsiteX56" fmla="*/ 6439946 w 12187339"/>
                <a:gd name="connsiteY56" fmla="*/ 3421264 h 6851196"/>
                <a:gd name="connsiteX57" fmla="*/ 6217136 w 12187339"/>
                <a:gd name="connsiteY57" fmla="*/ 3421264 h 6851196"/>
                <a:gd name="connsiteX58" fmla="*/ 6217136 w 12187339"/>
                <a:gd name="connsiteY58" fmla="*/ 3183139 h 6851196"/>
                <a:gd name="connsiteX59" fmla="*/ 6439690 w 12187339"/>
                <a:gd name="connsiteY59" fmla="*/ 3183139 h 6851196"/>
                <a:gd name="connsiteX60" fmla="*/ 6210990 w 12187339"/>
                <a:gd name="connsiteY60" fmla="*/ 3421264 h 6851196"/>
                <a:gd name="connsiteX61" fmla="*/ 5986902 w 12187339"/>
                <a:gd name="connsiteY61" fmla="*/ 3421264 h 6851196"/>
                <a:gd name="connsiteX62" fmla="*/ 5986902 w 12187339"/>
                <a:gd name="connsiteY62" fmla="*/ 3183139 h 6851196"/>
                <a:gd name="connsiteX63" fmla="*/ 6210990 w 12187339"/>
                <a:gd name="connsiteY63" fmla="*/ 3183139 h 6851196"/>
                <a:gd name="connsiteX64" fmla="*/ 5980499 w 12187339"/>
                <a:gd name="connsiteY64" fmla="*/ 3421264 h 6851196"/>
                <a:gd name="connsiteX65" fmla="*/ 5756411 w 12187339"/>
                <a:gd name="connsiteY65" fmla="*/ 3421264 h 6851196"/>
                <a:gd name="connsiteX66" fmla="*/ 5756411 w 12187339"/>
                <a:gd name="connsiteY66" fmla="*/ 3183139 h 6851196"/>
                <a:gd name="connsiteX67" fmla="*/ 5980499 w 12187339"/>
                <a:gd name="connsiteY67" fmla="*/ 3183139 h 6851196"/>
                <a:gd name="connsiteX68" fmla="*/ 5750008 w 12187339"/>
                <a:gd name="connsiteY68" fmla="*/ 3421264 h 6851196"/>
                <a:gd name="connsiteX69" fmla="*/ 5526945 w 12187339"/>
                <a:gd name="connsiteY69" fmla="*/ 3421264 h 6851196"/>
                <a:gd name="connsiteX70" fmla="*/ 5526945 w 12187339"/>
                <a:gd name="connsiteY70" fmla="*/ 3183139 h 6851196"/>
                <a:gd name="connsiteX71" fmla="*/ 5749495 w 12187339"/>
                <a:gd name="connsiteY71" fmla="*/ 3183139 h 6851196"/>
                <a:gd name="connsiteX72" fmla="*/ 5521055 w 12187339"/>
                <a:gd name="connsiteY72" fmla="*/ 3421264 h 6851196"/>
                <a:gd name="connsiteX73" fmla="*/ 5296454 w 12187339"/>
                <a:gd name="connsiteY73" fmla="*/ 3421264 h 6851196"/>
                <a:gd name="connsiteX74" fmla="*/ 5296454 w 12187339"/>
                <a:gd name="connsiteY74" fmla="*/ 3183139 h 6851196"/>
                <a:gd name="connsiteX75" fmla="*/ 5520542 w 12187339"/>
                <a:gd name="connsiteY75" fmla="*/ 3183139 h 6851196"/>
                <a:gd name="connsiteX76" fmla="*/ 5290564 w 12187339"/>
                <a:gd name="connsiteY76" fmla="*/ 3421264 h 6851196"/>
                <a:gd name="connsiteX77" fmla="*/ 5065963 w 12187339"/>
                <a:gd name="connsiteY77" fmla="*/ 3421264 h 6851196"/>
                <a:gd name="connsiteX78" fmla="*/ 5065963 w 12187339"/>
                <a:gd name="connsiteY78" fmla="*/ 3183139 h 6851196"/>
                <a:gd name="connsiteX79" fmla="*/ 5290051 w 12187339"/>
                <a:gd name="connsiteY79" fmla="*/ 3183139 h 6851196"/>
                <a:gd name="connsiteX80" fmla="*/ 5060073 w 12187339"/>
                <a:gd name="connsiteY80" fmla="*/ 3421264 h 6851196"/>
                <a:gd name="connsiteX81" fmla="*/ 4835472 w 12187339"/>
                <a:gd name="connsiteY81" fmla="*/ 3421264 h 6851196"/>
                <a:gd name="connsiteX82" fmla="*/ 4835472 w 12187339"/>
                <a:gd name="connsiteY82" fmla="*/ 3183139 h 6851196"/>
                <a:gd name="connsiteX83" fmla="*/ 5059560 w 12187339"/>
                <a:gd name="connsiteY83" fmla="*/ 3183139 h 6851196"/>
                <a:gd name="connsiteX84" fmla="*/ 4829582 w 12187339"/>
                <a:gd name="connsiteY84" fmla="*/ 3421264 h 6851196"/>
                <a:gd name="connsiteX85" fmla="*/ 4607029 w 12187339"/>
                <a:gd name="connsiteY85" fmla="*/ 3421264 h 6851196"/>
                <a:gd name="connsiteX86" fmla="*/ 4607029 w 12187339"/>
                <a:gd name="connsiteY86" fmla="*/ 3183139 h 6851196"/>
                <a:gd name="connsiteX87" fmla="*/ 4829582 w 12187339"/>
                <a:gd name="connsiteY87" fmla="*/ 3183139 h 6851196"/>
                <a:gd name="connsiteX88" fmla="*/ 4600626 w 12187339"/>
                <a:gd name="connsiteY88" fmla="*/ 3421264 h 6851196"/>
                <a:gd name="connsiteX89" fmla="*/ 4376538 w 12187339"/>
                <a:gd name="connsiteY89" fmla="*/ 3421264 h 6851196"/>
                <a:gd name="connsiteX90" fmla="*/ 4376538 w 12187339"/>
                <a:gd name="connsiteY90" fmla="*/ 3183139 h 6851196"/>
                <a:gd name="connsiteX91" fmla="*/ 4600626 w 12187339"/>
                <a:gd name="connsiteY91" fmla="*/ 3183139 h 6851196"/>
                <a:gd name="connsiteX92" fmla="*/ 4370135 w 12187339"/>
                <a:gd name="connsiteY92" fmla="*/ 3421264 h 6851196"/>
                <a:gd name="connsiteX93" fmla="*/ 4146047 w 12187339"/>
                <a:gd name="connsiteY93" fmla="*/ 3421264 h 6851196"/>
                <a:gd name="connsiteX94" fmla="*/ 4146047 w 12187339"/>
                <a:gd name="connsiteY94" fmla="*/ 3183139 h 6851196"/>
                <a:gd name="connsiteX95" fmla="*/ 4370135 w 12187339"/>
                <a:gd name="connsiteY95" fmla="*/ 3183139 h 6851196"/>
                <a:gd name="connsiteX96" fmla="*/ 4139644 w 12187339"/>
                <a:gd name="connsiteY96" fmla="*/ 3421264 h 6851196"/>
                <a:gd name="connsiteX97" fmla="*/ 3917094 w 12187339"/>
                <a:gd name="connsiteY97" fmla="*/ 3421264 h 6851196"/>
                <a:gd name="connsiteX98" fmla="*/ 3917094 w 12187339"/>
                <a:gd name="connsiteY98" fmla="*/ 3183139 h 6851196"/>
                <a:gd name="connsiteX99" fmla="*/ 4139644 w 12187339"/>
                <a:gd name="connsiteY99" fmla="*/ 3183139 h 6851196"/>
                <a:gd name="connsiteX100" fmla="*/ 3910691 w 12187339"/>
                <a:gd name="connsiteY100" fmla="*/ 3421264 h 6851196"/>
                <a:gd name="connsiteX101" fmla="*/ 3686603 w 12187339"/>
                <a:gd name="connsiteY101" fmla="*/ 3421264 h 6851196"/>
                <a:gd name="connsiteX102" fmla="*/ 3686603 w 12187339"/>
                <a:gd name="connsiteY102" fmla="*/ 3183139 h 6851196"/>
                <a:gd name="connsiteX103" fmla="*/ 3910691 w 12187339"/>
                <a:gd name="connsiteY103" fmla="*/ 3183139 h 6851196"/>
                <a:gd name="connsiteX104" fmla="*/ 3680200 w 12187339"/>
                <a:gd name="connsiteY104" fmla="*/ 3421264 h 6851196"/>
                <a:gd name="connsiteX105" fmla="*/ 3456112 w 12187339"/>
                <a:gd name="connsiteY105" fmla="*/ 3421264 h 6851196"/>
                <a:gd name="connsiteX106" fmla="*/ 3456112 w 12187339"/>
                <a:gd name="connsiteY106" fmla="*/ 3183139 h 6851196"/>
                <a:gd name="connsiteX107" fmla="*/ 3680200 w 12187339"/>
                <a:gd name="connsiteY107" fmla="*/ 3183139 h 6851196"/>
                <a:gd name="connsiteX108" fmla="*/ 3449709 w 12187339"/>
                <a:gd name="connsiteY108" fmla="*/ 3421264 h 6851196"/>
                <a:gd name="connsiteX109" fmla="*/ 3225621 w 12187339"/>
                <a:gd name="connsiteY109" fmla="*/ 3421264 h 6851196"/>
                <a:gd name="connsiteX110" fmla="*/ 3225621 w 12187339"/>
                <a:gd name="connsiteY110" fmla="*/ 3183139 h 6851196"/>
                <a:gd name="connsiteX111" fmla="*/ 3449709 w 12187339"/>
                <a:gd name="connsiteY111" fmla="*/ 3183139 h 6851196"/>
                <a:gd name="connsiteX112" fmla="*/ 3219218 w 12187339"/>
                <a:gd name="connsiteY112" fmla="*/ 3421264 h 6851196"/>
                <a:gd name="connsiteX113" fmla="*/ 2996666 w 12187339"/>
                <a:gd name="connsiteY113" fmla="*/ 3421264 h 6851196"/>
                <a:gd name="connsiteX114" fmla="*/ 2996666 w 12187339"/>
                <a:gd name="connsiteY114" fmla="*/ 3183139 h 6851196"/>
                <a:gd name="connsiteX115" fmla="*/ 3219218 w 12187339"/>
                <a:gd name="connsiteY115" fmla="*/ 3183139 h 6851196"/>
                <a:gd name="connsiteX116" fmla="*/ 3219218 w 12187339"/>
                <a:gd name="connsiteY116" fmla="*/ 3428068 h 6851196"/>
                <a:gd name="connsiteX117" fmla="*/ 3219218 w 12187339"/>
                <a:gd name="connsiteY117" fmla="*/ 3664560 h 6851196"/>
                <a:gd name="connsiteX118" fmla="*/ 2996666 w 12187339"/>
                <a:gd name="connsiteY118" fmla="*/ 3664560 h 6851196"/>
                <a:gd name="connsiteX119" fmla="*/ 2996666 w 12187339"/>
                <a:gd name="connsiteY119" fmla="*/ 3428068 h 6851196"/>
                <a:gd name="connsiteX120" fmla="*/ 3225621 w 12187339"/>
                <a:gd name="connsiteY120" fmla="*/ 3428068 h 6851196"/>
                <a:gd name="connsiteX121" fmla="*/ 3449709 w 12187339"/>
                <a:gd name="connsiteY121" fmla="*/ 3428068 h 6851196"/>
                <a:gd name="connsiteX122" fmla="*/ 3449709 w 12187339"/>
                <a:gd name="connsiteY122" fmla="*/ 3664560 h 6851196"/>
                <a:gd name="connsiteX123" fmla="*/ 3225621 w 12187339"/>
                <a:gd name="connsiteY123" fmla="*/ 3664560 h 6851196"/>
                <a:gd name="connsiteX124" fmla="*/ 3456112 w 12187339"/>
                <a:gd name="connsiteY124" fmla="*/ 3428068 h 6851196"/>
                <a:gd name="connsiteX125" fmla="*/ 3680200 w 12187339"/>
                <a:gd name="connsiteY125" fmla="*/ 3428068 h 6851196"/>
                <a:gd name="connsiteX126" fmla="*/ 3680200 w 12187339"/>
                <a:gd name="connsiteY126" fmla="*/ 3664560 h 6851196"/>
                <a:gd name="connsiteX127" fmla="*/ 3456112 w 12187339"/>
                <a:gd name="connsiteY127" fmla="*/ 3664560 h 6851196"/>
                <a:gd name="connsiteX128" fmla="*/ 3686603 w 12187339"/>
                <a:gd name="connsiteY128" fmla="*/ 3428068 h 6851196"/>
                <a:gd name="connsiteX129" fmla="*/ 3910691 w 12187339"/>
                <a:gd name="connsiteY129" fmla="*/ 3428068 h 6851196"/>
                <a:gd name="connsiteX130" fmla="*/ 3910691 w 12187339"/>
                <a:gd name="connsiteY130" fmla="*/ 3664560 h 6851196"/>
                <a:gd name="connsiteX131" fmla="*/ 3686603 w 12187339"/>
                <a:gd name="connsiteY131" fmla="*/ 3664560 h 6851196"/>
                <a:gd name="connsiteX132" fmla="*/ 3917094 w 12187339"/>
                <a:gd name="connsiteY132" fmla="*/ 3428068 h 6851196"/>
                <a:gd name="connsiteX133" fmla="*/ 4139644 w 12187339"/>
                <a:gd name="connsiteY133" fmla="*/ 3428068 h 6851196"/>
                <a:gd name="connsiteX134" fmla="*/ 4139644 w 12187339"/>
                <a:gd name="connsiteY134" fmla="*/ 3664560 h 6851196"/>
                <a:gd name="connsiteX135" fmla="*/ 3917094 w 12187339"/>
                <a:gd name="connsiteY135" fmla="*/ 3664560 h 6851196"/>
                <a:gd name="connsiteX136" fmla="*/ 4146047 w 12187339"/>
                <a:gd name="connsiteY136" fmla="*/ 3428068 h 6851196"/>
                <a:gd name="connsiteX137" fmla="*/ 4370135 w 12187339"/>
                <a:gd name="connsiteY137" fmla="*/ 3428068 h 6851196"/>
                <a:gd name="connsiteX138" fmla="*/ 4370135 w 12187339"/>
                <a:gd name="connsiteY138" fmla="*/ 3664560 h 6851196"/>
                <a:gd name="connsiteX139" fmla="*/ 4146047 w 12187339"/>
                <a:gd name="connsiteY139" fmla="*/ 3664560 h 6851196"/>
                <a:gd name="connsiteX140" fmla="*/ 4376538 w 12187339"/>
                <a:gd name="connsiteY140" fmla="*/ 3428068 h 6851196"/>
                <a:gd name="connsiteX141" fmla="*/ 4600626 w 12187339"/>
                <a:gd name="connsiteY141" fmla="*/ 3428068 h 6851196"/>
                <a:gd name="connsiteX142" fmla="*/ 4600626 w 12187339"/>
                <a:gd name="connsiteY142" fmla="*/ 3664560 h 6851196"/>
                <a:gd name="connsiteX143" fmla="*/ 4376538 w 12187339"/>
                <a:gd name="connsiteY143" fmla="*/ 3664560 h 6851196"/>
                <a:gd name="connsiteX144" fmla="*/ 4607029 w 12187339"/>
                <a:gd name="connsiteY144" fmla="*/ 3428068 h 6851196"/>
                <a:gd name="connsiteX145" fmla="*/ 4829582 w 12187339"/>
                <a:gd name="connsiteY145" fmla="*/ 3428068 h 6851196"/>
                <a:gd name="connsiteX146" fmla="*/ 4829582 w 12187339"/>
                <a:gd name="connsiteY146" fmla="*/ 3664560 h 6851196"/>
                <a:gd name="connsiteX147" fmla="*/ 4607029 w 12187339"/>
                <a:gd name="connsiteY147" fmla="*/ 3664560 h 6851196"/>
                <a:gd name="connsiteX148" fmla="*/ 4835985 w 12187339"/>
                <a:gd name="connsiteY148" fmla="*/ 3428068 h 6851196"/>
                <a:gd name="connsiteX149" fmla="*/ 5060073 w 12187339"/>
                <a:gd name="connsiteY149" fmla="*/ 3428068 h 6851196"/>
                <a:gd name="connsiteX150" fmla="*/ 5060073 w 12187339"/>
                <a:gd name="connsiteY150" fmla="*/ 3664560 h 6851196"/>
                <a:gd name="connsiteX151" fmla="*/ 4835472 w 12187339"/>
                <a:gd name="connsiteY151" fmla="*/ 3664560 h 6851196"/>
                <a:gd name="connsiteX152" fmla="*/ 5066476 w 12187339"/>
                <a:gd name="connsiteY152" fmla="*/ 3428068 h 6851196"/>
                <a:gd name="connsiteX153" fmla="*/ 5290564 w 12187339"/>
                <a:gd name="connsiteY153" fmla="*/ 3428068 h 6851196"/>
                <a:gd name="connsiteX154" fmla="*/ 5290564 w 12187339"/>
                <a:gd name="connsiteY154" fmla="*/ 3664560 h 6851196"/>
                <a:gd name="connsiteX155" fmla="*/ 5065963 w 12187339"/>
                <a:gd name="connsiteY155" fmla="*/ 3664560 h 6851196"/>
                <a:gd name="connsiteX156" fmla="*/ 5296967 w 12187339"/>
                <a:gd name="connsiteY156" fmla="*/ 3428068 h 6851196"/>
                <a:gd name="connsiteX157" fmla="*/ 5521055 w 12187339"/>
                <a:gd name="connsiteY157" fmla="*/ 3428068 h 6851196"/>
                <a:gd name="connsiteX158" fmla="*/ 5521055 w 12187339"/>
                <a:gd name="connsiteY158" fmla="*/ 3664560 h 6851196"/>
                <a:gd name="connsiteX159" fmla="*/ 5296454 w 12187339"/>
                <a:gd name="connsiteY159" fmla="*/ 3664560 h 6851196"/>
                <a:gd name="connsiteX160" fmla="*/ 5527458 w 12187339"/>
                <a:gd name="connsiteY160" fmla="*/ 3428068 h 6851196"/>
                <a:gd name="connsiteX161" fmla="*/ 5750008 w 12187339"/>
                <a:gd name="connsiteY161" fmla="*/ 3428068 h 6851196"/>
                <a:gd name="connsiteX162" fmla="*/ 5750008 w 12187339"/>
                <a:gd name="connsiteY162" fmla="*/ 3664560 h 6851196"/>
                <a:gd name="connsiteX163" fmla="*/ 5526945 w 12187339"/>
                <a:gd name="connsiteY163" fmla="*/ 3664560 h 6851196"/>
                <a:gd name="connsiteX164" fmla="*/ 5756411 w 12187339"/>
                <a:gd name="connsiteY164" fmla="*/ 3428068 h 6851196"/>
                <a:gd name="connsiteX165" fmla="*/ 5980499 w 12187339"/>
                <a:gd name="connsiteY165" fmla="*/ 3428068 h 6851196"/>
                <a:gd name="connsiteX166" fmla="*/ 5980499 w 12187339"/>
                <a:gd name="connsiteY166" fmla="*/ 3664560 h 6851196"/>
                <a:gd name="connsiteX167" fmla="*/ 5756411 w 12187339"/>
                <a:gd name="connsiteY167" fmla="*/ 3664560 h 6851196"/>
                <a:gd name="connsiteX168" fmla="*/ 5986902 w 12187339"/>
                <a:gd name="connsiteY168" fmla="*/ 3428068 h 6851196"/>
                <a:gd name="connsiteX169" fmla="*/ 6210990 w 12187339"/>
                <a:gd name="connsiteY169" fmla="*/ 3428068 h 6851196"/>
                <a:gd name="connsiteX170" fmla="*/ 6210990 w 12187339"/>
                <a:gd name="connsiteY170" fmla="*/ 3664560 h 6851196"/>
                <a:gd name="connsiteX171" fmla="*/ 5986902 w 12187339"/>
                <a:gd name="connsiteY171" fmla="*/ 3664560 h 6851196"/>
                <a:gd name="connsiteX172" fmla="*/ 6217393 w 12187339"/>
                <a:gd name="connsiteY172" fmla="*/ 3428068 h 6851196"/>
                <a:gd name="connsiteX173" fmla="*/ 6439946 w 12187339"/>
                <a:gd name="connsiteY173" fmla="*/ 3428068 h 6851196"/>
                <a:gd name="connsiteX174" fmla="*/ 6439946 w 12187339"/>
                <a:gd name="connsiteY174" fmla="*/ 3664560 h 6851196"/>
                <a:gd name="connsiteX175" fmla="*/ 6217136 w 12187339"/>
                <a:gd name="connsiteY175" fmla="*/ 3664560 h 6851196"/>
                <a:gd name="connsiteX176" fmla="*/ 6446349 w 12187339"/>
                <a:gd name="connsiteY176" fmla="*/ 3428068 h 6851196"/>
                <a:gd name="connsiteX177" fmla="*/ 6656863 w 12187339"/>
                <a:gd name="connsiteY177" fmla="*/ 3428068 h 6851196"/>
                <a:gd name="connsiteX178" fmla="*/ 6656863 w 12187339"/>
                <a:gd name="connsiteY178" fmla="*/ 3664560 h 6851196"/>
                <a:gd name="connsiteX179" fmla="*/ 6446349 w 12187339"/>
                <a:gd name="connsiteY179" fmla="*/ 3664560 h 6851196"/>
                <a:gd name="connsiteX180" fmla="*/ 6663265 w 12187339"/>
                <a:gd name="connsiteY180" fmla="*/ 3428068 h 6851196"/>
                <a:gd name="connsiteX181" fmla="*/ 6887354 w 12187339"/>
                <a:gd name="connsiteY181" fmla="*/ 3428068 h 6851196"/>
                <a:gd name="connsiteX182" fmla="*/ 6887354 w 12187339"/>
                <a:gd name="connsiteY182" fmla="*/ 3664560 h 6851196"/>
                <a:gd name="connsiteX183" fmla="*/ 6663265 w 12187339"/>
                <a:gd name="connsiteY183" fmla="*/ 3664560 h 6851196"/>
                <a:gd name="connsiteX184" fmla="*/ 6893756 w 12187339"/>
                <a:gd name="connsiteY184" fmla="*/ 3428068 h 6851196"/>
                <a:gd name="connsiteX185" fmla="*/ 7117845 w 12187339"/>
                <a:gd name="connsiteY185" fmla="*/ 3428068 h 6851196"/>
                <a:gd name="connsiteX186" fmla="*/ 7117845 w 12187339"/>
                <a:gd name="connsiteY186" fmla="*/ 3664560 h 6851196"/>
                <a:gd name="connsiteX187" fmla="*/ 6893756 w 12187339"/>
                <a:gd name="connsiteY187" fmla="*/ 3664560 h 6851196"/>
                <a:gd name="connsiteX188" fmla="*/ 7124247 w 12187339"/>
                <a:gd name="connsiteY188" fmla="*/ 3428068 h 6851196"/>
                <a:gd name="connsiteX189" fmla="*/ 7346801 w 12187339"/>
                <a:gd name="connsiteY189" fmla="*/ 3428068 h 6851196"/>
                <a:gd name="connsiteX190" fmla="*/ 7346801 w 12187339"/>
                <a:gd name="connsiteY190" fmla="*/ 3664560 h 6851196"/>
                <a:gd name="connsiteX191" fmla="*/ 7124247 w 12187339"/>
                <a:gd name="connsiteY191" fmla="*/ 3664560 h 6851196"/>
                <a:gd name="connsiteX192" fmla="*/ 7353204 w 12187339"/>
                <a:gd name="connsiteY192" fmla="*/ 3428068 h 6851196"/>
                <a:gd name="connsiteX193" fmla="*/ 7577292 w 12187339"/>
                <a:gd name="connsiteY193" fmla="*/ 3428068 h 6851196"/>
                <a:gd name="connsiteX194" fmla="*/ 7577292 w 12187339"/>
                <a:gd name="connsiteY194" fmla="*/ 3664560 h 6851196"/>
                <a:gd name="connsiteX195" fmla="*/ 7353204 w 12187339"/>
                <a:gd name="connsiteY195" fmla="*/ 3664560 h 6851196"/>
                <a:gd name="connsiteX196" fmla="*/ 7583695 w 12187339"/>
                <a:gd name="connsiteY196" fmla="*/ 3428068 h 6851196"/>
                <a:gd name="connsiteX197" fmla="*/ 7807783 w 12187339"/>
                <a:gd name="connsiteY197" fmla="*/ 3428068 h 6851196"/>
                <a:gd name="connsiteX198" fmla="*/ 7807783 w 12187339"/>
                <a:gd name="connsiteY198" fmla="*/ 3664560 h 6851196"/>
                <a:gd name="connsiteX199" fmla="*/ 7583695 w 12187339"/>
                <a:gd name="connsiteY199" fmla="*/ 3664560 h 6851196"/>
                <a:gd name="connsiteX200" fmla="*/ 7814186 w 12187339"/>
                <a:gd name="connsiteY200" fmla="*/ 3428068 h 6851196"/>
                <a:gd name="connsiteX201" fmla="*/ 8038274 w 12187339"/>
                <a:gd name="connsiteY201" fmla="*/ 3428068 h 6851196"/>
                <a:gd name="connsiteX202" fmla="*/ 8038274 w 12187339"/>
                <a:gd name="connsiteY202" fmla="*/ 3664560 h 6851196"/>
                <a:gd name="connsiteX203" fmla="*/ 7814186 w 12187339"/>
                <a:gd name="connsiteY203" fmla="*/ 3664560 h 6851196"/>
                <a:gd name="connsiteX204" fmla="*/ 8044677 w 12187339"/>
                <a:gd name="connsiteY204" fmla="*/ 3428068 h 6851196"/>
                <a:gd name="connsiteX205" fmla="*/ 8267227 w 12187339"/>
                <a:gd name="connsiteY205" fmla="*/ 3428068 h 6851196"/>
                <a:gd name="connsiteX206" fmla="*/ 8267227 w 12187339"/>
                <a:gd name="connsiteY206" fmla="*/ 3664560 h 6851196"/>
                <a:gd name="connsiteX207" fmla="*/ 8044420 w 12187339"/>
                <a:gd name="connsiteY207" fmla="*/ 3664560 h 6851196"/>
                <a:gd name="connsiteX208" fmla="*/ 8273629 w 12187339"/>
                <a:gd name="connsiteY208" fmla="*/ 3428068 h 6851196"/>
                <a:gd name="connsiteX209" fmla="*/ 8497718 w 12187339"/>
                <a:gd name="connsiteY209" fmla="*/ 3428068 h 6851196"/>
                <a:gd name="connsiteX210" fmla="*/ 8497718 w 12187339"/>
                <a:gd name="connsiteY210" fmla="*/ 3664560 h 6851196"/>
                <a:gd name="connsiteX211" fmla="*/ 8273629 w 12187339"/>
                <a:gd name="connsiteY211" fmla="*/ 3664560 h 6851196"/>
                <a:gd name="connsiteX212" fmla="*/ 8504120 w 12187339"/>
                <a:gd name="connsiteY212" fmla="*/ 3428068 h 6851196"/>
                <a:gd name="connsiteX213" fmla="*/ 8728209 w 12187339"/>
                <a:gd name="connsiteY213" fmla="*/ 3428068 h 6851196"/>
                <a:gd name="connsiteX214" fmla="*/ 8728209 w 12187339"/>
                <a:gd name="connsiteY214" fmla="*/ 3664560 h 6851196"/>
                <a:gd name="connsiteX215" fmla="*/ 8504120 w 12187339"/>
                <a:gd name="connsiteY215" fmla="*/ 3664560 h 6851196"/>
                <a:gd name="connsiteX216" fmla="*/ 8734611 w 12187339"/>
                <a:gd name="connsiteY216" fmla="*/ 3428068 h 6851196"/>
                <a:gd name="connsiteX217" fmla="*/ 8957162 w 12187339"/>
                <a:gd name="connsiteY217" fmla="*/ 3428068 h 6851196"/>
                <a:gd name="connsiteX218" fmla="*/ 8957162 w 12187339"/>
                <a:gd name="connsiteY218" fmla="*/ 3664560 h 6851196"/>
                <a:gd name="connsiteX219" fmla="*/ 8734611 w 12187339"/>
                <a:gd name="connsiteY219" fmla="*/ 3664560 h 6851196"/>
                <a:gd name="connsiteX220" fmla="*/ 8963564 w 12187339"/>
                <a:gd name="connsiteY220" fmla="*/ 3428068 h 6851196"/>
                <a:gd name="connsiteX221" fmla="*/ 9187653 w 12187339"/>
                <a:gd name="connsiteY221" fmla="*/ 3428068 h 6851196"/>
                <a:gd name="connsiteX222" fmla="*/ 9187653 w 12187339"/>
                <a:gd name="connsiteY222" fmla="*/ 3664560 h 6851196"/>
                <a:gd name="connsiteX223" fmla="*/ 8963564 w 12187339"/>
                <a:gd name="connsiteY223" fmla="*/ 3664560 h 6851196"/>
                <a:gd name="connsiteX224" fmla="*/ 8963564 w 12187339"/>
                <a:gd name="connsiteY224" fmla="*/ 3421264 h 6851196"/>
                <a:gd name="connsiteX225" fmla="*/ 8963564 w 12187339"/>
                <a:gd name="connsiteY225" fmla="*/ 3183139 h 6851196"/>
                <a:gd name="connsiteX226" fmla="*/ 9187653 w 12187339"/>
                <a:gd name="connsiteY226" fmla="*/ 3183139 h 6851196"/>
                <a:gd name="connsiteX227" fmla="*/ 9187653 w 12187339"/>
                <a:gd name="connsiteY227" fmla="*/ 3421264 h 6851196"/>
                <a:gd name="connsiteX228" fmla="*/ 8963564 w 12187339"/>
                <a:gd name="connsiteY228" fmla="*/ 3176336 h 6851196"/>
                <a:gd name="connsiteX229" fmla="*/ 8963564 w 12187339"/>
                <a:gd name="connsiteY229" fmla="*/ 2938211 h 6851196"/>
                <a:gd name="connsiteX230" fmla="*/ 9187653 w 12187339"/>
                <a:gd name="connsiteY230" fmla="*/ 2938211 h 6851196"/>
                <a:gd name="connsiteX231" fmla="*/ 9187653 w 12187339"/>
                <a:gd name="connsiteY231" fmla="*/ 3176336 h 6851196"/>
                <a:gd name="connsiteX232" fmla="*/ 8957162 w 12187339"/>
                <a:gd name="connsiteY232" fmla="*/ 3176336 h 6851196"/>
                <a:gd name="connsiteX233" fmla="*/ 8734611 w 12187339"/>
                <a:gd name="connsiteY233" fmla="*/ 3176336 h 6851196"/>
                <a:gd name="connsiteX234" fmla="*/ 8734611 w 12187339"/>
                <a:gd name="connsiteY234" fmla="*/ 2938211 h 6851196"/>
                <a:gd name="connsiteX235" fmla="*/ 8957162 w 12187339"/>
                <a:gd name="connsiteY235" fmla="*/ 2938211 h 6851196"/>
                <a:gd name="connsiteX236" fmla="*/ 8728209 w 12187339"/>
                <a:gd name="connsiteY236" fmla="*/ 3176336 h 6851196"/>
                <a:gd name="connsiteX237" fmla="*/ 8504120 w 12187339"/>
                <a:gd name="connsiteY237" fmla="*/ 3176336 h 6851196"/>
                <a:gd name="connsiteX238" fmla="*/ 8504120 w 12187339"/>
                <a:gd name="connsiteY238" fmla="*/ 2938211 h 6851196"/>
                <a:gd name="connsiteX239" fmla="*/ 8728209 w 12187339"/>
                <a:gd name="connsiteY239" fmla="*/ 2938211 h 6851196"/>
                <a:gd name="connsiteX240" fmla="*/ 8497718 w 12187339"/>
                <a:gd name="connsiteY240" fmla="*/ 3176336 h 6851196"/>
                <a:gd name="connsiteX241" fmla="*/ 8273629 w 12187339"/>
                <a:gd name="connsiteY241" fmla="*/ 3176336 h 6851196"/>
                <a:gd name="connsiteX242" fmla="*/ 8273629 w 12187339"/>
                <a:gd name="connsiteY242" fmla="*/ 2938211 h 6851196"/>
                <a:gd name="connsiteX243" fmla="*/ 8497718 w 12187339"/>
                <a:gd name="connsiteY243" fmla="*/ 2938211 h 6851196"/>
                <a:gd name="connsiteX244" fmla="*/ 8267227 w 12187339"/>
                <a:gd name="connsiteY244" fmla="*/ 3176336 h 6851196"/>
                <a:gd name="connsiteX245" fmla="*/ 8044420 w 12187339"/>
                <a:gd name="connsiteY245" fmla="*/ 3176336 h 6851196"/>
                <a:gd name="connsiteX246" fmla="*/ 8044420 w 12187339"/>
                <a:gd name="connsiteY246" fmla="*/ 2938211 h 6851196"/>
                <a:gd name="connsiteX247" fmla="*/ 8267227 w 12187339"/>
                <a:gd name="connsiteY247" fmla="*/ 2938211 h 6851196"/>
                <a:gd name="connsiteX248" fmla="*/ 8038274 w 12187339"/>
                <a:gd name="connsiteY248" fmla="*/ 3176336 h 6851196"/>
                <a:gd name="connsiteX249" fmla="*/ 7814186 w 12187339"/>
                <a:gd name="connsiteY249" fmla="*/ 3176336 h 6851196"/>
                <a:gd name="connsiteX250" fmla="*/ 7814186 w 12187339"/>
                <a:gd name="connsiteY250" fmla="*/ 2938211 h 6851196"/>
                <a:gd name="connsiteX251" fmla="*/ 8038274 w 12187339"/>
                <a:gd name="connsiteY251" fmla="*/ 2938211 h 6851196"/>
                <a:gd name="connsiteX252" fmla="*/ 7807783 w 12187339"/>
                <a:gd name="connsiteY252" fmla="*/ 3176336 h 6851196"/>
                <a:gd name="connsiteX253" fmla="*/ 7583695 w 12187339"/>
                <a:gd name="connsiteY253" fmla="*/ 3176336 h 6851196"/>
                <a:gd name="connsiteX254" fmla="*/ 7583695 w 12187339"/>
                <a:gd name="connsiteY254" fmla="*/ 2938211 h 6851196"/>
                <a:gd name="connsiteX255" fmla="*/ 7807783 w 12187339"/>
                <a:gd name="connsiteY255" fmla="*/ 2938211 h 6851196"/>
                <a:gd name="connsiteX256" fmla="*/ 7577292 w 12187339"/>
                <a:gd name="connsiteY256" fmla="*/ 3176336 h 6851196"/>
                <a:gd name="connsiteX257" fmla="*/ 7353204 w 12187339"/>
                <a:gd name="connsiteY257" fmla="*/ 3176336 h 6851196"/>
                <a:gd name="connsiteX258" fmla="*/ 7353204 w 12187339"/>
                <a:gd name="connsiteY258" fmla="*/ 2938211 h 6851196"/>
                <a:gd name="connsiteX259" fmla="*/ 7577292 w 12187339"/>
                <a:gd name="connsiteY259" fmla="*/ 2938211 h 6851196"/>
                <a:gd name="connsiteX260" fmla="*/ 7346801 w 12187339"/>
                <a:gd name="connsiteY260" fmla="*/ 3176336 h 6851196"/>
                <a:gd name="connsiteX261" fmla="*/ 7124247 w 12187339"/>
                <a:gd name="connsiteY261" fmla="*/ 3176336 h 6851196"/>
                <a:gd name="connsiteX262" fmla="*/ 7124247 w 12187339"/>
                <a:gd name="connsiteY262" fmla="*/ 2938211 h 6851196"/>
                <a:gd name="connsiteX263" fmla="*/ 7346801 w 12187339"/>
                <a:gd name="connsiteY263" fmla="*/ 2938211 h 6851196"/>
                <a:gd name="connsiteX264" fmla="*/ 7117845 w 12187339"/>
                <a:gd name="connsiteY264" fmla="*/ 3176336 h 6851196"/>
                <a:gd name="connsiteX265" fmla="*/ 6893756 w 12187339"/>
                <a:gd name="connsiteY265" fmla="*/ 3176336 h 6851196"/>
                <a:gd name="connsiteX266" fmla="*/ 6893756 w 12187339"/>
                <a:gd name="connsiteY266" fmla="*/ 2938211 h 6851196"/>
                <a:gd name="connsiteX267" fmla="*/ 7117845 w 12187339"/>
                <a:gd name="connsiteY267" fmla="*/ 2938211 h 6851196"/>
                <a:gd name="connsiteX268" fmla="*/ 6887354 w 12187339"/>
                <a:gd name="connsiteY268" fmla="*/ 3176336 h 6851196"/>
                <a:gd name="connsiteX269" fmla="*/ 6663265 w 12187339"/>
                <a:gd name="connsiteY269" fmla="*/ 3176336 h 6851196"/>
                <a:gd name="connsiteX270" fmla="*/ 6663265 w 12187339"/>
                <a:gd name="connsiteY270" fmla="*/ 2938211 h 6851196"/>
                <a:gd name="connsiteX271" fmla="*/ 6887354 w 12187339"/>
                <a:gd name="connsiteY271" fmla="*/ 2938211 h 6851196"/>
                <a:gd name="connsiteX272" fmla="*/ 6656863 w 12187339"/>
                <a:gd name="connsiteY272" fmla="*/ 3176336 h 6851196"/>
                <a:gd name="connsiteX273" fmla="*/ 6446349 w 12187339"/>
                <a:gd name="connsiteY273" fmla="*/ 3176336 h 6851196"/>
                <a:gd name="connsiteX274" fmla="*/ 6446349 w 12187339"/>
                <a:gd name="connsiteY274" fmla="*/ 2938211 h 6851196"/>
                <a:gd name="connsiteX275" fmla="*/ 6656863 w 12187339"/>
                <a:gd name="connsiteY275" fmla="*/ 2938211 h 6851196"/>
                <a:gd name="connsiteX276" fmla="*/ 6439946 w 12187339"/>
                <a:gd name="connsiteY276" fmla="*/ 3176336 h 6851196"/>
                <a:gd name="connsiteX277" fmla="*/ 6217136 w 12187339"/>
                <a:gd name="connsiteY277" fmla="*/ 3176336 h 6851196"/>
                <a:gd name="connsiteX278" fmla="*/ 6217136 w 12187339"/>
                <a:gd name="connsiteY278" fmla="*/ 2938211 h 6851196"/>
                <a:gd name="connsiteX279" fmla="*/ 6439690 w 12187339"/>
                <a:gd name="connsiteY279" fmla="*/ 2938211 h 6851196"/>
                <a:gd name="connsiteX280" fmla="*/ 6210990 w 12187339"/>
                <a:gd name="connsiteY280" fmla="*/ 3176336 h 6851196"/>
                <a:gd name="connsiteX281" fmla="*/ 5986902 w 12187339"/>
                <a:gd name="connsiteY281" fmla="*/ 3176336 h 6851196"/>
                <a:gd name="connsiteX282" fmla="*/ 5986902 w 12187339"/>
                <a:gd name="connsiteY282" fmla="*/ 2938211 h 6851196"/>
                <a:gd name="connsiteX283" fmla="*/ 6210990 w 12187339"/>
                <a:gd name="connsiteY283" fmla="*/ 2938211 h 6851196"/>
                <a:gd name="connsiteX284" fmla="*/ 5980499 w 12187339"/>
                <a:gd name="connsiteY284" fmla="*/ 3176336 h 6851196"/>
                <a:gd name="connsiteX285" fmla="*/ 5756411 w 12187339"/>
                <a:gd name="connsiteY285" fmla="*/ 3176336 h 6851196"/>
                <a:gd name="connsiteX286" fmla="*/ 5756411 w 12187339"/>
                <a:gd name="connsiteY286" fmla="*/ 2938211 h 6851196"/>
                <a:gd name="connsiteX287" fmla="*/ 5980499 w 12187339"/>
                <a:gd name="connsiteY287" fmla="*/ 2938211 h 6851196"/>
                <a:gd name="connsiteX288" fmla="*/ 5750008 w 12187339"/>
                <a:gd name="connsiteY288" fmla="*/ 3176336 h 6851196"/>
                <a:gd name="connsiteX289" fmla="*/ 5526945 w 12187339"/>
                <a:gd name="connsiteY289" fmla="*/ 3176336 h 6851196"/>
                <a:gd name="connsiteX290" fmla="*/ 5526945 w 12187339"/>
                <a:gd name="connsiteY290" fmla="*/ 2938211 h 6851196"/>
                <a:gd name="connsiteX291" fmla="*/ 5749495 w 12187339"/>
                <a:gd name="connsiteY291" fmla="*/ 2938211 h 6851196"/>
                <a:gd name="connsiteX292" fmla="*/ 5521055 w 12187339"/>
                <a:gd name="connsiteY292" fmla="*/ 3176336 h 6851196"/>
                <a:gd name="connsiteX293" fmla="*/ 5296454 w 12187339"/>
                <a:gd name="connsiteY293" fmla="*/ 3176336 h 6851196"/>
                <a:gd name="connsiteX294" fmla="*/ 5296454 w 12187339"/>
                <a:gd name="connsiteY294" fmla="*/ 2938211 h 6851196"/>
                <a:gd name="connsiteX295" fmla="*/ 5520542 w 12187339"/>
                <a:gd name="connsiteY295" fmla="*/ 2938211 h 6851196"/>
                <a:gd name="connsiteX296" fmla="*/ 5290564 w 12187339"/>
                <a:gd name="connsiteY296" fmla="*/ 3176336 h 6851196"/>
                <a:gd name="connsiteX297" fmla="*/ 5065963 w 12187339"/>
                <a:gd name="connsiteY297" fmla="*/ 3176336 h 6851196"/>
                <a:gd name="connsiteX298" fmla="*/ 5065963 w 12187339"/>
                <a:gd name="connsiteY298" fmla="*/ 2938211 h 6851196"/>
                <a:gd name="connsiteX299" fmla="*/ 5290051 w 12187339"/>
                <a:gd name="connsiteY299" fmla="*/ 2938211 h 6851196"/>
                <a:gd name="connsiteX300" fmla="*/ 5060073 w 12187339"/>
                <a:gd name="connsiteY300" fmla="*/ 3176336 h 6851196"/>
                <a:gd name="connsiteX301" fmla="*/ 4835472 w 12187339"/>
                <a:gd name="connsiteY301" fmla="*/ 3176336 h 6851196"/>
                <a:gd name="connsiteX302" fmla="*/ 4835472 w 12187339"/>
                <a:gd name="connsiteY302" fmla="*/ 2938211 h 6851196"/>
                <a:gd name="connsiteX303" fmla="*/ 5059560 w 12187339"/>
                <a:gd name="connsiteY303" fmla="*/ 2938211 h 6851196"/>
                <a:gd name="connsiteX304" fmla="*/ 4829582 w 12187339"/>
                <a:gd name="connsiteY304" fmla="*/ 3176336 h 6851196"/>
                <a:gd name="connsiteX305" fmla="*/ 4607029 w 12187339"/>
                <a:gd name="connsiteY305" fmla="*/ 3176336 h 6851196"/>
                <a:gd name="connsiteX306" fmla="*/ 4607029 w 12187339"/>
                <a:gd name="connsiteY306" fmla="*/ 2938211 h 6851196"/>
                <a:gd name="connsiteX307" fmla="*/ 4829582 w 12187339"/>
                <a:gd name="connsiteY307" fmla="*/ 2938211 h 6851196"/>
                <a:gd name="connsiteX308" fmla="*/ 4600626 w 12187339"/>
                <a:gd name="connsiteY308" fmla="*/ 3176336 h 6851196"/>
                <a:gd name="connsiteX309" fmla="*/ 4376538 w 12187339"/>
                <a:gd name="connsiteY309" fmla="*/ 3176336 h 6851196"/>
                <a:gd name="connsiteX310" fmla="*/ 4376538 w 12187339"/>
                <a:gd name="connsiteY310" fmla="*/ 2938211 h 6851196"/>
                <a:gd name="connsiteX311" fmla="*/ 4600626 w 12187339"/>
                <a:gd name="connsiteY311" fmla="*/ 2938211 h 6851196"/>
                <a:gd name="connsiteX312" fmla="*/ 4370135 w 12187339"/>
                <a:gd name="connsiteY312" fmla="*/ 3176336 h 6851196"/>
                <a:gd name="connsiteX313" fmla="*/ 4146047 w 12187339"/>
                <a:gd name="connsiteY313" fmla="*/ 3176336 h 6851196"/>
                <a:gd name="connsiteX314" fmla="*/ 4146047 w 12187339"/>
                <a:gd name="connsiteY314" fmla="*/ 2938211 h 6851196"/>
                <a:gd name="connsiteX315" fmla="*/ 4370135 w 12187339"/>
                <a:gd name="connsiteY315" fmla="*/ 2938211 h 6851196"/>
                <a:gd name="connsiteX316" fmla="*/ 4139644 w 12187339"/>
                <a:gd name="connsiteY316" fmla="*/ 3176336 h 6851196"/>
                <a:gd name="connsiteX317" fmla="*/ 3917094 w 12187339"/>
                <a:gd name="connsiteY317" fmla="*/ 3176336 h 6851196"/>
                <a:gd name="connsiteX318" fmla="*/ 3917094 w 12187339"/>
                <a:gd name="connsiteY318" fmla="*/ 2938211 h 6851196"/>
                <a:gd name="connsiteX319" fmla="*/ 4139644 w 12187339"/>
                <a:gd name="connsiteY319" fmla="*/ 2938211 h 6851196"/>
                <a:gd name="connsiteX320" fmla="*/ 3910691 w 12187339"/>
                <a:gd name="connsiteY320" fmla="*/ 3176336 h 6851196"/>
                <a:gd name="connsiteX321" fmla="*/ 3686603 w 12187339"/>
                <a:gd name="connsiteY321" fmla="*/ 3176336 h 6851196"/>
                <a:gd name="connsiteX322" fmla="*/ 3686603 w 12187339"/>
                <a:gd name="connsiteY322" fmla="*/ 2938211 h 6851196"/>
                <a:gd name="connsiteX323" fmla="*/ 3910691 w 12187339"/>
                <a:gd name="connsiteY323" fmla="*/ 2938211 h 6851196"/>
                <a:gd name="connsiteX324" fmla="*/ 3680200 w 12187339"/>
                <a:gd name="connsiteY324" fmla="*/ 3176336 h 6851196"/>
                <a:gd name="connsiteX325" fmla="*/ 3456112 w 12187339"/>
                <a:gd name="connsiteY325" fmla="*/ 3176336 h 6851196"/>
                <a:gd name="connsiteX326" fmla="*/ 3456112 w 12187339"/>
                <a:gd name="connsiteY326" fmla="*/ 2938211 h 6851196"/>
                <a:gd name="connsiteX327" fmla="*/ 3680200 w 12187339"/>
                <a:gd name="connsiteY327" fmla="*/ 2938211 h 6851196"/>
                <a:gd name="connsiteX328" fmla="*/ 3449709 w 12187339"/>
                <a:gd name="connsiteY328" fmla="*/ 3176336 h 6851196"/>
                <a:gd name="connsiteX329" fmla="*/ 3225621 w 12187339"/>
                <a:gd name="connsiteY329" fmla="*/ 3176336 h 6851196"/>
                <a:gd name="connsiteX330" fmla="*/ 3225621 w 12187339"/>
                <a:gd name="connsiteY330" fmla="*/ 2938211 h 6851196"/>
                <a:gd name="connsiteX331" fmla="*/ 3449709 w 12187339"/>
                <a:gd name="connsiteY331" fmla="*/ 2938211 h 6851196"/>
                <a:gd name="connsiteX332" fmla="*/ 3219218 w 12187339"/>
                <a:gd name="connsiteY332" fmla="*/ 3176336 h 6851196"/>
                <a:gd name="connsiteX333" fmla="*/ 2996666 w 12187339"/>
                <a:gd name="connsiteY333" fmla="*/ 3176336 h 6851196"/>
                <a:gd name="connsiteX334" fmla="*/ 2996666 w 12187339"/>
                <a:gd name="connsiteY334" fmla="*/ 2938211 h 6851196"/>
                <a:gd name="connsiteX335" fmla="*/ 3219218 w 12187339"/>
                <a:gd name="connsiteY335" fmla="*/ 2938211 h 6851196"/>
                <a:gd name="connsiteX336" fmla="*/ 2990264 w 12187339"/>
                <a:gd name="connsiteY336" fmla="*/ 3176336 h 6851196"/>
                <a:gd name="connsiteX337" fmla="*/ 2766175 w 12187339"/>
                <a:gd name="connsiteY337" fmla="*/ 3176336 h 6851196"/>
                <a:gd name="connsiteX338" fmla="*/ 2766175 w 12187339"/>
                <a:gd name="connsiteY338" fmla="*/ 2938211 h 6851196"/>
                <a:gd name="connsiteX339" fmla="*/ 2990264 w 12187339"/>
                <a:gd name="connsiteY339" fmla="*/ 2938211 h 6851196"/>
                <a:gd name="connsiteX340" fmla="*/ 2990264 w 12187339"/>
                <a:gd name="connsiteY340" fmla="*/ 3183139 h 6851196"/>
                <a:gd name="connsiteX341" fmla="*/ 2990264 w 12187339"/>
                <a:gd name="connsiteY341" fmla="*/ 3421264 h 6851196"/>
                <a:gd name="connsiteX342" fmla="*/ 2766175 w 12187339"/>
                <a:gd name="connsiteY342" fmla="*/ 3421264 h 6851196"/>
                <a:gd name="connsiteX343" fmla="*/ 2766175 w 12187339"/>
                <a:gd name="connsiteY343" fmla="*/ 3183139 h 6851196"/>
                <a:gd name="connsiteX344" fmla="*/ 2990264 w 12187339"/>
                <a:gd name="connsiteY344" fmla="*/ 3428068 h 6851196"/>
                <a:gd name="connsiteX345" fmla="*/ 2990264 w 12187339"/>
                <a:gd name="connsiteY345" fmla="*/ 3664560 h 6851196"/>
                <a:gd name="connsiteX346" fmla="*/ 2766175 w 12187339"/>
                <a:gd name="connsiteY346" fmla="*/ 3664560 h 6851196"/>
                <a:gd name="connsiteX347" fmla="*/ 2766175 w 12187339"/>
                <a:gd name="connsiteY347" fmla="*/ 3428068 h 6851196"/>
                <a:gd name="connsiteX348" fmla="*/ 2990264 w 12187339"/>
                <a:gd name="connsiteY348" fmla="*/ 3671364 h 6851196"/>
                <a:gd name="connsiteX349" fmla="*/ 2990264 w 12187339"/>
                <a:gd name="connsiteY349" fmla="*/ 3909489 h 6851196"/>
                <a:gd name="connsiteX350" fmla="*/ 2766175 w 12187339"/>
                <a:gd name="connsiteY350" fmla="*/ 3909489 h 6851196"/>
                <a:gd name="connsiteX351" fmla="*/ 2766175 w 12187339"/>
                <a:gd name="connsiteY351" fmla="*/ 3671364 h 6851196"/>
                <a:gd name="connsiteX352" fmla="*/ 2996666 w 12187339"/>
                <a:gd name="connsiteY352" fmla="*/ 3671364 h 6851196"/>
                <a:gd name="connsiteX353" fmla="*/ 3219218 w 12187339"/>
                <a:gd name="connsiteY353" fmla="*/ 3671364 h 6851196"/>
                <a:gd name="connsiteX354" fmla="*/ 3219218 w 12187339"/>
                <a:gd name="connsiteY354" fmla="*/ 3909489 h 6851196"/>
                <a:gd name="connsiteX355" fmla="*/ 2996666 w 12187339"/>
                <a:gd name="connsiteY355" fmla="*/ 3909489 h 6851196"/>
                <a:gd name="connsiteX356" fmla="*/ 3225621 w 12187339"/>
                <a:gd name="connsiteY356" fmla="*/ 3671364 h 6851196"/>
                <a:gd name="connsiteX357" fmla="*/ 3449709 w 12187339"/>
                <a:gd name="connsiteY357" fmla="*/ 3671364 h 6851196"/>
                <a:gd name="connsiteX358" fmla="*/ 3449709 w 12187339"/>
                <a:gd name="connsiteY358" fmla="*/ 3909489 h 6851196"/>
                <a:gd name="connsiteX359" fmla="*/ 3225621 w 12187339"/>
                <a:gd name="connsiteY359" fmla="*/ 3909489 h 6851196"/>
                <a:gd name="connsiteX360" fmla="*/ 3456112 w 12187339"/>
                <a:gd name="connsiteY360" fmla="*/ 3671364 h 6851196"/>
                <a:gd name="connsiteX361" fmla="*/ 3680200 w 12187339"/>
                <a:gd name="connsiteY361" fmla="*/ 3671364 h 6851196"/>
                <a:gd name="connsiteX362" fmla="*/ 3680200 w 12187339"/>
                <a:gd name="connsiteY362" fmla="*/ 3909489 h 6851196"/>
                <a:gd name="connsiteX363" fmla="*/ 3456112 w 12187339"/>
                <a:gd name="connsiteY363" fmla="*/ 3909489 h 6851196"/>
                <a:gd name="connsiteX364" fmla="*/ 3686603 w 12187339"/>
                <a:gd name="connsiteY364" fmla="*/ 3671364 h 6851196"/>
                <a:gd name="connsiteX365" fmla="*/ 3910691 w 12187339"/>
                <a:gd name="connsiteY365" fmla="*/ 3671364 h 6851196"/>
                <a:gd name="connsiteX366" fmla="*/ 3910691 w 12187339"/>
                <a:gd name="connsiteY366" fmla="*/ 3909489 h 6851196"/>
                <a:gd name="connsiteX367" fmla="*/ 3686603 w 12187339"/>
                <a:gd name="connsiteY367" fmla="*/ 3909489 h 6851196"/>
                <a:gd name="connsiteX368" fmla="*/ 3917094 w 12187339"/>
                <a:gd name="connsiteY368" fmla="*/ 3671364 h 6851196"/>
                <a:gd name="connsiteX369" fmla="*/ 4139644 w 12187339"/>
                <a:gd name="connsiteY369" fmla="*/ 3671364 h 6851196"/>
                <a:gd name="connsiteX370" fmla="*/ 4139644 w 12187339"/>
                <a:gd name="connsiteY370" fmla="*/ 3909489 h 6851196"/>
                <a:gd name="connsiteX371" fmla="*/ 3917094 w 12187339"/>
                <a:gd name="connsiteY371" fmla="*/ 3909489 h 6851196"/>
                <a:gd name="connsiteX372" fmla="*/ 4146047 w 12187339"/>
                <a:gd name="connsiteY372" fmla="*/ 3671364 h 6851196"/>
                <a:gd name="connsiteX373" fmla="*/ 4370135 w 12187339"/>
                <a:gd name="connsiteY373" fmla="*/ 3671364 h 6851196"/>
                <a:gd name="connsiteX374" fmla="*/ 4370135 w 12187339"/>
                <a:gd name="connsiteY374" fmla="*/ 3909489 h 6851196"/>
                <a:gd name="connsiteX375" fmla="*/ 4146047 w 12187339"/>
                <a:gd name="connsiteY375" fmla="*/ 3909489 h 6851196"/>
                <a:gd name="connsiteX376" fmla="*/ 4376538 w 12187339"/>
                <a:gd name="connsiteY376" fmla="*/ 3671364 h 6851196"/>
                <a:gd name="connsiteX377" fmla="*/ 4600626 w 12187339"/>
                <a:gd name="connsiteY377" fmla="*/ 3671364 h 6851196"/>
                <a:gd name="connsiteX378" fmla="*/ 4600626 w 12187339"/>
                <a:gd name="connsiteY378" fmla="*/ 3909489 h 6851196"/>
                <a:gd name="connsiteX379" fmla="*/ 4376538 w 12187339"/>
                <a:gd name="connsiteY379" fmla="*/ 3909489 h 6851196"/>
                <a:gd name="connsiteX380" fmla="*/ 4607029 w 12187339"/>
                <a:gd name="connsiteY380" fmla="*/ 3671364 h 6851196"/>
                <a:gd name="connsiteX381" fmla="*/ 4829582 w 12187339"/>
                <a:gd name="connsiteY381" fmla="*/ 3671364 h 6851196"/>
                <a:gd name="connsiteX382" fmla="*/ 4829582 w 12187339"/>
                <a:gd name="connsiteY382" fmla="*/ 3909489 h 6851196"/>
                <a:gd name="connsiteX383" fmla="*/ 4607029 w 12187339"/>
                <a:gd name="connsiteY383" fmla="*/ 3909489 h 6851196"/>
                <a:gd name="connsiteX384" fmla="*/ 4835985 w 12187339"/>
                <a:gd name="connsiteY384" fmla="*/ 3671364 h 6851196"/>
                <a:gd name="connsiteX385" fmla="*/ 5060073 w 12187339"/>
                <a:gd name="connsiteY385" fmla="*/ 3671364 h 6851196"/>
                <a:gd name="connsiteX386" fmla="*/ 5060073 w 12187339"/>
                <a:gd name="connsiteY386" fmla="*/ 3909489 h 6851196"/>
                <a:gd name="connsiteX387" fmla="*/ 4835472 w 12187339"/>
                <a:gd name="connsiteY387" fmla="*/ 3909489 h 6851196"/>
                <a:gd name="connsiteX388" fmla="*/ 5066476 w 12187339"/>
                <a:gd name="connsiteY388" fmla="*/ 3671364 h 6851196"/>
                <a:gd name="connsiteX389" fmla="*/ 5290564 w 12187339"/>
                <a:gd name="connsiteY389" fmla="*/ 3671364 h 6851196"/>
                <a:gd name="connsiteX390" fmla="*/ 5290564 w 12187339"/>
                <a:gd name="connsiteY390" fmla="*/ 3909489 h 6851196"/>
                <a:gd name="connsiteX391" fmla="*/ 5065963 w 12187339"/>
                <a:gd name="connsiteY391" fmla="*/ 3909489 h 6851196"/>
                <a:gd name="connsiteX392" fmla="*/ 5296967 w 12187339"/>
                <a:gd name="connsiteY392" fmla="*/ 3671364 h 6851196"/>
                <a:gd name="connsiteX393" fmla="*/ 5521055 w 12187339"/>
                <a:gd name="connsiteY393" fmla="*/ 3671364 h 6851196"/>
                <a:gd name="connsiteX394" fmla="*/ 5521055 w 12187339"/>
                <a:gd name="connsiteY394" fmla="*/ 3909489 h 6851196"/>
                <a:gd name="connsiteX395" fmla="*/ 5296454 w 12187339"/>
                <a:gd name="connsiteY395" fmla="*/ 3909489 h 6851196"/>
                <a:gd name="connsiteX396" fmla="*/ 5527458 w 12187339"/>
                <a:gd name="connsiteY396" fmla="*/ 3671364 h 6851196"/>
                <a:gd name="connsiteX397" fmla="*/ 5750008 w 12187339"/>
                <a:gd name="connsiteY397" fmla="*/ 3671364 h 6851196"/>
                <a:gd name="connsiteX398" fmla="*/ 5750008 w 12187339"/>
                <a:gd name="connsiteY398" fmla="*/ 3909489 h 6851196"/>
                <a:gd name="connsiteX399" fmla="*/ 5526945 w 12187339"/>
                <a:gd name="connsiteY399" fmla="*/ 3909489 h 6851196"/>
                <a:gd name="connsiteX400" fmla="*/ 5756411 w 12187339"/>
                <a:gd name="connsiteY400" fmla="*/ 3671364 h 6851196"/>
                <a:gd name="connsiteX401" fmla="*/ 5980499 w 12187339"/>
                <a:gd name="connsiteY401" fmla="*/ 3671364 h 6851196"/>
                <a:gd name="connsiteX402" fmla="*/ 5980499 w 12187339"/>
                <a:gd name="connsiteY402" fmla="*/ 3909489 h 6851196"/>
                <a:gd name="connsiteX403" fmla="*/ 5756411 w 12187339"/>
                <a:gd name="connsiteY403" fmla="*/ 3909489 h 6851196"/>
                <a:gd name="connsiteX404" fmla="*/ 5986902 w 12187339"/>
                <a:gd name="connsiteY404" fmla="*/ 3671364 h 6851196"/>
                <a:gd name="connsiteX405" fmla="*/ 6210990 w 12187339"/>
                <a:gd name="connsiteY405" fmla="*/ 3671364 h 6851196"/>
                <a:gd name="connsiteX406" fmla="*/ 6210990 w 12187339"/>
                <a:gd name="connsiteY406" fmla="*/ 3909489 h 6851196"/>
                <a:gd name="connsiteX407" fmla="*/ 5986902 w 12187339"/>
                <a:gd name="connsiteY407" fmla="*/ 3909489 h 6851196"/>
                <a:gd name="connsiteX408" fmla="*/ 6217393 w 12187339"/>
                <a:gd name="connsiteY408" fmla="*/ 3671364 h 6851196"/>
                <a:gd name="connsiteX409" fmla="*/ 6439946 w 12187339"/>
                <a:gd name="connsiteY409" fmla="*/ 3671364 h 6851196"/>
                <a:gd name="connsiteX410" fmla="*/ 6439946 w 12187339"/>
                <a:gd name="connsiteY410" fmla="*/ 3909489 h 6851196"/>
                <a:gd name="connsiteX411" fmla="*/ 6217136 w 12187339"/>
                <a:gd name="connsiteY411" fmla="*/ 3909489 h 6851196"/>
                <a:gd name="connsiteX412" fmla="*/ 6446349 w 12187339"/>
                <a:gd name="connsiteY412" fmla="*/ 3671364 h 6851196"/>
                <a:gd name="connsiteX413" fmla="*/ 6656863 w 12187339"/>
                <a:gd name="connsiteY413" fmla="*/ 3671364 h 6851196"/>
                <a:gd name="connsiteX414" fmla="*/ 6656863 w 12187339"/>
                <a:gd name="connsiteY414" fmla="*/ 3909489 h 6851196"/>
                <a:gd name="connsiteX415" fmla="*/ 6446349 w 12187339"/>
                <a:gd name="connsiteY415" fmla="*/ 3909489 h 6851196"/>
                <a:gd name="connsiteX416" fmla="*/ 6663265 w 12187339"/>
                <a:gd name="connsiteY416" fmla="*/ 3671364 h 6851196"/>
                <a:gd name="connsiteX417" fmla="*/ 6887354 w 12187339"/>
                <a:gd name="connsiteY417" fmla="*/ 3671364 h 6851196"/>
                <a:gd name="connsiteX418" fmla="*/ 6887354 w 12187339"/>
                <a:gd name="connsiteY418" fmla="*/ 3909489 h 6851196"/>
                <a:gd name="connsiteX419" fmla="*/ 6663265 w 12187339"/>
                <a:gd name="connsiteY419" fmla="*/ 3909489 h 6851196"/>
                <a:gd name="connsiteX420" fmla="*/ 6893756 w 12187339"/>
                <a:gd name="connsiteY420" fmla="*/ 3671364 h 6851196"/>
                <a:gd name="connsiteX421" fmla="*/ 7117845 w 12187339"/>
                <a:gd name="connsiteY421" fmla="*/ 3671364 h 6851196"/>
                <a:gd name="connsiteX422" fmla="*/ 7117845 w 12187339"/>
                <a:gd name="connsiteY422" fmla="*/ 3909489 h 6851196"/>
                <a:gd name="connsiteX423" fmla="*/ 6893756 w 12187339"/>
                <a:gd name="connsiteY423" fmla="*/ 3909489 h 6851196"/>
                <a:gd name="connsiteX424" fmla="*/ 7124247 w 12187339"/>
                <a:gd name="connsiteY424" fmla="*/ 3671364 h 6851196"/>
                <a:gd name="connsiteX425" fmla="*/ 7346801 w 12187339"/>
                <a:gd name="connsiteY425" fmla="*/ 3671364 h 6851196"/>
                <a:gd name="connsiteX426" fmla="*/ 7346801 w 12187339"/>
                <a:gd name="connsiteY426" fmla="*/ 3909489 h 6851196"/>
                <a:gd name="connsiteX427" fmla="*/ 7124247 w 12187339"/>
                <a:gd name="connsiteY427" fmla="*/ 3909489 h 6851196"/>
                <a:gd name="connsiteX428" fmla="*/ 7353204 w 12187339"/>
                <a:gd name="connsiteY428" fmla="*/ 3671364 h 6851196"/>
                <a:gd name="connsiteX429" fmla="*/ 7577292 w 12187339"/>
                <a:gd name="connsiteY429" fmla="*/ 3671364 h 6851196"/>
                <a:gd name="connsiteX430" fmla="*/ 7577292 w 12187339"/>
                <a:gd name="connsiteY430" fmla="*/ 3909489 h 6851196"/>
                <a:gd name="connsiteX431" fmla="*/ 7353204 w 12187339"/>
                <a:gd name="connsiteY431" fmla="*/ 3909489 h 6851196"/>
                <a:gd name="connsiteX432" fmla="*/ 7583695 w 12187339"/>
                <a:gd name="connsiteY432" fmla="*/ 3671364 h 6851196"/>
                <a:gd name="connsiteX433" fmla="*/ 7807783 w 12187339"/>
                <a:gd name="connsiteY433" fmla="*/ 3671364 h 6851196"/>
                <a:gd name="connsiteX434" fmla="*/ 7807783 w 12187339"/>
                <a:gd name="connsiteY434" fmla="*/ 3909489 h 6851196"/>
                <a:gd name="connsiteX435" fmla="*/ 7583695 w 12187339"/>
                <a:gd name="connsiteY435" fmla="*/ 3909489 h 6851196"/>
                <a:gd name="connsiteX436" fmla="*/ 7814186 w 12187339"/>
                <a:gd name="connsiteY436" fmla="*/ 3671364 h 6851196"/>
                <a:gd name="connsiteX437" fmla="*/ 8038274 w 12187339"/>
                <a:gd name="connsiteY437" fmla="*/ 3671364 h 6851196"/>
                <a:gd name="connsiteX438" fmla="*/ 8038274 w 12187339"/>
                <a:gd name="connsiteY438" fmla="*/ 3909489 h 6851196"/>
                <a:gd name="connsiteX439" fmla="*/ 7814186 w 12187339"/>
                <a:gd name="connsiteY439" fmla="*/ 3909489 h 6851196"/>
                <a:gd name="connsiteX440" fmla="*/ 8044677 w 12187339"/>
                <a:gd name="connsiteY440" fmla="*/ 3671364 h 6851196"/>
                <a:gd name="connsiteX441" fmla="*/ 8267227 w 12187339"/>
                <a:gd name="connsiteY441" fmla="*/ 3671364 h 6851196"/>
                <a:gd name="connsiteX442" fmla="*/ 8267227 w 12187339"/>
                <a:gd name="connsiteY442" fmla="*/ 3909489 h 6851196"/>
                <a:gd name="connsiteX443" fmla="*/ 8044420 w 12187339"/>
                <a:gd name="connsiteY443" fmla="*/ 3909489 h 6851196"/>
                <a:gd name="connsiteX444" fmla="*/ 8273629 w 12187339"/>
                <a:gd name="connsiteY444" fmla="*/ 3671364 h 6851196"/>
                <a:gd name="connsiteX445" fmla="*/ 8497718 w 12187339"/>
                <a:gd name="connsiteY445" fmla="*/ 3671364 h 6851196"/>
                <a:gd name="connsiteX446" fmla="*/ 8497718 w 12187339"/>
                <a:gd name="connsiteY446" fmla="*/ 3909489 h 6851196"/>
                <a:gd name="connsiteX447" fmla="*/ 8273629 w 12187339"/>
                <a:gd name="connsiteY447" fmla="*/ 3909489 h 6851196"/>
                <a:gd name="connsiteX448" fmla="*/ 8504120 w 12187339"/>
                <a:gd name="connsiteY448" fmla="*/ 3671364 h 6851196"/>
                <a:gd name="connsiteX449" fmla="*/ 8728209 w 12187339"/>
                <a:gd name="connsiteY449" fmla="*/ 3671364 h 6851196"/>
                <a:gd name="connsiteX450" fmla="*/ 8728209 w 12187339"/>
                <a:gd name="connsiteY450" fmla="*/ 3909489 h 6851196"/>
                <a:gd name="connsiteX451" fmla="*/ 8504120 w 12187339"/>
                <a:gd name="connsiteY451" fmla="*/ 3909489 h 6851196"/>
                <a:gd name="connsiteX452" fmla="*/ 8734611 w 12187339"/>
                <a:gd name="connsiteY452" fmla="*/ 3671364 h 6851196"/>
                <a:gd name="connsiteX453" fmla="*/ 8957162 w 12187339"/>
                <a:gd name="connsiteY453" fmla="*/ 3671364 h 6851196"/>
                <a:gd name="connsiteX454" fmla="*/ 8957162 w 12187339"/>
                <a:gd name="connsiteY454" fmla="*/ 3909489 h 6851196"/>
                <a:gd name="connsiteX455" fmla="*/ 8734611 w 12187339"/>
                <a:gd name="connsiteY455" fmla="*/ 3909489 h 6851196"/>
                <a:gd name="connsiteX456" fmla="*/ 8963564 w 12187339"/>
                <a:gd name="connsiteY456" fmla="*/ 3671364 h 6851196"/>
                <a:gd name="connsiteX457" fmla="*/ 9187653 w 12187339"/>
                <a:gd name="connsiteY457" fmla="*/ 3671364 h 6851196"/>
                <a:gd name="connsiteX458" fmla="*/ 9187653 w 12187339"/>
                <a:gd name="connsiteY458" fmla="*/ 3909489 h 6851196"/>
                <a:gd name="connsiteX459" fmla="*/ 8963564 w 12187339"/>
                <a:gd name="connsiteY459" fmla="*/ 3909489 h 6851196"/>
                <a:gd name="connsiteX460" fmla="*/ 9194055 w 12187339"/>
                <a:gd name="connsiteY460" fmla="*/ 3671364 h 6851196"/>
                <a:gd name="connsiteX461" fmla="*/ 9418144 w 12187339"/>
                <a:gd name="connsiteY461" fmla="*/ 3671364 h 6851196"/>
                <a:gd name="connsiteX462" fmla="*/ 9418144 w 12187339"/>
                <a:gd name="connsiteY462" fmla="*/ 3909489 h 6851196"/>
                <a:gd name="connsiteX463" fmla="*/ 9194055 w 12187339"/>
                <a:gd name="connsiteY463" fmla="*/ 3909489 h 6851196"/>
                <a:gd name="connsiteX464" fmla="*/ 9194055 w 12187339"/>
                <a:gd name="connsiteY464" fmla="*/ 3664560 h 6851196"/>
                <a:gd name="connsiteX465" fmla="*/ 9194055 w 12187339"/>
                <a:gd name="connsiteY465" fmla="*/ 3428068 h 6851196"/>
                <a:gd name="connsiteX466" fmla="*/ 9418144 w 12187339"/>
                <a:gd name="connsiteY466" fmla="*/ 3428068 h 6851196"/>
                <a:gd name="connsiteX467" fmla="*/ 9418144 w 12187339"/>
                <a:gd name="connsiteY467" fmla="*/ 3664560 h 6851196"/>
                <a:gd name="connsiteX468" fmla="*/ 9194055 w 12187339"/>
                <a:gd name="connsiteY468" fmla="*/ 3421264 h 6851196"/>
                <a:gd name="connsiteX469" fmla="*/ 9194055 w 12187339"/>
                <a:gd name="connsiteY469" fmla="*/ 3183139 h 6851196"/>
                <a:gd name="connsiteX470" fmla="*/ 9418144 w 12187339"/>
                <a:gd name="connsiteY470" fmla="*/ 3183139 h 6851196"/>
                <a:gd name="connsiteX471" fmla="*/ 9418144 w 12187339"/>
                <a:gd name="connsiteY471" fmla="*/ 3421264 h 6851196"/>
                <a:gd name="connsiteX472" fmla="*/ 9194055 w 12187339"/>
                <a:gd name="connsiteY472" fmla="*/ 3176336 h 6851196"/>
                <a:gd name="connsiteX473" fmla="*/ 9194055 w 12187339"/>
                <a:gd name="connsiteY473" fmla="*/ 2938211 h 6851196"/>
                <a:gd name="connsiteX474" fmla="*/ 9418144 w 12187339"/>
                <a:gd name="connsiteY474" fmla="*/ 2938211 h 6851196"/>
                <a:gd name="connsiteX475" fmla="*/ 9418144 w 12187339"/>
                <a:gd name="connsiteY475" fmla="*/ 3176336 h 6851196"/>
                <a:gd name="connsiteX476" fmla="*/ 9194055 w 12187339"/>
                <a:gd name="connsiteY476" fmla="*/ 2931407 h 6851196"/>
                <a:gd name="connsiteX477" fmla="*/ 9194055 w 12187339"/>
                <a:gd name="connsiteY477" fmla="*/ 2693282 h 6851196"/>
                <a:gd name="connsiteX478" fmla="*/ 9418144 w 12187339"/>
                <a:gd name="connsiteY478" fmla="*/ 2693282 h 6851196"/>
                <a:gd name="connsiteX479" fmla="*/ 9418144 w 12187339"/>
                <a:gd name="connsiteY479" fmla="*/ 2931407 h 6851196"/>
                <a:gd name="connsiteX480" fmla="*/ 9187653 w 12187339"/>
                <a:gd name="connsiteY480" fmla="*/ 2931407 h 6851196"/>
                <a:gd name="connsiteX481" fmla="*/ 8963564 w 12187339"/>
                <a:gd name="connsiteY481" fmla="*/ 2931407 h 6851196"/>
                <a:gd name="connsiteX482" fmla="*/ 8963564 w 12187339"/>
                <a:gd name="connsiteY482" fmla="*/ 2693282 h 6851196"/>
                <a:gd name="connsiteX483" fmla="*/ 9187653 w 12187339"/>
                <a:gd name="connsiteY483" fmla="*/ 2693282 h 6851196"/>
                <a:gd name="connsiteX484" fmla="*/ 8957162 w 12187339"/>
                <a:gd name="connsiteY484" fmla="*/ 2931407 h 6851196"/>
                <a:gd name="connsiteX485" fmla="*/ 8734611 w 12187339"/>
                <a:gd name="connsiteY485" fmla="*/ 2931407 h 6851196"/>
                <a:gd name="connsiteX486" fmla="*/ 8734611 w 12187339"/>
                <a:gd name="connsiteY486" fmla="*/ 2693282 h 6851196"/>
                <a:gd name="connsiteX487" fmla="*/ 8957162 w 12187339"/>
                <a:gd name="connsiteY487" fmla="*/ 2693282 h 6851196"/>
                <a:gd name="connsiteX488" fmla="*/ 8728209 w 12187339"/>
                <a:gd name="connsiteY488" fmla="*/ 2931407 h 6851196"/>
                <a:gd name="connsiteX489" fmla="*/ 8504120 w 12187339"/>
                <a:gd name="connsiteY489" fmla="*/ 2931407 h 6851196"/>
                <a:gd name="connsiteX490" fmla="*/ 8504120 w 12187339"/>
                <a:gd name="connsiteY490" fmla="*/ 2693282 h 6851196"/>
                <a:gd name="connsiteX491" fmla="*/ 8728209 w 12187339"/>
                <a:gd name="connsiteY491" fmla="*/ 2693282 h 6851196"/>
                <a:gd name="connsiteX492" fmla="*/ 8497718 w 12187339"/>
                <a:gd name="connsiteY492" fmla="*/ 2931407 h 6851196"/>
                <a:gd name="connsiteX493" fmla="*/ 8273629 w 12187339"/>
                <a:gd name="connsiteY493" fmla="*/ 2931407 h 6851196"/>
                <a:gd name="connsiteX494" fmla="*/ 8273629 w 12187339"/>
                <a:gd name="connsiteY494" fmla="*/ 2693282 h 6851196"/>
                <a:gd name="connsiteX495" fmla="*/ 8497718 w 12187339"/>
                <a:gd name="connsiteY495" fmla="*/ 2693282 h 6851196"/>
                <a:gd name="connsiteX496" fmla="*/ 8267227 w 12187339"/>
                <a:gd name="connsiteY496" fmla="*/ 2931407 h 6851196"/>
                <a:gd name="connsiteX497" fmla="*/ 8044420 w 12187339"/>
                <a:gd name="connsiteY497" fmla="*/ 2931407 h 6851196"/>
                <a:gd name="connsiteX498" fmla="*/ 8044420 w 12187339"/>
                <a:gd name="connsiteY498" fmla="*/ 2693282 h 6851196"/>
                <a:gd name="connsiteX499" fmla="*/ 8267227 w 12187339"/>
                <a:gd name="connsiteY499" fmla="*/ 2693282 h 6851196"/>
                <a:gd name="connsiteX500" fmla="*/ 8038274 w 12187339"/>
                <a:gd name="connsiteY500" fmla="*/ 2931407 h 6851196"/>
                <a:gd name="connsiteX501" fmla="*/ 7814186 w 12187339"/>
                <a:gd name="connsiteY501" fmla="*/ 2931407 h 6851196"/>
                <a:gd name="connsiteX502" fmla="*/ 7814186 w 12187339"/>
                <a:gd name="connsiteY502" fmla="*/ 2693282 h 6851196"/>
                <a:gd name="connsiteX503" fmla="*/ 8038274 w 12187339"/>
                <a:gd name="connsiteY503" fmla="*/ 2693282 h 6851196"/>
                <a:gd name="connsiteX504" fmla="*/ 7807783 w 12187339"/>
                <a:gd name="connsiteY504" fmla="*/ 2931407 h 6851196"/>
                <a:gd name="connsiteX505" fmla="*/ 7583695 w 12187339"/>
                <a:gd name="connsiteY505" fmla="*/ 2931407 h 6851196"/>
                <a:gd name="connsiteX506" fmla="*/ 7583695 w 12187339"/>
                <a:gd name="connsiteY506" fmla="*/ 2693282 h 6851196"/>
                <a:gd name="connsiteX507" fmla="*/ 7807783 w 12187339"/>
                <a:gd name="connsiteY507" fmla="*/ 2693282 h 6851196"/>
                <a:gd name="connsiteX508" fmla="*/ 7577292 w 12187339"/>
                <a:gd name="connsiteY508" fmla="*/ 2931407 h 6851196"/>
                <a:gd name="connsiteX509" fmla="*/ 7353204 w 12187339"/>
                <a:gd name="connsiteY509" fmla="*/ 2931407 h 6851196"/>
                <a:gd name="connsiteX510" fmla="*/ 7353204 w 12187339"/>
                <a:gd name="connsiteY510" fmla="*/ 2693282 h 6851196"/>
                <a:gd name="connsiteX511" fmla="*/ 7577292 w 12187339"/>
                <a:gd name="connsiteY511" fmla="*/ 2693282 h 6851196"/>
                <a:gd name="connsiteX512" fmla="*/ 7346801 w 12187339"/>
                <a:gd name="connsiteY512" fmla="*/ 2931407 h 6851196"/>
                <a:gd name="connsiteX513" fmla="*/ 7124247 w 12187339"/>
                <a:gd name="connsiteY513" fmla="*/ 2931407 h 6851196"/>
                <a:gd name="connsiteX514" fmla="*/ 7124247 w 12187339"/>
                <a:gd name="connsiteY514" fmla="*/ 2693282 h 6851196"/>
                <a:gd name="connsiteX515" fmla="*/ 7346801 w 12187339"/>
                <a:gd name="connsiteY515" fmla="*/ 2693282 h 6851196"/>
                <a:gd name="connsiteX516" fmla="*/ 7117845 w 12187339"/>
                <a:gd name="connsiteY516" fmla="*/ 2931407 h 6851196"/>
                <a:gd name="connsiteX517" fmla="*/ 6893756 w 12187339"/>
                <a:gd name="connsiteY517" fmla="*/ 2931407 h 6851196"/>
                <a:gd name="connsiteX518" fmla="*/ 6893756 w 12187339"/>
                <a:gd name="connsiteY518" fmla="*/ 2693282 h 6851196"/>
                <a:gd name="connsiteX519" fmla="*/ 7117845 w 12187339"/>
                <a:gd name="connsiteY519" fmla="*/ 2693282 h 6851196"/>
                <a:gd name="connsiteX520" fmla="*/ 6887354 w 12187339"/>
                <a:gd name="connsiteY520" fmla="*/ 2931407 h 6851196"/>
                <a:gd name="connsiteX521" fmla="*/ 6663265 w 12187339"/>
                <a:gd name="connsiteY521" fmla="*/ 2931407 h 6851196"/>
                <a:gd name="connsiteX522" fmla="*/ 6663265 w 12187339"/>
                <a:gd name="connsiteY522" fmla="*/ 2693282 h 6851196"/>
                <a:gd name="connsiteX523" fmla="*/ 6887354 w 12187339"/>
                <a:gd name="connsiteY523" fmla="*/ 2693282 h 6851196"/>
                <a:gd name="connsiteX524" fmla="*/ 6656863 w 12187339"/>
                <a:gd name="connsiteY524" fmla="*/ 2931407 h 6851196"/>
                <a:gd name="connsiteX525" fmla="*/ 6446349 w 12187339"/>
                <a:gd name="connsiteY525" fmla="*/ 2931407 h 6851196"/>
                <a:gd name="connsiteX526" fmla="*/ 6446349 w 12187339"/>
                <a:gd name="connsiteY526" fmla="*/ 2693282 h 6851196"/>
                <a:gd name="connsiteX527" fmla="*/ 6656863 w 12187339"/>
                <a:gd name="connsiteY527" fmla="*/ 2693282 h 6851196"/>
                <a:gd name="connsiteX528" fmla="*/ 6439946 w 12187339"/>
                <a:gd name="connsiteY528" fmla="*/ 2931407 h 6851196"/>
                <a:gd name="connsiteX529" fmla="*/ 6217136 w 12187339"/>
                <a:gd name="connsiteY529" fmla="*/ 2931407 h 6851196"/>
                <a:gd name="connsiteX530" fmla="*/ 6217136 w 12187339"/>
                <a:gd name="connsiteY530" fmla="*/ 2693282 h 6851196"/>
                <a:gd name="connsiteX531" fmla="*/ 6439690 w 12187339"/>
                <a:gd name="connsiteY531" fmla="*/ 2693282 h 6851196"/>
                <a:gd name="connsiteX532" fmla="*/ 6210990 w 12187339"/>
                <a:gd name="connsiteY532" fmla="*/ 2931407 h 6851196"/>
                <a:gd name="connsiteX533" fmla="*/ 5986902 w 12187339"/>
                <a:gd name="connsiteY533" fmla="*/ 2931407 h 6851196"/>
                <a:gd name="connsiteX534" fmla="*/ 5986902 w 12187339"/>
                <a:gd name="connsiteY534" fmla="*/ 2693282 h 6851196"/>
                <a:gd name="connsiteX535" fmla="*/ 6210990 w 12187339"/>
                <a:gd name="connsiteY535" fmla="*/ 2693282 h 6851196"/>
                <a:gd name="connsiteX536" fmla="*/ 5980499 w 12187339"/>
                <a:gd name="connsiteY536" fmla="*/ 2931407 h 6851196"/>
                <a:gd name="connsiteX537" fmla="*/ 5756411 w 12187339"/>
                <a:gd name="connsiteY537" fmla="*/ 2931407 h 6851196"/>
                <a:gd name="connsiteX538" fmla="*/ 5756411 w 12187339"/>
                <a:gd name="connsiteY538" fmla="*/ 2693282 h 6851196"/>
                <a:gd name="connsiteX539" fmla="*/ 5980499 w 12187339"/>
                <a:gd name="connsiteY539" fmla="*/ 2693282 h 6851196"/>
                <a:gd name="connsiteX540" fmla="*/ 5750008 w 12187339"/>
                <a:gd name="connsiteY540" fmla="*/ 2931407 h 6851196"/>
                <a:gd name="connsiteX541" fmla="*/ 5526945 w 12187339"/>
                <a:gd name="connsiteY541" fmla="*/ 2931407 h 6851196"/>
                <a:gd name="connsiteX542" fmla="*/ 5526945 w 12187339"/>
                <a:gd name="connsiteY542" fmla="*/ 2693282 h 6851196"/>
                <a:gd name="connsiteX543" fmla="*/ 5749495 w 12187339"/>
                <a:gd name="connsiteY543" fmla="*/ 2693282 h 6851196"/>
                <a:gd name="connsiteX544" fmla="*/ 5521055 w 12187339"/>
                <a:gd name="connsiteY544" fmla="*/ 2931407 h 6851196"/>
                <a:gd name="connsiteX545" fmla="*/ 5296454 w 12187339"/>
                <a:gd name="connsiteY545" fmla="*/ 2931407 h 6851196"/>
                <a:gd name="connsiteX546" fmla="*/ 5296454 w 12187339"/>
                <a:gd name="connsiteY546" fmla="*/ 2693282 h 6851196"/>
                <a:gd name="connsiteX547" fmla="*/ 5520542 w 12187339"/>
                <a:gd name="connsiteY547" fmla="*/ 2693282 h 6851196"/>
                <a:gd name="connsiteX548" fmla="*/ 5290564 w 12187339"/>
                <a:gd name="connsiteY548" fmla="*/ 2931407 h 6851196"/>
                <a:gd name="connsiteX549" fmla="*/ 5065963 w 12187339"/>
                <a:gd name="connsiteY549" fmla="*/ 2931407 h 6851196"/>
                <a:gd name="connsiteX550" fmla="*/ 5065963 w 12187339"/>
                <a:gd name="connsiteY550" fmla="*/ 2693282 h 6851196"/>
                <a:gd name="connsiteX551" fmla="*/ 5290051 w 12187339"/>
                <a:gd name="connsiteY551" fmla="*/ 2693282 h 6851196"/>
                <a:gd name="connsiteX552" fmla="*/ 5060073 w 12187339"/>
                <a:gd name="connsiteY552" fmla="*/ 2931407 h 6851196"/>
                <a:gd name="connsiteX553" fmla="*/ 4835472 w 12187339"/>
                <a:gd name="connsiteY553" fmla="*/ 2931407 h 6851196"/>
                <a:gd name="connsiteX554" fmla="*/ 4835472 w 12187339"/>
                <a:gd name="connsiteY554" fmla="*/ 2693282 h 6851196"/>
                <a:gd name="connsiteX555" fmla="*/ 5059560 w 12187339"/>
                <a:gd name="connsiteY555" fmla="*/ 2693282 h 6851196"/>
                <a:gd name="connsiteX556" fmla="*/ 4829582 w 12187339"/>
                <a:gd name="connsiteY556" fmla="*/ 2931407 h 6851196"/>
                <a:gd name="connsiteX557" fmla="*/ 4607029 w 12187339"/>
                <a:gd name="connsiteY557" fmla="*/ 2931407 h 6851196"/>
                <a:gd name="connsiteX558" fmla="*/ 4607029 w 12187339"/>
                <a:gd name="connsiteY558" fmla="*/ 2693282 h 6851196"/>
                <a:gd name="connsiteX559" fmla="*/ 4829582 w 12187339"/>
                <a:gd name="connsiteY559" fmla="*/ 2693282 h 6851196"/>
                <a:gd name="connsiteX560" fmla="*/ 4600626 w 12187339"/>
                <a:gd name="connsiteY560" fmla="*/ 2931407 h 6851196"/>
                <a:gd name="connsiteX561" fmla="*/ 4376538 w 12187339"/>
                <a:gd name="connsiteY561" fmla="*/ 2931407 h 6851196"/>
                <a:gd name="connsiteX562" fmla="*/ 4376538 w 12187339"/>
                <a:gd name="connsiteY562" fmla="*/ 2693282 h 6851196"/>
                <a:gd name="connsiteX563" fmla="*/ 4600626 w 12187339"/>
                <a:gd name="connsiteY563" fmla="*/ 2693282 h 6851196"/>
                <a:gd name="connsiteX564" fmla="*/ 4370135 w 12187339"/>
                <a:gd name="connsiteY564" fmla="*/ 2931407 h 6851196"/>
                <a:gd name="connsiteX565" fmla="*/ 4146047 w 12187339"/>
                <a:gd name="connsiteY565" fmla="*/ 2931407 h 6851196"/>
                <a:gd name="connsiteX566" fmla="*/ 4146047 w 12187339"/>
                <a:gd name="connsiteY566" fmla="*/ 2693282 h 6851196"/>
                <a:gd name="connsiteX567" fmla="*/ 4370135 w 12187339"/>
                <a:gd name="connsiteY567" fmla="*/ 2693282 h 6851196"/>
                <a:gd name="connsiteX568" fmla="*/ 4139644 w 12187339"/>
                <a:gd name="connsiteY568" fmla="*/ 2931407 h 6851196"/>
                <a:gd name="connsiteX569" fmla="*/ 3917094 w 12187339"/>
                <a:gd name="connsiteY569" fmla="*/ 2931407 h 6851196"/>
                <a:gd name="connsiteX570" fmla="*/ 3917094 w 12187339"/>
                <a:gd name="connsiteY570" fmla="*/ 2693282 h 6851196"/>
                <a:gd name="connsiteX571" fmla="*/ 4139644 w 12187339"/>
                <a:gd name="connsiteY571" fmla="*/ 2693282 h 6851196"/>
                <a:gd name="connsiteX572" fmla="*/ 3910691 w 12187339"/>
                <a:gd name="connsiteY572" fmla="*/ 2931407 h 6851196"/>
                <a:gd name="connsiteX573" fmla="*/ 3686603 w 12187339"/>
                <a:gd name="connsiteY573" fmla="*/ 2931407 h 6851196"/>
                <a:gd name="connsiteX574" fmla="*/ 3686603 w 12187339"/>
                <a:gd name="connsiteY574" fmla="*/ 2693282 h 6851196"/>
                <a:gd name="connsiteX575" fmla="*/ 3910691 w 12187339"/>
                <a:gd name="connsiteY575" fmla="*/ 2693282 h 6851196"/>
                <a:gd name="connsiteX576" fmla="*/ 3680200 w 12187339"/>
                <a:gd name="connsiteY576" fmla="*/ 2931407 h 6851196"/>
                <a:gd name="connsiteX577" fmla="*/ 3456112 w 12187339"/>
                <a:gd name="connsiteY577" fmla="*/ 2931407 h 6851196"/>
                <a:gd name="connsiteX578" fmla="*/ 3456112 w 12187339"/>
                <a:gd name="connsiteY578" fmla="*/ 2693282 h 6851196"/>
                <a:gd name="connsiteX579" fmla="*/ 3680200 w 12187339"/>
                <a:gd name="connsiteY579" fmla="*/ 2693282 h 6851196"/>
                <a:gd name="connsiteX580" fmla="*/ 3449709 w 12187339"/>
                <a:gd name="connsiteY580" fmla="*/ 2931407 h 6851196"/>
                <a:gd name="connsiteX581" fmla="*/ 3225621 w 12187339"/>
                <a:gd name="connsiteY581" fmla="*/ 2931407 h 6851196"/>
                <a:gd name="connsiteX582" fmla="*/ 3225621 w 12187339"/>
                <a:gd name="connsiteY582" fmla="*/ 2693282 h 6851196"/>
                <a:gd name="connsiteX583" fmla="*/ 3449709 w 12187339"/>
                <a:gd name="connsiteY583" fmla="*/ 2693282 h 6851196"/>
                <a:gd name="connsiteX584" fmla="*/ 3219218 w 12187339"/>
                <a:gd name="connsiteY584" fmla="*/ 2931407 h 6851196"/>
                <a:gd name="connsiteX585" fmla="*/ 2996666 w 12187339"/>
                <a:gd name="connsiteY585" fmla="*/ 2931407 h 6851196"/>
                <a:gd name="connsiteX586" fmla="*/ 2996666 w 12187339"/>
                <a:gd name="connsiteY586" fmla="*/ 2693282 h 6851196"/>
                <a:gd name="connsiteX587" fmla="*/ 3219218 w 12187339"/>
                <a:gd name="connsiteY587" fmla="*/ 2693282 h 6851196"/>
                <a:gd name="connsiteX588" fmla="*/ 2990264 w 12187339"/>
                <a:gd name="connsiteY588" fmla="*/ 2931407 h 6851196"/>
                <a:gd name="connsiteX589" fmla="*/ 2766175 w 12187339"/>
                <a:gd name="connsiteY589" fmla="*/ 2931407 h 6851196"/>
                <a:gd name="connsiteX590" fmla="*/ 2766175 w 12187339"/>
                <a:gd name="connsiteY590" fmla="*/ 2693282 h 6851196"/>
                <a:gd name="connsiteX591" fmla="*/ 2990264 w 12187339"/>
                <a:gd name="connsiteY591" fmla="*/ 2693282 h 6851196"/>
                <a:gd name="connsiteX592" fmla="*/ 2759773 w 12187339"/>
                <a:gd name="connsiteY592" fmla="*/ 2931407 h 6851196"/>
                <a:gd name="connsiteX593" fmla="*/ 2535684 w 12187339"/>
                <a:gd name="connsiteY593" fmla="*/ 2931407 h 6851196"/>
                <a:gd name="connsiteX594" fmla="*/ 2535684 w 12187339"/>
                <a:gd name="connsiteY594" fmla="*/ 2693282 h 6851196"/>
                <a:gd name="connsiteX595" fmla="*/ 2759773 w 12187339"/>
                <a:gd name="connsiteY595" fmla="*/ 2693282 h 6851196"/>
                <a:gd name="connsiteX596" fmla="*/ 2759773 w 12187339"/>
                <a:gd name="connsiteY596" fmla="*/ 2938211 h 6851196"/>
                <a:gd name="connsiteX597" fmla="*/ 2759773 w 12187339"/>
                <a:gd name="connsiteY597" fmla="*/ 3176336 h 6851196"/>
                <a:gd name="connsiteX598" fmla="*/ 2535684 w 12187339"/>
                <a:gd name="connsiteY598" fmla="*/ 3176336 h 6851196"/>
                <a:gd name="connsiteX599" fmla="*/ 2535684 w 12187339"/>
                <a:gd name="connsiteY599" fmla="*/ 2938211 h 6851196"/>
                <a:gd name="connsiteX600" fmla="*/ 2759773 w 12187339"/>
                <a:gd name="connsiteY600" fmla="*/ 3183139 h 6851196"/>
                <a:gd name="connsiteX601" fmla="*/ 2759773 w 12187339"/>
                <a:gd name="connsiteY601" fmla="*/ 3421264 h 6851196"/>
                <a:gd name="connsiteX602" fmla="*/ 2535684 w 12187339"/>
                <a:gd name="connsiteY602" fmla="*/ 3421264 h 6851196"/>
                <a:gd name="connsiteX603" fmla="*/ 2535684 w 12187339"/>
                <a:gd name="connsiteY603" fmla="*/ 3183139 h 6851196"/>
                <a:gd name="connsiteX604" fmla="*/ 2759773 w 12187339"/>
                <a:gd name="connsiteY604" fmla="*/ 3428068 h 6851196"/>
                <a:gd name="connsiteX605" fmla="*/ 2759773 w 12187339"/>
                <a:gd name="connsiteY605" fmla="*/ 3664560 h 6851196"/>
                <a:gd name="connsiteX606" fmla="*/ 2535684 w 12187339"/>
                <a:gd name="connsiteY606" fmla="*/ 3664560 h 6851196"/>
                <a:gd name="connsiteX607" fmla="*/ 2535684 w 12187339"/>
                <a:gd name="connsiteY607" fmla="*/ 3428068 h 6851196"/>
                <a:gd name="connsiteX608" fmla="*/ 2759773 w 12187339"/>
                <a:gd name="connsiteY608" fmla="*/ 3671364 h 6851196"/>
                <a:gd name="connsiteX609" fmla="*/ 2759773 w 12187339"/>
                <a:gd name="connsiteY609" fmla="*/ 3909489 h 6851196"/>
                <a:gd name="connsiteX610" fmla="*/ 2535684 w 12187339"/>
                <a:gd name="connsiteY610" fmla="*/ 3909489 h 6851196"/>
                <a:gd name="connsiteX611" fmla="*/ 2535684 w 12187339"/>
                <a:gd name="connsiteY611" fmla="*/ 3671364 h 6851196"/>
                <a:gd name="connsiteX612" fmla="*/ 2759773 w 12187339"/>
                <a:gd name="connsiteY612" fmla="*/ 3916292 h 6851196"/>
                <a:gd name="connsiteX613" fmla="*/ 2759773 w 12187339"/>
                <a:gd name="connsiteY613" fmla="*/ 4154417 h 6851196"/>
                <a:gd name="connsiteX614" fmla="*/ 2535684 w 12187339"/>
                <a:gd name="connsiteY614" fmla="*/ 4154417 h 6851196"/>
                <a:gd name="connsiteX615" fmla="*/ 2535684 w 12187339"/>
                <a:gd name="connsiteY615" fmla="*/ 3916292 h 6851196"/>
                <a:gd name="connsiteX616" fmla="*/ 2766175 w 12187339"/>
                <a:gd name="connsiteY616" fmla="*/ 3916292 h 6851196"/>
                <a:gd name="connsiteX617" fmla="*/ 2990264 w 12187339"/>
                <a:gd name="connsiteY617" fmla="*/ 3916292 h 6851196"/>
                <a:gd name="connsiteX618" fmla="*/ 2990264 w 12187339"/>
                <a:gd name="connsiteY618" fmla="*/ 4154417 h 6851196"/>
                <a:gd name="connsiteX619" fmla="*/ 2766175 w 12187339"/>
                <a:gd name="connsiteY619" fmla="*/ 4154417 h 6851196"/>
                <a:gd name="connsiteX620" fmla="*/ 2996666 w 12187339"/>
                <a:gd name="connsiteY620" fmla="*/ 3916292 h 6851196"/>
                <a:gd name="connsiteX621" fmla="*/ 3219218 w 12187339"/>
                <a:gd name="connsiteY621" fmla="*/ 3916292 h 6851196"/>
                <a:gd name="connsiteX622" fmla="*/ 3219218 w 12187339"/>
                <a:gd name="connsiteY622" fmla="*/ 4154417 h 6851196"/>
                <a:gd name="connsiteX623" fmla="*/ 2996666 w 12187339"/>
                <a:gd name="connsiteY623" fmla="*/ 4154417 h 6851196"/>
                <a:gd name="connsiteX624" fmla="*/ 3225621 w 12187339"/>
                <a:gd name="connsiteY624" fmla="*/ 3916292 h 6851196"/>
                <a:gd name="connsiteX625" fmla="*/ 3449709 w 12187339"/>
                <a:gd name="connsiteY625" fmla="*/ 3916292 h 6851196"/>
                <a:gd name="connsiteX626" fmla="*/ 3449709 w 12187339"/>
                <a:gd name="connsiteY626" fmla="*/ 4154417 h 6851196"/>
                <a:gd name="connsiteX627" fmla="*/ 3225621 w 12187339"/>
                <a:gd name="connsiteY627" fmla="*/ 4154417 h 6851196"/>
                <a:gd name="connsiteX628" fmla="*/ 3456112 w 12187339"/>
                <a:gd name="connsiteY628" fmla="*/ 3916292 h 6851196"/>
                <a:gd name="connsiteX629" fmla="*/ 3680200 w 12187339"/>
                <a:gd name="connsiteY629" fmla="*/ 3916292 h 6851196"/>
                <a:gd name="connsiteX630" fmla="*/ 3680200 w 12187339"/>
                <a:gd name="connsiteY630" fmla="*/ 4154417 h 6851196"/>
                <a:gd name="connsiteX631" fmla="*/ 3456112 w 12187339"/>
                <a:gd name="connsiteY631" fmla="*/ 4154417 h 6851196"/>
                <a:gd name="connsiteX632" fmla="*/ 3686603 w 12187339"/>
                <a:gd name="connsiteY632" fmla="*/ 3916292 h 6851196"/>
                <a:gd name="connsiteX633" fmla="*/ 3910691 w 12187339"/>
                <a:gd name="connsiteY633" fmla="*/ 3916292 h 6851196"/>
                <a:gd name="connsiteX634" fmla="*/ 3910691 w 12187339"/>
                <a:gd name="connsiteY634" fmla="*/ 4154417 h 6851196"/>
                <a:gd name="connsiteX635" fmla="*/ 3686603 w 12187339"/>
                <a:gd name="connsiteY635" fmla="*/ 4154417 h 6851196"/>
                <a:gd name="connsiteX636" fmla="*/ 3917094 w 12187339"/>
                <a:gd name="connsiteY636" fmla="*/ 3916292 h 6851196"/>
                <a:gd name="connsiteX637" fmla="*/ 4139644 w 12187339"/>
                <a:gd name="connsiteY637" fmla="*/ 3916292 h 6851196"/>
                <a:gd name="connsiteX638" fmla="*/ 4139644 w 12187339"/>
                <a:gd name="connsiteY638" fmla="*/ 4154417 h 6851196"/>
                <a:gd name="connsiteX639" fmla="*/ 3917094 w 12187339"/>
                <a:gd name="connsiteY639" fmla="*/ 4154417 h 6851196"/>
                <a:gd name="connsiteX640" fmla="*/ 4146047 w 12187339"/>
                <a:gd name="connsiteY640" fmla="*/ 3916292 h 6851196"/>
                <a:gd name="connsiteX641" fmla="*/ 4370135 w 12187339"/>
                <a:gd name="connsiteY641" fmla="*/ 3916292 h 6851196"/>
                <a:gd name="connsiteX642" fmla="*/ 4370135 w 12187339"/>
                <a:gd name="connsiteY642" fmla="*/ 4154417 h 6851196"/>
                <a:gd name="connsiteX643" fmla="*/ 4146047 w 12187339"/>
                <a:gd name="connsiteY643" fmla="*/ 4154417 h 6851196"/>
                <a:gd name="connsiteX644" fmla="*/ 4376538 w 12187339"/>
                <a:gd name="connsiteY644" fmla="*/ 3916292 h 6851196"/>
                <a:gd name="connsiteX645" fmla="*/ 4600626 w 12187339"/>
                <a:gd name="connsiteY645" fmla="*/ 3916292 h 6851196"/>
                <a:gd name="connsiteX646" fmla="*/ 4600626 w 12187339"/>
                <a:gd name="connsiteY646" fmla="*/ 4154417 h 6851196"/>
                <a:gd name="connsiteX647" fmla="*/ 4376538 w 12187339"/>
                <a:gd name="connsiteY647" fmla="*/ 4154417 h 6851196"/>
                <a:gd name="connsiteX648" fmla="*/ 4607029 w 12187339"/>
                <a:gd name="connsiteY648" fmla="*/ 3916292 h 6851196"/>
                <a:gd name="connsiteX649" fmla="*/ 4829582 w 12187339"/>
                <a:gd name="connsiteY649" fmla="*/ 3916292 h 6851196"/>
                <a:gd name="connsiteX650" fmla="*/ 4829582 w 12187339"/>
                <a:gd name="connsiteY650" fmla="*/ 4154417 h 6851196"/>
                <a:gd name="connsiteX651" fmla="*/ 4607029 w 12187339"/>
                <a:gd name="connsiteY651" fmla="*/ 4154417 h 6851196"/>
                <a:gd name="connsiteX652" fmla="*/ 4835985 w 12187339"/>
                <a:gd name="connsiteY652" fmla="*/ 3916292 h 6851196"/>
                <a:gd name="connsiteX653" fmla="*/ 5060073 w 12187339"/>
                <a:gd name="connsiteY653" fmla="*/ 3916292 h 6851196"/>
                <a:gd name="connsiteX654" fmla="*/ 5060073 w 12187339"/>
                <a:gd name="connsiteY654" fmla="*/ 4154417 h 6851196"/>
                <a:gd name="connsiteX655" fmla="*/ 4835472 w 12187339"/>
                <a:gd name="connsiteY655" fmla="*/ 4154417 h 6851196"/>
                <a:gd name="connsiteX656" fmla="*/ 5066476 w 12187339"/>
                <a:gd name="connsiteY656" fmla="*/ 3916292 h 6851196"/>
                <a:gd name="connsiteX657" fmla="*/ 5290564 w 12187339"/>
                <a:gd name="connsiteY657" fmla="*/ 3916292 h 6851196"/>
                <a:gd name="connsiteX658" fmla="*/ 5290564 w 12187339"/>
                <a:gd name="connsiteY658" fmla="*/ 4154417 h 6851196"/>
                <a:gd name="connsiteX659" fmla="*/ 5065963 w 12187339"/>
                <a:gd name="connsiteY659" fmla="*/ 4154417 h 6851196"/>
                <a:gd name="connsiteX660" fmla="*/ 5296967 w 12187339"/>
                <a:gd name="connsiteY660" fmla="*/ 3916292 h 6851196"/>
                <a:gd name="connsiteX661" fmla="*/ 5521055 w 12187339"/>
                <a:gd name="connsiteY661" fmla="*/ 3916292 h 6851196"/>
                <a:gd name="connsiteX662" fmla="*/ 5521055 w 12187339"/>
                <a:gd name="connsiteY662" fmla="*/ 4154417 h 6851196"/>
                <a:gd name="connsiteX663" fmla="*/ 5296454 w 12187339"/>
                <a:gd name="connsiteY663" fmla="*/ 4154417 h 6851196"/>
                <a:gd name="connsiteX664" fmla="*/ 5527458 w 12187339"/>
                <a:gd name="connsiteY664" fmla="*/ 3916292 h 6851196"/>
                <a:gd name="connsiteX665" fmla="*/ 5750008 w 12187339"/>
                <a:gd name="connsiteY665" fmla="*/ 3916292 h 6851196"/>
                <a:gd name="connsiteX666" fmla="*/ 5750008 w 12187339"/>
                <a:gd name="connsiteY666" fmla="*/ 4154417 h 6851196"/>
                <a:gd name="connsiteX667" fmla="*/ 5526945 w 12187339"/>
                <a:gd name="connsiteY667" fmla="*/ 4154417 h 6851196"/>
                <a:gd name="connsiteX668" fmla="*/ 5756411 w 12187339"/>
                <a:gd name="connsiteY668" fmla="*/ 3916292 h 6851196"/>
                <a:gd name="connsiteX669" fmla="*/ 5980499 w 12187339"/>
                <a:gd name="connsiteY669" fmla="*/ 3916292 h 6851196"/>
                <a:gd name="connsiteX670" fmla="*/ 5980499 w 12187339"/>
                <a:gd name="connsiteY670" fmla="*/ 4154417 h 6851196"/>
                <a:gd name="connsiteX671" fmla="*/ 5756411 w 12187339"/>
                <a:gd name="connsiteY671" fmla="*/ 4154417 h 6851196"/>
                <a:gd name="connsiteX672" fmla="*/ 5986902 w 12187339"/>
                <a:gd name="connsiteY672" fmla="*/ 3916292 h 6851196"/>
                <a:gd name="connsiteX673" fmla="*/ 6210990 w 12187339"/>
                <a:gd name="connsiteY673" fmla="*/ 3916292 h 6851196"/>
                <a:gd name="connsiteX674" fmla="*/ 6210990 w 12187339"/>
                <a:gd name="connsiteY674" fmla="*/ 4154417 h 6851196"/>
                <a:gd name="connsiteX675" fmla="*/ 5986902 w 12187339"/>
                <a:gd name="connsiteY675" fmla="*/ 4154417 h 6851196"/>
                <a:gd name="connsiteX676" fmla="*/ 6217393 w 12187339"/>
                <a:gd name="connsiteY676" fmla="*/ 3916292 h 6851196"/>
                <a:gd name="connsiteX677" fmla="*/ 6439946 w 12187339"/>
                <a:gd name="connsiteY677" fmla="*/ 3916292 h 6851196"/>
                <a:gd name="connsiteX678" fmla="*/ 6439946 w 12187339"/>
                <a:gd name="connsiteY678" fmla="*/ 4154417 h 6851196"/>
                <a:gd name="connsiteX679" fmla="*/ 6217136 w 12187339"/>
                <a:gd name="connsiteY679" fmla="*/ 4154417 h 6851196"/>
                <a:gd name="connsiteX680" fmla="*/ 6446349 w 12187339"/>
                <a:gd name="connsiteY680" fmla="*/ 3916292 h 6851196"/>
                <a:gd name="connsiteX681" fmla="*/ 6656863 w 12187339"/>
                <a:gd name="connsiteY681" fmla="*/ 3916292 h 6851196"/>
                <a:gd name="connsiteX682" fmla="*/ 6656863 w 12187339"/>
                <a:gd name="connsiteY682" fmla="*/ 4154417 h 6851196"/>
                <a:gd name="connsiteX683" fmla="*/ 6446349 w 12187339"/>
                <a:gd name="connsiteY683" fmla="*/ 4154417 h 6851196"/>
                <a:gd name="connsiteX684" fmla="*/ 6663265 w 12187339"/>
                <a:gd name="connsiteY684" fmla="*/ 3916292 h 6851196"/>
                <a:gd name="connsiteX685" fmla="*/ 6887354 w 12187339"/>
                <a:gd name="connsiteY685" fmla="*/ 3916292 h 6851196"/>
                <a:gd name="connsiteX686" fmla="*/ 6887354 w 12187339"/>
                <a:gd name="connsiteY686" fmla="*/ 4154417 h 6851196"/>
                <a:gd name="connsiteX687" fmla="*/ 6663265 w 12187339"/>
                <a:gd name="connsiteY687" fmla="*/ 4154417 h 6851196"/>
                <a:gd name="connsiteX688" fmla="*/ 6893756 w 12187339"/>
                <a:gd name="connsiteY688" fmla="*/ 3916292 h 6851196"/>
                <a:gd name="connsiteX689" fmla="*/ 7117845 w 12187339"/>
                <a:gd name="connsiteY689" fmla="*/ 3916292 h 6851196"/>
                <a:gd name="connsiteX690" fmla="*/ 7117845 w 12187339"/>
                <a:gd name="connsiteY690" fmla="*/ 4154417 h 6851196"/>
                <a:gd name="connsiteX691" fmla="*/ 6893756 w 12187339"/>
                <a:gd name="connsiteY691" fmla="*/ 4154417 h 6851196"/>
                <a:gd name="connsiteX692" fmla="*/ 7124247 w 12187339"/>
                <a:gd name="connsiteY692" fmla="*/ 3916292 h 6851196"/>
                <a:gd name="connsiteX693" fmla="*/ 7346801 w 12187339"/>
                <a:gd name="connsiteY693" fmla="*/ 3916292 h 6851196"/>
                <a:gd name="connsiteX694" fmla="*/ 7346801 w 12187339"/>
                <a:gd name="connsiteY694" fmla="*/ 4154417 h 6851196"/>
                <a:gd name="connsiteX695" fmla="*/ 7124247 w 12187339"/>
                <a:gd name="connsiteY695" fmla="*/ 4154417 h 6851196"/>
                <a:gd name="connsiteX696" fmla="*/ 7353204 w 12187339"/>
                <a:gd name="connsiteY696" fmla="*/ 3916292 h 6851196"/>
                <a:gd name="connsiteX697" fmla="*/ 7577292 w 12187339"/>
                <a:gd name="connsiteY697" fmla="*/ 3916292 h 6851196"/>
                <a:gd name="connsiteX698" fmla="*/ 7577292 w 12187339"/>
                <a:gd name="connsiteY698" fmla="*/ 4154417 h 6851196"/>
                <a:gd name="connsiteX699" fmla="*/ 7353204 w 12187339"/>
                <a:gd name="connsiteY699" fmla="*/ 4154417 h 6851196"/>
                <a:gd name="connsiteX700" fmla="*/ 7583695 w 12187339"/>
                <a:gd name="connsiteY700" fmla="*/ 3916292 h 6851196"/>
                <a:gd name="connsiteX701" fmla="*/ 7807783 w 12187339"/>
                <a:gd name="connsiteY701" fmla="*/ 3916292 h 6851196"/>
                <a:gd name="connsiteX702" fmla="*/ 7807783 w 12187339"/>
                <a:gd name="connsiteY702" fmla="*/ 4154417 h 6851196"/>
                <a:gd name="connsiteX703" fmla="*/ 7583695 w 12187339"/>
                <a:gd name="connsiteY703" fmla="*/ 4154417 h 6851196"/>
                <a:gd name="connsiteX704" fmla="*/ 7814186 w 12187339"/>
                <a:gd name="connsiteY704" fmla="*/ 3916292 h 6851196"/>
                <a:gd name="connsiteX705" fmla="*/ 8038274 w 12187339"/>
                <a:gd name="connsiteY705" fmla="*/ 3916292 h 6851196"/>
                <a:gd name="connsiteX706" fmla="*/ 8038274 w 12187339"/>
                <a:gd name="connsiteY706" fmla="*/ 4154417 h 6851196"/>
                <a:gd name="connsiteX707" fmla="*/ 7814186 w 12187339"/>
                <a:gd name="connsiteY707" fmla="*/ 4154417 h 6851196"/>
                <a:gd name="connsiteX708" fmla="*/ 8044677 w 12187339"/>
                <a:gd name="connsiteY708" fmla="*/ 3916292 h 6851196"/>
                <a:gd name="connsiteX709" fmla="*/ 8267227 w 12187339"/>
                <a:gd name="connsiteY709" fmla="*/ 3916292 h 6851196"/>
                <a:gd name="connsiteX710" fmla="*/ 8267227 w 12187339"/>
                <a:gd name="connsiteY710" fmla="*/ 4154417 h 6851196"/>
                <a:gd name="connsiteX711" fmla="*/ 8044420 w 12187339"/>
                <a:gd name="connsiteY711" fmla="*/ 4154417 h 6851196"/>
                <a:gd name="connsiteX712" fmla="*/ 8273629 w 12187339"/>
                <a:gd name="connsiteY712" fmla="*/ 3916292 h 6851196"/>
                <a:gd name="connsiteX713" fmla="*/ 8497718 w 12187339"/>
                <a:gd name="connsiteY713" fmla="*/ 3916292 h 6851196"/>
                <a:gd name="connsiteX714" fmla="*/ 8497718 w 12187339"/>
                <a:gd name="connsiteY714" fmla="*/ 4154417 h 6851196"/>
                <a:gd name="connsiteX715" fmla="*/ 8273629 w 12187339"/>
                <a:gd name="connsiteY715" fmla="*/ 4154417 h 6851196"/>
                <a:gd name="connsiteX716" fmla="*/ 8504120 w 12187339"/>
                <a:gd name="connsiteY716" fmla="*/ 3916292 h 6851196"/>
                <a:gd name="connsiteX717" fmla="*/ 8728209 w 12187339"/>
                <a:gd name="connsiteY717" fmla="*/ 3916292 h 6851196"/>
                <a:gd name="connsiteX718" fmla="*/ 8728209 w 12187339"/>
                <a:gd name="connsiteY718" fmla="*/ 4154417 h 6851196"/>
                <a:gd name="connsiteX719" fmla="*/ 8504120 w 12187339"/>
                <a:gd name="connsiteY719" fmla="*/ 4154417 h 6851196"/>
                <a:gd name="connsiteX720" fmla="*/ 8734611 w 12187339"/>
                <a:gd name="connsiteY720" fmla="*/ 3916292 h 6851196"/>
                <a:gd name="connsiteX721" fmla="*/ 8957162 w 12187339"/>
                <a:gd name="connsiteY721" fmla="*/ 3916292 h 6851196"/>
                <a:gd name="connsiteX722" fmla="*/ 8957162 w 12187339"/>
                <a:gd name="connsiteY722" fmla="*/ 4154417 h 6851196"/>
                <a:gd name="connsiteX723" fmla="*/ 8734611 w 12187339"/>
                <a:gd name="connsiteY723" fmla="*/ 4154417 h 6851196"/>
                <a:gd name="connsiteX724" fmla="*/ 8963564 w 12187339"/>
                <a:gd name="connsiteY724" fmla="*/ 3916292 h 6851196"/>
                <a:gd name="connsiteX725" fmla="*/ 9187653 w 12187339"/>
                <a:gd name="connsiteY725" fmla="*/ 3916292 h 6851196"/>
                <a:gd name="connsiteX726" fmla="*/ 9187653 w 12187339"/>
                <a:gd name="connsiteY726" fmla="*/ 4154417 h 6851196"/>
                <a:gd name="connsiteX727" fmla="*/ 8963564 w 12187339"/>
                <a:gd name="connsiteY727" fmla="*/ 4154417 h 6851196"/>
                <a:gd name="connsiteX728" fmla="*/ 9194055 w 12187339"/>
                <a:gd name="connsiteY728" fmla="*/ 3916292 h 6851196"/>
                <a:gd name="connsiteX729" fmla="*/ 9418144 w 12187339"/>
                <a:gd name="connsiteY729" fmla="*/ 3916292 h 6851196"/>
                <a:gd name="connsiteX730" fmla="*/ 9418144 w 12187339"/>
                <a:gd name="connsiteY730" fmla="*/ 4154417 h 6851196"/>
                <a:gd name="connsiteX731" fmla="*/ 9194055 w 12187339"/>
                <a:gd name="connsiteY731" fmla="*/ 4154417 h 6851196"/>
                <a:gd name="connsiteX732" fmla="*/ 9424546 w 12187339"/>
                <a:gd name="connsiteY732" fmla="*/ 3916292 h 6851196"/>
                <a:gd name="connsiteX733" fmla="*/ 9648635 w 12187339"/>
                <a:gd name="connsiteY733" fmla="*/ 3916292 h 6851196"/>
                <a:gd name="connsiteX734" fmla="*/ 9648635 w 12187339"/>
                <a:gd name="connsiteY734" fmla="*/ 4154417 h 6851196"/>
                <a:gd name="connsiteX735" fmla="*/ 9424546 w 12187339"/>
                <a:gd name="connsiteY735" fmla="*/ 4154417 h 6851196"/>
                <a:gd name="connsiteX736" fmla="*/ 9424546 w 12187339"/>
                <a:gd name="connsiteY736" fmla="*/ 3909489 h 6851196"/>
                <a:gd name="connsiteX737" fmla="*/ 9424546 w 12187339"/>
                <a:gd name="connsiteY737" fmla="*/ 3671364 h 6851196"/>
                <a:gd name="connsiteX738" fmla="*/ 9648635 w 12187339"/>
                <a:gd name="connsiteY738" fmla="*/ 3671364 h 6851196"/>
                <a:gd name="connsiteX739" fmla="*/ 9648635 w 12187339"/>
                <a:gd name="connsiteY739" fmla="*/ 3909489 h 6851196"/>
                <a:gd name="connsiteX740" fmla="*/ 9424546 w 12187339"/>
                <a:gd name="connsiteY740" fmla="*/ 3664560 h 6851196"/>
                <a:gd name="connsiteX741" fmla="*/ 9424546 w 12187339"/>
                <a:gd name="connsiteY741" fmla="*/ 3428068 h 6851196"/>
                <a:gd name="connsiteX742" fmla="*/ 9648635 w 12187339"/>
                <a:gd name="connsiteY742" fmla="*/ 3428068 h 6851196"/>
                <a:gd name="connsiteX743" fmla="*/ 9648635 w 12187339"/>
                <a:gd name="connsiteY743" fmla="*/ 3664560 h 6851196"/>
                <a:gd name="connsiteX744" fmla="*/ 9424546 w 12187339"/>
                <a:gd name="connsiteY744" fmla="*/ 3421264 h 6851196"/>
                <a:gd name="connsiteX745" fmla="*/ 9424546 w 12187339"/>
                <a:gd name="connsiteY745" fmla="*/ 3183139 h 6851196"/>
                <a:gd name="connsiteX746" fmla="*/ 9648635 w 12187339"/>
                <a:gd name="connsiteY746" fmla="*/ 3183139 h 6851196"/>
                <a:gd name="connsiteX747" fmla="*/ 9648635 w 12187339"/>
                <a:gd name="connsiteY747" fmla="*/ 3421264 h 6851196"/>
                <a:gd name="connsiteX748" fmla="*/ 9424546 w 12187339"/>
                <a:gd name="connsiteY748" fmla="*/ 3176336 h 6851196"/>
                <a:gd name="connsiteX749" fmla="*/ 9424546 w 12187339"/>
                <a:gd name="connsiteY749" fmla="*/ 2938211 h 6851196"/>
                <a:gd name="connsiteX750" fmla="*/ 9648635 w 12187339"/>
                <a:gd name="connsiteY750" fmla="*/ 2938211 h 6851196"/>
                <a:gd name="connsiteX751" fmla="*/ 9648635 w 12187339"/>
                <a:gd name="connsiteY751" fmla="*/ 3176336 h 6851196"/>
                <a:gd name="connsiteX752" fmla="*/ 9424546 w 12187339"/>
                <a:gd name="connsiteY752" fmla="*/ 2931407 h 6851196"/>
                <a:gd name="connsiteX753" fmla="*/ 9424546 w 12187339"/>
                <a:gd name="connsiteY753" fmla="*/ 2693282 h 6851196"/>
                <a:gd name="connsiteX754" fmla="*/ 9648635 w 12187339"/>
                <a:gd name="connsiteY754" fmla="*/ 2693282 h 6851196"/>
                <a:gd name="connsiteX755" fmla="*/ 9648635 w 12187339"/>
                <a:gd name="connsiteY755" fmla="*/ 2931407 h 6851196"/>
                <a:gd name="connsiteX756" fmla="*/ 9424546 w 12187339"/>
                <a:gd name="connsiteY756" fmla="*/ 2686479 h 6851196"/>
                <a:gd name="connsiteX757" fmla="*/ 9424546 w 12187339"/>
                <a:gd name="connsiteY757" fmla="*/ 2449986 h 6851196"/>
                <a:gd name="connsiteX758" fmla="*/ 9648635 w 12187339"/>
                <a:gd name="connsiteY758" fmla="*/ 2449986 h 6851196"/>
                <a:gd name="connsiteX759" fmla="*/ 9648635 w 12187339"/>
                <a:gd name="connsiteY759" fmla="*/ 2686479 h 6851196"/>
                <a:gd name="connsiteX760" fmla="*/ 9418144 w 12187339"/>
                <a:gd name="connsiteY760" fmla="*/ 2686479 h 6851196"/>
                <a:gd name="connsiteX761" fmla="*/ 9194055 w 12187339"/>
                <a:gd name="connsiteY761" fmla="*/ 2686479 h 6851196"/>
                <a:gd name="connsiteX762" fmla="*/ 9194055 w 12187339"/>
                <a:gd name="connsiteY762" fmla="*/ 2449986 h 6851196"/>
                <a:gd name="connsiteX763" fmla="*/ 9418144 w 12187339"/>
                <a:gd name="connsiteY763" fmla="*/ 2449986 h 6851196"/>
                <a:gd name="connsiteX764" fmla="*/ 9187653 w 12187339"/>
                <a:gd name="connsiteY764" fmla="*/ 2686479 h 6851196"/>
                <a:gd name="connsiteX765" fmla="*/ 8963564 w 12187339"/>
                <a:gd name="connsiteY765" fmla="*/ 2686479 h 6851196"/>
                <a:gd name="connsiteX766" fmla="*/ 8963564 w 12187339"/>
                <a:gd name="connsiteY766" fmla="*/ 2449986 h 6851196"/>
                <a:gd name="connsiteX767" fmla="*/ 9187653 w 12187339"/>
                <a:gd name="connsiteY767" fmla="*/ 2449986 h 6851196"/>
                <a:gd name="connsiteX768" fmla="*/ 8957162 w 12187339"/>
                <a:gd name="connsiteY768" fmla="*/ 2686479 h 6851196"/>
                <a:gd name="connsiteX769" fmla="*/ 8734611 w 12187339"/>
                <a:gd name="connsiteY769" fmla="*/ 2686479 h 6851196"/>
                <a:gd name="connsiteX770" fmla="*/ 8734611 w 12187339"/>
                <a:gd name="connsiteY770" fmla="*/ 2449986 h 6851196"/>
                <a:gd name="connsiteX771" fmla="*/ 8957162 w 12187339"/>
                <a:gd name="connsiteY771" fmla="*/ 2449986 h 6851196"/>
                <a:gd name="connsiteX772" fmla="*/ 8728209 w 12187339"/>
                <a:gd name="connsiteY772" fmla="*/ 2686479 h 6851196"/>
                <a:gd name="connsiteX773" fmla="*/ 8504120 w 12187339"/>
                <a:gd name="connsiteY773" fmla="*/ 2686479 h 6851196"/>
                <a:gd name="connsiteX774" fmla="*/ 8504120 w 12187339"/>
                <a:gd name="connsiteY774" fmla="*/ 2449986 h 6851196"/>
                <a:gd name="connsiteX775" fmla="*/ 8728209 w 12187339"/>
                <a:gd name="connsiteY775" fmla="*/ 2449986 h 6851196"/>
                <a:gd name="connsiteX776" fmla="*/ 8497718 w 12187339"/>
                <a:gd name="connsiteY776" fmla="*/ 2686479 h 6851196"/>
                <a:gd name="connsiteX777" fmla="*/ 8273629 w 12187339"/>
                <a:gd name="connsiteY777" fmla="*/ 2686479 h 6851196"/>
                <a:gd name="connsiteX778" fmla="*/ 8273629 w 12187339"/>
                <a:gd name="connsiteY778" fmla="*/ 2449986 h 6851196"/>
                <a:gd name="connsiteX779" fmla="*/ 8497718 w 12187339"/>
                <a:gd name="connsiteY779" fmla="*/ 2449986 h 6851196"/>
                <a:gd name="connsiteX780" fmla="*/ 8267227 w 12187339"/>
                <a:gd name="connsiteY780" fmla="*/ 2686479 h 6851196"/>
                <a:gd name="connsiteX781" fmla="*/ 8044420 w 12187339"/>
                <a:gd name="connsiteY781" fmla="*/ 2686479 h 6851196"/>
                <a:gd name="connsiteX782" fmla="*/ 8044420 w 12187339"/>
                <a:gd name="connsiteY782" fmla="*/ 2449986 h 6851196"/>
                <a:gd name="connsiteX783" fmla="*/ 8267227 w 12187339"/>
                <a:gd name="connsiteY783" fmla="*/ 2449986 h 6851196"/>
                <a:gd name="connsiteX784" fmla="*/ 8038274 w 12187339"/>
                <a:gd name="connsiteY784" fmla="*/ 2686479 h 6851196"/>
                <a:gd name="connsiteX785" fmla="*/ 7814186 w 12187339"/>
                <a:gd name="connsiteY785" fmla="*/ 2686479 h 6851196"/>
                <a:gd name="connsiteX786" fmla="*/ 7814186 w 12187339"/>
                <a:gd name="connsiteY786" fmla="*/ 2449986 h 6851196"/>
                <a:gd name="connsiteX787" fmla="*/ 8038274 w 12187339"/>
                <a:gd name="connsiteY787" fmla="*/ 2449986 h 6851196"/>
                <a:gd name="connsiteX788" fmla="*/ 7807783 w 12187339"/>
                <a:gd name="connsiteY788" fmla="*/ 2686479 h 6851196"/>
                <a:gd name="connsiteX789" fmla="*/ 7583695 w 12187339"/>
                <a:gd name="connsiteY789" fmla="*/ 2686479 h 6851196"/>
                <a:gd name="connsiteX790" fmla="*/ 7583695 w 12187339"/>
                <a:gd name="connsiteY790" fmla="*/ 2449986 h 6851196"/>
                <a:gd name="connsiteX791" fmla="*/ 7807783 w 12187339"/>
                <a:gd name="connsiteY791" fmla="*/ 2449986 h 6851196"/>
                <a:gd name="connsiteX792" fmla="*/ 7577292 w 12187339"/>
                <a:gd name="connsiteY792" fmla="*/ 2686479 h 6851196"/>
                <a:gd name="connsiteX793" fmla="*/ 7353204 w 12187339"/>
                <a:gd name="connsiteY793" fmla="*/ 2686479 h 6851196"/>
                <a:gd name="connsiteX794" fmla="*/ 7353204 w 12187339"/>
                <a:gd name="connsiteY794" fmla="*/ 2449986 h 6851196"/>
                <a:gd name="connsiteX795" fmla="*/ 7577292 w 12187339"/>
                <a:gd name="connsiteY795" fmla="*/ 2449986 h 6851196"/>
                <a:gd name="connsiteX796" fmla="*/ 7346801 w 12187339"/>
                <a:gd name="connsiteY796" fmla="*/ 2686479 h 6851196"/>
                <a:gd name="connsiteX797" fmla="*/ 7124247 w 12187339"/>
                <a:gd name="connsiteY797" fmla="*/ 2686479 h 6851196"/>
                <a:gd name="connsiteX798" fmla="*/ 7124247 w 12187339"/>
                <a:gd name="connsiteY798" fmla="*/ 2449986 h 6851196"/>
                <a:gd name="connsiteX799" fmla="*/ 7346801 w 12187339"/>
                <a:gd name="connsiteY799" fmla="*/ 2449986 h 6851196"/>
                <a:gd name="connsiteX800" fmla="*/ 7117845 w 12187339"/>
                <a:gd name="connsiteY800" fmla="*/ 2686479 h 6851196"/>
                <a:gd name="connsiteX801" fmla="*/ 6893756 w 12187339"/>
                <a:gd name="connsiteY801" fmla="*/ 2686479 h 6851196"/>
                <a:gd name="connsiteX802" fmla="*/ 6893756 w 12187339"/>
                <a:gd name="connsiteY802" fmla="*/ 2449986 h 6851196"/>
                <a:gd name="connsiteX803" fmla="*/ 7117845 w 12187339"/>
                <a:gd name="connsiteY803" fmla="*/ 2449986 h 6851196"/>
                <a:gd name="connsiteX804" fmla="*/ 6887354 w 12187339"/>
                <a:gd name="connsiteY804" fmla="*/ 2686479 h 6851196"/>
                <a:gd name="connsiteX805" fmla="*/ 6663265 w 12187339"/>
                <a:gd name="connsiteY805" fmla="*/ 2686479 h 6851196"/>
                <a:gd name="connsiteX806" fmla="*/ 6663265 w 12187339"/>
                <a:gd name="connsiteY806" fmla="*/ 2449986 h 6851196"/>
                <a:gd name="connsiteX807" fmla="*/ 6887354 w 12187339"/>
                <a:gd name="connsiteY807" fmla="*/ 2449986 h 6851196"/>
                <a:gd name="connsiteX808" fmla="*/ 6656863 w 12187339"/>
                <a:gd name="connsiteY808" fmla="*/ 2686479 h 6851196"/>
                <a:gd name="connsiteX809" fmla="*/ 6446349 w 12187339"/>
                <a:gd name="connsiteY809" fmla="*/ 2686479 h 6851196"/>
                <a:gd name="connsiteX810" fmla="*/ 6446349 w 12187339"/>
                <a:gd name="connsiteY810" fmla="*/ 2449986 h 6851196"/>
                <a:gd name="connsiteX811" fmla="*/ 6656863 w 12187339"/>
                <a:gd name="connsiteY811" fmla="*/ 2449986 h 6851196"/>
                <a:gd name="connsiteX812" fmla="*/ 6439946 w 12187339"/>
                <a:gd name="connsiteY812" fmla="*/ 2686479 h 6851196"/>
                <a:gd name="connsiteX813" fmla="*/ 6217136 w 12187339"/>
                <a:gd name="connsiteY813" fmla="*/ 2686479 h 6851196"/>
                <a:gd name="connsiteX814" fmla="*/ 6217136 w 12187339"/>
                <a:gd name="connsiteY814" fmla="*/ 2449986 h 6851196"/>
                <a:gd name="connsiteX815" fmla="*/ 6439690 w 12187339"/>
                <a:gd name="connsiteY815" fmla="*/ 2449986 h 6851196"/>
                <a:gd name="connsiteX816" fmla="*/ 6210990 w 12187339"/>
                <a:gd name="connsiteY816" fmla="*/ 2686479 h 6851196"/>
                <a:gd name="connsiteX817" fmla="*/ 5986902 w 12187339"/>
                <a:gd name="connsiteY817" fmla="*/ 2686479 h 6851196"/>
                <a:gd name="connsiteX818" fmla="*/ 5986902 w 12187339"/>
                <a:gd name="connsiteY818" fmla="*/ 2449986 h 6851196"/>
                <a:gd name="connsiteX819" fmla="*/ 6210990 w 12187339"/>
                <a:gd name="connsiteY819" fmla="*/ 2449986 h 6851196"/>
                <a:gd name="connsiteX820" fmla="*/ 5980499 w 12187339"/>
                <a:gd name="connsiteY820" fmla="*/ 2686479 h 6851196"/>
                <a:gd name="connsiteX821" fmla="*/ 5756411 w 12187339"/>
                <a:gd name="connsiteY821" fmla="*/ 2686479 h 6851196"/>
                <a:gd name="connsiteX822" fmla="*/ 5756411 w 12187339"/>
                <a:gd name="connsiteY822" fmla="*/ 2449986 h 6851196"/>
                <a:gd name="connsiteX823" fmla="*/ 5980499 w 12187339"/>
                <a:gd name="connsiteY823" fmla="*/ 2449986 h 6851196"/>
                <a:gd name="connsiteX824" fmla="*/ 5750008 w 12187339"/>
                <a:gd name="connsiteY824" fmla="*/ 2686479 h 6851196"/>
                <a:gd name="connsiteX825" fmla="*/ 5526945 w 12187339"/>
                <a:gd name="connsiteY825" fmla="*/ 2686479 h 6851196"/>
                <a:gd name="connsiteX826" fmla="*/ 5526945 w 12187339"/>
                <a:gd name="connsiteY826" fmla="*/ 2449986 h 6851196"/>
                <a:gd name="connsiteX827" fmla="*/ 5749495 w 12187339"/>
                <a:gd name="connsiteY827" fmla="*/ 2449986 h 6851196"/>
                <a:gd name="connsiteX828" fmla="*/ 5521055 w 12187339"/>
                <a:gd name="connsiteY828" fmla="*/ 2686479 h 6851196"/>
                <a:gd name="connsiteX829" fmla="*/ 5296454 w 12187339"/>
                <a:gd name="connsiteY829" fmla="*/ 2686479 h 6851196"/>
                <a:gd name="connsiteX830" fmla="*/ 5296454 w 12187339"/>
                <a:gd name="connsiteY830" fmla="*/ 2449986 h 6851196"/>
                <a:gd name="connsiteX831" fmla="*/ 5520542 w 12187339"/>
                <a:gd name="connsiteY831" fmla="*/ 2449986 h 6851196"/>
                <a:gd name="connsiteX832" fmla="*/ 5290564 w 12187339"/>
                <a:gd name="connsiteY832" fmla="*/ 2686479 h 6851196"/>
                <a:gd name="connsiteX833" fmla="*/ 5065963 w 12187339"/>
                <a:gd name="connsiteY833" fmla="*/ 2686479 h 6851196"/>
                <a:gd name="connsiteX834" fmla="*/ 5065963 w 12187339"/>
                <a:gd name="connsiteY834" fmla="*/ 2449986 h 6851196"/>
                <a:gd name="connsiteX835" fmla="*/ 5290051 w 12187339"/>
                <a:gd name="connsiteY835" fmla="*/ 2449986 h 6851196"/>
                <a:gd name="connsiteX836" fmla="*/ 5060073 w 12187339"/>
                <a:gd name="connsiteY836" fmla="*/ 2686479 h 6851196"/>
                <a:gd name="connsiteX837" fmla="*/ 4835472 w 12187339"/>
                <a:gd name="connsiteY837" fmla="*/ 2686479 h 6851196"/>
                <a:gd name="connsiteX838" fmla="*/ 4835472 w 12187339"/>
                <a:gd name="connsiteY838" fmla="*/ 2449986 h 6851196"/>
                <a:gd name="connsiteX839" fmla="*/ 5059560 w 12187339"/>
                <a:gd name="connsiteY839" fmla="*/ 2449986 h 6851196"/>
                <a:gd name="connsiteX840" fmla="*/ 4829582 w 12187339"/>
                <a:gd name="connsiteY840" fmla="*/ 2686479 h 6851196"/>
                <a:gd name="connsiteX841" fmla="*/ 4607029 w 12187339"/>
                <a:gd name="connsiteY841" fmla="*/ 2686479 h 6851196"/>
                <a:gd name="connsiteX842" fmla="*/ 4607029 w 12187339"/>
                <a:gd name="connsiteY842" fmla="*/ 2449986 h 6851196"/>
                <a:gd name="connsiteX843" fmla="*/ 4829582 w 12187339"/>
                <a:gd name="connsiteY843" fmla="*/ 2449986 h 6851196"/>
                <a:gd name="connsiteX844" fmla="*/ 4600626 w 12187339"/>
                <a:gd name="connsiteY844" fmla="*/ 2686479 h 6851196"/>
                <a:gd name="connsiteX845" fmla="*/ 4376538 w 12187339"/>
                <a:gd name="connsiteY845" fmla="*/ 2686479 h 6851196"/>
                <a:gd name="connsiteX846" fmla="*/ 4376538 w 12187339"/>
                <a:gd name="connsiteY846" fmla="*/ 2449986 h 6851196"/>
                <a:gd name="connsiteX847" fmla="*/ 4600626 w 12187339"/>
                <a:gd name="connsiteY847" fmla="*/ 2449986 h 6851196"/>
                <a:gd name="connsiteX848" fmla="*/ 4370135 w 12187339"/>
                <a:gd name="connsiteY848" fmla="*/ 2686479 h 6851196"/>
                <a:gd name="connsiteX849" fmla="*/ 4146047 w 12187339"/>
                <a:gd name="connsiteY849" fmla="*/ 2686479 h 6851196"/>
                <a:gd name="connsiteX850" fmla="*/ 4146047 w 12187339"/>
                <a:gd name="connsiteY850" fmla="*/ 2449986 h 6851196"/>
                <a:gd name="connsiteX851" fmla="*/ 4370135 w 12187339"/>
                <a:gd name="connsiteY851" fmla="*/ 2449986 h 6851196"/>
                <a:gd name="connsiteX852" fmla="*/ 4139644 w 12187339"/>
                <a:gd name="connsiteY852" fmla="*/ 2686479 h 6851196"/>
                <a:gd name="connsiteX853" fmla="*/ 3917094 w 12187339"/>
                <a:gd name="connsiteY853" fmla="*/ 2686479 h 6851196"/>
                <a:gd name="connsiteX854" fmla="*/ 3917094 w 12187339"/>
                <a:gd name="connsiteY854" fmla="*/ 2449986 h 6851196"/>
                <a:gd name="connsiteX855" fmla="*/ 4139644 w 12187339"/>
                <a:gd name="connsiteY855" fmla="*/ 2449986 h 6851196"/>
                <a:gd name="connsiteX856" fmla="*/ 3910691 w 12187339"/>
                <a:gd name="connsiteY856" fmla="*/ 2686479 h 6851196"/>
                <a:gd name="connsiteX857" fmla="*/ 3686603 w 12187339"/>
                <a:gd name="connsiteY857" fmla="*/ 2686479 h 6851196"/>
                <a:gd name="connsiteX858" fmla="*/ 3686603 w 12187339"/>
                <a:gd name="connsiteY858" fmla="*/ 2449986 h 6851196"/>
                <a:gd name="connsiteX859" fmla="*/ 3910691 w 12187339"/>
                <a:gd name="connsiteY859" fmla="*/ 2449986 h 6851196"/>
                <a:gd name="connsiteX860" fmla="*/ 3680200 w 12187339"/>
                <a:gd name="connsiteY860" fmla="*/ 2686479 h 6851196"/>
                <a:gd name="connsiteX861" fmla="*/ 3456112 w 12187339"/>
                <a:gd name="connsiteY861" fmla="*/ 2686479 h 6851196"/>
                <a:gd name="connsiteX862" fmla="*/ 3456112 w 12187339"/>
                <a:gd name="connsiteY862" fmla="*/ 2449986 h 6851196"/>
                <a:gd name="connsiteX863" fmla="*/ 3680200 w 12187339"/>
                <a:gd name="connsiteY863" fmla="*/ 2449986 h 6851196"/>
                <a:gd name="connsiteX864" fmla="*/ 3449709 w 12187339"/>
                <a:gd name="connsiteY864" fmla="*/ 2686479 h 6851196"/>
                <a:gd name="connsiteX865" fmla="*/ 3225621 w 12187339"/>
                <a:gd name="connsiteY865" fmla="*/ 2686479 h 6851196"/>
                <a:gd name="connsiteX866" fmla="*/ 3225621 w 12187339"/>
                <a:gd name="connsiteY866" fmla="*/ 2449986 h 6851196"/>
                <a:gd name="connsiteX867" fmla="*/ 3449709 w 12187339"/>
                <a:gd name="connsiteY867" fmla="*/ 2449986 h 6851196"/>
                <a:gd name="connsiteX868" fmla="*/ 3219218 w 12187339"/>
                <a:gd name="connsiteY868" fmla="*/ 2686479 h 6851196"/>
                <a:gd name="connsiteX869" fmla="*/ 2996666 w 12187339"/>
                <a:gd name="connsiteY869" fmla="*/ 2686479 h 6851196"/>
                <a:gd name="connsiteX870" fmla="*/ 2996666 w 12187339"/>
                <a:gd name="connsiteY870" fmla="*/ 2449986 h 6851196"/>
                <a:gd name="connsiteX871" fmla="*/ 3219218 w 12187339"/>
                <a:gd name="connsiteY871" fmla="*/ 2449986 h 6851196"/>
                <a:gd name="connsiteX872" fmla="*/ 2990264 w 12187339"/>
                <a:gd name="connsiteY872" fmla="*/ 2686479 h 6851196"/>
                <a:gd name="connsiteX873" fmla="*/ 2766175 w 12187339"/>
                <a:gd name="connsiteY873" fmla="*/ 2686479 h 6851196"/>
                <a:gd name="connsiteX874" fmla="*/ 2766175 w 12187339"/>
                <a:gd name="connsiteY874" fmla="*/ 2449986 h 6851196"/>
                <a:gd name="connsiteX875" fmla="*/ 2990264 w 12187339"/>
                <a:gd name="connsiteY875" fmla="*/ 2449986 h 6851196"/>
                <a:gd name="connsiteX876" fmla="*/ 2759773 w 12187339"/>
                <a:gd name="connsiteY876" fmla="*/ 2686479 h 6851196"/>
                <a:gd name="connsiteX877" fmla="*/ 2535684 w 12187339"/>
                <a:gd name="connsiteY877" fmla="*/ 2686479 h 6851196"/>
                <a:gd name="connsiteX878" fmla="*/ 2535684 w 12187339"/>
                <a:gd name="connsiteY878" fmla="*/ 2449986 h 6851196"/>
                <a:gd name="connsiteX879" fmla="*/ 2759773 w 12187339"/>
                <a:gd name="connsiteY879" fmla="*/ 2449986 h 6851196"/>
                <a:gd name="connsiteX880" fmla="*/ 2529282 w 12187339"/>
                <a:gd name="connsiteY880" fmla="*/ 2686479 h 6851196"/>
                <a:gd name="connsiteX881" fmla="*/ 2305193 w 12187339"/>
                <a:gd name="connsiteY881" fmla="*/ 2686479 h 6851196"/>
                <a:gd name="connsiteX882" fmla="*/ 2305193 w 12187339"/>
                <a:gd name="connsiteY882" fmla="*/ 2449986 h 6851196"/>
                <a:gd name="connsiteX883" fmla="*/ 2529282 w 12187339"/>
                <a:gd name="connsiteY883" fmla="*/ 2449986 h 6851196"/>
                <a:gd name="connsiteX884" fmla="*/ 2529282 w 12187339"/>
                <a:gd name="connsiteY884" fmla="*/ 2693282 h 6851196"/>
                <a:gd name="connsiteX885" fmla="*/ 2529282 w 12187339"/>
                <a:gd name="connsiteY885" fmla="*/ 2931407 h 6851196"/>
                <a:gd name="connsiteX886" fmla="*/ 2305193 w 12187339"/>
                <a:gd name="connsiteY886" fmla="*/ 2931407 h 6851196"/>
                <a:gd name="connsiteX887" fmla="*/ 2305193 w 12187339"/>
                <a:gd name="connsiteY887" fmla="*/ 2693282 h 6851196"/>
                <a:gd name="connsiteX888" fmla="*/ 2529282 w 12187339"/>
                <a:gd name="connsiteY888" fmla="*/ 2938211 h 6851196"/>
                <a:gd name="connsiteX889" fmla="*/ 2529282 w 12187339"/>
                <a:gd name="connsiteY889" fmla="*/ 3176336 h 6851196"/>
                <a:gd name="connsiteX890" fmla="*/ 2305193 w 12187339"/>
                <a:gd name="connsiteY890" fmla="*/ 3176336 h 6851196"/>
                <a:gd name="connsiteX891" fmla="*/ 2305193 w 12187339"/>
                <a:gd name="connsiteY891" fmla="*/ 2938211 h 6851196"/>
                <a:gd name="connsiteX892" fmla="*/ 2529282 w 12187339"/>
                <a:gd name="connsiteY892" fmla="*/ 3183139 h 6851196"/>
                <a:gd name="connsiteX893" fmla="*/ 2529282 w 12187339"/>
                <a:gd name="connsiteY893" fmla="*/ 3421264 h 6851196"/>
                <a:gd name="connsiteX894" fmla="*/ 2305193 w 12187339"/>
                <a:gd name="connsiteY894" fmla="*/ 3421264 h 6851196"/>
                <a:gd name="connsiteX895" fmla="*/ 2305193 w 12187339"/>
                <a:gd name="connsiteY895" fmla="*/ 3183139 h 6851196"/>
                <a:gd name="connsiteX896" fmla="*/ 2529282 w 12187339"/>
                <a:gd name="connsiteY896" fmla="*/ 3428068 h 6851196"/>
                <a:gd name="connsiteX897" fmla="*/ 2529282 w 12187339"/>
                <a:gd name="connsiteY897" fmla="*/ 3664560 h 6851196"/>
                <a:gd name="connsiteX898" fmla="*/ 2305193 w 12187339"/>
                <a:gd name="connsiteY898" fmla="*/ 3664560 h 6851196"/>
                <a:gd name="connsiteX899" fmla="*/ 2305193 w 12187339"/>
                <a:gd name="connsiteY899" fmla="*/ 3428068 h 6851196"/>
                <a:gd name="connsiteX900" fmla="*/ 2529282 w 12187339"/>
                <a:gd name="connsiteY900" fmla="*/ 3671364 h 6851196"/>
                <a:gd name="connsiteX901" fmla="*/ 2529282 w 12187339"/>
                <a:gd name="connsiteY901" fmla="*/ 3909489 h 6851196"/>
                <a:gd name="connsiteX902" fmla="*/ 2305193 w 12187339"/>
                <a:gd name="connsiteY902" fmla="*/ 3909489 h 6851196"/>
                <a:gd name="connsiteX903" fmla="*/ 2305193 w 12187339"/>
                <a:gd name="connsiteY903" fmla="*/ 3671364 h 6851196"/>
                <a:gd name="connsiteX904" fmla="*/ 2529282 w 12187339"/>
                <a:gd name="connsiteY904" fmla="*/ 3916292 h 6851196"/>
                <a:gd name="connsiteX905" fmla="*/ 2529282 w 12187339"/>
                <a:gd name="connsiteY905" fmla="*/ 4154417 h 6851196"/>
                <a:gd name="connsiteX906" fmla="*/ 2305193 w 12187339"/>
                <a:gd name="connsiteY906" fmla="*/ 4154417 h 6851196"/>
                <a:gd name="connsiteX907" fmla="*/ 2305193 w 12187339"/>
                <a:gd name="connsiteY907" fmla="*/ 3916292 h 6851196"/>
                <a:gd name="connsiteX908" fmla="*/ 2529282 w 12187339"/>
                <a:gd name="connsiteY908" fmla="*/ 4161221 h 6851196"/>
                <a:gd name="connsiteX909" fmla="*/ 2529282 w 12187339"/>
                <a:gd name="connsiteY909" fmla="*/ 4399346 h 6851196"/>
                <a:gd name="connsiteX910" fmla="*/ 2305193 w 12187339"/>
                <a:gd name="connsiteY910" fmla="*/ 4399346 h 6851196"/>
                <a:gd name="connsiteX911" fmla="*/ 2305193 w 12187339"/>
                <a:gd name="connsiteY911" fmla="*/ 4161221 h 6851196"/>
                <a:gd name="connsiteX912" fmla="*/ 2535684 w 12187339"/>
                <a:gd name="connsiteY912" fmla="*/ 4161221 h 6851196"/>
                <a:gd name="connsiteX913" fmla="*/ 2759773 w 12187339"/>
                <a:gd name="connsiteY913" fmla="*/ 4161221 h 6851196"/>
                <a:gd name="connsiteX914" fmla="*/ 2759773 w 12187339"/>
                <a:gd name="connsiteY914" fmla="*/ 4399346 h 6851196"/>
                <a:gd name="connsiteX915" fmla="*/ 2535684 w 12187339"/>
                <a:gd name="connsiteY915" fmla="*/ 4399346 h 6851196"/>
                <a:gd name="connsiteX916" fmla="*/ 2766175 w 12187339"/>
                <a:gd name="connsiteY916" fmla="*/ 4161221 h 6851196"/>
                <a:gd name="connsiteX917" fmla="*/ 2990264 w 12187339"/>
                <a:gd name="connsiteY917" fmla="*/ 4161221 h 6851196"/>
                <a:gd name="connsiteX918" fmla="*/ 2990264 w 12187339"/>
                <a:gd name="connsiteY918" fmla="*/ 4399346 h 6851196"/>
                <a:gd name="connsiteX919" fmla="*/ 2766175 w 12187339"/>
                <a:gd name="connsiteY919" fmla="*/ 4399346 h 6851196"/>
                <a:gd name="connsiteX920" fmla="*/ 2996666 w 12187339"/>
                <a:gd name="connsiteY920" fmla="*/ 4161221 h 6851196"/>
                <a:gd name="connsiteX921" fmla="*/ 3219218 w 12187339"/>
                <a:gd name="connsiteY921" fmla="*/ 4161221 h 6851196"/>
                <a:gd name="connsiteX922" fmla="*/ 3219218 w 12187339"/>
                <a:gd name="connsiteY922" fmla="*/ 4399346 h 6851196"/>
                <a:gd name="connsiteX923" fmla="*/ 2996666 w 12187339"/>
                <a:gd name="connsiteY923" fmla="*/ 4399346 h 6851196"/>
                <a:gd name="connsiteX924" fmla="*/ 3225621 w 12187339"/>
                <a:gd name="connsiteY924" fmla="*/ 4161221 h 6851196"/>
                <a:gd name="connsiteX925" fmla="*/ 3449709 w 12187339"/>
                <a:gd name="connsiteY925" fmla="*/ 4161221 h 6851196"/>
                <a:gd name="connsiteX926" fmla="*/ 3449709 w 12187339"/>
                <a:gd name="connsiteY926" fmla="*/ 4399346 h 6851196"/>
                <a:gd name="connsiteX927" fmla="*/ 3225621 w 12187339"/>
                <a:gd name="connsiteY927" fmla="*/ 4399346 h 6851196"/>
                <a:gd name="connsiteX928" fmla="*/ 3456112 w 12187339"/>
                <a:gd name="connsiteY928" fmla="*/ 4161221 h 6851196"/>
                <a:gd name="connsiteX929" fmla="*/ 3680200 w 12187339"/>
                <a:gd name="connsiteY929" fmla="*/ 4161221 h 6851196"/>
                <a:gd name="connsiteX930" fmla="*/ 3680200 w 12187339"/>
                <a:gd name="connsiteY930" fmla="*/ 4399346 h 6851196"/>
                <a:gd name="connsiteX931" fmla="*/ 3456112 w 12187339"/>
                <a:gd name="connsiteY931" fmla="*/ 4399346 h 6851196"/>
                <a:gd name="connsiteX932" fmla="*/ 3686603 w 12187339"/>
                <a:gd name="connsiteY932" fmla="*/ 4161221 h 6851196"/>
                <a:gd name="connsiteX933" fmla="*/ 3910691 w 12187339"/>
                <a:gd name="connsiteY933" fmla="*/ 4161221 h 6851196"/>
                <a:gd name="connsiteX934" fmla="*/ 3910691 w 12187339"/>
                <a:gd name="connsiteY934" fmla="*/ 4399346 h 6851196"/>
                <a:gd name="connsiteX935" fmla="*/ 3686603 w 12187339"/>
                <a:gd name="connsiteY935" fmla="*/ 4399346 h 6851196"/>
                <a:gd name="connsiteX936" fmla="*/ 3917094 w 12187339"/>
                <a:gd name="connsiteY936" fmla="*/ 4161221 h 6851196"/>
                <a:gd name="connsiteX937" fmla="*/ 4139644 w 12187339"/>
                <a:gd name="connsiteY937" fmla="*/ 4161221 h 6851196"/>
                <a:gd name="connsiteX938" fmla="*/ 4139644 w 12187339"/>
                <a:gd name="connsiteY938" fmla="*/ 4399346 h 6851196"/>
                <a:gd name="connsiteX939" fmla="*/ 3917094 w 12187339"/>
                <a:gd name="connsiteY939" fmla="*/ 4399346 h 6851196"/>
                <a:gd name="connsiteX940" fmla="*/ 4146047 w 12187339"/>
                <a:gd name="connsiteY940" fmla="*/ 4161221 h 6851196"/>
                <a:gd name="connsiteX941" fmla="*/ 4370135 w 12187339"/>
                <a:gd name="connsiteY941" fmla="*/ 4161221 h 6851196"/>
                <a:gd name="connsiteX942" fmla="*/ 4370135 w 12187339"/>
                <a:gd name="connsiteY942" fmla="*/ 4399346 h 6851196"/>
                <a:gd name="connsiteX943" fmla="*/ 4146047 w 12187339"/>
                <a:gd name="connsiteY943" fmla="*/ 4399346 h 6851196"/>
                <a:gd name="connsiteX944" fmla="*/ 4376538 w 12187339"/>
                <a:gd name="connsiteY944" fmla="*/ 4161221 h 6851196"/>
                <a:gd name="connsiteX945" fmla="*/ 4600626 w 12187339"/>
                <a:gd name="connsiteY945" fmla="*/ 4161221 h 6851196"/>
                <a:gd name="connsiteX946" fmla="*/ 4600626 w 12187339"/>
                <a:gd name="connsiteY946" fmla="*/ 4399346 h 6851196"/>
                <a:gd name="connsiteX947" fmla="*/ 4376538 w 12187339"/>
                <a:gd name="connsiteY947" fmla="*/ 4399346 h 6851196"/>
                <a:gd name="connsiteX948" fmla="*/ 4607029 w 12187339"/>
                <a:gd name="connsiteY948" fmla="*/ 4161221 h 6851196"/>
                <a:gd name="connsiteX949" fmla="*/ 4829582 w 12187339"/>
                <a:gd name="connsiteY949" fmla="*/ 4161221 h 6851196"/>
                <a:gd name="connsiteX950" fmla="*/ 4829582 w 12187339"/>
                <a:gd name="connsiteY950" fmla="*/ 4399346 h 6851196"/>
                <a:gd name="connsiteX951" fmla="*/ 4607029 w 12187339"/>
                <a:gd name="connsiteY951" fmla="*/ 4399346 h 6851196"/>
                <a:gd name="connsiteX952" fmla="*/ 4835985 w 12187339"/>
                <a:gd name="connsiteY952" fmla="*/ 4161221 h 6851196"/>
                <a:gd name="connsiteX953" fmla="*/ 5060073 w 12187339"/>
                <a:gd name="connsiteY953" fmla="*/ 4161221 h 6851196"/>
                <a:gd name="connsiteX954" fmla="*/ 5060073 w 12187339"/>
                <a:gd name="connsiteY954" fmla="*/ 4399346 h 6851196"/>
                <a:gd name="connsiteX955" fmla="*/ 4835472 w 12187339"/>
                <a:gd name="connsiteY955" fmla="*/ 4399346 h 6851196"/>
                <a:gd name="connsiteX956" fmla="*/ 5066476 w 12187339"/>
                <a:gd name="connsiteY956" fmla="*/ 4161221 h 6851196"/>
                <a:gd name="connsiteX957" fmla="*/ 5290564 w 12187339"/>
                <a:gd name="connsiteY957" fmla="*/ 4161221 h 6851196"/>
                <a:gd name="connsiteX958" fmla="*/ 5290564 w 12187339"/>
                <a:gd name="connsiteY958" fmla="*/ 4399346 h 6851196"/>
                <a:gd name="connsiteX959" fmla="*/ 5065963 w 12187339"/>
                <a:gd name="connsiteY959" fmla="*/ 4399346 h 6851196"/>
                <a:gd name="connsiteX960" fmla="*/ 5296967 w 12187339"/>
                <a:gd name="connsiteY960" fmla="*/ 4161221 h 6851196"/>
                <a:gd name="connsiteX961" fmla="*/ 5521055 w 12187339"/>
                <a:gd name="connsiteY961" fmla="*/ 4161221 h 6851196"/>
                <a:gd name="connsiteX962" fmla="*/ 5521055 w 12187339"/>
                <a:gd name="connsiteY962" fmla="*/ 4399346 h 6851196"/>
                <a:gd name="connsiteX963" fmla="*/ 5296454 w 12187339"/>
                <a:gd name="connsiteY963" fmla="*/ 4399346 h 6851196"/>
                <a:gd name="connsiteX964" fmla="*/ 5527458 w 12187339"/>
                <a:gd name="connsiteY964" fmla="*/ 4161221 h 6851196"/>
                <a:gd name="connsiteX965" fmla="*/ 5750008 w 12187339"/>
                <a:gd name="connsiteY965" fmla="*/ 4161221 h 6851196"/>
                <a:gd name="connsiteX966" fmla="*/ 5750008 w 12187339"/>
                <a:gd name="connsiteY966" fmla="*/ 4399346 h 6851196"/>
                <a:gd name="connsiteX967" fmla="*/ 5526945 w 12187339"/>
                <a:gd name="connsiteY967" fmla="*/ 4399346 h 6851196"/>
                <a:gd name="connsiteX968" fmla="*/ 5756411 w 12187339"/>
                <a:gd name="connsiteY968" fmla="*/ 4161221 h 6851196"/>
                <a:gd name="connsiteX969" fmla="*/ 5980499 w 12187339"/>
                <a:gd name="connsiteY969" fmla="*/ 4161221 h 6851196"/>
                <a:gd name="connsiteX970" fmla="*/ 5980499 w 12187339"/>
                <a:gd name="connsiteY970" fmla="*/ 4399346 h 6851196"/>
                <a:gd name="connsiteX971" fmla="*/ 5756411 w 12187339"/>
                <a:gd name="connsiteY971" fmla="*/ 4399346 h 6851196"/>
                <a:gd name="connsiteX972" fmla="*/ 5986902 w 12187339"/>
                <a:gd name="connsiteY972" fmla="*/ 4161221 h 6851196"/>
                <a:gd name="connsiteX973" fmla="*/ 6210990 w 12187339"/>
                <a:gd name="connsiteY973" fmla="*/ 4161221 h 6851196"/>
                <a:gd name="connsiteX974" fmla="*/ 6210990 w 12187339"/>
                <a:gd name="connsiteY974" fmla="*/ 4399346 h 6851196"/>
                <a:gd name="connsiteX975" fmla="*/ 5986902 w 12187339"/>
                <a:gd name="connsiteY975" fmla="*/ 4399346 h 6851196"/>
                <a:gd name="connsiteX976" fmla="*/ 6217393 w 12187339"/>
                <a:gd name="connsiteY976" fmla="*/ 4161221 h 6851196"/>
                <a:gd name="connsiteX977" fmla="*/ 6439946 w 12187339"/>
                <a:gd name="connsiteY977" fmla="*/ 4161221 h 6851196"/>
                <a:gd name="connsiteX978" fmla="*/ 6439946 w 12187339"/>
                <a:gd name="connsiteY978" fmla="*/ 4399346 h 6851196"/>
                <a:gd name="connsiteX979" fmla="*/ 6217136 w 12187339"/>
                <a:gd name="connsiteY979" fmla="*/ 4399346 h 6851196"/>
                <a:gd name="connsiteX980" fmla="*/ 6446349 w 12187339"/>
                <a:gd name="connsiteY980" fmla="*/ 4161221 h 6851196"/>
                <a:gd name="connsiteX981" fmla="*/ 6656863 w 12187339"/>
                <a:gd name="connsiteY981" fmla="*/ 4161221 h 6851196"/>
                <a:gd name="connsiteX982" fmla="*/ 6656863 w 12187339"/>
                <a:gd name="connsiteY982" fmla="*/ 4399346 h 6851196"/>
                <a:gd name="connsiteX983" fmla="*/ 6446349 w 12187339"/>
                <a:gd name="connsiteY983" fmla="*/ 4399346 h 6851196"/>
                <a:gd name="connsiteX984" fmla="*/ 6663265 w 12187339"/>
                <a:gd name="connsiteY984" fmla="*/ 4161221 h 6851196"/>
                <a:gd name="connsiteX985" fmla="*/ 6887354 w 12187339"/>
                <a:gd name="connsiteY985" fmla="*/ 4161221 h 6851196"/>
                <a:gd name="connsiteX986" fmla="*/ 6887354 w 12187339"/>
                <a:gd name="connsiteY986" fmla="*/ 4399346 h 6851196"/>
                <a:gd name="connsiteX987" fmla="*/ 6663265 w 12187339"/>
                <a:gd name="connsiteY987" fmla="*/ 4399346 h 6851196"/>
                <a:gd name="connsiteX988" fmla="*/ 6893756 w 12187339"/>
                <a:gd name="connsiteY988" fmla="*/ 4161221 h 6851196"/>
                <a:gd name="connsiteX989" fmla="*/ 7117845 w 12187339"/>
                <a:gd name="connsiteY989" fmla="*/ 4161221 h 6851196"/>
                <a:gd name="connsiteX990" fmla="*/ 7117845 w 12187339"/>
                <a:gd name="connsiteY990" fmla="*/ 4399346 h 6851196"/>
                <a:gd name="connsiteX991" fmla="*/ 6893756 w 12187339"/>
                <a:gd name="connsiteY991" fmla="*/ 4399346 h 6851196"/>
                <a:gd name="connsiteX992" fmla="*/ 7124247 w 12187339"/>
                <a:gd name="connsiteY992" fmla="*/ 4161221 h 6851196"/>
                <a:gd name="connsiteX993" fmla="*/ 7346801 w 12187339"/>
                <a:gd name="connsiteY993" fmla="*/ 4161221 h 6851196"/>
                <a:gd name="connsiteX994" fmla="*/ 7346801 w 12187339"/>
                <a:gd name="connsiteY994" fmla="*/ 4399346 h 6851196"/>
                <a:gd name="connsiteX995" fmla="*/ 7124247 w 12187339"/>
                <a:gd name="connsiteY995" fmla="*/ 4399346 h 6851196"/>
                <a:gd name="connsiteX996" fmla="*/ 7353204 w 12187339"/>
                <a:gd name="connsiteY996" fmla="*/ 4161221 h 6851196"/>
                <a:gd name="connsiteX997" fmla="*/ 7577292 w 12187339"/>
                <a:gd name="connsiteY997" fmla="*/ 4161221 h 6851196"/>
                <a:gd name="connsiteX998" fmla="*/ 7577292 w 12187339"/>
                <a:gd name="connsiteY998" fmla="*/ 4399346 h 6851196"/>
                <a:gd name="connsiteX999" fmla="*/ 7353204 w 12187339"/>
                <a:gd name="connsiteY999" fmla="*/ 4399346 h 6851196"/>
                <a:gd name="connsiteX1000" fmla="*/ 7583695 w 12187339"/>
                <a:gd name="connsiteY1000" fmla="*/ 4161221 h 6851196"/>
                <a:gd name="connsiteX1001" fmla="*/ 7807783 w 12187339"/>
                <a:gd name="connsiteY1001" fmla="*/ 4161221 h 6851196"/>
                <a:gd name="connsiteX1002" fmla="*/ 7807783 w 12187339"/>
                <a:gd name="connsiteY1002" fmla="*/ 4399346 h 6851196"/>
                <a:gd name="connsiteX1003" fmla="*/ 7583695 w 12187339"/>
                <a:gd name="connsiteY1003" fmla="*/ 4399346 h 6851196"/>
                <a:gd name="connsiteX1004" fmla="*/ 7814186 w 12187339"/>
                <a:gd name="connsiteY1004" fmla="*/ 4161221 h 6851196"/>
                <a:gd name="connsiteX1005" fmla="*/ 8038274 w 12187339"/>
                <a:gd name="connsiteY1005" fmla="*/ 4161221 h 6851196"/>
                <a:gd name="connsiteX1006" fmla="*/ 8038274 w 12187339"/>
                <a:gd name="connsiteY1006" fmla="*/ 4399346 h 6851196"/>
                <a:gd name="connsiteX1007" fmla="*/ 7814186 w 12187339"/>
                <a:gd name="connsiteY1007" fmla="*/ 4399346 h 6851196"/>
                <a:gd name="connsiteX1008" fmla="*/ 8044677 w 12187339"/>
                <a:gd name="connsiteY1008" fmla="*/ 4161221 h 6851196"/>
                <a:gd name="connsiteX1009" fmla="*/ 8267227 w 12187339"/>
                <a:gd name="connsiteY1009" fmla="*/ 4161221 h 6851196"/>
                <a:gd name="connsiteX1010" fmla="*/ 8267227 w 12187339"/>
                <a:gd name="connsiteY1010" fmla="*/ 4399346 h 6851196"/>
                <a:gd name="connsiteX1011" fmla="*/ 8044420 w 12187339"/>
                <a:gd name="connsiteY1011" fmla="*/ 4399346 h 6851196"/>
                <a:gd name="connsiteX1012" fmla="*/ 8273629 w 12187339"/>
                <a:gd name="connsiteY1012" fmla="*/ 4161221 h 6851196"/>
                <a:gd name="connsiteX1013" fmla="*/ 8497718 w 12187339"/>
                <a:gd name="connsiteY1013" fmla="*/ 4161221 h 6851196"/>
                <a:gd name="connsiteX1014" fmla="*/ 8497718 w 12187339"/>
                <a:gd name="connsiteY1014" fmla="*/ 4399346 h 6851196"/>
                <a:gd name="connsiteX1015" fmla="*/ 8273629 w 12187339"/>
                <a:gd name="connsiteY1015" fmla="*/ 4399346 h 6851196"/>
                <a:gd name="connsiteX1016" fmla="*/ 8504120 w 12187339"/>
                <a:gd name="connsiteY1016" fmla="*/ 4161221 h 6851196"/>
                <a:gd name="connsiteX1017" fmla="*/ 8728209 w 12187339"/>
                <a:gd name="connsiteY1017" fmla="*/ 4161221 h 6851196"/>
                <a:gd name="connsiteX1018" fmla="*/ 8728209 w 12187339"/>
                <a:gd name="connsiteY1018" fmla="*/ 4399346 h 6851196"/>
                <a:gd name="connsiteX1019" fmla="*/ 8504120 w 12187339"/>
                <a:gd name="connsiteY1019" fmla="*/ 4399346 h 6851196"/>
                <a:gd name="connsiteX1020" fmla="*/ 8734611 w 12187339"/>
                <a:gd name="connsiteY1020" fmla="*/ 4161221 h 6851196"/>
                <a:gd name="connsiteX1021" fmla="*/ 8957162 w 12187339"/>
                <a:gd name="connsiteY1021" fmla="*/ 4161221 h 6851196"/>
                <a:gd name="connsiteX1022" fmla="*/ 8957162 w 12187339"/>
                <a:gd name="connsiteY1022" fmla="*/ 4399346 h 6851196"/>
                <a:gd name="connsiteX1023" fmla="*/ 8734611 w 12187339"/>
                <a:gd name="connsiteY1023" fmla="*/ 4399346 h 6851196"/>
                <a:gd name="connsiteX1024" fmla="*/ 8963564 w 12187339"/>
                <a:gd name="connsiteY1024" fmla="*/ 4161221 h 6851196"/>
                <a:gd name="connsiteX1025" fmla="*/ 9187653 w 12187339"/>
                <a:gd name="connsiteY1025" fmla="*/ 4161221 h 6851196"/>
                <a:gd name="connsiteX1026" fmla="*/ 9187653 w 12187339"/>
                <a:gd name="connsiteY1026" fmla="*/ 4399346 h 6851196"/>
                <a:gd name="connsiteX1027" fmla="*/ 8963564 w 12187339"/>
                <a:gd name="connsiteY1027" fmla="*/ 4399346 h 6851196"/>
                <a:gd name="connsiteX1028" fmla="*/ 9194055 w 12187339"/>
                <a:gd name="connsiteY1028" fmla="*/ 4161221 h 6851196"/>
                <a:gd name="connsiteX1029" fmla="*/ 9418144 w 12187339"/>
                <a:gd name="connsiteY1029" fmla="*/ 4161221 h 6851196"/>
                <a:gd name="connsiteX1030" fmla="*/ 9418144 w 12187339"/>
                <a:gd name="connsiteY1030" fmla="*/ 4399346 h 6851196"/>
                <a:gd name="connsiteX1031" fmla="*/ 9194055 w 12187339"/>
                <a:gd name="connsiteY1031" fmla="*/ 4399346 h 6851196"/>
                <a:gd name="connsiteX1032" fmla="*/ 9424546 w 12187339"/>
                <a:gd name="connsiteY1032" fmla="*/ 4161221 h 6851196"/>
                <a:gd name="connsiteX1033" fmla="*/ 9648635 w 12187339"/>
                <a:gd name="connsiteY1033" fmla="*/ 4161221 h 6851196"/>
                <a:gd name="connsiteX1034" fmla="*/ 9648635 w 12187339"/>
                <a:gd name="connsiteY1034" fmla="*/ 4399346 h 6851196"/>
                <a:gd name="connsiteX1035" fmla="*/ 9424546 w 12187339"/>
                <a:gd name="connsiteY1035" fmla="*/ 4399346 h 6851196"/>
                <a:gd name="connsiteX1036" fmla="*/ 9655037 w 12187339"/>
                <a:gd name="connsiteY1036" fmla="*/ 4161221 h 6851196"/>
                <a:gd name="connsiteX1037" fmla="*/ 9877591 w 12187339"/>
                <a:gd name="connsiteY1037" fmla="*/ 4161221 h 6851196"/>
                <a:gd name="connsiteX1038" fmla="*/ 9877591 w 12187339"/>
                <a:gd name="connsiteY1038" fmla="*/ 4399346 h 6851196"/>
                <a:gd name="connsiteX1039" fmla="*/ 9655037 w 12187339"/>
                <a:gd name="connsiteY1039" fmla="*/ 4399346 h 6851196"/>
                <a:gd name="connsiteX1040" fmla="*/ 9655037 w 12187339"/>
                <a:gd name="connsiteY1040" fmla="*/ 4154417 h 6851196"/>
                <a:gd name="connsiteX1041" fmla="*/ 9655037 w 12187339"/>
                <a:gd name="connsiteY1041" fmla="*/ 3916292 h 6851196"/>
                <a:gd name="connsiteX1042" fmla="*/ 9877591 w 12187339"/>
                <a:gd name="connsiteY1042" fmla="*/ 3916292 h 6851196"/>
                <a:gd name="connsiteX1043" fmla="*/ 9877591 w 12187339"/>
                <a:gd name="connsiteY1043" fmla="*/ 4154417 h 6851196"/>
                <a:gd name="connsiteX1044" fmla="*/ 9655037 w 12187339"/>
                <a:gd name="connsiteY1044" fmla="*/ 3909489 h 6851196"/>
                <a:gd name="connsiteX1045" fmla="*/ 9655037 w 12187339"/>
                <a:gd name="connsiteY1045" fmla="*/ 3671364 h 6851196"/>
                <a:gd name="connsiteX1046" fmla="*/ 9877591 w 12187339"/>
                <a:gd name="connsiteY1046" fmla="*/ 3671364 h 6851196"/>
                <a:gd name="connsiteX1047" fmla="*/ 9877591 w 12187339"/>
                <a:gd name="connsiteY1047" fmla="*/ 3909489 h 6851196"/>
                <a:gd name="connsiteX1048" fmla="*/ 9655037 w 12187339"/>
                <a:gd name="connsiteY1048" fmla="*/ 3664560 h 6851196"/>
                <a:gd name="connsiteX1049" fmla="*/ 9655037 w 12187339"/>
                <a:gd name="connsiteY1049" fmla="*/ 3428068 h 6851196"/>
                <a:gd name="connsiteX1050" fmla="*/ 9877591 w 12187339"/>
                <a:gd name="connsiteY1050" fmla="*/ 3428068 h 6851196"/>
                <a:gd name="connsiteX1051" fmla="*/ 9877591 w 12187339"/>
                <a:gd name="connsiteY1051" fmla="*/ 3664560 h 6851196"/>
                <a:gd name="connsiteX1052" fmla="*/ 9655037 w 12187339"/>
                <a:gd name="connsiteY1052" fmla="*/ 3421264 h 6851196"/>
                <a:gd name="connsiteX1053" fmla="*/ 9655037 w 12187339"/>
                <a:gd name="connsiteY1053" fmla="*/ 3183139 h 6851196"/>
                <a:gd name="connsiteX1054" fmla="*/ 9877591 w 12187339"/>
                <a:gd name="connsiteY1054" fmla="*/ 3183139 h 6851196"/>
                <a:gd name="connsiteX1055" fmla="*/ 9877591 w 12187339"/>
                <a:gd name="connsiteY1055" fmla="*/ 3421264 h 6851196"/>
                <a:gd name="connsiteX1056" fmla="*/ 9655037 w 12187339"/>
                <a:gd name="connsiteY1056" fmla="*/ 3176336 h 6851196"/>
                <a:gd name="connsiteX1057" fmla="*/ 9655037 w 12187339"/>
                <a:gd name="connsiteY1057" fmla="*/ 2938211 h 6851196"/>
                <a:gd name="connsiteX1058" fmla="*/ 9877591 w 12187339"/>
                <a:gd name="connsiteY1058" fmla="*/ 2938211 h 6851196"/>
                <a:gd name="connsiteX1059" fmla="*/ 9877591 w 12187339"/>
                <a:gd name="connsiteY1059" fmla="*/ 3176336 h 6851196"/>
                <a:gd name="connsiteX1060" fmla="*/ 9655037 w 12187339"/>
                <a:gd name="connsiteY1060" fmla="*/ 2931407 h 6851196"/>
                <a:gd name="connsiteX1061" fmla="*/ 9655037 w 12187339"/>
                <a:gd name="connsiteY1061" fmla="*/ 2693282 h 6851196"/>
                <a:gd name="connsiteX1062" fmla="*/ 9877591 w 12187339"/>
                <a:gd name="connsiteY1062" fmla="*/ 2693282 h 6851196"/>
                <a:gd name="connsiteX1063" fmla="*/ 9877591 w 12187339"/>
                <a:gd name="connsiteY1063" fmla="*/ 2931407 h 6851196"/>
                <a:gd name="connsiteX1064" fmla="*/ 9655037 w 12187339"/>
                <a:gd name="connsiteY1064" fmla="*/ 2686479 h 6851196"/>
                <a:gd name="connsiteX1065" fmla="*/ 9655037 w 12187339"/>
                <a:gd name="connsiteY1065" fmla="*/ 2449986 h 6851196"/>
                <a:gd name="connsiteX1066" fmla="*/ 9877591 w 12187339"/>
                <a:gd name="connsiteY1066" fmla="*/ 2449986 h 6851196"/>
                <a:gd name="connsiteX1067" fmla="*/ 9877591 w 12187339"/>
                <a:gd name="connsiteY1067" fmla="*/ 2686479 h 6851196"/>
                <a:gd name="connsiteX1068" fmla="*/ 9655037 w 12187339"/>
                <a:gd name="connsiteY1068" fmla="*/ 2443183 h 6851196"/>
                <a:gd name="connsiteX1069" fmla="*/ 9655037 w 12187339"/>
                <a:gd name="connsiteY1069" fmla="*/ 2205058 h 6851196"/>
                <a:gd name="connsiteX1070" fmla="*/ 9877591 w 12187339"/>
                <a:gd name="connsiteY1070" fmla="*/ 2205058 h 6851196"/>
                <a:gd name="connsiteX1071" fmla="*/ 9877591 w 12187339"/>
                <a:gd name="connsiteY1071" fmla="*/ 2443183 h 6851196"/>
                <a:gd name="connsiteX1072" fmla="*/ 9648635 w 12187339"/>
                <a:gd name="connsiteY1072" fmla="*/ 2443183 h 6851196"/>
                <a:gd name="connsiteX1073" fmla="*/ 9424546 w 12187339"/>
                <a:gd name="connsiteY1073" fmla="*/ 2443183 h 6851196"/>
                <a:gd name="connsiteX1074" fmla="*/ 9424546 w 12187339"/>
                <a:gd name="connsiteY1074" fmla="*/ 2205058 h 6851196"/>
                <a:gd name="connsiteX1075" fmla="*/ 9648635 w 12187339"/>
                <a:gd name="connsiteY1075" fmla="*/ 2205058 h 6851196"/>
                <a:gd name="connsiteX1076" fmla="*/ 9418144 w 12187339"/>
                <a:gd name="connsiteY1076" fmla="*/ 2443183 h 6851196"/>
                <a:gd name="connsiteX1077" fmla="*/ 9194055 w 12187339"/>
                <a:gd name="connsiteY1077" fmla="*/ 2443183 h 6851196"/>
                <a:gd name="connsiteX1078" fmla="*/ 9194055 w 12187339"/>
                <a:gd name="connsiteY1078" fmla="*/ 2205058 h 6851196"/>
                <a:gd name="connsiteX1079" fmla="*/ 9418144 w 12187339"/>
                <a:gd name="connsiteY1079" fmla="*/ 2205058 h 6851196"/>
                <a:gd name="connsiteX1080" fmla="*/ 9187653 w 12187339"/>
                <a:gd name="connsiteY1080" fmla="*/ 2443183 h 6851196"/>
                <a:gd name="connsiteX1081" fmla="*/ 8963564 w 12187339"/>
                <a:gd name="connsiteY1081" fmla="*/ 2443183 h 6851196"/>
                <a:gd name="connsiteX1082" fmla="*/ 8963564 w 12187339"/>
                <a:gd name="connsiteY1082" fmla="*/ 2205058 h 6851196"/>
                <a:gd name="connsiteX1083" fmla="*/ 9187653 w 12187339"/>
                <a:gd name="connsiteY1083" fmla="*/ 2205058 h 6851196"/>
                <a:gd name="connsiteX1084" fmla="*/ 8957162 w 12187339"/>
                <a:gd name="connsiteY1084" fmla="*/ 2443183 h 6851196"/>
                <a:gd name="connsiteX1085" fmla="*/ 8734611 w 12187339"/>
                <a:gd name="connsiteY1085" fmla="*/ 2443183 h 6851196"/>
                <a:gd name="connsiteX1086" fmla="*/ 8734611 w 12187339"/>
                <a:gd name="connsiteY1086" fmla="*/ 2205058 h 6851196"/>
                <a:gd name="connsiteX1087" fmla="*/ 8957162 w 12187339"/>
                <a:gd name="connsiteY1087" fmla="*/ 2205058 h 6851196"/>
                <a:gd name="connsiteX1088" fmla="*/ 8728209 w 12187339"/>
                <a:gd name="connsiteY1088" fmla="*/ 2443183 h 6851196"/>
                <a:gd name="connsiteX1089" fmla="*/ 8504120 w 12187339"/>
                <a:gd name="connsiteY1089" fmla="*/ 2443183 h 6851196"/>
                <a:gd name="connsiteX1090" fmla="*/ 8504120 w 12187339"/>
                <a:gd name="connsiteY1090" fmla="*/ 2205058 h 6851196"/>
                <a:gd name="connsiteX1091" fmla="*/ 8728209 w 12187339"/>
                <a:gd name="connsiteY1091" fmla="*/ 2205058 h 6851196"/>
                <a:gd name="connsiteX1092" fmla="*/ 8497718 w 12187339"/>
                <a:gd name="connsiteY1092" fmla="*/ 2443183 h 6851196"/>
                <a:gd name="connsiteX1093" fmla="*/ 8273629 w 12187339"/>
                <a:gd name="connsiteY1093" fmla="*/ 2443183 h 6851196"/>
                <a:gd name="connsiteX1094" fmla="*/ 8273629 w 12187339"/>
                <a:gd name="connsiteY1094" fmla="*/ 2205058 h 6851196"/>
                <a:gd name="connsiteX1095" fmla="*/ 8497718 w 12187339"/>
                <a:gd name="connsiteY1095" fmla="*/ 2205058 h 6851196"/>
                <a:gd name="connsiteX1096" fmla="*/ 8267227 w 12187339"/>
                <a:gd name="connsiteY1096" fmla="*/ 2443183 h 6851196"/>
                <a:gd name="connsiteX1097" fmla="*/ 8044420 w 12187339"/>
                <a:gd name="connsiteY1097" fmla="*/ 2443183 h 6851196"/>
                <a:gd name="connsiteX1098" fmla="*/ 8044420 w 12187339"/>
                <a:gd name="connsiteY1098" fmla="*/ 2205058 h 6851196"/>
                <a:gd name="connsiteX1099" fmla="*/ 8267227 w 12187339"/>
                <a:gd name="connsiteY1099" fmla="*/ 2205058 h 6851196"/>
                <a:gd name="connsiteX1100" fmla="*/ 8038274 w 12187339"/>
                <a:gd name="connsiteY1100" fmla="*/ 2443183 h 6851196"/>
                <a:gd name="connsiteX1101" fmla="*/ 7814186 w 12187339"/>
                <a:gd name="connsiteY1101" fmla="*/ 2443183 h 6851196"/>
                <a:gd name="connsiteX1102" fmla="*/ 7814186 w 12187339"/>
                <a:gd name="connsiteY1102" fmla="*/ 2205058 h 6851196"/>
                <a:gd name="connsiteX1103" fmla="*/ 8038274 w 12187339"/>
                <a:gd name="connsiteY1103" fmla="*/ 2205058 h 6851196"/>
                <a:gd name="connsiteX1104" fmla="*/ 7807783 w 12187339"/>
                <a:gd name="connsiteY1104" fmla="*/ 2443183 h 6851196"/>
                <a:gd name="connsiteX1105" fmla="*/ 7583695 w 12187339"/>
                <a:gd name="connsiteY1105" fmla="*/ 2443183 h 6851196"/>
                <a:gd name="connsiteX1106" fmla="*/ 7583695 w 12187339"/>
                <a:gd name="connsiteY1106" fmla="*/ 2205058 h 6851196"/>
                <a:gd name="connsiteX1107" fmla="*/ 7807783 w 12187339"/>
                <a:gd name="connsiteY1107" fmla="*/ 2205058 h 6851196"/>
                <a:gd name="connsiteX1108" fmla="*/ 7577292 w 12187339"/>
                <a:gd name="connsiteY1108" fmla="*/ 2443183 h 6851196"/>
                <a:gd name="connsiteX1109" fmla="*/ 7353204 w 12187339"/>
                <a:gd name="connsiteY1109" fmla="*/ 2443183 h 6851196"/>
                <a:gd name="connsiteX1110" fmla="*/ 7353204 w 12187339"/>
                <a:gd name="connsiteY1110" fmla="*/ 2205058 h 6851196"/>
                <a:gd name="connsiteX1111" fmla="*/ 7577292 w 12187339"/>
                <a:gd name="connsiteY1111" fmla="*/ 2205058 h 6851196"/>
                <a:gd name="connsiteX1112" fmla="*/ 7346801 w 12187339"/>
                <a:gd name="connsiteY1112" fmla="*/ 2443183 h 6851196"/>
                <a:gd name="connsiteX1113" fmla="*/ 7124247 w 12187339"/>
                <a:gd name="connsiteY1113" fmla="*/ 2443183 h 6851196"/>
                <a:gd name="connsiteX1114" fmla="*/ 7124247 w 12187339"/>
                <a:gd name="connsiteY1114" fmla="*/ 2205058 h 6851196"/>
                <a:gd name="connsiteX1115" fmla="*/ 7346801 w 12187339"/>
                <a:gd name="connsiteY1115" fmla="*/ 2205058 h 6851196"/>
                <a:gd name="connsiteX1116" fmla="*/ 7117845 w 12187339"/>
                <a:gd name="connsiteY1116" fmla="*/ 2443183 h 6851196"/>
                <a:gd name="connsiteX1117" fmla="*/ 6893756 w 12187339"/>
                <a:gd name="connsiteY1117" fmla="*/ 2443183 h 6851196"/>
                <a:gd name="connsiteX1118" fmla="*/ 6893756 w 12187339"/>
                <a:gd name="connsiteY1118" fmla="*/ 2205058 h 6851196"/>
                <a:gd name="connsiteX1119" fmla="*/ 7117845 w 12187339"/>
                <a:gd name="connsiteY1119" fmla="*/ 2205058 h 6851196"/>
                <a:gd name="connsiteX1120" fmla="*/ 6887354 w 12187339"/>
                <a:gd name="connsiteY1120" fmla="*/ 2443183 h 6851196"/>
                <a:gd name="connsiteX1121" fmla="*/ 6663265 w 12187339"/>
                <a:gd name="connsiteY1121" fmla="*/ 2443183 h 6851196"/>
                <a:gd name="connsiteX1122" fmla="*/ 6663265 w 12187339"/>
                <a:gd name="connsiteY1122" fmla="*/ 2205058 h 6851196"/>
                <a:gd name="connsiteX1123" fmla="*/ 6887354 w 12187339"/>
                <a:gd name="connsiteY1123" fmla="*/ 2205058 h 6851196"/>
                <a:gd name="connsiteX1124" fmla="*/ 6656863 w 12187339"/>
                <a:gd name="connsiteY1124" fmla="*/ 2443183 h 6851196"/>
                <a:gd name="connsiteX1125" fmla="*/ 6446349 w 12187339"/>
                <a:gd name="connsiteY1125" fmla="*/ 2443183 h 6851196"/>
                <a:gd name="connsiteX1126" fmla="*/ 6446349 w 12187339"/>
                <a:gd name="connsiteY1126" fmla="*/ 2205058 h 6851196"/>
                <a:gd name="connsiteX1127" fmla="*/ 6656863 w 12187339"/>
                <a:gd name="connsiteY1127" fmla="*/ 2205058 h 6851196"/>
                <a:gd name="connsiteX1128" fmla="*/ 6439946 w 12187339"/>
                <a:gd name="connsiteY1128" fmla="*/ 2443183 h 6851196"/>
                <a:gd name="connsiteX1129" fmla="*/ 6217136 w 12187339"/>
                <a:gd name="connsiteY1129" fmla="*/ 2443183 h 6851196"/>
                <a:gd name="connsiteX1130" fmla="*/ 6217136 w 12187339"/>
                <a:gd name="connsiteY1130" fmla="*/ 2205058 h 6851196"/>
                <a:gd name="connsiteX1131" fmla="*/ 6439690 w 12187339"/>
                <a:gd name="connsiteY1131" fmla="*/ 2205058 h 6851196"/>
                <a:gd name="connsiteX1132" fmla="*/ 6210990 w 12187339"/>
                <a:gd name="connsiteY1132" fmla="*/ 2443183 h 6851196"/>
                <a:gd name="connsiteX1133" fmla="*/ 5986902 w 12187339"/>
                <a:gd name="connsiteY1133" fmla="*/ 2443183 h 6851196"/>
                <a:gd name="connsiteX1134" fmla="*/ 5986902 w 12187339"/>
                <a:gd name="connsiteY1134" fmla="*/ 2205058 h 6851196"/>
                <a:gd name="connsiteX1135" fmla="*/ 6210990 w 12187339"/>
                <a:gd name="connsiteY1135" fmla="*/ 2205058 h 6851196"/>
                <a:gd name="connsiteX1136" fmla="*/ 5980499 w 12187339"/>
                <a:gd name="connsiteY1136" fmla="*/ 2443183 h 6851196"/>
                <a:gd name="connsiteX1137" fmla="*/ 5756411 w 12187339"/>
                <a:gd name="connsiteY1137" fmla="*/ 2443183 h 6851196"/>
                <a:gd name="connsiteX1138" fmla="*/ 5756411 w 12187339"/>
                <a:gd name="connsiteY1138" fmla="*/ 2205058 h 6851196"/>
                <a:gd name="connsiteX1139" fmla="*/ 5980499 w 12187339"/>
                <a:gd name="connsiteY1139" fmla="*/ 2205058 h 6851196"/>
                <a:gd name="connsiteX1140" fmla="*/ 5750008 w 12187339"/>
                <a:gd name="connsiteY1140" fmla="*/ 2443183 h 6851196"/>
                <a:gd name="connsiteX1141" fmla="*/ 5526945 w 12187339"/>
                <a:gd name="connsiteY1141" fmla="*/ 2443183 h 6851196"/>
                <a:gd name="connsiteX1142" fmla="*/ 5526945 w 12187339"/>
                <a:gd name="connsiteY1142" fmla="*/ 2205058 h 6851196"/>
                <a:gd name="connsiteX1143" fmla="*/ 5749495 w 12187339"/>
                <a:gd name="connsiteY1143" fmla="*/ 2205058 h 6851196"/>
                <a:gd name="connsiteX1144" fmla="*/ 5521055 w 12187339"/>
                <a:gd name="connsiteY1144" fmla="*/ 2443183 h 6851196"/>
                <a:gd name="connsiteX1145" fmla="*/ 5296454 w 12187339"/>
                <a:gd name="connsiteY1145" fmla="*/ 2443183 h 6851196"/>
                <a:gd name="connsiteX1146" fmla="*/ 5296454 w 12187339"/>
                <a:gd name="connsiteY1146" fmla="*/ 2205058 h 6851196"/>
                <a:gd name="connsiteX1147" fmla="*/ 5520542 w 12187339"/>
                <a:gd name="connsiteY1147" fmla="*/ 2205058 h 6851196"/>
                <a:gd name="connsiteX1148" fmla="*/ 5290564 w 12187339"/>
                <a:gd name="connsiteY1148" fmla="*/ 2443183 h 6851196"/>
                <a:gd name="connsiteX1149" fmla="*/ 5065963 w 12187339"/>
                <a:gd name="connsiteY1149" fmla="*/ 2443183 h 6851196"/>
                <a:gd name="connsiteX1150" fmla="*/ 5065963 w 12187339"/>
                <a:gd name="connsiteY1150" fmla="*/ 2205058 h 6851196"/>
                <a:gd name="connsiteX1151" fmla="*/ 5290051 w 12187339"/>
                <a:gd name="connsiteY1151" fmla="*/ 2205058 h 6851196"/>
                <a:gd name="connsiteX1152" fmla="*/ 5060073 w 12187339"/>
                <a:gd name="connsiteY1152" fmla="*/ 2443183 h 6851196"/>
                <a:gd name="connsiteX1153" fmla="*/ 4835472 w 12187339"/>
                <a:gd name="connsiteY1153" fmla="*/ 2443183 h 6851196"/>
                <a:gd name="connsiteX1154" fmla="*/ 4835472 w 12187339"/>
                <a:gd name="connsiteY1154" fmla="*/ 2205058 h 6851196"/>
                <a:gd name="connsiteX1155" fmla="*/ 5059560 w 12187339"/>
                <a:gd name="connsiteY1155" fmla="*/ 2205058 h 6851196"/>
                <a:gd name="connsiteX1156" fmla="*/ 4829582 w 12187339"/>
                <a:gd name="connsiteY1156" fmla="*/ 2443183 h 6851196"/>
                <a:gd name="connsiteX1157" fmla="*/ 4607029 w 12187339"/>
                <a:gd name="connsiteY1157" fmla="*/ 2443183 h 6851196"/>
                <a:gd name="connsiteX1158" fmla="*/ 4607029 w 12187339"/>
                <a:gd name="connsiteY1158" fmla="*/ 2205058 h 6851196"/>
                <a:gd name="connsiteX1159" fmla="*/ 4829582 w 12187339"/>
                <a:gd name="connsiteY1159" fmla="*/ 2205058 h 6851196"/>
                <a:gd name="connsiteX1160" fmla="*/ 4600626 w 12187339"/>
                <a:gd name="connsiteY1160" fmla="*/ 2443183 h 6851196"/>
                <a:gd name="connsiteX1161" fmla="*/ 4376538 w 12187339"/>
                <a:gd name="connsiteY1161" fmla="*/ 2443183 h 6851196"/>
                <a:gd name="connsiteX1162" fmla="*/ 4376538 w 12187339"/>
                <a:gd name="connsiteY1162" fmla="*/ 2205058 h 6851196"/>
                <a:gd name="connsiteX1163" fmla="*/ 4600626 w 12187339"/>
                <a:gd name="connsiteY1163" fmla="*/ 2205058 h 6851196"/>
                <a:gd name="connsiteX1164" fmla="*/ 4370135 w 12187339"/>
                <a:gd name="connsiteY1164" fmla="*/ 2443183 h 6851196"/>
                <a:gd name="connsiteX1165" fmla="*/ 4146047 w 12187339"/>
                <a:gd name="connsiteY1165" fmla="*/ 2443183 h 6851196"/>
                <a:gd name="connsiteX1166" fmla="*/ 4146047 w 12187339"/>
                <a:gd name="connsiteY1166" fmla="*/ 2205058 h 6851196"/>
                <a:gd name="connsiteX1167" fmla="*/ 4370135 w 12187339"/>
                <a:gd name="connsiteY1167" fmla="*/ 2205058 h 6851196"/>
                <a:gd name="connsiteX1168" fmla="*/ 4139644 w 12187339"/>
                <a:gd name="connsiteY1168" fmla="*/ 2443183 h 6851196"/>
                <a:gd name="connsiteX1169" fmla="*/ 3917094 w 12187339"/>
                <a:gd name="connsiteY1169" fmla="*/ 2443183 h 6851196"/>
                <a:gd name="connsiteX1170" fmla="*/ 3917094 w 12187339"/>
                <a:gd name="connsiteY1170" fmla="*/ 2205058 h 6851196"/>
                <a:gd name="connsiteX1171" fmla="*/ 4139644 w 12187339"/>
                <a:gd name="connsiteY1171" fmla="*/ 2205058 h 6851196"/>
                <a:gd name="connsiteX1172" fmla="*/ 3910691 w 12187339"/>
                <a:gd name="connsiteY1172" fmla="*/ 2443183 h 6851196"/>
                <a:gd name="connsiteX1173" fmla="*/ 3686603 w 12187339"/>
                <a:gd name="connsiteY1173" fmla="*/ 2443183 h 6851196"/>
                <a:gd name="connsiteX1174" fmla="*/ 3686603 w 12187339"/>
                <a:gd name="connsiteY1174" fmla="*/ 2205058 h 6851196"/>
                <a:gd name="connsiteX1175" fmla="*/ 3910691 w 12187339"/>
                <a:gd name="connsiteY1175" fmla="*/ 2205058 h 6851196"/>
                <a:gd name="connsiteX1176" fmla="*/ 3680200 w 12187339"/>
                <a:gd name="connsiteY1176" fmla="*/ 2443183 h 6851196"/>
                <a:gd name="connsiteX1177" fmla="*/ 3456112 w 12187339"/>
                <a:gd name="connsiteY1177" fmla="*/ 2443183 h 6851196"/>
                <a:gd name="connsiteX1178" fmla="*/ 3456112 w 12187339"/>
                <a:gd name="connsiteY1178" fmla="*/ 2205058 h 6851196"/>
                <a:gd name="connsiteX1179" fmla="*/ 3680200 w 12187339"/>
                <a:gd name="connsiteY1179" fmla="*/ 2205058 h 6851196"/>
                <a:gd name="connsiteX1180" fmla="*/ 3449709 w 12187339"/>
                <a:gd name="connsiteY1180" fmla="*/ 2443183 h 6851196"/>
                <a:gd name="connsiteX1181" fmla="*/ 3225621 w 12187339"/>
                <a:gd name="connsiteY1181" fmla="*/ 2443183 h 6851196"/>
                <a:gd name="connsiteX1182" fmla="*/ 3225621 w 12187339"/>
                <a:gd name="connsiteY1182" fmla="*/ 2205058 h 6851196"/>
                <a:gd name="connsiteX1183" fmla="*/ 3449709 w 12187339"/>
                <a:gd name="connsiteY1183" fmla="*/ 2205058 h 6851196"/>
                <a:gd name="connsiteX1184" fmla="*/ 3219218 w 12187339"/>
                <a:gd name="connsiteY1184" fmla="*/ 2443183 h 6851196"/>
                <a:gd name="connsiteX1185" fmla="*/ 2996666 w 12187339"/>
                <a:gd name="connsiteY1185" fmla="*/ 2443183 h 6851196"/>
                <a:gd name="connsiteX1186" fmla="*/ 2996666 w 12187339"/>
                <a:gd name="connsiteY1186" fmla="*/ 2205058 h 6851196"/>
                <a:gd name="connsiteX1187" fmla="*/ 3219218 w 12187339"/>
                <a:gd name="connsiteY1187" fmla="*/ 2205058 h 6851196"/>
                <a:gd name="connsiteX1188" fmla="*/ 2990264 w 12187339"/>
                <a:gd name="connsiteY1188" fmla="*/ 2443183 h 6851196"/>
                <a:gd name="connsiteX1189" fmla="*/ 2766175 w 12187339"/>
                <a:gd name="connsiteY1189" fmla="*/ 2443183 h 6851196"/>
                <a:gd name="connsiteX1190" fmla="*/ 2766175 w 12187339"/>
                <a:gd name="connsiteY1190" fmla="*/ 2205058 h 6851196"/>
                <a:gd name="connsiteX1191" fmla="*/ 2990264 w 12187339"/>
                <a:gd name="connsiteY1191" fmla="*/ 2205058 h 6851196"/>
                <a:gd name="connsiteX1192" fmla="*/ 2759773 w 12187339"/>
                <a:gd name="connsiteY1192" fmla="*/ 2443183 h 6851196"/>
                <a:gd name="connsiteX1193" fmla="*/ 2535684 w 12187339"/>
                <a:gd name="connsiteY1193" fmla="*/ 2443183 h 6851196"/>
                <a:gd name="connsiteX1194" fmla="*/ 2535684 w 12187339"/>
                <a:gd name="connsiteY1194" fmla="*/ 2205058 h 6851196"/>
                <a:gd name="connsiteX1195" fmla="*/ 2759773 w 12187339"/>
                <a:gd name="connsiteY1195" fmla="*/ 2205058 h 6851196"/>
                <a:gd name="connsiteX1196" fmla="*/ 2529282 w 12187339"/>
                <a:gd name="connsiteY1196" fmla="*/ 2443183 h 6851196"/>
                <a:gd name="connsiteX1197" fmla="*/ 2305193 w 12187339"/>
                <a:gd name="connsiteY1197" fmla="*/ 2443183 h 6851196"/>
                <a:gd name="connsiteX1198" fmla="*/ 2305193 w 12187339"/>
                <a:gd name="connsiteY1198" fmla="*/ 2205058 h 6851196"/>
                <a:gd name="connsiteX1199" fmla="*/ 2529282 w 12187339"/>
                <a:gd name="connsiteY1199" fmla="*/ 2205058 h 6851196"/>
                <a:gd name="connsiteX1200" fmla="*/ 2298791 w 12187339"/>
                <a:gd name="connsiteY1200" fmla="*/ 2443183 h 6851196"/>
                <a:gd name="connsiteX1201" fmla="*/ 2075982 w 12187339"/>
                <a:gd name="connsiteY1201" fmla="*/ 2443183 h 6851196"/>
                <a:gd name="connsiteX1202" fmla="*/ 2075982 w 12187339"/>
                <a:gd name="connsiteY1202" fmla="*/ 2205058 h 6851196"/>
                <a:gd name="connsiteX1203" fmla="*/ 2298534 w 12187339"/>
                <a:gd name="connsiteY1203" fmla="*/ 2205058 h 6851196"/>
                <a:gd name="connsiteX1204" fmla="*/ 2298791 w 12187339"/>
                <a:gd name="connsiteY1204" fmla="*/ 2449986 h 6851196"/>
                <a:gd name="connsiteX1205" fmla="*/ 2298791 w 12187339"/>
                <a:gd name="connsiteY1205" fmla="*/ 2686479 h 6851196"/>
                <a:gd name="connsiteX1206" fmla="*/ 2075982 w 12187339"/>
                <a:gd name="connsiteY1206" fmla="*/ 2686479 h 6851196"/>
                <a:gd name="connsiteX1207" fmla="*/ 2075982 w 12187339"/>
                <a:gd name="connsiteY1207" fmla="*/ 2449986 h 6851196"/>
                <a:gd name="connsiteX1208" fmla="*/ 2298791 w 12187339"/>
                <a:gd name="connsiteY1208" fmla="*/ 2693282 h 6851196"/>
                <a:gd name="connsiteX1209" fmla="*/ 2298791 w 12187339"/>
                <a:gd name="connsiteY1209" fmla="*/ 2931407 h 6851196"/>
                <a:gd name="connsiteX1210" fmla="*/ 2075982 w 12187339"/>
                <a:gd name="connsiteY1210" fmla="*/ 2931407 h 6851196"/>
                <a:gd name="connsiteX1211" fmla="*/ 2075982 w 12187339"/>
                <a:gd name="connsiteY1211" fmla="*/ 2693282 h 6851196"/>
                <a:gd name="connsiteX1212" fmla="*/ 2298791 w 12187339"/>
                <a:gd name="connsiteY1212" fmla="*/ 2938211 h 6851196"/>
                <a:gd name="connsiteX1213" fmla="*/ 2298791 w 12187339"/>
                <a:gd name="connsiteY1213" fmla="*/ 3176336 h 6851196"/>
                <a:gd name="connsiteX1214" fmla="*/ 2075982 w 12187339"/>
                <a:gd name="connsiteY1214" fmla="*/ 3176336 h 6851196"/>
                <a:gd name="connsiteX1215" fmla="*/ 2075982 w 12187339"/>
                <a:gd name="connsiteY1215" fmla="*/ 2938211 h 6851196"/>
                <a:gd name="connsiteX1216" fmla="*/ 2298791 w 12187339"/>
                <a:gd name="connsiteY1216" fmla="*/ 3183139 h 6851196"/>
                <a:gd name="connsiteX1217" fmla="*/ 2298791 w 12187339"/>
                <a:gd name="connsiteY1217" fmla="*/ 3421264 h 6851196"/>
                <a:gd name="connsiteX1218" fmla="*/ 2075982 w 12187339"/>
                <a:gd name="connsiteY1218" fmla="*/ 3421264 h 6851196"/>
                <a:gd name="connsiteX1219" fmla="*/ 2075982 w 12187339"/>
                <a:gd name="connsiteY1219" fmla="*/ 3183139 h 6851196"/>
                <a:gd name="connsiteX1220" fmla="*/ 2298791 w 12187339"/>
                <a:gd name="connsiteY1220" fmla="*/ 3428068 h 6851196"/>
                <a:gd name="connsiteX1221" fmla="*/ 2298791 w 12187339"/>
                <a:gd name="connsiteY1221" fmla="*/ 3664560 h 6851196"/>
                <a:gd name="connsiteX1222" fmla="*/ 2075982 w 12187339"/>
                <a:gd name="connsiteY1222" fmla="*/ 3664560 h 6851196"/>
                <a:gd name="connsiteX1223" fmla="*/ 2075982 w 12187339"/>
                <a:gd name="connsiteY1223" fmla="*/ 3428068 h 6851196"/>
                <a:gd name="connsiteX1224" fmla="*/ 2298791 w 12187339"/>
                <a:gd name="connsiteY1224" fmla="*/ 3671364 h 6851196"/>
                <a:gd name="connsiteX1225" fmla="*/ 2298791 w 12187339"/>
                <a:gd name="connsiteY1225" fmla="*/ 3909489 h 6851196"/>
                <a:gd name="connsiteX1226" fmla="*/ 2075982 w 12187339"/>
                <a:gd name="connsiteY1226" fmla="*/ 3909489 h 6851196"/>
                <a:gd name="connsiteX1227" fmla="*/ 2075982 w 12187339"/>
                <a:gd name="connsiteY1227" fmla="*/ 3671364 h 6851196"/>
                <a:gd name="connsiteX1228" fmla="*/ 2298791 w 12187339"/>
                <a:gd name="connsiteY1228" fmla="*/ 3916292 h 6851196"/>
                <a:gd name="connsiteX1229" fmla="*/ 2298791 w 12187339"/>
                <a:gd name="connsiteY1229" fmla="*/ 4154417 h 6851196"/>
                <a:gd name="connsiteX1230" fmla="*/ 2075982 w 12187339"/>
                <a:gd name="connsiteY1230" fmla="*/ 4154417 h 6851196"/>
                <a:gd name="connsiteX1231" fmla="*/ 2075982 w 12187339"/>
                <a:gd name="connsiteY1231" fmla="*/ 3916292 h 6851196"/>
                <a:gd name="connsiteX1232" fmla="*/ 2298791 w 12187339"/>
                <a:gd name="connsiteY1232" fmla="*/ 4161221 h 6851196"/>
                <a:gd name="connsiteX1233" fmla="*/ 2298791 w 12187339"/>
                <a:gd name="connsiteY1233" fmla="*/ 4399346 h 6851196"/>
                <a:gd name="connsiteX1234" fmla="*/ 2075982 w 12187339"/>
                <a:gd name="connsiteY1234" fmla="*/ 4399346 h 6851196"/>
                <a:gd name="connsiteX1235" fmla="*/ 2075982 w 12187339"/>
                <a:gd name="connsiteY1235" fmla="*/ 4161221 h 6851196"/>
                <a:gd name="connsiteX1236" fmla="*/ 2298791 w 12187339"/>
                <a:gd name="connsiteY1236" fmla="*/ 4406149 h 6851196"/>
                <a:gd name="connsiteX1237" fmla="*/ 2298791 w 12187339"/>
                <a:gd name="connsiteY1237" fmla="*/ 4642233 h 6851196"/>
                <a:gd name="connsiteX1238" fmla="*/ 2075982 w 12187339"/>
                <a:gd name="connsiteY1238" fmla="*/ 4642233 h 6851196"/>
                <a:gd name="connsiteX1239" fmla="*/ 2075982 w 12187339"/>
                <a:gd name="connsiteY1239" fmla="*/ 4405741 h 6851196"/>
                <a:gd name="connsiteX1240" fmla="*/ 2305193 w 12187339"/>
                <a:gd name="connsiteY1240" fmla="*/ 4406149 h 6851196"/>
                <a:gd name="connsiteX1241" fmla="*/ 2529282 w 12187339"/>
                <a:gd name="connsiteY1241" fmla="*/ 4406149 h 6851196"/>
                <a:gd name="connsiteX1242" fmla="*/ 2529282 w 12187339"/>
                <a:gd name="connsiteY1242" fmla="*/ 4642233 h 6851196"/>
                <a:gd name="connsiteX1243" fmla="*/ 2305193 w 12187339"/>
                <a:gd name="connsiteY1243" fmla="*/ 4642233 h 6851196"/>
                <a:gd name="connsiteX1244" fmla="*/ 2535684 w 12187339"/>
                <a:gd name="connsiteY1244" fmla="*/ 4406149 h 6851196"/>
                <a:gd name="connsiteX1245" fmla="*/ 2759773 w 12187339"/>
                <a:gd name="connsiteY1245" fmla="*/ 4406149 h 6851196"/>
                <a:gd name="connsiteX1246" fmla="*/ 2759773 w 12187339"/>
                <a:gd name="connsiteY1246" fmla="*/ 4642233 h 6851196"/>
                <a:gd name="connsiteX1247" fmla="*/ 2535684 w 12187339"/>
                <a:gd name="connsiteY1247" fmla="*/ 4642233 h 6851196"/>
                <a:gd name="connsiteX1248" fmla="*/ 2766175 w 12187339"/>
                <a:gd name="connsiteY1248" fmla="*/ 4406149 h 6851196"/>
                <a:gd name="connsiteX1249" fmla="*/ 2990264 w 12187339"/>
                <a:gd name="connsiteY1249" fmla="*/ 4406149 h 6851196"/>
                <a:gd name="connsiteX1250" fmla="*/ 2990264 w 12187339"/>
                <a:gd name="connsiteY1250" fmla="*/ 4642233 h 6851196"/>
                <a:gd name="connsiteX1251" fmla="*/ 2766175 w 12187339"/>
                <a:gd name="connsiteY1251" fmla="*/ 4642233 h 6851196"/>
                <a:gd name="connsiteX1252" fmla="*/ 2996666 w 12187339"/>
                <a:gd name="connsiteY1252" fmla="*/ 4406149 h 6851196"/>
                <a:gd name="connsiteX1253" fmla="*/ 3219218 w 12187339"/>
                <a:gd name="connsiteY1253" fmla="*/ 4406149 h 6851196"/>
                <a:gd name="connsiteX1254" fmla="*/ 3219218 w 12187339"/>
                <a:gd name="connsiteY1254" fmla="*/ 4642233 h 6851196"/>
                <a:gd name="connsiteX1255" fmla="*/ 2996666 w 12187339"/>
                <a:gd name="connsiteY1255" fmla="*/ 4642233 h 6851196"/>
                <a:gd name="connsiteX1256" fmla="*/ 3225621 w 12187339"/>
                <a:gd name="connsiteY1256" fmla="*/ 4406149 h 6851196"/>
                <a:gd name="connsiteX1257" fmla="*/ 3449709 w 12187339"/>
                <a:gd name="connsiteY1257" fmla="*/ 4406149 h 6851196"/>
                <a:gd name="connsiteX1258" fmla="*/ 3449709 w 12187339"/>
                <a:gd name="connsiteY1258" fmla="*/ 4642233 h 6851196"/>
                <a:gd name="connsiteX1259" fmla="*/ 3225621 w 12187339"/>
                <a:gd name="connsiteY1259" fmla="*/ 4642233 h 6851196"/>
                <a:gd name="connsiteX1260" fmla="*/ 3456112 w 12187339"/>
                <a:gd name="connsiteY1260" fmla="*/ 4406149 h 6851196"/>
                <a:gd name="connsiteX1261" fmla="*/ 3680200 w 12187339"/>
                <a:gd name="connsiteY1261" fmla="*/ 4406149 h 6851196"/>
                <a:gd name="connsiteX1262" fmla="*/ 3680200 w 12187339"/>
                <a:gd name="connsiteY1262" fmla="*/ 4642233 h 6851196"/>
                <a:gd name="connsiteX1263" fmla="*/ 3456112 w 12187339"/>
                <a:gd name="connsiteY1263" fmla="*/ 4642233 h 6851196"/>
                <a:gd name="connsiteX1264" fmla="*/ 3686603 w 12187339"/>
                <a:gd name="connsiteY1264" fmla="*/ 4406149 h 6851196"/>
                <a:gd name="connsiteX1265" fmla="*/ 3910691 w 12187339"/>
                <a:gd name="connsiteY1265" fmla="*/ 4406149 h 6851196"/>
                <a:gd name="connsiteX1266" fmla="*/ 3910691 w 12187339"/>
                <a:gd name="connsiteY1266" fmla="*/ 4642233 h 6851196"/>
                <a:gd name="connsiteX1267" fmla="*/ 3686603 w 12187339"/>
                <a:gd name="connsiteY1267" fmla="*/ 4642233 h 6851196"/>
                <a:gd name="connsiteX1268" fmla="*/ 3917094 w 12187339"/>
                <a:gd name="connsiteY1268" fmla="*/ 4406149 h 6851196"/>
                <a:gd name="connsiteX1269" fmla="*/ 4139644 w 12187339"/>
                <a:gd name="connsiteY1269" fmla="*/ 4406149 h 6851196"/>
                <a:gd name="connsiteX1270" fmla="*/ 4139644 w 12187339"/>
                <a:gd name="connsiteY1270" fmla="*/ 4642233 h 6851196"/>
                <a:gd name="connsiteX1271" fmla="*/ 3917094 w 12187339"/>
                <a:gd name="connsiteY1271" fmla="*/ 4642233 h 6851196"/>
                <a:gd name="connsiteX1272" fmla="*/ 4146047 w 12187339"/>
                <a:gd name="connsiteY1272" fmla="*/ 4406149 h 6851196"/>
                <a:gd name="connsiteX1273" fmla="*/ 4370135 w 12187339"/>
                <a:gd name="connsiteY1273" fmla="*/ 4406149 h 6851196"/>
                <a:gd name="connsiteX1274" fmla="*/ 4370135 w 12187339"/>
                <a:gd name="connsiteY1274" fmla="*/ 4642233 h 6851196"/>
                <a:gd name="connsiteX1275" fmla="*/ 4146047 w 12187339"/>
                <a:gd name="connsiteY1275" fmla="*/ 4642233 h 6851196"/>
                <a:gd name="connsiteX1276" fmla="*/ 4376538 w 12187339"/>
                <a:gd name="connsiteY1276" fmla="*/ 4406149 h 6851196"/>
                <a:gd name="connsiteX1277" fmla="*/ 4600626 w 12187339"/>
                <a:gd name="connsiteY1277" fmla="*/ 4406149 h 6851196"/>
                <a:gd name="connsiteX1278" fmla="*/ 4600626 w 12187339"/>
                <a:gd name="connsiteY1278" fmla="*/ 4642233 h 6851196"/>
                <a:gd name="connsiteX1279" fmla="*/ 4376538 w 12187339"/>
                <a:gd name="connsiteY1279" fmla="*/ 4642233 h 6851196"/>
                <a:gd name="connsiteX1280" fmla="*/ 4607029 w 12187339"/>
                <a:gd name="connsiteY1280" fmla="*/ 4406149 h 6851196"/>
                <a:gd name="connsiteX1281" fmla="*/ 4829582 w 12187339"/>
                <a:gd name="connsiteY1281" fmla="*/ 4406149 h 6851196"/>
                <a:gd name="connsiteX1282" fmla="*/ 4829582 w 12187339"/>
                <a:gd name="connsiteY1282" fmla="*/ 4642233 h 6851196"/>
                <a:gd name="connsiteX1283" fmla="*/ 4607029 w 12187339"/>
                <a:gd name="connsiteY1283" fmla="*/ 4642233 h 6851196"/>
                <a:gd name="connsiteX1284" fmla="*/ 4835985 w 12187339"/>
                <a:gd name="connsiteY1284" fmla="*/ 4406149 h 6851196"/>
                <a:gd name="connsiteX1285" fmla="*/ 5060073 w 12187339"/>
                <a:gd name="connsiteY1285" fmla="*/ 4406149 h 6851196"/>
                <a:gd name="connsiteX1286" fmla="*/ 5060073 w 12187339"/>
                <a:gd name="connsiteY1286" fmla="*/ 4642233 h 6851196"/>
                <a:gd name="connsiteX1287" fmla="*/ 4835472 w 12187339"/>
                <a:gd name="connsiteY1287" fmla="*/ 4642233 h 6851196"/>
                <a:gd name="connsiteX1288" fmla="*/ 5066476 w 12187339"/>
                <a:gd name="connsiteY1288" fmla="*/ 4406149 h 6851196"/>
                <a:gd name="connsiteX1289" fmla="*/ 5290564 w 12187339"/>
                <a:gd name="connsiteY1289" fmla="*/ 4406149 h 6851196"/>
                <a:gd name="connsiteX1290" fmla="*/ 5290564 w 12187339"/>
                <a:gd name="connsiteY1290" fmla="*/ 4642233 h 6851196"/>
                <a:gd name="connsiteX1291" fmla="*/ 5065963 w 12187339"/>
                <a:gd name="connsiteY1291" fmla="*/ 4642233 h 6851196"/>
                <a:gd name="connsiteX1292" fmla="*/ 5296967 w 12187339"/>
                <a:gd name="connsiteY1292" fmla="*/ 4406149 h 6851196"/>
                <a:gd name="connsiteX1293" fmla="*/ 5521055 w 12187339"/>
                <a:gd name="connsiteY1293" fmla="*/ 4406149 h 6851196"/>
                <a:gd name="connsiteX1294" fmla="*/ 5521055 w 12187339"/>
                <a:gd name="connsiteY1294" fmla="*/ 4642233 h 6851196"/>
                <a:gd name="connsiteX1295" fmla="*/ 5296454 w 12187339"/>
                <a:gd name="connsiteY1295" fmla="*/ 4642233 h 6851196"/>
                <a:gd name="connsiteX1296" fmla="*/ 5527458 w 12187339"/>
                <a:gd name="connsiteY1296" fmla="*/ 4406149 h 6851196"/>
                <a:gd name="connsiteX1297" fmla="*/ 5750008 w 12187339"/>
                <a:gd name="connsiteY1297" fmla="*/ 4406149 h 6851196"/>
                <a:gd name="connsiteX1298" fmla="*/ 5750008 w 12187339"/>
                <a:gd name="connsiteY1298" fmla="*/ 4642233 h 6851196"/>
                <a:gd name="connsiteX1299" fmla="*/ 5526945 w 12187339"/>
                <a:gd name="connsiteY1299" fmla="*/ 4642233 h 6851196"/>
                <a:gd name="connsiteX1300" fmla="*/ 5756411 w 12187339"/>
                <a:gd name="connsiteY1300" fmla="*/ 4406149 h 6851196"/>
                <a:gd name="connsiteX1301" fmla="*/ 5980499 w 12187339"/>
                <a:gd name="connsiteY1301" fmla="*/ 4406149 h 6851196"/>
                <a:gd name="connsiteX1302" fmla="*/ 5980499 w 12187339"/>
                <a:gd name="connsiteY1302" fmla="*/ 4642233 h 6851196"/>
                <a:gd name="connsiteX1303" fmla="*/ 5756411 w 12187339"/>
                <a:gd name="connsiteY1303" fmla="*/ 4642233 h 6851196"/>
                <a:gd name="connsiteX1304" fmla="*/ 5986902 w 12187339"/>
                <a:gd name="connsiteY1304" fmla="*/ 4406149 h 6851196"/>
                <a:gd name="connsiteX1305" fmla="*/ 6210990 w 12187339"/>
                <a:gd name="connsiteY1305" fmla="*/ 4406149 h 6851196"/>
                <a:gd name="connsiteX1306" fmla="*/ 6210990 w 12187339"/>
                <a:gd name="connsiteY1306" fmla="*/ 4642233 h 6851196"/>
                <a:gd name="connsiteX1307" fmla="*/ 5986902 w 12187339"/>
                <a:gd name="connsiteY1307" fmla="*/ 4642233 h 6851196"/>
                <a:gd name="connsiteX1308" fmla="*/ 6217393 w 12187339"/>
                <a:gd name="connsiteY1308" fmla="*/ 4406149 h 6851196"/>
                <a:gd name="connsiteX1309" fmla="*/ 6439946 w 12187339"/>
                <a:gd name="connsiteY1309" fmla="*/ 4406149 h 6851196"/>
                <a:gd name="connsiteX1310" fmla="*/ 6439946 w 12187339"/>
                <a:gd name="connsiteY1310" fmla="*/ 4642233 h 6851196"/>
                <a:gd name="connsiteX1311" fmla="*/ 6217136 w 12187339"/>
                <a:gd name="connsiteY1311" fmla="*/ 4642233 h 6851196"/>
                <a:gd name="connsiteX1312" fmla="*/ 6446349 w 12187339"/>
                <a:gd name="connsiteY1312" fmla="*/ 4406149 h 6851196"/>
                <a:gd name="connsiteX1313" fmla="*/ 6656863 w 12187339"/>
                <a:gd name="connsiteY1313" fmla="*/ 4406149 h 6851196"/>
                <a:gd name="connsiteX1314" fmla="*/ 6656863 w 12187339"/>
                <a:gd name="connsiteY1314" fmla="*/ 4642233 h 6851196"/>
                <a:gd name="connsiteX1315" fmla="*/ 6446349 w 12187339"/>
                <a:gd name="connsiteY1315" fmla="*/ 4642233 h 6851196"/>
                <a:gd name="connsiteX1316" fmla="*/ 6663265 w 12187339"/>
                <a:gd name="connsiteY1316" fmla="*/ 4406149 h 6851196"/>
                <a:gd name="connsiteX1317" fmla="*/ 6887354 w 12187339"/>
                <a:gd name="connsiteY1317" fmla="*/ 4406149 h 6851196"/>
                <a:gd name="connsiteX1318" fmla="*/ 6887354 w 12187339"/>
                <a:gd name="connsiteY1318" fmla="*/ 4642233 h 6851196"/>
                <a:gd name="connsiteX1319" fmla="*/ 6663265 w 12187339"/>
                <a:gd name="connsiteY1319" fmla="*/ 4642233 h 6851196"/>
                <a:gd name="connsiteX1320" fmla="*/ 6893756 w 12187339"/>
                <a:gd name="connsiteY1320" fmla="*/ 4406149 h 6851196"/>
                <a:gd name="connsiteX1321" fmla="*/ 7117845 w 12187339"/>
                <a:gd name="connsiteY1321" fmla="*/ 4406149 h 6851196"/>
                <a:gd name="connsiteX1322" fmla="*/ 7117845 w 12187339"/>
                <a:gd name="connsiteY1322" fmla="*/ 4642233 h 6851196"/>
                <a:gd name="connsiteX1323" fmla="*/ 6893756 w 12187339"/>
                <a:gd name="connsiteY1323" fmla="*/ 4642233 h 6851196"/>
                <a:gd name="connsiteX1324" fmla="*/ 7124247 w 12187339"/>
                <a:gd name="connsiteY1324" fmla="*/ 4406149 h 6851196"/>
                <a:gd name="connsiteX1325" fmla="*/ 7346801 w 12187339"/>
                <a:gd name="connsiteY1325" fmla="*/ 4406149 h 6851196"/>
                <a:gd name="connsiteX1326" fmla="*/ 7346801 w 12187339"/>
                <a:gd name="connsiteY1326" fmla="*/ 4642233 h 6851196"/>
                <a:gd name="connsiteX1327" fmla="*/ 7124247 w 12187339"/>
                <a:gd name="connsiteY1327" fmla="*/ 4642233 h 6851196"/>
                <a:gd name="connsiteX1328" fmla="*/ 7353204 w 12187339"/>
                <a:gd name="connsiteY1328" fmla="*/ 4406149 h 6851196"/>
                <a:gd name="connsiteX1329" fmla="*/ 7577292 w 12187339"/>
                <a:gd name="connsiteY1329" fmla="*/ 4406149 h 6851196"/>
                <a:gd name="connsiteX1330" fmla="*/ 7577292 w 12187339"/>
                <a:gd name="connsiteY1330" fmla="*/ 4642233 h 6851196"/>
                <a:gd name="connsiteX1331" fmla="*/ 7353204 w 12187339"/>
                <a:gd name="connsiteY1331" fmla="*/ 4642233 h 6851196"/>
                <a:gd name="connsiteX1332" fmla="*/ 7583695 w 12187339"/>
                <a:gd name="connsiteY1332" fmla="*/ 4406149 h 6851196"/>
                <a:gd name="connsiteX1333" fmla="*/ 7807783 w 12187339"/>
                <a:gd name="connsiteY1333" fmla="*/ 4406149 h 6851196"/>
                <a:gd name="connsiteX1334" fmla="*/ 7807783 w 12187339"/>
                <a:gd name="connsiteY1334" fmla="*/ 4642233 h 6851196"/>
                <a:gd name="connsiteX1335" fmla="*/ 7583695 w 12187339"/>
                <a:gd name="connsiteY1335" fmla="*/ 4642233 h 6851196"/>
                <a:gd name="connsiteX1336" fmla="*/ 7814186 w 12187339"/>
                <a:gd name="connsiteY1336" fmla="*/ 4406149 h 6851196"/>
                <a:gd name="connsiteX1337" fmla="*/ 8038274 w 12187339"/>
                <a:gd name="connsiteY1337" fmla="*/ 4406149 h 6851196"/>
                <a:gd name="connsiteX1338" fmla="*/ 8038274 w 12187339"/>
                <a:gd name="connsiteY1338" fmla="*/ 4642233 h 6851196"/>
                <a:gd name="connsiteX1339" fmla="*/ 7814186 w 12187339"/>
                <a:gd name="connsiteY1339" fmla="*/ 4642233 h 6851196"/>
                <a:gd name="connsiteX1340" fmla="*/ 8044677 w 12187339"/>
                <a:gd name="connsiteY1340" fmla="*/ 4406149 h 6851196"/>
                <a:gd name="connsiteX1341" fmla="*/ 8267227 w 12187339"/>
                <a:gd name="connsiteY1341" fmla="*/ 4406149 h 6851196"/>
                <a:gd name="connsiteX1342" fmla="*/ 8267227 w 12187339"/>
                <a:gd name="connsiteY1342" fmla="*/ 4642233 h 6851196"/>
                <a:gd name="connsiteX1343" fmla="*/ 8044420 w 12187339"/>
                <a:gd name="connsiteY1343" fmla="*/ 4642233 h 6851196"/>
                <a:gd name="connsiteX1344" fmla="*/ 8273629 w 12187339"/>
                <a:gd name="connsiteY1344" fmla="*/ 4406149 h 6851196"/>
                <a:gd name="connsiteX1345" fmla="*/ 8497718 w 12187339"/>
                <a:gd name="connsiteY1345" fmla="*/ 4406149 h 6851196"/>
                <a:gd name="connsiteX1346" fmla="*/ 8497718 w 12187339"/>
                <a:gd name="connsiteY1346" fmla="*/ 4642233 h 6851196"/>
                <a:gd name="connsiteX1347" fmla="*/ 8273629 w 12187339"/>
                <a:gd name="connsiteY1347" fmla="*/ 4642233 h 6851196"/>
                <a:gd name="connsiteX1348" fmla="*/ 8504120 w 12187339"/>
                <a:gd name="connsiteY1348" fmla="*/ 4406149 h 6851196"/>
                <a:gd name="connsiteX1349" fmla="*/ 8728209 w 12187339"/>
                <a:gd name="connsiteY1349" fmla="*/ 4406149 h 6851196"/>
                <a:gd name="connsiteX1350" fmla="*/ 8728209 w 12187339"/>
                <a:gd name="connsiteY1350" fmla="*/ 4642233 h 6851196"/>
                <a:gd name="connsiteX1351" fmla="*/ 8504120 w 12187339"/>
                <a:gd name="connsiteY1351" fmla="*/ 4642233 h 6851196"/>
                <a:gd name="connsiteX1352" fmla="*/ 8734611 w 12187339"/>
                <a:gd name="connsiteY1352" fmla="*/ 4406149 h 6851196"/>
                <a:gd name="connsiteX1353" fmla="*/ 8957162 w 12187339"/>
                <a:gd name="connsiteY1353" fmla="*/ 4406149 h 6851196"/>
                <a:gd name="connsiteX1354" fmla="*/ 8957162 w 12187339"/>
                <a:gd name="connsiteY1354" fmla="*/ 4642233 h 6851196"/>
                <a:gd name="connsiteX1355" fmla="*/ 8734611 w 12187339"/>
                <a:gd name="connsiteY1355" fmla="*/ 4642233 h 6851196"/>
                <a:gd name="connsiteX1356" fmla="*/ 8963564 w 12187339"/>
                <a:gd name="connsiteY1356" fmla="*/ 4406149 h 6851196"/>
                <a:gd name="connsiteX1357" fmla="*/ 9187653 w 12187339"/>
                <a:gd name="connsiteY1357" fmla="*/ 4406149 h 6851196"/>
                <a:gd name="connsiteX1358" fmla="*/ 9187653 w 12187339"/>
                <a:gd name="connsiteY1358" fmla="*/ 4642233 h 6851196"/>
                <a:gd name="connsiteX1359" fmla="*/ 8963564 w 12187339"/>
                <a:gd name="connsiteY1359" fmla="*/ 4642233 h 6851196"/>
                <a:gd name="connsiteX1360" fmla="*/ 9194055 w 12187339"/>
                <a:gd name="connsiteY1360" fmla="*/ 4406149 h 6851196"/>
                <a:gd name="connsiteX1361" fmla="*/ 9418144 w 12187339"/>
                <a:gd name="connsiteY1361" fmla="*/ 4406149 h 6851196"/>
                <a:gd name="connsiteX1362" fmla="*/ 9418144 w 12187339"/>
                <a:gd name="connsiteY1362" fmla="*/ 4642233 h 6851196"/>
                <a:gd name="connsiteX1363" fmla="*/ 9194055 w 12187339"/>
                <a:gd name="connsiteY1363" fmla="*/ 4642233 h 6851196"/>
                <a:gd name="connsiteX1364" fmla="*/ 9424546 w 12187339"/>
                <a:gd name="connsiteY1364" fmla="*/ 4406149 h 6851196"/>
                <a:gd name="connsiteX1365" fmla="*/ 9648635 w 12187339"/>
                <a:gd name="connsiteY1365" fmla="*/ 4406149 h 6851196"/>
                <a:gd name="connsiteX1366" fmla="*/ 9648635 w 12187339"/>
                <a:gd name="connsiteY1366" fmla="*/ 4642233 h 6851196"/>
                <a:gd name="connsiteX1367" fmla="*/ 9424546 w 12187339"/>
                <a:gd name="connsiteY1367" fmla="*/ 4642233 h 6851196"/>
                <a:gd name="connsiteX1368" fmla="*/ 9655037 w 12187339"/>
                <a:gd name="connsiteY1368" fmla="*/ 4406149 h 6851196"/>
                <a:gd name="connsiteX1369" fmla="*/ 9877591 w 12187339"/>
                <a:gd name="connsiteY1369" fmla="*/ 4406149 h 6851196"/>
                <a:gd name="connsiteX1370" fmla="*/ 9877591 w 12187339"/>
                <a:gd name="connsiteY1370" fmla="*/ 4642233 h 6851196"/>
                <a:gd name="connsiteX1371" fmla="*/ 9655037 w 12187339"/>
                <a:gd name="connsiteY1371" fmla="*/ 4642233 h 6851196"/>
                <a:gd name="connsiteX1372" fmla="*/ 9883993 w 12187339"/>
                <a:gd name="connsiteY1372" fmla="*/ 4406149 h 6851196"/>
                <a:gd name="connsiteX1373" fmla="*/ 10108082 w 12187339"/>
                <a:gd name="connsiteY1373" fmla="*/ 4406149 h 6851196"/>
                <a:gd name="connsiteX1374" fmla="*/ 10108082 w 12187339"/>
                <a:gd name="connsiteY1374" fmla="*/ 4642233 h 6851196"/>
                <a:gd name="connsiteX1375" fmla="*/ 9883993 w 12187339"/>
                <a:gd name="connsiteY1375" fmla="*/ 4642233 h 6851196"/>
                <a:gd name="connsiteX1376" fmla="*/ 9883993 w 12187339"/>
                <a:gd name="connsiteY1376" fmla="*/ 4399346 h 6851196"/>
                <a:gd name="connsiteX1377" fmla="*/ 9883993 w 12187339"/>
                <a:gd name="connsiteY1377" fmla="*/ 4161221 h 6851196"/>
                <a:gd name="connsiteX1378" fmla="*/ 10108082 w 12187339"/>
                <a:gd name="connsiteY1378" fmla="*/ 4161221 h 6851196"/>
                <a:gd name="connsiteX1379" fmla="*/ 10108082 w 12187339"/>
                <a:gd name="connsiteY1379" fmla="*/ 4399346 h 6851196"/>
                <a:gd name="connsiteX1380" fmla="*/ 9883993 w 12187339"/>
                <a:gd name="connsiteY1380" fmla="*/ 4154417 h 6851196"/>
                <a:gd name="connsiteX1381" fmla="*/ 9883993 w 12187339"/>
                <a:gd name="connsiteY1381" fmla="*/ 3916292 h 6851196"/>
                <a:gd name="connsiteX1382" fmla="*/ 10108082 w 12187339"/>
                <a:gd name="connsiteY1382" fmla="*/ 3916292 h 6851196"/>
                <a:gd name="connsiteX1383" fmla="*/ 10108082 w 12187339"/>
                <a:gd name="connsiteY1383" fmla="*/ 4154417 h 6851196"/>
                <a:gd name="connsiteX1384" fmla="*/ 9883993 w 12187339"/>
                <a:gd name="connsiteY1384" fmla="*/ 3909489 h 6851196"/>
                <a:gd name="connsiteX1385" fmla="*/ 9883993 w 12187339"/>
                <a:gd name="connsiteY1385" fmla="*/ 3671364 h 6851196"/>
                <a:gd name="connsiteX1386" fmla="*/ 10108082 w 12187339"/>
                <a:gd name="connsiteY1386" fmla="*/ 3671364 h 6851196"/>
                <a:gd name="connsiteX1387" fmla="*/ 10108082 w 12187339"/>
                <a:gd name="connsiteY1387" fmla="*/ 3909489 h 6851196"/>
                <a:gd name="connsiteX1388" fmla="*/ 9883993 w 12187339"/>
                <a:gd name="connsiteY1388" fmla="*/ 3664560 h 6851196"/>
                <a:gd name="connsiteX1389" fmla="*/ 9883993 w 12187339"/>
                <a:gd name="connsiteY1389" fmla="*/ 3428068 h 6851196"/>
                <a:gd name="connsiteX1390" fmla="*/ 10108082 w 12187339"/>
                <a:gd name="connsiteY1390" fmla="*/ 3428068 h 6851196"/>
                <a:gd name="connsiteX1391" fmla="*/ 10108082 w 12187339"/>
                <a:gd name="connsiteY1391" fmla="*/ 3664560 h 6851196"/>
                <a:gd name="connsiteX1392" fmla="*/ 9883993 w 12187339"/>
                <a:gd name="connsiteY1392" fmla="*/ 3421264 h 6851196"/>
                <a:gd name="connsiteX1393" fmla="*/ 9883993 w 12187339"/>
                <a:gd name="connsiteY1393" fmla="*/ 3183139 h 6851196"/>
                <a:gd name="connsiteX1394" fmla="*/ 10108082 w 12187339"/>
                <a:gd name="connsiteY1394" fmla="*/ 3183139 h 6851196"/>
                <a:gd name="connsiteX1395" fmla="*/ 10108082 w 12187339"/>
                <a:gd name="connsiteY1395" fmla="*/ 3421264 h 6851196"/>
                <a:gd name="connsiteX1396" fmla="*/ 9883993 w 12187339"/>
                <a:gd name="connsiteY1396" fmla="*/ 3176336 h 6851196"/>
                <a:gd name="connsiteX1397" fmla="*/ 9883993 w 12187339"/>
                <a:gd name="connsiteY1397" fmla="*/ 2938211 h 6851196"/>
                <a:gd name="connsiteX1398" fmla="*/ 10108082 w 12187339"/>
                <a:gd name="connsiteY1398" fmla="*/ 2938211 h 6851196"/>
                <a:gd name="connsiteX1399" fmla="*/ 10108082 w 12187339"/>
                <a:gd name="connsiteY1399" fmla="*/ 3176336 h 6851196"/>
                <a:gd name="connsiteX1400" fmla="*/ 9883993 w 12187339"/>
                <a:gd name="connsiteY1400" fmla="*/ 2931407 h 6851196"/>
                <a:gd name="connsiteX1401" fmla="*/ 9883993 w 12187339"/>
                <a:gd name="connsiteY1401" fmla="*/ 2693282 h 6851196"/>
                <a:gd name="connsiteX1402" fmla="*/ 10108082 w 12187339"/>
                <a:gd name="connsiteY1402" fmla="*/ 2693282 h 6851196"/>
                <a:gd name="connsiteX1403" fmla="*/ 10108082 w 12187339"/>
                <a:gd name="connsiteY1403" fmla="*/ 2931407 h 6851196"/>
                <a:gd name="connsiteX1404" fmla="*/ 9883993 w 12187339"/>
                <a:gd name="connsiteY1404" fmla="*/ 2686479 h 6851196"/>
                <a:gd name="connsiteX1405" fmla="*/ 9883993 w 12187339"/>
                <a:gd name="connsiteY1405" fmla="*/ 2449986 h 6851196"/>
                <a:gd name="connsiteX1406" fmla="*/ 10108082 w 12187339"/>
                <a:gd name="connsiteY1406" fmla="*/ 2449986 h 6851196"/>
                <a:gd name="connsiteX1407" fmla="*/ 10108082 w 12187339"/>
                <a:gd name="connsiteY1407" fmla="*/ 2686479 h 6851196"/>
                <a:gd name="connsiteX1408" fmla="*/ 9883993 w 12187339"/>
                <a:gd name="connsiteY1408" fmla="*/ 2443183 h 6851196"/>
                <a:gd name="connsiteX1409" fmla="*/ 9883993 w 12187339"/>
                <a:gd name="connsiteY1409" fmla="*/ 2205058 h 6851196"/>
                <a:gd name="connsiteX1410" fmla="*/ 10108082 w 12187339"/>
                <a:gd name="connsiteY1410" fmla="*/ 2205058 h 6851196"/>
                <a:gd name="connsiteX1411" fmla="*/ 10108082 w 12187339"/>
                <a:gd name="connsiteY1411" fmla="*/ 2443183 h 6851196"/>
                <a:gd name="connsiteX1412" fmla="*/ 9883993 w 12187339"/>
                <a:gd name="connsiteY1412" fmla="*/ 2198254 h 6851196"/>
                <a:gd name="connsiteX1413" fmla="*/ 9883993 w 12187339"/>
                <a:gd name="connsiteY1413" fmla="*/ 1960129 h 6851196"/>
                <a:gd name="connsiteX1414" fmla="*/ 10108082 w 12187339"/>
                <a:gd name="connsiteY1414" fmla="*/ 1960129 h 6851196"/>
                <a:gd name="connsiteX1415" fmla="*/ 10108082 w 12187339"/>
                <a:gd name="connsiteY1415" fmla="*/ 2198254 h 6851196"/>
                <a:gd name="connsiteX1416" fmla="*/ 9877591 w 12187339"/>
                <a:gd name="connsiteY1416" fmla="*/ 2198254 h 6851196"/>
                <a:gd name="connsiteX1417" fmla="*/ 9655037 w 12187339"/>
                <a:gd name="connsiteY1417" fmla="*/ 2198254 h 6851196"/>
                <a:gd name="connsiteX1418" fmla="*/ 9655037 w 12187339"/>
                <a:gd name="connsiteY1418" fmla="*/ 1960129 h 6851196"/>
                <a:gd name="connsiteX1419" fmla="*/ 9877591 w 12187339"/>
                <a:gd name="connsiteY1419" fmla="*/ 1960129 h 6851196"/>
                <a:gd name="connsiteX1420" fmla="*/ 9648635 w 12187339"/>
                <a:gd name="connsiteY1420" fmla="*/ 2198254 h 6851196"/>
                <a:gd name="connsiteX1421" fmla="*/ 9424546 w 12187339"/>
                <a:gd name="connsiteY1421" fmla="*/ 2198254 h 6851196"/>
                <a:gd name="connsiteX1422" fmla="*/ 9424546 w 12187339"/>
                <a:gd name="connsiteY1422" fmla="*/ 1960129 h 6851196"/>
                <a:gd name="connsiteX1423" fmla="*/ 9648635 w 12187339"/>
                <a:gd name="connsiteY1423" fmla="*/ 1960129 h 6851196"/>
                <a:gd name="connsiteX1424" fmla="*/ 9418144 w 12187339"/>
                <a:gd name="connsiteY1424" fmla="*/ 2198254 h 6851196"/>
                <a:gd name="connsiteX1425" fmla="*/ 9194055 w 12187339"/>
                <a:gd name="connsiteY1425" fmla="*/ 2198254 h 6851196"/>
                <a:gd name="connsiteX1426" fmla="*/ 9194055 w 12187339"/>
                <a:gd name="connsiteY1426" fmla="*/ 1960129 h 6851196"/>
                <a:gd name="connsiteX1427" fmla="*/ 9418144 w 12187339"/>
                <a:gd name="connsiteY1427" fmla="*/ 1960129 h 6851196"/>
                <a:gd name="connsiteX1428" fmla="*/ 9187653 w 12187339"/>
                <a:gd name="connsiteY1428" fmla="*/ 2198254 h 6851196"/>
                <a:gd name="connsiteX1429" fmla="*/ 8963564 w 12187339"/>
                <a:gd name="connsiteY1429" fmla="*/ 2198254 h 6851196"/>
                <a:gd name="connsiteX1430" fmla="*/ 8963564 w 12187339"/>
                <a:gd name="connsiteY1430" fmla="*/ 1960129 h 6851196"/>
                <a:gd name="connsiteX1431" fmla="*/ 9187653 w 12187339"/>
                <a:gd name="connsiteY1431" fmla="*/ 1960129 h 6851196"/>
                <a:gd name="connsiteX1432" fmla="*/ 8957162 w 12187339"/>
                <a:gd name="connsiteY1432" fmla="*/ 2198254 h 6851196"/>
                <a:gd name="connsiteX1433" fmla="*/ 8734611 w 12187339"/>
                <a:gd name="connsiteY1433" fmla="*/ 2198254 h 6851196"/>
                <a:gd name="connsiteX1434" fmla="*/ 8734611 w 12187339"/>
                <a:gd name="connsiteY1434" fmla="*/ 1960129 h 6851196"/>
                <a:gd name="connsiteX1435" fmla="*/ 8957162 w 12187339"/>
                <a:gd name="connsiteY1435" fmla="*/ 1960129 h 6851196"/>
                <a:gd name="connsiteX1436" fmla="*/ 8728209 w 12187339"/>
                <a:gd name="connsiteY1436" fmla="*/ 2198254 h 6851196"/>
                <a:gd name="connsiteX1437" fmla="*/ 8504120 w 12187339"/>
                <a:gd name="connsiteY1437" fmla="*/ 2198254 h 6851196"/>
                <a:gd name="connsiteX1438" fmla="*/ 8504120 w 12187339"/>
                <a:gd name="connsiteY1438" fmla="*/ 1960129 h 6851196"/>
                <a:gd name="connsiteX1439" fmla="*/ 8728209 w 12187339"/>
                <a:gd name="connsiteY1439" fmla="*/ 1960129 h 6851196"/>
                <a:gd name="connsiteX1440" fmla="*/ 8497718 w 12187339"/>
                <a:gd name="connsiteY1440" fmla="*/ 2198254 h 6851196"/>
                <a:gd name="connsiteX1441" fmla="*/ 8273629 w 12187339"/>
                <a:gd name="connsiteY1441" fmla="*/ 2198254 h 6851196"/>
                <a:gd name="connsiteX1442" fmla="*/ 8273629 w 12187339"/>
                <a:gd name="connsiteY1442" fmla="*/ 1960129 h 6851196"/>
                <a:gd name="connsiteX1443" fmla="*/ 8497718 w 12187339"/>
                <a:gd name="connsiteY1443" fmla="*/ 1960129 h 6851196"/>
                <a:gd name="connsiteX1444" fmla="*/ 8267227 w 12187339"/>
                <a:gd name="connsiteY1444" fmla="*/ 2198254 h 6851196"/>
                <a:gd name="connsiteX1445" fmla="*/ 8044420 w 12187339"/>
                <a:gd name="connsiteY1445" fmla="*/ 2198254 h 6851196"/>
                <a:gd name="connsiteX1446" fmla="*/ 8044420 w 12187339"/>
                <a:gd name="connsiteY1446" fmla="*/ 1960129 h 6851196"/>
                <a:gd name="connsiteX1447" fmla="*/ 8267227 w 12187339"/>
                <a:gd name="connsiteY1447" fmla="*/ 1960129 h 6851196"/>
                <a:gd name="connsiteX1448" fmla="*/ 8038274 w 12187339"/>
                <a:gd name="connsiteY1448" fmla="*/ 2198254 h 6851196"/>
                <a:gd name="connsiteX1449" fmla="*/ 7814186 w 12187339"/>
                <a:gd name="connsiteY1449" fmla="*/ 2198254 h 6851196"/>
                <a:gd name="connsiteX1450" fmla="*/ 7814186 w 12187339"/>
                <a:gd name="connsiteY1450" fmla="*/ 1960129 h 6851196"/>
                <a:gd name="connsiteX1451" fmla="*/ 8038274 w 12187339"/>
                <a:gd name="connsiteY1451" fmla="*/ 1960129 h 6851196"/>
                <a:gd name="connsiteX1452" fmla="*/ 7807783 w 12187339"/>
                <a:gd name="connsiteY1452" fmla="*/ 2198254 h 6851196"/>
                <a:gd name="connsiteX1453" fmla="*/ 7583695 w 12187339"/>
                <a:gd name="connsiteY1453" fmla="*/ 2198254 h 6851196"/>
                <a:gd name="connsiteX1454" fmla="*/ 7583695 w 12187339"/>
                <a:gd name="connsiteY1454" fmla="*/ 1960129 h 6851196"/>
                <a:gd name="connsiteX1455" fmla="*/ 7807783 w 12187339"/>
                <a:gd name="connsiteY1455" fmla="*/ 1960129 h 6851196"/>
                <a:gd name="connsiteX1456" fmla="*/ 7577292 w 12187339"/>
                <a:gd name="connsiteY1456" fmla="*/ 2198254 h 6851196"/>
                <a:gd name="connsiteX1457" fmla="*/ 7353204 w 12187339"/>
                <a:gd name="connsiteY1457" fmla="*/ 2198254 h 6851196"/>
                <a:gd name="connsiteX1458" fmla="*/ 7353204 w 12187339"/>
                <a:gd name="connsiteY1458" fmla="*/ 1960129 h 6851196"/>
                <a:gd name="connsiteX1459" fmla="*/ 7577292 w 12187339"/>
                <a:gd name="connsiteY1459" fmla="*/ 1960129 h 6851196"/>
                <a:gd name="connsiteX1460" fmla="*/ 7346801 w 12187339"/>
                <a:gd name="connsiteY1460" fmla="*/ 2198254 h 6851196"/>
                <a:gd name="connsiteX1461" fmla="*/ 7124247 w 12187339"/>
                <a:gd name="connsiteY1461" fmla="*/ 2198254 h 6851196"/>
                <a:gd name="connsiteX1462" fmla="*/ 7124247 w 12187339"/>
                <a:gd name="connsiteY1462" fmla="*/ 1960129 h 6851196"/>
                <a:gd name="connsiteX1463" fmla="*/ 7346801 w 12187339"/>
                <a:gd name="connsiteY1463" fmla="*/ 1960129 h 6851196"/>
                <a:gd name="connsiteX1464" fmla="*/ 7117845 w 12187339"/>
                <a:gd name="connsiteY1464" fmla="*/ 2198254 h 6851196"/>
                <a:gd name="connsiteX1465" fmla="*/ 6893756 w 12187339"/>
                <a:gd name="connsiteY1465" fmla="*/ 2198254 h 6851196"/>
                <a:gd name="connsiteX1466" fmla="*/ 6893756 w 12187339"/>
                <a:gd name="connsiteY1466" fmla="*/ 1960129 h 6851196"/>
                <a:gd name="connsiteX1467" fmla="*/ 7117845 w 12187339"/>
                <a:gd name="connsiteY1467" fmla="*/ 1960129 h 6851196"/>
                <a:gd name="connsiteX1468" fmla="*/ 6887354 w 12187339"/>
                <a:gd name="connsiteY1468" fmla="*/ 2198254 h 6851196"/>
                <a:gd name="connsiteX1469" fmla="*/ 6663265 w 12187339"/>
                <a:gd name="connsiteY1469" fmla="*/ 2198254 h 6851196"/>
                <a:gd name="connsiteX1470" fmla="*/ 6663265 w 12187339"/>
                <a:gd name="connsiteY1470" fmla="*/ 1960129 h 6851196"/>
                <a:gd name="connsiteX1471" fmla="*/ 6887354 w 12187339"/>
                <a:gd name="connsiteY1471" fmla="*/ 1960129 h 6851196"/>
                <a:gd name="connsiteX1472" fmla="*/ 6656863 w 12187339"/>
                <a:gd name="connsiteY1472" fmla="*/ 2198254 h 6851196"/>
                <a:gd name="connsiteX1473" fmla="*/ 6446349 w 12187339"/>
                <a:gd name="connsiteY1473" fmla="*/ 2198254 h 6851196"/>
                <a:gd name="connsiteX1474" fmla="*/ 6446349 w 12187339"/>
                <a:gd name="connsiteY1474" fmla="*/ 1960129 h 6851196"/>
                <a:gd name="connsiteX1475" fmla="*/ 6656863 w 12187339"/>
                <a:gd name="connsiteY1475" fmla="*/ 1960129 h 6851196"/>
                <a:gd name="connsiteX1476" fmla="*/ 6439946 w 12187339"/>
                <a:gd name="connsiteY1476" fmla="*/ 2198254 h 6851196"/>
                <a:gd name="connsiteX1477" fmla="*/ 6217136 w 12187339"/>
                <a:gd name="connsiteY1477" fmla="*/ 2198254 h 6851196"/>
                <a:gd name="connsiteX1478" fmla="*/ 6217136 w 12187339"/>
                <a:gd name="connsiteY1478" fmla="*/ 1960129 h 6851196"/>
                <a:gd name="connsiteX1479" fmla="*/ 6439690 w 12187339"/>
                <a:gd name="connsiteY1479" fmla="*/ 1960129 h 6851196"/>
                <a:gd name="connsiteX1480" fmla="*/ 6210990 w 12187339"/>
                <a:gd name="connsiteY1480" fmla="*/ 2198254 h 6851196"/>
                <a:gd name="connsiteX1481" fmla="*/ 5986902 w 12187339"/>
                <a:gd name="connsiteY1481" fmla="*/ 2198254 h 6851196"/>
                <a:gd name="connsiteX1482" fmla="*/ 5986902 w 12187339"/>
                <a:gd name="connsiteY1482" fmla="*/ 1960129 h 6851196"/>
                <a:gd name="connsiteX1483" fmla="*/ 6210990 w 12187339"/>
                <a:gd name="connsiteY1483" fmla="*/ 1960129 h 6851196"/>
                <a:gd name="connsiteX1484" fmla="*/ 5980499 w 12187339"/>
                <a:gd name="connsiteY1484" fmla="*/ 2198254 h 6851196"/>
                <a:gd name="connsiteX1485" fmla="*/ 5756411 w 12187339"/>
                <a:gd name="connsiteY1485" fmla="*/ 2198254 h 6851196"/>
                <a:gd name="connsiteX1486" fmla="*/ 5756411 w 12187339"/>
                <a:gd name="connsiteY1486" fmla="*/ 1960129 h 6851196"/>
                <a:gd name="connsiteX1487" fmla="*/ 5980499 w 12187339"/>
                <a:gd name="connsiteY1487" fmla="*/ 1960129 h 6851196"/>
                <a:gd name="connsiteX1488" fmla="*/ 5750008 w 12187339"/>
                <a:gd name="connsiteY1488" fmla="*/ 2198254 h 6851196"/>
                <a:gd name="connsiteX1489" fmla="*/ 5526945 w 12187339"/>
                <a:gd name="connsiteY1489" fmla="*/ 2198254 h 6851196"/>
                <a:gd name="connsiteX1490" fmla="*/ 5526945 w 12187339"/>
                <a:gd name="connsiteY1490" fmla="*/ 1960129 h 6851196"/>
                <a:gd name="connsiteX1491" fmla="*/ 5749495 w 12187339"/>
                <a:gd name="connsiteY1491" fmla="*/ 1960129 h 6851196"/>
                <a:gd name="connsiteX1492" fmla="*/ 5521055 w 12187339"/>
                <a:gd name="connsiteY1492" fmla="*/ 2198254 h 6851196"/>
                <a:gd name="connsiteX1493" fmla="*/ 5296454 w 12187339"/>
                <a:gd name="connsiteY1493" fmla="*/ 2198254 h 6851196"/>
                <a:gd name="connsiteX1494" fmla="*/ 5296454 w 12187339"/>
                <a:gd name="connsiteY1494" fmla="*/ 1960129 h 6851196"/>
                <a:gd name="connsiteX1495" fmla="*/ 5520542 w 12187339"/>
                <a:gd name="connsiteY1495" fmla="*/ 1960129 h 6851196"/>
                <a:gd name="connsiteX1496" fmla="*/ 5290564 w 12187339"/>
                <a:gd name="connsiteY1496" fmla="*/ 2198254 h 6851196"/>
                <a:gd name="connsiteX1497" fmla="*/ 5065963 w 12187339"/>
                <a:gd name="connsiteY1497" fmla="*/ 2198254 h 6851196"/>
                <a:gd name="connsiteX1498" fmla="*/ 5065963 w 12187339"/>
                <a:gd name="connsiteY1498" fmla="*/ 1960129 h 6851196"/>
                <a:gd name="connsiteX1499" fmla="*/ 5290051 w 12187339"/>
                <a:gd name="connsiteY1499" fmla="*/ 1960129 h 6851196"/>
                <a:gd name="connsiteX1500" fmla="*/ 5060073 w 12187339"/>
                <a:gd name="connsiteY1500" fmla="*/ 2198254 h 6851196"/>
                <a:gd name="connsiteX1501" fmla="*/ 4835472 w 12187339"/>
                <a:gd name="connsiteY1501" fmla="*/ 2198254 h 6851196"/>
                <a:gd name="connsiteX1502" fmla="*/ 4835472 w 12187339"/>
                <a:gd name="connsiteY1502" fmla="*/ 1960129 h 6851196"/>
                <a:gd name="connsiteX1503" fmla="*/ 5059560 w 12187339"/>
                <a:gd name="connsiteY1503" fmla="*/ 1960129 h 6851196"/>
                <a:gd name="connsiteX1504" fmla="*/ 4829582 w 12187339"/>
                <a:gd name="connsiteY1504" fmla="*/ 2198254 h 6851196"/>
                <a:gd name="connsiteX1505" fmla="*/ 4607029 w 12187339"/>
                <a:gd name="connsiteY1505" fmla="*/ 2198254 h 6851196"/>
                <a:gd name="connsiteX1506" fmla="*/ 4607029 w 12187339"/>
                <a:gd name="connsiteY1506" fmla="*/ 1960129 h 6851196"/>
                <a:gd name="connsiteX1507" fmla="*/ 4829582 w 12187339"/>
                <a:gd name="connsiteY1507" fmla="*/ 1960129 h 6851196"/>
                <a:gd name="connsiteX1508" fmla="*/ 4600626 w 12187339"/>
                <a:gd name="connsiteY1508" fmla="*/ 2198254 h 6851196"/>
                <a:gd name="connsiteX1509" fmla="*/ 4376538 w 12187339"/>
                <a:gd name="connsiteY1509" fmla="*/ 2198254 h 6851196"/>
                <a:gd name="connsiteX1510" fmla="*/ 4376538 w 12187339"/>
                <a:gd name="connsiteY1510" fmla="*/ 1960129 h 6851196"/>
                <a:gd name="connsiteX1511" fmla="*/ 4600626 w 12187339"/>
                <a:gd name="connsiteY1511" fmla="*/ 1960129 h 6851196"/>
                <a:gd name="connsiteX1512" fmla="*/ 4370135 w 12187339"/>
                <a:gd name="connsiteY1512" fmla="*/ 2198254 h 6851196"/>
                <a:gd name="connsiteX1513" fmla="*/ 4146047 w 12187339"/>
                <a:gd name="connsiteY1513" fmla="*/ 2198254 h 6851196"/>
                <a:gd name="connsiteX1514" fmla="*/ 4146047 w 12187339"/>
                <a:gd name="connsiteY1514" fmla="*/ 1960129 h 6851196"/>
                <a:gd name="connsiteX1515" fmla="*/ 4370135 w 12187339"/>
                <a:gd name="connsiteY1515" fmla="*/ 1960129 h 6851196"/>
                <a:gd name="connsiteX1516" fmla="*/ 4139644 w 12187339"/>
                <a:gd name="connsiteY1516" fmla="*/ 2198254 h 6851196"/>
                <a:gd name="connsiteX1517" fmla="*/ 3917094 w 12187339"/>
                <a:gd name="connsiteY1517" fmla="*/ 2198254 h 6851196"/>
                <a:gd name="connsiteX1518" fmla="*/ 3917094 w 12187339"/>
                <a:gd name="connsiteY1518" fmla="*/ 1960129 h 6851196"/>
                <a:gd name="connsiteX1519" fmla="*/ 4139644 w 12187339"/>
                <a:gd name="connsiteY1519" fmla="*/ 1960129 h 6851196"/>
                <a:gd name="connsiteX1520" fmla="*/ 3910691 w 12187339"/>
                <a:gd name="connsiteY1520" fmla="*/ 2198254 h 6851196"/>
                <a:gd name="connsiteX1521" fmla="*/ 3686603 w 12187339"/>
                <a:gd name="connsiteY1521" fmla="*/ 2198254 h 6851196"/>
                <a:gd name="connsiteX1522" fmla="*/ 3686603 w 12187339"/>
                <a:gd name="connsiteY1522" fmla="*/ 1960129 h 6851196"/>
                <a:gd name="connsiteX1523" fmla="*/ 3910691 w 12187339"/>
                <a:gd name="connsiteY1523" fmla="*/ 1960129 h 6851196"/>
                <a:gd name="connsiteX1524" fmla="*/ 3680200 w 12187339"/>
                <a:gd name="connsiteY1524" fmla="*/ 2198254 h 6851196"/>
                <a:gd name="connsiteX1525" fmla="*/ 3456112 w 12187339"/>
                <a:gd name="connsiteY1525" fmla="*/ 2198254 h 6851196"/>
                <a:gd name="connsiteX1526" fmla="*/ 3456112 w 12187339"/>
                <a:gd name="connsiteY1526" fmla="*/ 1960129 h 6851196"/>
                <a:gd name="connsiteX1527" fmla="*/ 3680200 w 12187339"/>
                <a:gd name="connsiteY1527" fmla="*/ 1960129 h 6851196"/>
                <a:gd name="connsiteX1528" fmla="*/ 3449709 w 12187339"/>
                <a:gd name="connsiteY1528" fmla="*/ 2198254 h 6851196"/>
                <a:gd name="connsiteX1529" fmla="*/ 3225621 w 12187339"/>
                <a:gd name="connsiteY1529" fmla="*/ 2198254 h 6851196"/>
                <a:gd name="connsiteX1530" fmla="*/ 3225621 w 12187339"/>
                <a:gd name="connsiteY1530" fmla="*/ 1960129 h 6851196"/>
                <a:gd name="connsiteX1531" fmla="*/ 3449709 w 12187339"/>
                <a:gd name="connsiteY1531" fmla="*/ 1960129 h 6851196"/>
                <a:gd name="connsiteX1532" fmla="*/ 3219218 w 12187339"/>
                <a:gd name="connsiteY1532" fmla="*/ 2198254 h 6851196"/>
                <a:gd name="connsiteX1533" fmla="*/ 2996666 w 12187339"/>
                <a:gd name="connsiteY1533" fmla="*/ 2198254 h 6851196"/>
                <a:gd name="connsiteX1534" fmla="*/ 2996666 w 12187339"/>
                <a:gd name="connsiteY1534" fmla="*/ 1960129 h 6851196"/>
                <a:gd name="connsiteX1535" fmla="*/ 3219218 w 12187339"/>
                <a:gd name="connsiteY1535" fmla="*/ 1960129 h 6851196"/>
                <a:gd name="connsiteX1536" fmla="*/ 2990264 w 12187339"/>
                <a:gd name="connsiteY1536" fmla="*/ 2198254 h 6851196"/>
                <a:gd name="connsiteX1537" fmla="*/ 2766175 w 12187339"/>
                <a:gd name="connsiteY1537" fmla="*/ 2198254 h 6851196"/>
                <a:gd name="connsiteX1538" fmla="*/ 2766175 w 12187339"/>
                <a:gd name="connsiteY1538" fmla="*/ 1960129 h 6851196"/>
                <a:gd name="connsiteX1539" fmla="*/ 2990264 w 12187339"/>
                <a:gd name="connsiteY1539" fmla="*/ 1960129 h 6851196"/>
                <a:gd name="connsiteX1540" fmla="*/ 2759773 w 12187339"/>
                <a:gd name="connsiteY1540" fmla="*/ 2198254 h 6851196"/>
                <a:gd name="connsiteX1541" fmla="*/ 2535684 w 12187339"/>
                <a:gd name="connsiteY1541" fmla="*/ 2198254 h 6851196"/>
                <a:gd name="connsiteX1542" fmla="*/ 2535684 w 12187339"/>
                <a:gd name="connsiteY1542" fmla="*/ 1960129 h 6851196"/>
                <a:gd name="connsiteX1543" fmla="*/ 2759773 w 12187339"/>
                <a:gd name="connsiteY1543" fmla="*/ 1960129 h 6851196"/>
                <a:gd name="connsiteX1544" fmla="*/ 2529282 w 12187339"/>
                <a:gd name="connsiteY1544" fmla="*/ 2198254 h 6851196"/>
                <a:gd name="connsiteX1545" fmla="*/ 2305193 w 12187339"/>
                <a:gd name="connsiteY1545" fmla="*/ 2198254 h 6851196"/>
                <a:gd name="connsiteX1546" fmla="*/ 2305193 w 12187339"/>
                <a:gd name="connsiteY1546" fmla="*/ 1960129 h 6851196"/>
                <a:gd name="connsiteX1547" fmla="*/ 2529282 w 12187339"/>
                <a:gd name="connsiteY1547" fmla="*/ 1960129 h 6851196"/>
                <a:gd name="connsiteX1548" fmla="*/ 2298791 w 12187339"/>
                <a:gd name="connsiteY1548" fmla="*/ 2198254 h 6851196"/>
                <a:gd name="connsiteX1549" fmla="*/ 2075982 w 12187339"/>
                <a:gd name="connsiteY1549" fmla="*/ 2198254 h 6851196"/>
                <a:gd name="connsiteX1550" fmla="*/ 2075982 w 12187339"/>
                <a:gd name="connsiteY1550" fmla="*/ 1960129 h 6851196"/>
                <a:gd name="connsiteX1551" fmla="*/ 2298534 w 12187339"/>
                <a:gd name="connsiteY1551" fmla="*/ 1960129 h 6851196"/>
                <a:gd name="connsiteX1552" fmla="*/ 2069836 w 12187339"/>
                <a:gd name="connsiteY1552" fmla="*/ 2198254 h 6851196"/>
                <a:gd name="connsiteX1553" fmla="*/ 1845748 w 12187339"/>
                <a:gd name="connsiteY1553" fmla="*/ 2198254 h 6851196"/>
                <a:gd name="connsiteX1554" fmla="*/ 1845748 w 12187339"/>
                <a:gd name="connsiteY1554" fmla="*/ 1960129 h 6851196"/>
                <a:gd name="connsiteX1555" fmla="*/ 2069580 w 12187339"/>
                <a:gd name="connsiteY1555" fmla="*/ 1960129 h 6851196"/>
                <a:gd name="connsiteX1556" fmla="*/ 2069836 w 12187339"/>
                <a:gd name="connsiteY1556" fmla="*/ 2205058 h 6851196"/>
                <a:gd name="connsiteX1557" fmla="*/ 2069836 w 12187339"/>
                <a:gd name="connsiteY1557" fmla="*/ 2443183 h 6851196"/>
                <a:gd name="connsiteX1558" fmla="*/ 1845748 w 12187339"/>
                <a:gd name="connsiteY1558" fmla="*/ 2443183 h 6851196"/>
                <a:gd name="connsiteX1559" fmla="*/ 1845748 w 12187339"/>
                <a:gd name="connsiteY1559" fmla="*/ 2205058 h 6851196"/>
                <a:gd name="connsiteX1560" fmla="*/ 2069836 w 12187339"/>
                <a:gd name="connsiteY1560" fmla="*/ 2449986 h 6851196"/>
                <a:gd name="connsiteX1561" fmla="*/ 2069836 w 12187339"/>
                <a:gd name="connsiteY1561" fmla="*/ 2686479 h 6851196"/>
                <a:gd name="connsiteX1562" fmla="*/ 1845748 w 12187339"/>
                <a:gd name="connsiteY1562" fmla="*/ 2686479 h 6851196"/>
                <a:gd name="connsiteX1563" fmla="*/ 1845748 w 12187339"/>
                <a:gd name="connsiteY1563" fmla="*/ 2449986 h 6851196"/>
                <a:gd name="connsiteX1564" fmla="*/ 2069836 w 12187339"/>
                <a:gd name="connsiteY1564" fmla="*/ 2693282 h 6851196"/>
                <a:gd name="connsiteX1565" fmla="*/ 2069836 w 12187339"/>
                <a:gd name="connsiteY1565" fmla="*/ 2931407 h 6851196"/>
                <a:gd name="connsiteX1566" fmla="*/ 1845748 w 12187339"/>
                <a:gd name="connsiteY1566" fmla="*/ 2931407 h 6851196"/>
                <a:gd name="connsiteX1567" fmla="*/ 1845748 w 12187339"/>
                <a:gd name="connsiteY1567" fmla="*/ 2693282 h 6851196"/>
                <a:gd name="connsiteX1568" fmla="*/ 2069836 w 12187339"/>
                <a:gd name="connsiteY1568" fmla="*/ 2938211 h 6851196"/>
                <a:gd name="connsiteX1569" fmla="*/ 2069836 w 12187339"/>
                <a:gd name="connsiteY1569" fmla="*/ 3176336 h 6851196"/>
                <a:gd name="connsiteX1570" fmla="*/ 1845748 w 12187339"/>
                <a:gd name="connsiteY1570" fmla="*/ 3176336 h 6851196"/>
                <a:gd name="connsiteX1571" fmla="*/ 1845748 w 12187339"/>
                <a:gd name="connsiteY1571" fmla="*/ 2938211 h 6851196"/>
                <a:gd name="connsiteX1572" fmla="*/ 2069836 w 12187339"/>
                <a:gd name="connsiteY1572" fmla="*/ 3183139 h 6851196"/>
                <a:gd name="connsiteX1573" fmla="*/ 2069836 w 12187339"/>
                <a:gd name="connsiteY1573" fmla="*/ 3421264 h 6851196"/>
                <a:gd name="connsiteX1574" fmla="*/ 1845748 w 12187339"/>
                <a:gd name="connsiteY1574" fmla="*/ 3421264 h 6851196"/>
                <a:gd name="connsiteX1575" fmla="*/ 1845748 w 12187339"/>
                <a:gd name="connsiteY1575" fmla="*/ 3183139 h 6851196"/>
                <a:gd name="connsiteX1576" fmla="*/ 2069836 w 12187339"/>
                <a:gd name="connsiteY1576" fmla="*/ 3428068 h 6851196"/>
                <a:gd name="connsiteX1577" fmla="*/ 2069836 w 12187339"/>
                <a:gd name="connsiteY1577" fmla="*/ 3664560 h 6851196"/>
                <a:gd name="connsiteX1578" fmla="*/ 1845748 w 12187339"/>
                <a:gd name="connsiteY1578" fmla="*/ 3664560 h 6851196"/>
                <a:gd name="connsiteX1579" fmla="*/ 1845748 w 12187339"/>
                <a:gd name="connsiteY1579" fmla="*/ 3428068 h 6851196"/>
                <a:gd name="connsiteX1580" fmla="*/ 2069836 w 12187339"/>
                <a:gd name="connsiteY1580" fmla="*/ 3671364 h 6851196"/>
                <a:gd name="connsiteX1581" fmla="*/ 2069836 w 12187339"/>
                <a:gd name="connsiteY1581" fmla="*/ 3909489 h 6851196"/>
                <a:gd name="connsiteX1582" fmla="*/ 1845748 w 12187339"/>
                <a:gd name="connsiteY1582" fmla="*/ 3909489 h 6851196"/>
                <a:gd name="connsiteX1583" fmla="*/ 1845748 w 12187339"/>
                <a:gd name="connsiteY1583" fmla="*/ 3671364 h 6851196"/>
                <a:gd name="connsiteX1584" fmla="*/ 2069836 w 12187339"/>
                <a:gd name="connsiteY1584" fmla="*/ 3916292 h 6851196"/>
                <a:gd name="connsiteX1585" fmla="*/ 2069836 w 12187339"/>
                <a:gd name="connsiteY1585" fmla="*/ 4154417 h 6851196"/>
                <a:gd name="connsiteX1586" fmla="*/ 1845748 w 12187339"/>
                <a:gd name="connsiteY1586" fmla="*/ 4154417 h 6851196"/>
                <a:gd name="connsiteX1587" fmla="*/ 1845748 w 12187339"/>
                <a:gd name="connsiteY1587" fmla="*/ 3916292 h 6851196"/>
                <a:gd name="connsiteX1588" fmla="*/ 2069836 w 12187339"/>
                <a:gd name="connsiteY1588" fmla="*/ 4161221 h 6851196"/>
                <a:gd name="connsiteX1589" fmla="*/ 2069836 w 12187339"/>
                <a:gd name="connsiteY1589" fmla="*/ 4399346 h 6851196"/>
                <a:gd name="connsiteX1590" fmla="*/ 1845748 w 12187339"/>
                <a:gd name="connsiteY1590" fmla="*/ 4399346 h 6851196"/>
                <a:gd name="connsiteX1591" fmla="*/ 1845748 w 12187339"/>
                <a:gd name="connsiteY1591" fmla="*/ 4161221 h 6851196"/>
                <a:gd name="connsiteX1592" fmla="*/ 2069836 w 12187339"/>
                <a:gd name="connsiteY1592" fmla="*/ 4406149 h 6851196"/>
                <a:gd name="connsiteX1593" fmla="*/ 2069836 w 12187339"/>
                <a:gd name="connsiteY1593" fmla="*/ 4642233 h 6851196"/>
                <a:gd name="connsiteX1594" fmla="*/ 1845748 w 12187339"/>
                <a:gd name="connsiteY1594" fmla="*/ 4642233 h 6851196"/>
                <a:gd name="connsiteX1595" fmla="*/ 1845748 w 12187339"/>
                <a:gd name="connsiteY1595" fmla="*/ 4405741 h 6851196"/>
                <a:gd name="connsiteX1596" fmla="*/ 2069836 w 12187339"/>
                <a:gd name="connsiteY1596" fmla="*/ 4649445 h 6851196"/>
                <a:gd name="connsiteX1597" fmla="*/ 2069836 w 12187339"/>
                <a:gd name="connsiteY1597" fmla="*/ 4887162 h 6851196"/>
                <a:gd name="connsiteX1598" fmla="*/ 1845748 w 12187339"/>
                <a:gd name="connsiteY1598" fmla="*/ 4887162 h 6851196"/>
                <a:gd name="connsiteX1599" fmla="*/ 1845748 w 12187339"/>
                <a:gd name="connsiteY1599" fmla="*/ 4649037 h 6851196"/>
                <a:gd name="connsiteX1600" fmla="*/ 2076239 w 12187339"/>
                <a:gd name="connsiteY1600" fmla="*/ 4649445 h 6851196"/>
                <a:gd name="connsiteX1601" fmla="*/ 2298791 w 12187339"/>
                <a:gd name="connsiteY1601" fmla="*/ 4649445 h 6851196"/>
                <a:gd name="connsiteX1602" fmla="*/ 2298791 w 12187339"/>
                <a:gd name="connsiteY1602" fmla="*/ 4887162 h 6851196"/>
                <a:gd name="connsiteX1603" fmla="*/ 2075982 w 12187339"/>
                <a:gd name="connsiteY1603" fmla="*/ 4887162 h 6851196"/>
                <a:gd name="connsiteX1604" fmla="*/ 2305193 w 12187339"/>
                <a:gd name="connsiteY1604" fmla="*/ 4649445 h 6851196"/>
                <a:gd name="connsiteX1605" fmla="*/ 2529282 w 12187339"/>
                <a:gd name="connsiteY1605" fmla="*/ 4649445 h 6851196"/>
                <a:gd name="connsiteX1606" fmla="*/ 2529282 w 12187339"/>
                <a:gd name="connsiteY1606" fmla="*/ 4887162 h 6851196"/>
                <a:gd name="connsiteX1607" fmla="*/ 2305193 w 12187339"/>
                <a:gd name="connsiteY1607" fmla="*/ 4887162 h 6851196"/>
                <a:gd name="connsiteX1608" fmla="*/ 2535684 w 12187339"/>
                <a:gd name="connsiteY1608" fmla="*/ 4649445 h 6851196"/>
                <a:gd name="connsiteX1609" fmla="*/ 2759773 w 12187339"/>
                <a:gd name="connsiteY1609" fmla="*/ 4649445 h 6851196"/>
                <a:gd name="connsiteX1610" fmla="*/ 2759773 w 12187339"/>
                <a:gd name="connsiteY1610" fmla="*/ 4887162 h 6851196"/>
                <a:gd name="connsiteX1611" fmla="*/ 2535684 w 12187339"/>
                <a:gd name="connsiteY1611" fmla="*/ 4887162 h 6851196"/>
                <a:gd name="connsiteX1612" fmla="*/ 2766175 w 12187339"/>
                <a:gd name="connsiteY1612" fmla="*/ 4649445 h 6851196"/>
                <a:gd name="connsiteX1613" fmla="*/ 2990264 w 12187339"/>
                <a:gd name="connsiteY1613" fmla="*/ 4649445 h 6851196"/>
                <a:gd name="connsiteX1614" fmla="*/ 2990264 w 12187339"/>
                <a:gd name="connsiteY1614" fmla="*/ 4887162 h 6851196"/>
                <a:gd name="connsiteX1615" fmla="*/ 2766175 w 12187339"/>
                <a:gd name="connsiteY1615" fmla="*/ 4887162 h 6851196"/>
                <a:gd name="connsiteX1616" fmla="*/ 2996666 w 12187339"/>
                <a:gd name="connsiteY1616" fmla="*/ 4649445 h 6851196"/>
                <a:gd name="connsiteX1617" fmla="*/ 3219218 w 12187339"/>
                <a:gd name="connsiteY1617" fmla="*/ 4649445 h 6851196"/>
                <a:gd name="connsiteX1618" fmla="*/ 3219218 w 12187339"/>
                <a:gd name="connsiteY1618" fmla="*/ 4887162 h 6851196"/>
                <a:gd name="connsiteX1619" fmla="*/ 2996666 w 12187339"/>
                <a:gd name="connsiteY1619" fmla="*/ 4887162 h 6851196"/>
                <a:gd name="connsiteX1620" fmla="*/ 3225621 w 12187339"/>
                <a:gd name="connsiteY1620" fmla="*/ 4649445 h 6851196"/>
                <a:gd name="connsiteX1621" fmla="*/ 3449709 w 12187339"/>
                <a:gd name="connsiteY1621" fmla="*/ 4649445 h 6851196"/>
                <a:gd name="connsiteX1622" fmla="*/ 3449709 w 12187339"/>
                <a:gd name="connsiteY1622" fmla="*/ 4887162 h 6851196"/>
                <a:gd name="connsiteX1623" fmla="*/ 3225621 w 12187339"/>
                <a:gd name="connsiteY1623" fmla="*/ 4887162 h 6851196"/>
                <a:gd name="connsiteX1624" fmla="*/ 3456112 w 12187339"/>
                <a:gd name="connsiteY1624" fmla="*/ 4649445 h 6851196"/>
                <a:gd name="connsiteX1625" fmla="*/ 3680200 w 12187339"/>
                <a:gd name="connsiteY1625" fmla="*/ 4649445 h 6851196"/>
                <a:gd name="connsiteX1626" fmla="*/ 3680200 w 12187339"/>
                <a:gd name="connsiteY1626" fmla="*/ 4887162 h 6851196"/>
                <a:gd name="connsiteX1627" fmla="*/ 3456112 w 12187339"/>
                <a:gd name="connsiteY1627" fmla="*/ 4887162 h 6851196"/>
                <a:gd name="connsiteX1628" fmla="*/ 3686603 w 12187339"/>
                <a:gd name="connsiteY1628" fmla="*/ 4649445 h 6851196"/>
                <a:gd name="connsiteX1629" fmla="*/ 3910691 w 12187339"/>
                <a:gd name="connsiteY1629" fmla="*/ 4649445 h 6851196"/>
                <a:gd name="connsiteX1630" fmla="*/ 3910691 w 12187339"/>
                <a:gd name="connsiteY1630" fmla="*/ 4887162 h 6851196"/>
                <a:gd name="connsiteX1631" fmla="*/ 3686603 w 12187339"/>
                <a:gd name="connsiteY1631" fmla="*/ 4887162 h 6851196"/>
                <a:gd name="connsiteX1632" fmla="*/ 3917094 w 12187339"/>
                <a:gd name="connsiteY1632" fmla="*/ 4649445 h 6851196"/>
                <a:gd name="connsiteX1633" fmla="*/ 4139644 w 12187339"/>
                <a:gd name="connsiteY1633" fmla="*/ 4649445 h 6851196"/>
                <a:gd name="connsiteX1634" fmla="*/ 4139644 w 12187339"/>
                <a:gd name="connsiteY1634" fmla="*/ 4887162 h 6851196"/>
                <a:gd name="connsiteX1635" fmla="*/ 3917094 w 12187339"/>
                <a:gd name="connsiteY1635" fmla="*/ 4887162 h 6851196"/>
                <a:gd name="connsiteX1636" fmla="*/ 4146047 w 12187339"/>
                <a:gd name="connsiteY1636" fmla="*/ 4649445 h 6851196"/>
                <a:gd name="connsiteX1637" fmla="*/ 4370135 w 12187339"/>
                <a:gd name="connsiteY1637" fmla="*/ 4649445 h 6851196"/>
                <a:gd name="connsiteX1638" fmla="*/ 4370135 w 12187339"/>
                <a:gd name="connsiteY1638" fmla="*/ 4887162 h 6851196"/>
                <a:gd name="connsiteX1639" fmla="*/ 4146047 w 12187339"/>
                <a:gd name="connsiteY1639" fmla="*/ 4887162 h 6851196"/>
                <a:gd name="connsiteX1640" fmla="*/ 4376538 w 12187339"/>
                <a:gd name="connsiteY1640" fmla="*/ 4649445 h 6851196"/>
                <a:gd name="connsiteX1641" fmla="*/ 4600626 w 12187339"/>
                <a:gd name="connsiteY1641" fmla="*/ 4649445 h 6851196"/>
                <a:gd name="connsiteX1642" fmla="*/ 4600626 w 12187339"/>
                <a:gd name="connsiteY1642" fmla="*/ 4887162 h 6851196"/>
                <a:gd name="connsiteX1643" fmla="*/ 4376538 w 12187339"/>
                <a:gd name="connsiteY1643" fmla="*/ 4887162 h 6851196"/>
                <a:gd name="connsiteX1644" fmla="*/ 4607029 w 12187339"/>
                <a:gd name="connsiteY1644" fmla="*/ 4649445 h 6851196"/>
                <a:gd name="connsiteX1645" fmla="*/ 4829582 w 12187339"/>
                <a:gd name="connsiteY1645" fmla="*/ 4649445 h 6851196"/>
                <a:gd name="connsiteX1646" fmla="*/ 4829582 w 12187339"/>
                <a:gd name="connsiteY1646" fmla="*/ 4887162 h 6851196"/>
                <a:gd name="connsiteX1647" fmla="*/ 4607029 w 12187339"/>
                <a:gd name="connsiteY1647" fmla="*/ 4887162 h 6851196"/>
                <a:gd name="connsiteX1648" fmla="*/ 4835985 w 12187339"/>
                <a:gd name="connsiteY1648" fmla="*/ 4649445 h 6851196"/>
                <a:gd name="connsiteX1649" fmla="*/ 5060073 w 12187339"/>
                <a:gd name="connsiteY1649" fmla="*/ 4649445 h 6851196"/>
                <a:gd name="connsiteX1650" fmla="*/ 5060073 w 12187339"/>
                <a:gd name="connsiteY1650" fmla="*/ 4887162 h 6851196"/>
                <a:gd name="connsiteX1651" fmla="*/ 4835472 w 12187339"/>
                <a:gd name="connsiteY1651" fmla="*/ 4887162 h 6851196"/>
                <a:gd name="connsiteX1652" fmla="*/ 5066476 w 12187339"/>
                <a:gd name="connsiteY1652" fmla="*/ 4649445 h 6851196"/>
                <a:gd name="connsiteX1653" fmla="*/ 5290564 w 12187339"/>
                <a:gd name="connsiteY1653" fmla="*/ 4649445 h 6851196"/>
                <a:gd name="connsiteX1654" fmla="*/ 5290564 w 12187339"/>
                <a:gd name="connsiteY1654" fmla="*/ 4887162 h 6851196"/>
                <a:gd name="connsiteX1655" fmla="*/ 5065963 w 12187339"/>
                <a:gd name="connsiteY1655" fmla="*/ 4887162 h 6851196"/>
                <a:gd name="connsiteX1656" fmla="*/ 5296967 w 12187339"/>
                <a:gd name="connsiteY1656" fmla="*/ 4649445 h 6851196"/>
                <a:gd name="connsiteX1657" fmla="*/ 5521055 w 12187339"/>
                <a:gd name="connsiteY1657" fmla="*/ 4649445 h 6851196"/>
                <a:gd name="connsiteX1658" fmla="*/ 5521055 w 12187339"/>
                <a:gd name="connsiteY1658" fmla="*/ 4887162 h 6851196"/>
                <a:gd name="connsiteX1659" fmla="*/ 5296454 w 12187339"/>
                <a:gd name="connsiteY1659" fmla="*/ 4887162 h 6851196"/>
                <a:gd name="connsiteX1660" fmla="*/ 5527458 w 12187339"/>
                <a:gd name="connsiteY1660" fmla="*/ 4649445 h 6851196"/>
                <a:gd name="connsiteX1661" fmla="*/ 5750008 w 12187339"/>
                <a:gd name="connsiteY1661" fmla="*/ 4649445 h 6851196"/>
                <a:gd name="connsiteX1662" fmla="*/ 5750008 w 12187339"/>
                <a:gd name="connsiteY1662" fmla="*/ 4887162 h 6851196"/>
                <a:gd name="connsiteX1663" fmla="*/ 5526945 w 12187339"/>
                <a:gd name="connsiteY1663" fmla="*/ 4887162 h 6851196"/>
                <a:gd name="connsiteX1664" fmla="*/ 5756411 w 12187339"/>
                <a:gd name="connsiteY1664" fmla="*/ 4649445 h 6851196"/>
                <a:gd name="connsiteX1665" fmla="*/ 5980499 w 12187339"/>
                <a:gd name="connsiteY1665" fmla="*/ 4649445 h 6851196"/>
                <a:gd name="connsiteX1666" fmla="*/ 5980499 w 12187339"/>
                <a:gd name="connsiteY1666" fmla="*/ 4887162 h 6851196"/>
                <a:gd name="connsiteX1667" fmla="*/ 5756411 w 12187339"/>
                <a:gd name="connsiteY1667" fmla="*/ 4887162 h 6851196"/>
                <a:gd name="connsiteX1668" fmla="*/ 5986902 w 12187339"/>
                <a:gd name="connsiteY1668" fmla="*/ 4649445 h 6851196"/>
                <a:gd name="connsiteX1669" fmla="*/ 6210990 w 12187339"/>
                <a:gd name="connsiteY1669" fmla="*/ 4649445 h 6851196"/>
                <a:gd name="connsiteX1670" fmla="*/ 6210990 w 12187339"/>
                <a:gd name="connsiteY1670" fmla="*/ 4887162 h 6851196"/>
                <a:gd name="connsiteX1671" fmla="*/ 5986902 w 12187339"/>
                <a:gd name="connsiteY1671" fmla="*/ 4887162 h 6851196"/>
                <a:gd name="connsiteX1672" fmla="*/ 6217393 w 12187339"/>
                <a:gd name="connsiteY1672" fmla="*/ 4649445 h 6851196"/>
                <a:gd name="connsiteX1673" fmla="*/ 6439946 w 12187339"/>
                <a:gd name="connsiteY1673" fmla="*/ 4649445 h 6851196"/>
                <a:gd name="connsiteX1674" fmla="*/ 6439946 w 12187339"/>
                <a:gd name="connsiteY1674" fmla="*/ 4887162 h 6851196"/>
                <a:gd name="connsiteX1675" fmla="*/ 6217136 w 12187339"/>
                <a:gd name="connsiteY1675" fmla="*/ 4887162 h 6851196"/>
                <a:gd name="connsiteX1676" fmla="*/ 6446349 w 12187339"/>
                <a:gd name="connsiteY1676" fmla="*/ 4649445 h 6851196"/>
                <a:gd name="connsiteX1677" fmla="*/ 6656863 w 12187339"/>
                <a:gd name="connsiteY1677" fmla="*/ 4649445 h 6851196"/>
                <a:gd name="connsiteX1678" fmla="*/ 6656863 w 12187339"/>
                <a:gd name="connsiteY1678" fmla="*/ 4887162 h 6851196"/>
                <a:gd name="connsiteX1679" fmla="*/ 6446349 w 12187339"/>
                <a:gd name="connsiteY1679" fmla="*/ 4887162 h 6851196"/>
                <a:gd name="connsiteX1680" fmla="*/ 6663265 w 12187339"/>
                <a:gd name="connsiteY1680" fmla="*/ 4649445 h 6851196"/>
                <a:gd name="connsiteX1681" fmla="*/ 6887354 w 12187339"/>
                <a:gd name="connsiteY1681" fmla="*/ 4649445 h 6851196"/>
                <a:gd name="connsiteX1682" fmla="*/ 6887354 w 12187339"/>
                <a:gd name="connsiteY1682" fmla="*/ 4887162 h 6851196"/>
                <a:gd name="connsiteX1683" fmla="*/ 6663265 w 12187339"/>
                <a:gd name="connsiteY1683" fmla="*/ 4887162 h 6851196"/>
                <a:gd name="connsiteX1684" fmla="*/ 6893756 w 12187339"/>
                <a:gd name="connsiteY1684" fmla="*/ 4649445 h 6851196"/>
                <a:gd name="connsiteX1685" fmla="*/ 7117845 w 12187339"/>
                <a:gd name="connsiteY1685" fmla="*/ 4649445 h 6851196"/>
                <a:gd name="connsiteX1686" fmla="*/ 7117845 w 12187339"/>
                <a:gd name="connsiteY1686" fmla="*/ 4887162 h 6851196"/>
                <a:gd name="connsiteX1687" fmla="*/ 6893756 w 12187339"/>
                <a:gd name="connsiteY1687" fmla="*/ 4887162 h 6851196"/>
                <a:gd name="connsiteX1688" fmla="*/ 7124247 w 12187339"/>
                <a:gd name="connsiteY1688" fmla="*/ 4649445 h 6851196"/>
                <a:gd name="connsiteX1689" fmla="*/ 7346801 w 12187339"/>
                <a:gd name="connsiteY1689" fmla="*/ 4649445 h 6851196"/>
                <a:gd name="connsiteX1690" fmla="*/ 7346801 w 12187339"/>
                <a:gd name="connsiteY1690" fmla="*/ 4887162 h 6851196"/>
                <a:gd name="connsiteX1691" fmla="*/ 7124247 w 12187339"/>
                <a:gd name="connsiteY1691" fmla="*/ 4887162 h 6851196"/>
                <a:gd name="connsiteX1692" fmla="*/ 7353204 w 12187339"/>
                <a:gd name="connsiteY1692" fmla="*/ 4649445 h 6851196"/>
                <a:gd name="connsiteX1693" fmla="*/ 7577292 w 12187339"/>
                <a:gd name="connsiteY1693" fmla="*/ 4649445 h 6851196"/>
                <a:gd name="connsiteX1694" fmla="*/ 7577292 w 12187339"/>
                <a:gd name="connsiteY1694" fmla="*/ 4887162 h 6851196"/>
                <a:gd name="connsiteX1695" fmla="*/ 7353204 w 12187339"/>
                <a:gd name="connsiteY1695" fmla="*/ 4887162 h 6851196"/>
                <a:gd name="connsiteX1696" fmla="*/ 7583695 w 12187339"/>
                <a:gd name="connsiteY1696" fmla="*/ 4649445 h 6851196"/>
                <a:gd name="connsiteX1697" fmla="*/ 7807783 w 12187339"/>
                <a:gd name="connsiteY1697" fmla="*/ 4649445 h 6851196"/>
                <a:gd name="connsiteX1698" fmla="*/ 7807783 w 12187339"/>
                <a:gd name="connsiteY1698" fmla="*/ 4887162 h 6851196"/>
                <a:gd name="connsiteX1699" fmla="*/ 7583695 w 12187339"/>
                <a:gd name="connsiteY1699" fmla="*/ 4887162 h 6851196"/>
                <a:gd name="connsiteX1700" fmla="*/ 7814186 w 12187339"/>
                <a:gd name="connsiteY1700" fmla="*/ 4649445 h 6851196"/>
                <a:gd name="connsiteX1701" fmla="*/ 8038274 w 12187339"/>
                <a:gd name="connsiteY1701" fmla="*/ 4649445 h 6851196"/>
                <a:gd name="connsiteX1702" fmla="*/ 8038274 w 12187339"/>
                <a:gd name="connsiteY1702" fmla="*/ 4887162 h 6851196"/>
                <a:gd name="connsiteX1703" fmla="*/ 7814186 w 12187339"/>
                <a:gd name="connsiteY1703" fmla="*/ 4887162 h 6851196"/>
                <a:gd name="connsiteX1704" fmla="*/ 8044677 w 12187339"/>
                <a:gd name="connsiteY1704" fmla="*/ 4649445 h 6851196"/>
                <a:gd name="connsiteX1705" fmla="*/ 8267227 w 12187339"/>
                <a:gd name="connsiteY1705" fmla="*/ 4649445 h 6851196"/>
                <a:gd name="connsiteX1706" fmla="*/ 8267227 w 12187339"/>
                <a:gd name="connsiteY1706" fmla="*/ 4887162 h 6851196"/>
                <a:gd name="connsiteX1707" fmla="*/ 8044420 w 12187339"/>
                <a:gd name="connsiteY1707" fmla="*/ 4887162 h 6851196"/>
                <a:gd name="connsiteX1708" fmla="*/ 8273629 w 12187339"/>
                <a:gd name="connsiteY1708" fmla="*/ 4649445 h 6851196"/>
                <a:gd name="connsiteX1709" fmla="*/ 8497718 w 12187339"/>
                <a:gd name="connsiteY1709" fmla="*/ 4649445 h 6851196"/>
                <a:gd name="connsiteX1710" fmla="*/ 8497718 w 12187339"/>
                <a:gd name="connsiteY1710" fmla="*/ 4887162 h 6851196"/>
                <a:gd name="connsiteX1711" fmla="*/ 8273629 w 12187339"/>
                <a:gd name="connsiteY1711" fmla="*/ 4887162 h 6851196"/>
                <a:gd name="connsiteX1712" fmla="*/ 8504120 w 12187339"/>
                <a:gd name="connsiteY1712" fmla="*/ 4649445 h 6851196"/>
                <a:gd name="connsiteX1713" fmla="*/ 8728209 w 12187339"/>
                <a:gd name="connsiteY1713" fmla="*/ 4649445 h 6851196"/>
                <a:gd name="connsiteX1714" fmla="*/ 8728209 w 12187339"/>
                <a:gd name="connsiteY1714" fmla="*/ 4887162 h 6851196"/>
                <a:gd name="connsiteX1715" fmla="*/ 8504120 w 12187339"/>
                <a:gd name="connsiteY1715" fmla="*/ 4887162 h 6851196"/>
                <a:gd name="connsiteX1716" fmla="*/ 8734611 w 12187339"/>
                <a:gd name="connsiteY1716" fmla="*/ 4649445 h 6851196"/>
                <a:gd name="connsiteX1717" fmla="*/ 8957162 w 12187339"/>
                <a:gd name="connsiteY1717" fmla="*/ 4649445 h 6851196"/>
                <a:gd name="connsiteX1718" fmla="*/ 8957162 w 12187339"/>
                <a:gd name="connsiteY1718" fmla="*/ 4887162 h 6851196"/>
                <a:gd name="connsiteX1719" fmla="*/ 8734611 w 12187339"/>
                <a:gd name="connsiteY1719" fmla="*/ 4887162 h 6851196"/>
                <a:gd name="connsiteX1720" fmla="*/ 8963564 w 12187339"/>
                <a:gd name="connsiteY1720" fmla="*/ 4649445 h 6851196"/>
                <a:gd name="connsiteX1721" fmla="*/ 9187653 w 12187339"/>
                <a:gd name="connsiteY1721" fmla="*/ 4649445 h 6851196"/>
                <a:gd name="connsiteX1722" fmla="*/ 9187653 w 12187339"/>
                <a:gd name="connsiteY1722" fmla="*/ 4887162 h 6851196"/>
                <a:gd name="connsiteX1723" fmla="*/ 8963564 w 12187339"/>
                <a:gd name="connsiteY1723" fmla="*/ 4887162 h 6851196"/>
                <a:gd name="connsiteX1724" fmla="*/ 9194055 w 12187339"/>
                <a:gd name="connsiteY1724" fmla="*/ 4649445 h 6851196"/>
                <a:gd name="connsiteX1725" fmla="*/ 9418144 w 12187339"/>
                <a:gd name="connsiteY1725" fmla="*/ 4649445 h 6851196"/>
                <a:gd name="connsiteX1726" fmla="*/ 9418144 w 12187339"/>
                <a:gd name="connsiteY1726" fmla="*/ 4887162 h 6851196"/>
                <a:gd name="connsiteX1727" fmla="*/ 9194055 w 12187339"/>
                <a:gd name="connsiteY1727" fmla="*/ 4887162 h 6851196"/>
                <a:gd name="connsiteX1728" fmla="*/ 9424546 w 12187339"/>
                <a:gd name="connsiteY1728" fmla="*/ 4649445 h 6851196"/>
                <a:gd name="connsiteX1729" fmla="*/ 9648635 w 12187339"/>
                <a:gd name="connsiteY1729" fmla="*/ 4649445 h 6851196"/>
                <a:gd name="connsiteX1730" fmla="*/ 9648635 w 12187339"/>
                <a:gd name="connsiteY1730" fmla="*/ 4887162 h 6851196"/>
                <a:gd name="connsiteX1731" fmla="*/ 9424546 w 12187339"/>
                <a:gd name="connsiteY1731" fmla="*/ 4887162 h 6851196"/>
                <a:gd name="connsiteX1732" fmla="*/ 9655037 w 12187339"/>
                <a:gd name="connsiteY1732" fmla="*/ 4649445 h 6851196"/>
                <a:gd name="connsiteX1733" fmla="*/ 9877591 w 12187339"/>
                <a:gd name="connsiteY1733" fmla="*/ 4649445 h 6851196"/>
                <a:gd name="connsiteX1734" fmla="*/ 9877591 w 12187339"/>
                <a:gd name="connsiteY1734" fmla="*/ 4887162 h 6851196"/>
                <a:gd name="connsiteX1735" fmla="*/ 9655037 w 12187339"/>
                <a:gd name="connsiteY1735" fmla="*/ 4887162 h 6851196"/>
                <a:gd name="connsiteX1736" fmla="*/ 9883993 w 12187339"/>
                <a:gd name="connsiteY1736" fmla="*/ 4649445 h 6851196"/>
                <a:gd name="connsiteX1737" fmla="*/ 10108082 w 12187339"/>
                <a:gd name="connsiteY1737" fmla="*/ 4649445 h 6851196"/>
                <a:gd name="connsiteX1738" fmla="*/ 10108082 w 12187339"/>
                <a:gd name="connsiteY1738" fmla="*/ 4887162 h 6851196"/>
                <a:gd name="connsiteX1739" fmla="*/ 9883993 w 12187339"/>
                <a:gd name="connsiteY1739" fmla="*/ 4887162 h 6851196"/>
                <a:gd name="connsiteX1740" fmla="*/ 10114484 w 12187339"/>
                <a:gd name="connsiteY1740" fmla="*/ 4649445 h 6851196"/>
                <a:gd name="connsiteX1741" fmla="*/ 10338573 w 12187339"/>
                <a:gd name="connsiteY1741" fmla="*/ 4649445 h 6851196"/>
                <a:gd name="connsiteX1742" fmla="*/ 10338573 w 12187339"/>
                <a:gd name="connsiteY1742" fmla="*/ 4887162 h 6851196"/>
                <a:gd name="connsiteX1743" fmla="*/ 10114484 w 12187339"/>
                <a:gd name="connsiteY1743" fmla="*/ 4887162 h 6851196"/>
                <a:gd name="connsiteX1744" fmla="*/ 10114484 w 12187339"/>
                <a:gd name="connsiteY1744" fmla="*/ 4642642 h 6851196"/>
                <a:gd name="connsiteX1745" fmla="*/ 10114484 w 12187339"/>
                <a:gd name="connsiteY1745" fmla="*/ 4406149 h 6851196"/>
                <a:gd name="connsiteX1746" fmla="*/ 10338573 w 12187339"/>
                <a:gd name="connsiteY1746" fmla="*/ 4406149 h 6851196"/>
                <a:gd name="connsiteX1747" fmla="*/ 10338573 w 12187339"/>
                <a:gd name="connsiteY1747" fmla="*/ 4642233 h 6851196"/>
                <a:gd name="connsiteX1748" fmla="*/ 10114484 w 12187339"/>
                <a:gd name="connsiteY1748" fmla="*/ 4399346 h 6851196"/>
                <a:gd name="connsiteX1749" fmla="*/ 10114484 w 12187339"/>
                <a:gd name="connsiteY1749" fmla="*/ 4161221 h 6851196"/>
                <a:gd name="connsiteX1750" fmla="*/ 10338573 w 12187339"/>
                <a:gd name="connsiteY1750" fmla="*/ 4161221 h 6851196"/>
                <a:gd name="connsiteX1751" fmla="*/ 10338573 w 12187339"/>
                <a:gd name="connsiteY1751" fmla="*/ 4399346 h 6851196"/>
                <a:gd name="connsiteX1752" fmla="*/ 10114484 w 12187339"/>
                <a:gd name="connsiteY1752" fmla="*/ 4154417 h 6851196"/>
                <a:gd name="connsiteX1753" fmla="*/ 10114484 w 12187339"/>
                <a:gd name="connsiteY1753" fmla="*/ 3916292 h 6851196"/>
                <a:gd name="connsiteX1754" fmla="*/ 10338573 w 12187339"/>
                <a:gd name="connsiteY1754" fmla="*/ 3916292 h 6851196"/>
                <a:gd name="connsiteX1755" fmla="*/ 10338573 w 12187339"/>
                <a:gd name="connsiteY1755" fmla="*/ 4154417 h 6851196"/>
                <a:gd name="connsiteX1756" fmla="*/ 10114484 w 12187339"/>
                <a:gd name="connsiteY1756" fmla="*/ 3909489 h 6851196"/>
                <a:gd name="connsiteX1757" fmla="*/ 10114484 w 12187339"/>
                <a:gd name="connsiteY1757" fmla="*/ 3671364 h 6851196"/>
                <a:gd name="connsiteX1758" fmla="*/ 10338573 w 12187339"/>
                <a:gd name="connsiteY1758" fmla="*/ 3671364 h 6851196"/>
                <a:gd name="connsiteX1759" fmla="*/ 10338573 w 12187339"/>
                <a:gd name="connsiteY1759" fmla="*/ 3909489 h 6851196"/>
                <a:gd name="connsiteX1760" fmla="*/ 10114484 w 12187339"/>
                <a:gd name="connsiteY1760" fmla="*/ 3664560 h 6851196"/>
                <a:gd name="connsiteX1761" fmla="*/ 10114484 w 12187339"/>
                <a:gd name="connsiteY1761" fmla="*/ 3428068 h 6851196"/>
                <a:gd name="connsiteX1762" fmla="*/ 10338573 w 12187339"/>
                <a:gd name="connsiteY1762" fmla="*/ 3428068 h 6851196"/>
                <a:gd name="connsiteX1763" fmla="*/ 10338573 w 12187339"/>
                <a:gd name="connsiteY1763" fmla="*/ 3664560 h 6851196"/>
                <a:gd name="connsiteX1764" fmla="*/ 10114484 w 12187339"/>
                <a:gd name="connsiteY1764" fmla="*/ 3421264 h 6851196"/>
                <a:gd name="connsiteX1765" fmla="*/ 10114484 w 12187339"/>
                <a:gd name="connsiteY1765" fmla="*/ 3183139 h 6851196"/>
                <a:gd name="connsiteX1766" fmla="*/ 10338573 w 12187339"/>
                <a:gd name="connsiteY1766" fmla="*/ 3183139 h 6851196"/>
                <a:gd name="connsiteX1767" fmla="*/ 10338573 w 12187339"/>
                <a:gd name="connsiteY1767" fmla="*/ 3421264 h 6851196"/>
                <a:gd name="connsiteX1768" fmla="*/ 10114484 w 12187339"/>
                <a:gd name="connsiteY1768" fmla="*/ 3176336 h 6851196"/>
                <a:gd name="connsiteX1769" fmla="*/ 10114484 w 12187339"/>
                <a:gd name="connsiteY1769" fmla="*/ 2938211 h 6851196"/>
                <a:gd name="connsiteX1770" fmla="*/ 10338573 w 12187339"/>
                <a:gd name="connsiteY1770" fmla="*/ 2938211 h 6851196"/>
                <a:gd name="connsiteX1771" fmla="*/ 10338573 w 12187339"/>
                <a:gd name="connsiteY1771" fmla="*/ 3176336 h 6851196"/>
                <a:gd name="connsiteX1772" fmla="*/ 10114484 w 12187339"/>
                <a:gd name="connsiteY1772" fmla="*/ 2931407 h 6851196"/>
                <a:gd name="connsiteX1773" fmla="*/ 10114484 w 12187339"/>
                <a:gd name="connsiteY1773" fmla="*/ 2693282 h 6851196"/>
                <a:gd name="connsiteX1774" fmla="*/ 10338573 w 12187339"/>
                <a:gd name="connsiteY1774" fmla="*/ 2693282 h 6851196"/>
                <a:gd name="connsiteX1775" fmla="*/ 10338573 w 12187339"/>
                <a:gd name="connsiteY1775" fmla="*/ 2931407 h 6851196"/>
                <a:gd name="connsiteX1776" fmla="*/ 10114484 w 12187339"/>
                <a:gd name="connsiteY1776" fmla="*/ 2686479 h 6851196"/>
                <a:gd name="connsiteX1777" fmla="*/ 10114484 w 12187339"/>
                <a:gd name="connsiteY1777" fmla="*/ 2449986 h 6851196"/>
                <a:gd name="connsiteX1778" fmla="*/ 10338573 w 12187339"/>
                <a:gd name="connsiteY1778" fmla="*/ 2449986 h 6851196"/>
                <a:gd name="connsiteX1779" fmla="*/ 10338573 w 12187339"/>
                <a:gd name="connsiteY1779" fmla="*/ 2686479 h 6851196"/>
                <a:gd name="connsiteX1780" fmla="*/ 10114484 w 12187339"/>
                <a:gd name="connsiteY1780" fmla="*/ 2443183 h 6851196"/>
                <a:gd name="connsiteX1781" fmla="*/ 10114484 w 12187339"/>
                <a:gd name="connsiteY1781" fmla="*/ 2205058 h 6851196"/>
                <a:gd name="connsiteX1782" fmla="*/ 10338573 w 12187339"/>
                <a:gd name="connsiteY1782" fmla="*/ 2205058 h 6851196"/>
                <a:gd name="connsiteX1783" fmla="*/ 10338573 w 12187339"/>
                <a:gd name="connsiteY1783" fmla="*/ 2443183 h 6851196"/>
                <a:gd name="connsiteX1784" fmla="*/ 10114484 w 12187339"/>
                <a:gd name="connsiteY1784" fmla="*/ 2198254 h 6851196"/>
                <a:gd name="connsiteX1785" fmla="*/ 10114484 w 12187339"/>
                <a:gd name="connsiteY1785" fmla="*/ 1960129 h 6851196"/>
                <a:gd name="connsiteX1786" fmla="*/ 10338573 w 12187339"/>
                <a:gd name="connsiteY1786" fmla="*/ 1960129 h 6851196"/>
                <a:gd name="connsiteX1787" fmla="*/ 10338573 w 12187339"/>
                <a:gd name="connsiteY1787" fmla="*/ 2198254 h 6851196"/>
                <a:gd name="connsiteX1788" fmla="*/ 10114484 w 12187339"/>
                <a:gd name="connsiteY1788" fmla="*/ 1953326 h 6851196"/>
                <a:gd name="connsiteX1789" fmla="*/ 10114484 w 12187339"/>
                <a:gd name="connsiteY1789" fmla="*/ 1716697 h 6851196"/>
                <a:gd name="connsiteX1790" fmla="*/ 10338573 w 12187339"/>
                <a:gd name="connsiteY1790" fmla="*/ 1716697 h 6851196"/>
                <a:gd name="connsiteX1791" fmla="*/ 10338573 w 12187339"/>
                <a:gd name="connsiteY1791" fmla="*/ 1953189 h 6851196"/>
                <a:gd name="connsiteX1792" fmla="*/ 10108082 w 12187339"/>
                <a:gd name="connsiteY1792" fmla="*/ 1953326 h 6851196"/>
                <a:gd name="connsiteX1793" fmla="*/ 9883993 w 12187339"/>
                <a:gd name="connsiteY1793" fmla="*/ 1953326 h 6851196"/>
                <a:gd name="connsiteX1794" fmla="*/ 9883993 w 12187339"/>
                <a:gd name="connsiteY1794" fmla="*/ 1716697 h 6851196"/>
                <a:gd name="connsiteX1795" fmla="*/ 10108082 w 12187339"/>
                <a:gd name="connsiteY1795" fmla="*/ 1716697 h 6851196"/>
                <a:gd name="connsiteX1796" fmla="*/ 9877591 w 12187339"/>
                <a:gd name="connsiteY1796" fmla="*/ 1953326 h 6851196"/>
                <a:gd name="connsiteX1797" fmla="*/ 9655037 w 12187339"/>
                <a:gd name="connsiteY1797" fmla="*/ 1953326 h 6851196"/>
                <a:gd name="connsiteX1798" fmla="*/ 9655037 w 12187339"/>
                <a:gd name="connsiteY1798" fmla="*/ 1716697 h 6851196"/>
                <a:gd name="connsiteX1799" fmla="*/ 9877591 w 12187339"/>
                <a:gd name="connsiteY1799" fmla="*/ 1716697 h 6851196"/>
                <a:gd name="connsiteX1800" fmla="*/ 9648635 w 12187339"/>
                <a:gd name="connsiteY1800" fmla="*/ 1953326 h 6851196"/>
                <a:gd name="connsiteX1801" fmla="*/ 9424546 w 12187339"/>
                <a:gd name="connsiteY1801" fmla="*/ 1953326 h 6851196"/>
                <a:gd name="connsiteX1802" fmla="*/ 9424546 w 12187339"/>
                <a:gd name="connsiteY1802" fmla="*/ 1716697 h 6851196"/>
                <a:gd name="connsiteX1803" fmla="*/ 9648635 w 12187339"/>
                <a:gd name="connsiteY1803" fmla="*/ 1716697 h 6851196"/>
                <a:gd name="connsiteX1804" fmla="*/ 9418144 w 12187339"/>
                <a:gd name="connsiteY1804" fmla="*/ 1953326 h 6851196"/>
                <a:gd name="connsiteX1805" fmla="*/ 9194055 w 12187339"/>
                <a:gd name="connsiteY1805" fmla="*/ 1953326 h 6851196"/>
                <a:gd name="connsiteX1806" fmla="*/ 9194055 w 12187339"/>
                <a:gd name="connsiteY1806" fmla="*/ 1716697 h 6851196"/>
                <a:gd name="connsiteX1807" fmla="*/ 9418144 w 12187339"/>
                <a:gd name="connsiteY1807" fmla="*/ 1716697 h 6851196"/>
                <a:gd name="connsiteX1808" fmla="*/ 9187653 w 12187339"/>
                <a:gd name="connsiteY1808" fmla="*/ 1953326 h 6851196"/>
                <a:gd name="connsiteX1809" fmla="*/ 8963564 w 12187339"/>
                <a:gd name="connsiteY1809" fmla="*/ 1953326 h 6851196"/>
                <a:gd name="connsiteX1810" fmla="*/ 8963564 w 12187339"/>
                <a:gd name="connsiteY1810" fmla="*/ 1716697 h 6851196"/>
                <a:gd name="connsiteX1811" fmla="*/ 9187653 w 12187339"/>
                <a:gd name="connsiteY1811" fmla="*/ 1716697 h 6851196"/>
                <a:gd name="connsiteX1812" fmla="*/ 8957162 w 12187339"/>
                <a:gd name="connsiteY1812" fmla="*/ 1953326 h 6851196"/>
                <a:gd name="connsiteX1813" fmla="*/ 8734611 w 12187339"/>
                <a:gd name="connsiteY1813" fmla="*/ 1953326 h 6851196"/>
                <a:gd name="connsiteX1814" fmla="*/ 8734611 w 12187339"/>
                <a:gd name="connsiteY1814" fmla="*/ 1716697 h 6851196"/>
                <a:gd name="connsiteX1815" fmla="*/ 8957162 w 12187339"/>
                <a:gd name="connsiteY1815" fmla="*/ 1716697 h 6851196"/>
                <a:gd name="connsiteX1816" fmla="*/ 8728209 w 12187339"/>
                <a:gd name="connsiteY1816" fmla="*/ 1953326 h 6851196"/>
                <a:gd name="connsiteX1817" fmla="*/ 8504120 w 12187339"/>
                <a:gd name="connsiteY1817" fmla="*/ 1953326 h 6851196"/>
                <a:gd name="connsiteX1818" fmla="*/ 8504120 w 12187339"/>
                <a:gd name="connsiteY1818" fmla="*/ 1716697 h 6851196"/>
                <a:gd name="connsiteX1819" fmla="*/ 8728209 w 12187339"/>
                <a:gd name="connsiteY1819" fmla="*/ 1716697 h 6851196"/>
                <a:gd name="connsiteX1820" fmla="*/ 8497718 w 12187339"/>
                <a:gd name="connsiteY1820" fmla="*/ 1953326 h 6851196"/>
                <a:gd name="connsiteX1821" fmla="*/ 8273629 w 12187339"/>
                <a:gd name="connsiteY1821" fmla="*/ 1953326 h 6851196"/>
                <a:gd name="connsiteX1822" fmla="*/ 8273629 w 12187339"/>
                <a:gd name="connsiteY1822" fmla="*/ 1716697 h 6851196"/>
                <a:gd name="connsiteX1823" fmla="*/ 8497718 w 12187339"/>
                <a:gd name="connsiteY1823" fmla="*/ 1716697 h 6851196"/>
                <a:gd name="connsiteX1824" fmla="*/ 8267227 w 12187339"/>
                <a:gd name="connsiteY1824" fmla="*/ 1953326 h 6851196"/>
                <a:gd name="connsiteX1825" fmla="*/ 8044420 w 12187339"/>
                <a:gd name="connsiteY1825" fmla="*/ 1953326 h 6851196"/>
                <a:gd name="connsiteX1826" fmla="*/ 8044420 w 12187339"/>
                <a:gd name="connsiteY1826" fmla="*/ 1716697 h 6851196"/>
                <a:gd name="connsiteX1827" fmla="*/ 8267227 w 12187339"/>
                <a:gd name="connsiteY1827" fmla="*/ 1716697 h 6851196"/>
                <a:gd name="connsiteX1828" fmla="*/ 8038274 w 12187339"/>
                <a:gd name="connsiteY1828" fmla="*/ 1953326 h 6851196"/>
                <a:gd name="connsiteX1829" fmla="*/ 7814186 w 12187339"/>
                <a:gd name="connsiteY1829" fmla="*/ 1953326 h 6851196"/>
                <a:gd name="connsiteX1830" fmla="*/ 7814186 w 12187339"/>
                <a:gd name="connsiteY1830" fmla="*/ 1716697 h 6851196"/>
                <a:gd name="connsiteX1831" fmla="*/ 8038274 w 12187339"/>
                <a:gd name="connsiteY1831" fmla="*/ 1716697 h 6851196"/>
                <a:gd name="connsiteX1832" fmla="*/ 7807783 w 12187339"/>
                <a:gd name="connsiteY1832" fmla="*/ 1953326 h 6851196"/>
                <a:gd name="connsiteX1833" fmla="*/ 7583695 w 12187339"/>
                <a:gd name="connsiteY1833" fmla="*/ 1953326 h 6851196"/>
                <a:gd name="connsiteX1834" fmla="*/ 7583695 w 12187339"/>
                <a:gd name="connsiteY1834" fmla="*/ 1716697 h 6851196"/>
                <a:gd name="connsiteX1835" fmla="*/ 7807783 w 12187339"/>
                <a:gd name="connsiteY1835" fmla="*/ 1716697 h 6851196"/>
                <a:gd name="connsiteX1836" fmla="*/ 7577292 w 12187339"/>
                <a:gd name="connsiteY1836" fmla="*/ 1953326 h 6851196"/>
                <a:gd name="connsiteX1837" fmla="*/ 7353204 w 12187339"/>
                <a:gd name="connsiteY1837" fmla="*/ 1953326 h 6851196"/>
                <a:gd name="connsiteX1838" fmla="*/ 7353204 w 12187339"/>
                <a:gd name="connsiteY1838" fmla="*/ 1716697 h 6851196"/>
                <a:gd name="connsiteX1839" fmla="*/ 7577292 w 12187339"/>
                <a:gd name="connsiteY1839" fmla="*/ 1716697 h 6851196"/>
                <a:gd name="connsiteX1840" fmla="*/ 7346801 w 12187339"/>
                <a:gd name="connsiteY1840" fmla="*/ 1953326 h 6851196"/>
                <a:gd name="connsiteX1841" fmla="*/ 7124247 w 12187339"/>
                <a:gd name="connsiteY1841" fmla="*/ 1953326 h 6851196"/>
                <a:gd name="connsiteX1842" fmla="*/ 7124247 w 12187339"/>
                <a:gd name="connsiteY1842" fmla="*/ 1716697 h 6851196"/>
                <a:gd name="connsiteX1843" fmla="*/ 7346801 w 12187339"/>
                <a:gd name="connsiteY1843" fmla="*/ 1716697 h 6851196"/>
                <a:gd name="connsiteX1844" fmla="*/ 7117845 w 12187339"/>
                <a:gd name="connsiteY1844" fmla="*/ 1953326 h 6851196"/>
                <a:gd name="connsiteX1845" fmla="*/ 6893756 w 12187339"/>
                <a:gd name="connsiteY1845" fmla="*/ 1953326 h 6851196"/>
                <a:gd name="connsiteX1846" fmla="*/ 6893756 w 12187339"/>
                <a:gd name="connsiteY1846" fmla="*/ 1716697 h 6851196"/>
                <a:gd name="connsiteX1847" fmla="*/ 7117845 w 12187339"/>
                <a:gd name="connsiteY1847" fmla="*/ 1716697 h 6851196"/>
                <a:gd name="connsiteX1848" fmla="*/ 6887354 w 12187339"/>
                <a:gd name="connsiteY1848" fmla="*/ 1953326 h 6851196"/>
                <a:gd name="connsiteX1849" fmla="*/ 6663265 w 12187339"/>
                <a:gd name="connsiteY1849" fmla="*/ 1953326 h 6851196"/>
                <a:gd name="connsiteX1850" fmla="*/ 6663265 w 12187339"/>
                <a:gd name="connsiteY1850" fmla="*/ 1716697 h 6851196"/>
                <a:gd name="connsiteX1851" fmla="*/ 6887354 w 12187339"/>
                <a:gd name="connsiteY1851" fmla="*/ 1716697 h 6851196"/>
                <a:gd name="connsiteX1852" fmla="*/ 6656863 w 12187339"/>
                <a:gd name="connsiteY1852" fmla="*/ 1953326 h 6851196"/>
                <a:gd name="connsiteX1853" fmla="*/ 6446349 w 12187339"/>
                <a:gd name="connsiteY1853" fmla="*/ 1953326 h 6851196"/>
                <a:gd name="connsiteX1854" fmla="*/ 6446349 w 12187339"/>
                <a:gd name="connsiteY1854" fmla="*/ 1716697 h 6851196"/>
                <a:gd name="connsiteX1855" fmla="*/ 6656863 w 12187339"/>
                <a:gd name="connsiteY1855" fmla="*/ 1716697 h 6851196"/>
                <a:gd name="connsiteX1856" fmla="*/ 6439946 w 12187339"/>
                <a:gd name="connsiteY1856" fmla="*/ 1953326 h 6851196"/>
                <a:gd name="connsiteX1857" fmla="*/ 6217136 w 12187339"/>
                <a:gd name="connsiteY1857" fmla="*/ 1953326 h 6851196"/>
                <a:gd name="connsiteX1858" fmla="*/ 6217136 w 12187339"/>
                <a:gd name="connsiteY1858" fmla="*/ 1716697 h 6851196"/>
                <a:gd name="connsiteX1859" fmla="*/ 6439690 w 12187339"/>
                <a:gd name="connsiteY1859" fmla="*/ 1716697 h 6851196"/>
                <a:gd name="connsiteX1860" fmla="*/ 6210990 w 12187339"/>
                <a:gd name="connsiteY1860" fmla="*/ 1953326 h 6851196"/>
                <a:gd name="connsiteX1861" fmla="*/ 5986902 w 12187339"/>
                <a:gd name="connsiteY1861" fmla="*/ 1953326 h 6851196"/>
                <a:gd name="connsiteX1862" fmla="*/ 5986902 w 12187339"/>
                <a:gd name="connsiteY1862" fmla="*/ 1716697 h 6851196"/>
                <a:gd name="connsiteX1863" fmla="*/ 6210990 w 12187339"/>
                <a:gd name="connsiteY1863" fmla="*/ 1716697 h 6851196"/>
                <a:gd name="connsiteX1864" fmla="*/ 5980499 w 12187339"/>
                <a:gd name="connsiteY1864" fmla="*/ 1953326 h 6851196"/>
                <a:gd name="connsiteX1865" fmla="*/ 5756411 w 12187339"/>
                <a:gd name="connsiteY1865" fmla="*/ 1953326 h 6851196"/>
                <a:gd name="connsiteX1866" fmla="*/ 5756411 w 12187339"/>
                <a:gd name="connsiteY1866" fmla="*/ 1716697 h 6851196"/>
                <a:gd name="connsiteX1867" fmla="*/ 5980499 w 12187339"/>
                <a:gd name="connsiteY1867" fmla="*/ 1716697 h 6851196"/>
                <a:gd name="connsiteX1868" fmla="*/ 5750008 w 12187339"/>
                <a:gd name="connsiteY1868" fmla="*/ 1953326 h 6851196"/>
                <a:gd name="connsiteX1869" fmla="*/ 5526945 w 12187339"/>
                <a:gd name="connsiteY1869" fmla="*/ 1953326 h 6851196"/>
                <a:gd name="connsiteX1870" fmla="*/ 5526945 w 12187339"/>
                <a:gd name="connsiteY1870" fmla="*/ 1716697 h 6851196"/>
                <a:gd name="connsiteX1871" fmla="*/ 5749495 w 12187339"/>
                <a:gd name="connsiteY1871" fmla="*/ 1716697 h 6851196"/>
                <a:gd name="connsiteX1872" fmla="*/ 5521055 w 12187339"/>
                <a:gd name="connsiteY1872" fmla="*/ 1953326 h 6851196"/>
                <a:gd name="connsiteX1873" fmla="*/ 5296454 w 12187339"/>
                <a:gd name="connsiteY1873" fmla="*/ 1953326 h 6851196"/>
                <a:gd name="connsiteX1874" fmla="*/ 5296454 w 12187339"/>
                <a:gd name="connsiteY1874" fmla="*/ 1716697 h 6851196"/>
                <a:gd name="connsiteX1875" fmla="*/ 5520542 w 12187339"/>
                <a:gd name="connsiteY1875" fmla="*/ 1716697 h 6851196"/>
                <a:gd name="connsiteX1876" fmla="*/ 5290564 w 12187339"/>
                <a:gd name="connsiteY1876" fmla="*/ 1953326 h 6851196"/>
                <a:gd name="connsiteX1877" fmla="*/ 5065963 w 12187339"/>
                <a:gd name="connsiteY1877" fmla="*/ 1953326 h 6851196"/>
                <a:gd name="connsiteX1878" fmla="*/ 5065963 w 12187339"/>
                <a:gd name="connsiteY1878" fmla="*/ 1716697 h 6851196"/>
                <a:gd name="connsiteX1879" fmla="*/ 5290051 w 12187339"/>
                <a:gd name="connsiteY1879" fmla="*/ 1716697 h 6851196"/>
                <a:gd name="connsiteX1880" fmla="*/ 5060073 w 12187339"/>
                <a:gd name="connsiteY1880" fmla="*/ 1953326 h 6851196"/>
                <a:gd name="connsiteX1881" fmla="*/ 4835472 w 12187339"/>
                <a:gd name="connsiteY1881" fmla="*/ 1953326 h 6851196"/>
                <a:gd name="connsiteX1882" fmla="*/ 4835472 w 12187339"/>
                <a:gd name="connsiteY1882" fmla="*/ 1716697 h 6851196"/>
                <a:gd name="connsiteX1883" fmla="*/ 5059560 w 12187339"/>
                <a:gd name="connsiteY1883" fmla="*/ 1716697 h 6851196"/>
                <a:gd name="connsiteX1884" fmla="*/ 4829582 w 12187339"/>
                <a:gd name="connsiteY1884" fmla="*/ 1953326 h 6851196"/>
                <a:gd name="connsiteX1885" fmla="*/ 4607029 w 12187339"/>
                <a:gd name="connsiteY1885" fmla="*/ 1953326 h 6851196"/>
                <a:gd name="connsiteX1886" fmla="*/ 4607029 w 12187339"/>
                <a:gd name="connsiteY1886" fmla="*/ 1716697 h 6851196"/>
                <a:gd name="connsiteX1887" fmla="*/ 4829582 w 12187339"/>
                <a:gd name="connsiteY1887" fmla="*/ 1716697 h 6851196"/>
                <a:gd name="connsiteX1888" fmla="*/ 4600626 w 12187339"/>
                <a:gd name="connsiteY1888" fmla="*/ 1953326 h 6851196"/>
                <a:gd name="connsiteX1889" fmla="*/ 4376538 w 12187339"/>
                <a:gd name="connsiteY1889" fmla="*/ 1953326 h 6851196"/>
                <a:gd name="connsiteX1890" fmla="*/ 4376538 w 12187339"/>
                <a:gd name="connsiteY1890" fmla="*/ 1716697 h 6851196"/>
                <a:gd name="connsiteX1891" fmla="*/ 4600626 w 12187339"/>
                <a:gd name="connsiteY1891" fmla="*/ 1716697 h 6851196"/>
                <a:gd name="connsiteX1892" fmla="*/ 4370135 w 12187339"/>
                <a:gd name="connsiteY1892" fmla="*/ 1953326 h 6851196"/>
                <a:gd name="connsiteX1893" fmla="*/ 4146047 w 12187339"/>
                <a:gd name="connsiteY1893" fmla="*/ 1953326 h 6851196"/>
                <a:gd name="connsiteX1894" fmla="*/ 4146047 w 12187339"/>
                <a:gd name="connsiteY1894" fmla="*/ 1716697 h 6851196"/>
                <a:gd name="connsiteX1895" fmla="*/ 4370135 w 12187339"/>
                <a:gd name="connsiteY1895" fmla="*/ 1716697 h 6851196"/>
                <a:gd name="connsiteX1896" fmla="*/ 4139644 w 12187339"/>
                <a:gd name="connsiteY1896" fmla="*/ 1953326 h 6851196"/>
                <a:gd name="connsiteX1897" fmla="*/ 3917094 w 12187339"/>
                <a:gd name="connsiteY1897" fmla="*/ 1953326 h 6851196"/>
                <a:gd name="connsiteX1898" fmla="*/ 3917094 w 12187339"/>
                <a:gd name="connsiteY1898" fmla="*/ 1716697 h 6851196"/>
                <a:gd name="connsiteX1899" fmla="*/ 4139644 w 12187339"/>
                <a:gd name="connsiteY1899" fmla="*/ 1716697 h 6851196"/>
                <a:gd name="connsiteX1900" fmla="*/ 3910691 w 12187339"/>
                <a:gd name="connsiteY1900" fmla="*/ 1953326 h 6851196"/>
                <a:gd name="connsiteX1901" fmla="*/ 3686603 w 12187339"/>
                <a:gd name="connsiteY1901" fmla="*/ 1953326 h 6851196"/>
                <a:gd name="connsiteX1902" fmla="*/ 3686603 w 12187339"/>
                <a:gd name="connsiteY1902" fmla="*/ 1716697 h 6851196"/>
                <a:gd name="connsiteX1903" fmla="*/ 3910691 w 12187339"/>
                <a:gd name="connsiteY1903" fmla="*/ 1716697 h 6851196"/>
                <a:gd name="connsiteX1904" fmla="*/ 3680200 w 12187339"/>
                <a:gd name="connsiteY1904" fmla="*/ 1953326 h 6851196"/>
                <a:gd name="connsiteX1905" fmla="*/ 3456112 w 12187339"/>
                <a:gd name="connsiteY1905" fmla="*/ 1953326 h 6851196"/>
                <a:gd name="connsiteX1906" fmla="*/ 3456112 w 12187339"/>
                <a:gd name="connsiteY1906" fmla="*/ 1716697 h 6851196"/>
                <a:gd name="connsiteX1907" fmla="*/ 3680200 w 12187339"/>
                <a:gd name="connsiteY1907" fmla="*/ 1716697 h 6851196"/>
                <a:gd name="connsiteX1908" fmla="*/ 3449709 w 12187339"/>
                <a:gd name="connsiteY1908" fmla="*/ 1953326 h 6851196"/>
                <a:gd name="connsiteX1909" fmla="*/ 3225621 w 12187339"/>
                <a:gd name="connsiteY1909" fmla="*/ 1953326 h 6851196"/>
                <a:gd name="connsiteX1910" fmla="*/ 3225621 w 12187339"/>
                <a:gd name="connsiteY1910" fmla="*/ 1716697 h 6851196"/>
                <a:gd name="connsiteX1911" fmla="*/ 3449709 w 12187339"/>
                <a:gd name="connsiteY1911" fmla="*/ 1716697 h 6851196"/>
                <a:gd name="connsiteX1912" fmla="*/ 3219218 w 12187339"/>
                <a:gd name="connsiteY1912" fmla="*/ 1953326 h 6851196"/>
                <a:gd name="connsiteX1913" fmla="*/ 2996666 w 12187339"/>
                <a:gd name="connsiteY1913" fmla="*/ 1953326 h 6851196"/>
                <a:gd name="connsiteX1914" fmla="*/ 2996666 w 12187339"/>
                <a:gd name="connsiteY1914" fmla="*/ 1716697 h 6851196"/>
                <a:gd name="connsiteX1915" fmla="*/ 3219218 w 12187339"/>
                <a:gd name="connsiteY1915" fmla="*/ 1716697 h 6851196"/>
                <a:gd name="connsiteX1916" fmla="*/ 2990264 w 12187339"/>
                <a:gd name="connsiteY1916" fmla="*/ 1953326 h 6851196"/>
                <a:gd name="connsiteX1917" fmla="*/ 2766175 w 12187339"/>
                <a:gd name="connsiteY1917" fmla="*/ 1953326 h 6851196"/>
                <a:gd name="connsiteX1918" fmla="*/ 2766175 w 12187339"/>
                <a:gd name="connsiteY1918" fmla="*/ 1716697 h 6851196"/>
                <a:gd name="connsiteX1919" fmla="*/ 2990264 w 12187339"/>
                <a:gd name="connsiteY1919" fmla="*/ 1716697 h 6851196"/>
                <a:gd name="connsiteX1920" fmla="*/ 2759773 w 12187339"/>
                <a:gd name="connsiteY1920" fmla="*/ 1953326 h 6851196"/>
                <a:gd name="connsiteX1921" fmla="*/ 2535684 w 12187339"/>
                <a:gd name="connsiteY1921" fmla="*/ 1953326 h 6851196"/>
                <a:gd name="connsiteX1922" fmla="*/ 2535684 w 12187339"/>
                <a:gd name="connsiteY1922" fmla="*/ 1716697 h 6851196"/>
                <a:gd name="connsiteX1923" fmla="*/ 2759773 w 12187339"/>
                <a:gd name="connsiteY1923" fmla="*/ 1716697 h 6851196"/>
                <a:gd name="connsiteX1924" fmla="*/ 2529282 w 12187339"/>
                <a:gd name="connsiteY1924" fmla="*/ 1953326 h 6851196"/>
                <a:gd name="connsiteX1925" fmla="*/ 2305193 w 12187339"/>
                <a:gd name="connsiteY1925" fmla="*/ 1953326 h 6851196"/>
                <a:gd name="connsiteX1926" fmla="*/ 2305193 w 12187339"/>
                <a:gd name="connsiteY1926" fmla="*/ 1716697 h 6851196"/>
                <a:gd name="connsiteX1927" fmla="*/ 2529282 w 12187339"/>
                <a:gd name="connsiteY1927" fmla="*/ 1716697 h 6851196"/>
                <a:gd name="connsiteX1928" fmla="*/ 2298791 w 12187339"/>
                <a:gd name="connsiteY1928" fmla="*/ 1953326 h 6851196"/>
                <a:gd name="connsiteX1929" fmla="*/ 2075982 w 12187339"/>
                <a:gd name="connsiteY1929" fmla="*/ 1953326 h 6851196"/>
                <a:gd name="connsiteX1930" fmla="*/ 2075982 w 12187339"/>
                <a:gd name="connsiteY1930" fmla="*/ 1716697 h 6851196"/>
                <a:gd name="connsiteX1931" fmla="*/ 2298534 w 12187339"/>
                <a:gd name="connsiteY1931" fmla="*/ 1716697 h 6851196"/>
                <a:gd name="connsiteX1932" fmla="*/ 2069836 w 12187339"/>
                <a:gd name="connsiteY1932" fmla="*/ 1953326 h 6851196"/>
                <a:gd name="connsiteX1933" fmla="*/ 1845748 w 12187339"/>
                <a:gd name="connsiteY1933" fmla="*/ 1953326 h 6851196"/>
                <a:gd name="connsiteX1934" fmla="*/ 1845748 w 12187339"/>
                <a:gd name="connsiteY1934" fmla="*/ 1716697 h 6851196"/>
                <a:gd name="connsiteX1935" fmla="*/ 2069580 w 12187339"/>
                <a:gd name="connsiteY1935" fmla="*/ 1716697 h 6851196"/>
                <a:gd name="connsiteX1936" fmla="*/ 1839345 w 12187339"/>
                <a:gd name="connsiteY1936" fmla="*/ 1953326 h 6851196"/>
                <a:gd name="connsiteX1937" fmla="*/ 1615257 w 12187339"/>
                <a:gd name="connsiteY1937" fmla="*/ 1953326 h 6851196"/>
                <a:gd name="connsiteX1938" fmla="*/ 1615257 w 12187339"/>
                <a:gd name="connsiteY1938" fmla="*/ 1716697 h 6851196"/>
                <a:gd name="connsiteX1939" fmla="*/ 1839089 w 12187339"/>
                <a:gd name="connsiteY1939" fmla="*/ 1716697 h 6851196"/>
                <a:gd name="connsiteX1940" fmla="*/ 1839345 w 12187339"/>
                <a:gd name="connsiteY1940" fmla="*/ 1960129 h 6851196"/>
                <a:gd name="connsiteX1941" fmla="*/ 1839345 w 12187339"/>
                <a:gd name="connsiteY1941" fmla="*/ 2198254 h 6851196"/>
                <a:gd name="connsiteX1942" fmla="*/ 1615257 w 12187339"/>
                <a:gd name="connsiteY1942" fmla="*/ 2198254 h 6851196"/>
                <a:gd name="connsiteX1943" fmla="*/ 1615257 w 12187339"/>
                <a:gd name="connsiteY1943" fmla="*/ 1960129 h 6851196"/>
                <a:gd name="connsiteX1944" fmla="*/ 1839345 w 12187339"/>
                <a:gd name="connsiteY1944" fmla="*/ 2205058 h 6851196"/>
                <a:gd name="connsiteX1945" fmla="*/ 1839345 w 12187339"/>
                <a:gd name="connsiteY1945" fmla="*/ 2443183 h 6851196"/>
                <a:gd name="connsiteX1946" fmla="*/ 1615257 w 12187339"/>
                <a:gd name="connsiteY1946" fmla="*/ 2443183 h 6851196"/>
                <a:gd name="connsiteX1947" fmla="*/ 1615257 w 12187339"/>
                <a:gd name="connsiteY1947" fmla="*/ 2205058 h 6851196"/>
                <a:gd name="connsiteX1948" fmla="*/ 1839345 w 12187339"/>
                <a:gd name="connsiteY1948" fmla="*/ 2449986 h 6851196"/>
                <a:gd name="connsiteX1949" fmla="*/ 1839345 w 12187339"/>
                <a:gd name="connsiteY1949" fmla="*/ 2686479 h 6851196"/>
                <a:gd name="connsiteX1950" fmla="*/ 1615257 w 12187339"/>
                <a:gd name="connsiteY1950" fmla="*/ 2686479 h 6851196"/>
                <a:gd name="connsiteX1951" fmla="*/ 1615257 w 12187339"/>
                <a:gd name="connsiteY1951" fmla="*/ 2449986 h 6851196"/>
                <a:gd name="connsiteX1952" fmla="*/ 1839345 w 12187339"/>
                <a:gd name="connsiteY1952" fmla="*/ 2693282 h 6851196"/>
                <a:gd name="connsiteX1953" fmla="*/ 1839345 w 12187339"/>
                <a:gd name="connsiteY1953" fmla="*/ 2931407 h 6851196"/>
                <a:gd name="connsiteX1954" fmla="*/ 1615257 w 12187339"/>
                <a:gd name="connsiteY1954" fmla="*/ 2931407 h 6851196"/>
                <a:gd name="connsiteX1955" fmla="*/ 1615257 w 12187339"/>
                <a:gd name="connsiteY1955" fmla="*/ 2693282 h 6851196"/>
                <a:gd name="connsiteX1956" fmla="*/ 1839345 w 12187339"/>
                <a:gd name="connsiteY1956" fmla="*/ 2938211 h 6851196"/>
                <a:gd name="connsiteX1957" fmla="*/ 1839345 w 12187339"/>
                <a:gd name="connsiteY1957" fmla="*/ 3176336 h 6851196"/>
                <a:gd name="connsiteX1958" fmla="*/ 1615257 w 12187339"/>
                <a:gd name="connsiteY1958" fmla="*/ 3176336 h 6851196"/>
                <a:gd name="connsiteX1959" fmla="*/ 1615257 w 12187339"/>
                <a:gd name="connsiteY1959" fmla="*/ 2938211 h 6851196"/>
                <a:gd name="connsiteX1960" fmla="*/ 1839345 w 12187339"/>
                <a:gd name="connsiteY1960" fmla="*/ 3183139 h 6851196"/>
                <a:gd name="connsiteX1961" fmla="*/ 1839345 w 12187339"/>
                <a:gd name="connsiteY1961" fmla="*/ 3421264 h 6851196"/>
                <a:gd name="connsiteX1962" fmla="*/ 1615257 w 12187339"/>
                <a:gd name="connsiteY1962" fmla="*/ 3421264 h 6851196"/>
                <a:gd name="connsiteX1963" fmla="*/ 1615257 w 12187339"/>
                <a:gd name="connsiteY1963" fmla="*/ 3183139 h 6851196"/>
                <a:gd name="connsiteX1964" fmla="*/ 1839345 w 12187339"/>
                <a:gd name="connsiteY1964" fmla="*/ 3428068 h 6851196"/>
                <a:gd name="connsiteX1965" fmla="*/ 1839345 w 12187339"/>
                <a:gd name="connsiteY1965" fmla="*/ 3664560 h 6851196"/>
                <a:gd name="connsiteX1966" fmla="*/ 1615257 w 12187339"/>
                <a:gd name="connsiteY1966" fmla="*/ 3664560 h 6851196"/>
                <a:gd name="connsiteX1967" fmla="*/ 1615257 w 12187339"/>
                <a:gd name="connsiteY1967" fmla="*/ 3428068 h 6851196"/>
                <a:gd name="connsiteX1968" fmla="*/ 1839345 w 12187339"/>
                <a:gd name="connsiteY1968" fmla="*/ 3671364 h 6851196"/>
                <a:gd name="connsiteX1969" fmla="*/ 1839345 w 12187339"/>
                <a:gd name="connsiteY1969" fmla="*/ 3909489 h 6851196"/>
                <a:gd name="connsiteX1970" fmla="*/ 1615257 w 12187339"/>
                <a:gd name="connsiteY1970" fmla="*/ 3909489 h 6851196"/>
                <a:gd name="connsiteX1971" fmla="*/ 1615257 w 12187339"/>
                <a:gd name="connsiteY1971" fmla="*/ 3671364 h 6851196"/>
                <a:gd name="connsiteX1972" fmla="*/ 1839345 w 12187339"/>
                <a:gd name="connsiteY1972" fmla="*/ 3916292 h 6851196"/>
                <a:gd name="connsiteX1973" fmla="*/ 1839345 w 12187339"/>
                <a:gd name="connsiteY1973" fmla="*/ 4154417 h 6851196"/>
                <a:gd name="connsiteX1974" fmla="*/ 1615257 w 12187339"/>
                <a:gd name="connsiteY1974" fmla="*/ 4154417 h 6851196"/>
                <a:gd name="connsiteX1975" fmla="*/ 1615257 w 12187339"/>
                <a:gd name="connsiteY1975" fmla="*/ 3916292 h 6851196"/>
                <a:gd name="connsiteX1976" fmla="*/ 1839345 w 12187339"/>
                <a:gd name="connsiteY1976" fmla="*/ 4161221 h 6851196"/>
                <a:gd name="connsiteX1977" fmla="*/ 1839345 w 12187339"/>
                <a:gd name="connsiteY1977" fmla="*/ 4399346 h 6851196"/>
                <a:gd name="connsiteX1978" fmla="*/ 1615257 w 12187339"/>
                <a:gd name="connsiteY1978" fmla="*/ 4399346 h 6851196"/>
                <a:gd name="connsiteX1979" fmla="*/ 1615257 w 12187339"/>
                <a:gd name="connsiteY1979" fmla="*/ 4161221 h 6851196"/>
                <a:gd name="connsiteX1980" fmla="*/ 1839345 w 12187339"/>
                <a:gd name="connsiteY1980" fmla="*/ 4406149 h 6851196"/>
                <a:gd name="connsiteX1981" fmla="*/ 1839345 w 12187339"/>
                <a:gd name="connsiteY1981" fmla="*/ 4642233 h 6851196"/>
                <a:gd name="connsiteX1982" fmla="*/ 1615257 w 12187339"/>
                <a:gd name="connsiteY1982" fmla="*/ 4642233 h 6851196"/>
                <a:gd name="connsiteX1983" fmla="*/ 1615257 w 12187339"/>
                <a:gd name="connsiteY1983" fmla="*/ 4405741 h 6851196"/>
                <a:gd name="connsiteX1984" fmla="*/ 1839345 w 12187339"/>
                <a:gd name="connsiteY1984" fmla="*/ 4649445 h 6851196"/>
                <a:gd name="connsiteX1985" fmla="*/ 1839345 w 12187339"/>
                <a:gd name="connsiteY1985" fmla="*/ 4887162 h 6851196"/>
                <a:gd name="connsiteX1986" fmla="*/ 1615257 w 12187339"/>
                <a:gd name="connsiteY1986" fmla="*/ 4887162 h 6851196"/>
                <a:gd name="connsiteX1987" fmla="*/ 1615257 w 12187339"/>
                <a:gd name="connsiteY1987" fmla="*/ 4649037 h 6851196"/>
                <a:gd name="connsiteX1988" fmla="*/ 1839345 w 12187339"/>
                <a:gd name="connsiteY1988" fmla="*/ 4894374 h 6851196"/>
                <a:gd name="connsiteX1989" fmla="*/ 1839345 w 12187339"/>
                <a:gd name="connsiteY1989" fmla="*/ 5132090 h 6851196"/>
                <a:gd name="connsiteX1990" fmla="*/ 1615257 w 12187339"/>
                <a:gd name="connsiteY1990" fmla="*/ 5132090 h 6851196"/>
                <a:gd name="connsiteX1991" fmla="*/ 1615257 w 12187339"/>
                <a:gd name="connsiteY1991" fmla="*/ 4893965 h 6851196"/>
                <a:gd name="connsiteX1992" fmla="*/ 1845748 w 12187339"/>
                <a:gd name="connsiteY1992" fmla="*/ 4894374 h 6851196"/>
                <a:gd name="connsiteX1993" fmla="*/ 2069580 w 12187339"/>
                <a:gd name="connsiteY1993" fmla="*/ 4894374 h 6851196"/>
                <a:gd name="connsiteX1994" fmla="*/ 2069580 w 12187339"/>
                <a:gd name="connsiteY1994" fmla="*/ 5132090 h 6851196"/>
                <a:gd name="connsiteX1995" fmla="*/ 1845491 w 12187339"/>
                <a:gd name="connsiteY1995" fmla="*/ 5132090 h 6851196"/>
                <a:gd name="connsiteX1996" fmla="*/ 2076239 w 12187339"/>
                <a:gd name="connsiteY1996" fmla="*/ 4894374 h 6851196"/>
                <a:gd name="connsiteX1997" fmla="*/ 2298791 w 12187339"/>
                <a:gd name="connsiteY1997" fmla="*/ 4894374 h 6851196"/>
                <a:gd name="connsiteX1998" fmla="*/ 2298791 w 12187339"/>
                <a:gd name="connsiteY1998" fmla="*/ 5132090 h 6851196"/>
                <a:gd name="connsiteX1999" fmla="*/ 2075982 w 12187339"/>
                <a:gd name="connsiteY1999" fmla="*/ 5132090 h 6851196"/>
                <a:gd name="connsiteX2000" fmla="*/ 2305193 w 12187339"/>
                <a:gd name="connsiteY2000" fmla="*/ 4894374 h 6851196"/>
                <a:gd name="connsiteX2001" fmla="*/ 2529282 w 12187339"/>
                <a:gd name="connsiteY2001" fmla="*/ 4894374 h 6851196"/>
                <a:gd name="connsiteX2002" fmla="*/ 2529282 w 12187339"/>
                <a:gd name="connsiteY2002" fmla="*/ 5132090 h 6851196"/>
                <a:gd name="connsiteX2003" fmla="*/ 2305193 w 12187339"/>
                <a:gd name="connsiteY2003" fmla="*/ 5132090 h 6851196"/>
                <a:gd name="connsiteX2004" fmla="*/ 2535684 w 12187339"/>
                <a:gd name="connsiteY2004" fmla="*/ 4894374 h 6851196"/>
                <a:gd name="connsiteX2005" fmla="*/ 2759773 w 12187339"/>
                <a:gd name="connsiteY2005" fmla="*/ 4894374 h 6851196"/>
                <a:gd name="connsiteX2006" fmla="*/ 2759773 w 12187339"/>
                <a:gd name="connsiteY2006" fmla="*/ 5132090 h 6851196"/>
                <a:gd name="connsiteX2007" fmla="*/ 2535684 w 12187339"/>
                <a:gd name="connsiteY2007" fmla="*/ 5132090 h 6851196"/>
                <a:gd name="connsiteX2008" fmla="*/ 2766175 w 12187339"/>
                <a:gd name="connsiteY2008" fmla="*/ 4894374 h 6851196"/>
                <a:gd name="connsiteX2009" fmla="*/ 2990264 w 12187339"/>
                <a:gd name="connsiteY2009" fmla="*/ 4894374 h 6851196"/>
                <a:gd name="connsiteX2010" fmla="*/ 2990264 w 12187339"/>
                <a:gd name="connsiteY2010" fmla="*/ 5132090 h 6851196"/>
                <a:gd name="connsiteX2011" fmla="*/ 2766175 w 12187339"/>
                <a:gd name="connsiteY2011" fmla="*/ 5132090 h 6851196"/>
                <a:gd name="connsiteX2012" fmla="*/ 2996666 w 12187339"/>
                <a:gd name="connsiteY2012" fmla="*/ 4894374 h 6851196"/>
                <a:gd name="connsiteX2013" fmla="*/ 3219218 w 12187339"/>
                <a:gd name="connsiteY2013" fmla="*/ 4894374 h 6851196"/>
                <a:gd name="connsiteX2014" fmla="*/ 3219218 w 12187339"/>
                <a:gd name="connsiteY2014" fmla="*/ 5132090 h 6851196"/>
                <a:gd name="connsiteX2015" fmla="*/ 2996666 w 12187339"/>
                <a:gd name="connsiteY2015" fmla="*/ 5132090 h 6851196"/>
                <a:gd name="connsiteX2016" fmla="*/ 3225621 w 12187339"/>
                <a:gd name="connsiteY2016" fmla="*/ 4894374 h 6851196"/>
                <a:gd name="connsiteX2017" fmla="*/ 3449709 w 12187339"/>
                <a:gd name="connsiteY2017" fmla="*/ 4894374 h 6851196"/>
                <a:gd name="connsiteX2018" fmla="*/ 3449709 w 12187339"/>
                <a:gd name="connsiteY2018" fmla="*/ 5132090 h 6851196"/>
                <a:gd name="connsiteX2019" fmla="*/ 3225621 w 12187339"/>
                <a:gd name="connsiteY2019" fmla="*/ 5132090 h 6851196"/>
                <a:gd name="connsiteX2020" fmla="*/ 3456112 w 12187339"/>
                <a:gd name="connsiteY2020" fmla="*/ 4894374 h 6851196"/>
                <a:gd name="connsiteX2021" fmla="*/ 3680200 w 12187339"/>
                <a:gd name="connsiteY2021" fmla="*/ 4894374 h 6851196"/>
                <a:gd name="connsiteX2022" fmla="*/ 3680200 w 12187339"/>
                <a:gd name="connsiteY2022" fmla="*/ 5132090 h 6851196"/>
                <a:gd name="connsiteX2023" fmla="*/ 3456112 w 12187339"/>
                <a:gd name="connsiteY2023" fmla="*/ 5132090 h 6851196"/>
                <a:gd name="connsiteX2024" fmla="*/ 3686603 w 12187339"/>
                <a:gd name="connsiteY2024" fmla="*/ 4894374 h 6851196"/>
                <a:gd name="connsiteX2025" fmla="*/ 3910691 w 12187339"/>
                <a:gd name="connsiteY2025" fmla="*/ 4894374 h 6851196"/>
                <a:gd name="connsiteX2026" fmla="*/ 3910691 w 12187339"/>
                <a:gd name="connsiteY2026" fmla="*/ 5132090 h 6851196"/>
                <a:gd name="connsiteX2027" fmla="*/ 3686603 w 12187339"/>
                <a:gd name="connsiteY2027" fmla="*/ 5132090 h 6851196"/>
                <a:gd name="connsiteX2028" fmla="*/ 3917094 w 12187339"/>
                <a:gd name="connsiteY2028" fmla="*/ 4894374 h 6851196"/>
                <a:gd name="connsiteX2029" fmla="*/ 4139644 w 12187339"/>
                <a:gd name="connsiteY2029" fmla="*/ 4894374 h 6851196"/>
                <a:gd name="connsiteX2030" fmla="*/ 4139644 w 12187339"/>
                <a:gd name="connsiteY2030" fmla="*/ 5132090 h 6851196"/>
                <a:gd name="connsiteX2031" fmla="*/ 3917094 w 12187339"/>
                <a:gd name="connsiteY2031" fmla="*/ 5132090 h 6851196"/>
                <a:gd name="connsiteX2032" fmla="*/ 4146047 w 12187339"/>
                <a:gd name="connsiteY2032" fmla="*/ 4894374 h 6851196"/>
                <a:gd name="connsiteX2033" fmla="*/ 4370135 w 12187339"/>
                <a:gd name="connsiteY2033" fmla="*/ 4894374 h 6851196"/>
                <a:gd name="connsiteX2034" fmla="*/ 4370135 w 12187339"/>
                <a:gd name="connsiteY2034" fmla="*/ 5132090 h 6851196"/>
                <a:gd name="connsiteX2035" fmla="*/ 4146047 w 12187339"/>
                <a:gd name="connsiteY2035" fmla="*/ 5132090 h 6851196"/>
                <a:gd name="connsiteX2036" fmla="*/ 4376538 w 12187339"/>
                <a:gd name="connsiteY2036" fmla="*/ 4894374 h 6851196"/>
                <a:gd name="connsiteX2037" fmla="*/ 4600626 w 12187339"/>
                <a:gd name="connsiteY2037" fmla="*/ 4894374 h 6851196"/>
                <a:gd name="connsiteX2038" fmla="*/ 4600626 w 12187339"/>
                <a:gd name="connsiteY2038" fmla="*/ 5132090 h 6851196"/>
                <a:gd name="connsiteX2039" fmla="*/ 4376538 w 12187339"/>
                <a:gd name="connsiteY2039" fmla="*/ 5132090 h 6851196"/>
                <a:gd name="connsiteX2040" fmla="*/ 4607029 w 12187339"/>
                <a:gd name="connsiteY2040" fmla="*/ 4894374 h 6851196"/>
                <a:gd name="connsiteX2041" fmla="*/ 4829582 w 12187339"/>
                <a:gd name="connsiteY2041" fmla="*/ 4894374 h 6851196"/>
                <a:gd name="connsiteX2042" fmla="*/ 4829582 w 12187339"/>
                <a:gd name="connsiteY2042" fmla="*/ 5132090 h 6851196"/>
                <a:gd name="connsiteX2043" fmla="*/ 4607029 w 12187339"/>
                <a:gd name="connsiteY2043" fmla="*/ 5132090 h 6851196"/>
                <a:gd name="connsiteX2044" fmla="*/ 4835985 w 12187339"/>
                <a:gd name="connsiteY2044" fmla="*/ 4894374 h 6851196"/>
                <a:gd name="connsiteX2045" fmla="*/ 5060073 w 12187339"/>
                <a:gd name="connsiteY2045" fmla="*/ 4894374 h 6851196"/>
                <a:gd name="connsiteX2046" fmla="*/ 5060073 w 12187339"/>
                <a:gd name="connsiteY2046" fmla="*/ 5132090 h 6851196"/>
                <a:gd name="connsiteX2047" fmla="*/ 4835472 w 12187339"/>
                <a:gd name="connsiteY2047" fmla="*/ 5132090 h 6851196"/>
                <a:gd name="connsiteX2048" fmla="*/ 5066476 w 12187339"/>
                <a:gd name="connsiteY2048" fmla="*/ 4894374 h 6851196"/>
                <a:gd name="connsiteX2049" fmla="*/ 5290564 w 12187339"/>
                <a:gd name="connsiteY2049" fmla="*/ 4894374 h 6851196"/>
                <a:gd name="connsiteX2050" fmla="*/ 5290564 w 12187339"/>
                <a:gd name="connsiteY2050" fmla="*/ 5132090 h 6851196"/>
                <a:gd name="connsiteX2051" fmla="*/ 5065963 w 12187339"/>
                <a:gd name="connsiteY2051" fmla="*/ 5132090 h 6851196"/>
                <a:gd name="connsiteX2052" fmla="*/ 5296967 w 12187339"/>
                <a:gd name="connsiteY2052" fmla="*/ 4894374 h 6851196"/>
                <a:gd name="connsiteX2053" fmla="*/ 5521055 w 12187339"/>
                <a:gd name="connsiteY2053" fmla="*/ 4894374 h 6851196"/>
                <a:gd name="connsiteX2054" fmla="*/ 5521055 w 12187339"/>
                <a:gd name="connsiteY2054" fmla="*/ 5132090 h 6851196"/>
                <a:gd name="connsiteX2055" fmla="*/ 5296454 w 12187339"/>
                <a:gd name="connsiteY2055" fmla="*/ 5132090 h 6851196"/>
                <a:gd name="connsiteX2056" fmla="*/ 5527458 w 12187339"/>
                <a:gd name="connsiteY2056" fmla="*/ 4894374 h 6851196"/>
                <a:gd name="connsiteX2057" fmla="*/ 5750008 w 12187339"/>
                <a:gd name="connsiteY2057" fmla="*/ 4894374 h 6851196"/>
                <a:gd name="connsiteX2058" fmla="*/ 5750008 w 12187339"/>
                <a:gd name="connsiteY2058" fmla="*/ 5132090 h 6851196"/>
                <a:gd name="connsiteX2059" fmla="*/ 5526945 w 12187339"/>
                <a:gd name="connsiteY2059" fmla="*/ 5132090 h 6851196"/>
                <a:gd name="connsiteX2060" fmla="*/ 5756411 w 12187339"/>
                <a:gd name="connsiteY2060" fmla="*/ 4894374 h 6851196"/>
                <a:gd name="connsiteX2061" fmla="*/ 5980499 w 12187339"/>
                <a:gd name="connsiteY2061" fmla="*/ 4894374 h 6851196"/>
                <a:gd name="connsiteX2062" fmla="*/ 5980499 w 12187339"/>
                <a:gd name="connsiteY2062" fmla="*/ 5132090 h 6851196"/>
                <a:gd name="connsiteX2063" fmla="*/ 5756411 w 12187339"/>
                <a:gd name="connsiteY2063" fmla="*/ 5132090 h 6851196"/>
                <a:gd name="connsiteX2064" fmla="*/ 5986902 w 12187339"/>
                <a:gd name="connsiteY2064" fmla="*/ 4894374 h 6851196"/>
                <a:gd name="connsiteX2065" fmla="*/ 6210990 w 12187339"/>
                <a:gd name="connsiteY2065" fmla="*/ 4894374 h 6851196"/>
                <a:gd name="connsiteX2066" fmla="*/ 6210990 w 12187339"/>
                <a:gd name="connsiteY2066" fmla="*/ 5132090 h 6851196"/>
                <a:gd name="connsiteX2067" fmla="*/ 5986902 w 12187339"/>
                <a:gd name="connsiteY2067" fmla="*/ 5132090 h 6851196"/>
                <a:gd name="connsiteX2068" fmla="*/ 6217393 w 12187339"/>
                <a:gd name="connsiteY2068" fmla="*/ 4894374 h 6851196"/>
                <a:gd name="connsiteX2069" fmla="*/ 6439946 w 12187339"/>
                <a:gd name="connsiteY2069" fmla="*/ 4894374 h 6851196"/>
                <a:gd name="connsiteX2070" fmla="*/ 6439946 w 12187339"/>
                <a:gd name="connsiteY2070" fmla="*/ 5132090 h 6851196"/>
                <a:gd name="connsiteX2071" fmla="*/ 6217136 w 12187339"/>
                <a:gd name="connsiteY2071" fmla="*/ 5132090 h 6851196"/>
                <a:gd name="connsiteX2072" fmla="*/ 6446349 w 12187339"/>
                <a:gd name="connsiteY2072" fmla="*/ 4894374 h 6851196"/>
                <a:gd name="connsiteX2073" fmla="*/ 6656863 w 12187339"/>
                <a:gd name="connsiteY2073" fmla="*/ 4894374 h 6851196"/>
                <a:gd name="connsiteX2074" fmla="*/ 6656863 w 12187339"/>
                <a:gd name="connsiteY2074" fmla="*/ 5132090 h 6851196"/>
                <a:gd name="connsiteX2075" fmla="*/ 6446349 w 12187339"/>
                <a:gd name="connsiteY2075" fmla="*/ 5132090 h 6851196"/>
                <a:gd name="connsiteX2076" fmla="*/ 6663265 w 12187339"/>
                <a:gd name="connsiteY2076" fmla="*/ 4894374 h 6851196"/>
                <a:gd name="connsiteX2077" fmla="*/ 6887354 w 12187339"/>
                <a:gd name="connsiteY2077" fmla="*/ 4894374 h 6851196"/>
                <a:gd name="connsiteX2078" fmla="*/ 6887354 w 12187339"/>
                <a:gd name="connsiteY2078" fmla="*/ 5132090 h 6851196"/>
                <a:gd name="connsiteX2079" fmla="*/ 6663265 w 12187339"/>
                <a:gd name="connsiteY2079" fmla="*/ 5132090 h 6851196"/>
                <a:gd name="connsiteX2080" fmla="*/ 6893756 w 12187339"/>
                <a:gd name="connsiteY2080" fmla="*/ 4894374 h 6851196"/>
                <a:gd name="connsiteX2081" fmla="*/ 7117845 w 12187339"/>
                <a:gd name="connsiteY2081" fmla="*/ 4894374 h 6851196"/>
                <a:gd name="connsiteX2082" fmla="*/ 7117845 w 12187339"/>
                <a:gd name="connsiteY2082" fmla="*/ 5132090 h 6851196"/>
                <a:gd name="connsiteX2083" fmla="*/ 6893756 w 12187339"/>
                <a:gd name="connsiteY2083" fmla="*/ 5132090 h 6851196"/>
                <a:gd name="connsiteX2084" fmla="*/ 7124247 w 12187339"/>
                <a:gd name="connsiteY2084" fmla="*/ 4894374 h 6851196"/>
                <a:gd name="connsiteX2085" fmla="*/ 7346801 w 12187339"/>
                <a:gd name="connsiteY2085" fmla="*/ 4894374 h 6851196"/>
                <a:gd name="connsiteX2086" fmla="*/ 7346801 w 12187339"/>
                <a:gd name="connsiteY2086" fmla="*/ 5132090 h 6851196"/>
                <a:gd name="connsiteX2087" fmla="*/ 7124247 w 12187339"/>
                <a:gd name="connsiteY2087" fmla="*/ 5132090 h 6851196"/>
                <a:gd name="connsiteX2088" fmla="*/ 7353204 w 12187339"/>
                <a:gd name="connsiteY2088" fmla="*/ 4894374 h 6851196"/>
                <a:gd name="connsiteX2089" fmla="*/ 7577292 w 12187339"/>
                <a:gd name="connsiteY2089" fmla="*/ 4894374 h 6851196"/>
                <a:gd name="connsiteX2090" fmla="*/ 7577292 w 12187339"/>
                <a:gd name="connsiteY2090" fmla="*/ 5132090 h 6851196"/>
                <a:gd name="connsiteX2091" fmla="*/ 7353204 w 12187339"/>
                <a:gd name="connsiteY2091" fmla="*/ 5132090 h 6851196"/>
                <a:gd name="connsiteX2092" fmla="*/ 7583695 w 12187339"/>
                <a:gd name="connsiteY2092" fmla="*/ 4894374 h 6851196"/>
                <a:gd name="connsiteX2093" fmla="*/ 7807783 w 12187339"/>
                <a:gd name="connsiteY2093" fmla="*/ 4894374 h 6851196"/>
                <a:gd name="connsiteX2094" fmla="*/ 7807783 w 12187339"/>
                <a:gd name="connsiteY2094" fmla="*/ 5132090 h 6851196"/>
                <a:gd name="connsiteX2095" fmla="*/ 7583695 w 12187339"/>
                <a:gd name="connsiteY2095" fmla="*/ 5132090 h 6851196"/>
                <a:gd name="connsiteX2096" fmla="*/ 7814186 w 12187339"/>
                <a:gd name="connsiteY2096" fmla="*/ 4894374 h 6851196"/>
                <a:gd name="connsiteX2097" fmla="*/ 8038274 w 12187339"/>
                <a:gd name="connsiteY2097" fmla="*/ 4894374 h 6851196"/>
                <a:gd name="connsiteX2098" fmla="*/ 8038274 w 12187339"/>
                <a:gd name="connsiteY2098" fmla="*/ 5132090 h 6851196"/>
                <a:gd name="connsiteX2099" fmla="*/ 7814186 w 12187339"/>
                <a:gd name="connsiteY2099" fmla="*/ 5132090 h 6851196"/>
                <a:gd name="connsiteX2100" fmla="*/ 8044677 w 12187339"/>
                <a:gd name="connsiteY2100" fmla="*/ 4894374 h 6851196"/>
                <a:gd name="connsiteX2101" fmla="*/ 8267227 w 12187339"/>
                <a:gd name="connsiteY2101" fmla="*/ 4894374 h 6851196"/>
                <a:gd name="connsiteX2102" fmla="*/ 8267227 w 12187339"/>
                <a:gd name="connsiteY2102" fmla="*/ 5132090 h 6851196"/>
                <a:gd name="connsiteX2103" fmla="*/ 8044420 w 12187339"/>
                <a:gd name="connsiteY2103" fmla="*/ 5132090 h 6851196"/>
                <a:gd name="connsiteX2104" fmla="*/ 8273629 w 12187339"/>
                <a:gd name="connsiteY2104" fmla="*/ 4894374 h 6851196"/>
                <a:gd name="connsiteX2105" fmla="*/ 8497718 w 12187339"/>
                <a:gd name="connsiteY2105" fmla="*/ 4894374 h 6851196"/>
                <a:gd name="connsiteX2106" fmla="*/ 8497718 w 12187339"/>
                <a:gd name="connsiteY2106" fmla="*/ 5132090 h 6851196"/>
                <a:gd name="connsiteX2107" fmla="*/ 8273629 w 12187339"/>
                <a:gd name="connsiteY2107" fmla="*/ 5132090 h 6851196"/>
                <a:gd name="connsiteX2108" fmla="*/ 8504120 w 12187339"/>
                <a:gd name="connsiteY2108" fmla="*/ 4894374 h 6851196"/>
                <a:gd name="connsiteX2109" fmla="*/ 8728209 w 12187339"/>
                <a:gd name="connsiteY2109" fmla="*/ 4894374 h 6851196"/>
                <a:gd name="connsiteX2110" fmla="*/ 8728209 w 12187339"/>
                <a:gd name="connsiteY2110" fmla="*/ 5132090 h 6851196"/>
                <a:gd name="connsiteX2111" fmla="*/ 8504120 w 12187339"/>
                <a:gd name="connsiteY2111" fmla="*/ 5132090 h 6851196"/>
                <a:gd name="connsiteX2112" fmla="*/ 8734611 w 12187339"/>
                <a:gd name="connsiteY2112" fmla="*/ 4894374 h 6851196"/>
                <a:gd name="connsiteX2113" fmla="*/ 8957162 w 12187339"/>
                <a:gd name="connsiteY2113" fmla="*/ 4894374 h 6851196"/>
                <a:gd name="connsiteX2114" fmla="*/ 8957162 w 12187339"/>
                <a:gd name="connsiteY2114" fmla="*/ 5132090 h 6851196"/>
                <a:gd name="connsiteX2115" fmla="*/ 8734611 w 12187339"/>
                <a:gd name="connsiteY2115" fmla="*/ 5132090 h 6851196"/>
                <a:gd name="connsiteX2116" fmla="*/ 8963564 w 12187339"/>
                <a:gd name="connsiteY2116" fmla="*/ 4894374 h 6851196"/>
                <a:gd name="connsiteX2117" fmla="*/ 9187653 w 12187339"/>
                <a:gd name="connsiteY2117" fmla="*/ 4894374 h 6851196"/>
                <a:gd name="connsiteX2118" fmla="*/ 9187653 w 12187339"/>
                <a:gd name="connsiteY2118" fmla="*/ 5132090 h 6851196"/>
                <a:gd name="connsiteX2119" fmla="*/ 8963564 w 12187339"/>
                <a:gd name="connsiteY2119" fmla="*/ 5132090 h 6851196"/>
                <a:gd name="connsiteX2120" fmla="*/ 9194055 w 12187339"/>
                <a:gd name="connsiteY2120" fmla="*/ 4894374 h 6851196"/>
                <a:gd name="connsiteX2121" fmla="*/ 9418144 w 12187339"/>
                <a:gd name="connsiteY2121" fmla="*/ 4894374 h 6851196"/>
                <a:gd name="connsiteX2122" fmla="*/ 9418144 w 12187339"/>
                <a:gd name="connsiteY2122" fmla="*/ 5132090 h 6851196"/>
                <a:gd name="connsiteX2123" fmla="*/ 9194055 w 12187339"/>
                <a:gd name="connsiteY2123" fmla="*/ 5132090 h 6851196"/>
                <a:gd name="connsiteX2124" fmla="*/ 9424546 w 12187339"/>
                <a:gd name="connsiteY2124" fmla="*/ 4894374 h 6851196"/>
                <a:gd name="connsiteX2125" fmla="*/ 9648635 w 12187339"/>
                <a:gd name="connsiteY2125" fmla="*/ 4894374 h 6851196"/>
                <a:gd name="connsiteX2126" fmla="*/ 9648635 w 12187339"/>
                <a:gd name="connsiteY2126" fmla="*/ 5132090 h 6851196"/>
                <a:gd name="connsiteX2127" fmla="*/ 9424546 w 12187339"/>
                <a:gd name="connsiteY2127" fmla="*/ 5132090 h 6851196"/>
                <a:gd name="connsiteX2128" fmla="*/ 9655037 w 12187339"/>
                <a:gd name="connsiteY2128" fmla="*/ 4894374 h 6851196"/>
                <a:gd name="connsiteX2129" fmla="*/ 9877591 w 12187339"/>
                <a:gd name="connsiteY2129" fmla="*/ 4894374 h 6851196"/>
                <a:gd name="connsiteX2130" fmla="*/ 9877591 w 12187339"/>
                <a:gd name="connsiteY2130" fmla="*/ 5132090 h 6851196"/>
                <a:gd name="connsiteX2131" fmla="*/ 9655037 w 12187339"/>
                <a:gd name="connsiteY2131" fmla="*/ 5132090 h 6851196"/>
                <a:gd name="connsiteX2132" fmla="*/ 9883993 w 12187339"/>
                <a:gd name="connsiteY2132" fmla="*/ 4894374 h 6851196"/>
                <a:gd name="connsiteX2133" fmla="*/ 10108082 w 12187339"/>
                <a:gd name="connsiteY2133" fmla="*/ 4894374 h 6851196"/>
                <a:gd name="connsiteX2134" fmla="*/ 10108082 w 12187339"/>
                <a:gd name="connsiteY2134" fmla="*/ 5132090 h 6851196"/>
                <a:gd name="connsiteX2135" fmla="*/ 9883993 w 12187339"/>
                <a:gd name="connsiteY2135" fmla="*/ 5132090 h 6851196"/>
                <a:gd name="connsiteX2136" fmla="*/ 10114484 w 12187339"/>
                <a:gd name="connsiteY2136" fmla="*/ 4894374 h 6851196"/>
                <a:gd name="connsiteX2137" fmla="*/ 10338573 w 12187339"/>
                <a:gd name="connsiteY2137" fmla="*/ 4894374 h 6851196"/>
                <a:gd name="connsiteX2138" fmla="*/ 10338573 w 12187339"/>
                <a:gd name="connsiteY2138" fmla="*/ 5132090 h 6851196"/>
                <a:gd name="connsiteX2139" fmla="*/ 10114484 w 12187339"/>
                <a:gd name="connsiteY2139" fmla="*/ 5132090 h 6851196"/>
                <a:gd name="connsiteX2140" fmla="*/ 10344975 w 12187339"/>
                <a:gd name="connsiteY2140" fmla="*/ 4894374 h 6851196"/>
                <a:gd name="connsiteX2141" fmla="*/ 10569064 w 12187339"/>
                <a:gd name="connsiteY2141" fmla="*/ 4894374 h 6851196"/>
                <a:gd name="connsiteX2142" fmla="*/ 10569064 w 12187339"/>
                <a:gd name="connsiteY2142" fmla="*/ 5132090 h 6851196"/>
                <a:gd name="connsiteX2143" fmla="*/ 10344975 w 12187339"/>
                <a:gd name="connsiteY2143" fmla="*/ 5132090 h 6851196"/>
                <a:gd name="connsiteX2144" fmla="*/ 10344975 w 12187339"/>
                <a:gd name="connsiteY2144" fmla="*/ 4887570 h 6851196"/>
                <a:gd name="connsiteX2145" fmla="*/ 10344975 w 12187339"/>
                <a:gd name="connsiteY2145" fmla="*/ 4649445 h 6851196"/>
                <a:gd name="connsiteX2146" fmla="*/ 10569064 w 12187339"/>
                <a:gd name="connsiteY2146" fmla="*/ 4649445 h 6851196"/>
                <a:gd name="connsiteX2147" fmla="*/ 10569064 w 12187339"/>
                <a:gd name="connsiteY2147" fmla="*/ 4887162 h 6851196"/>
                <a:gd name="connsiteX2148" fmla="*/ 10344975 w 12187339"/>
                <a:gd name="connsiteY2148" fmla="*/ 4642642 h 6851196"/>
                <a:gd name="connsiteX2149" fmla="*/ 10344975 w 12187339"/>
                <a:gd name="connsiteY2149" fmla="*/ 4406149 h 6851196"/>
                <a:gd name="connsiteX2150" fmla="*/ 10569064 w 12187339"/>
                <a:gd name="connsiteY2150" fmla="*/ 4406149 h 6851196"/>
                <a:gd name="connsiteX2151" fmla="*/ 10569064 w 12187339"/>
                <a:gd name="connsiteY2151" fmla="*/ 4642233 h 6851196"/>
                <a:gd name="connsiteX2152" fmla="*/ 10344975 w 12187339"/>
                <a:gd name="connsiteY2152" fmla="*/ 4399346 h 6851196"/>
                <a:gd name="connsiteX2153" fmla="*/ 10344975 w 12187339"/>
                <a:gd name="connsiteY2153" fmla="*/ 4161221 h 6851196"/>
                <a:gd name="connsiteX2154" fmla="*/ 10569064 w 12187339"/>
                <a:gd name="connsiteY2154" fmla="*/ 4161221 h 6851196"/>
                <a:gd name="connsiteX2155" fmla="*/ 10569064 w 12187339"/>
                <a:gd name="connsiteY2155" fmla="*/ 4399346 h 6851196"/>
                <a:gd name="connsiteX2156" fmla="*/ 10344975 w 12187339"/>
                <a:gd name="connsiteY2156" fmla="*/ 4154417 h 6851196"/>
                <a:gd name="connsiteX2157" fmla="*/ 10344975 w 12187339"/>
                <a:gd name="connsiteY2157" fmla="*/ 3916292 h 6851196"/>
                <a:gd name="connsiteX2158" fmla="*/ 10569064 w 12187339"/>
                <a:gd name="connsiteY2158" fmla="*/ 3916292 h 6851196"/>
                <a:gd name="connsiteX2159" fmla="*/ 10569064 w 12187339"/>
                <a:gd name="connsiteY2159" fmla="*/ 4154417 h 6851196"/>
                <a:gd name="connsiteX2160" fmla="*/ 10344975 w 12187339"/>
                <a:gd name="connsiteY2160" fmla="*/ 3909489 h 6851196"/>
                <a:gd name="connsiteX2161" fmla="*/ 10344975 w 12187339"/>
                <a:gd name="connsiteY2161" fmla="*/ 3671364 h 6851196"/>
                <a:gd name="connsiteX2162" fmla="*/ 10569064 w 12187339"/>
                <a:gd name="connsiteY2162" fmla="*/ 3671364 h 6851196"/>
                <a:gd name="connsiteX2163" fmla="*/ 10569064 w 12187339"/>
                <a:gd name="connsiteY2163" fmla="*/ 3909489 h 6851196"/>
                <a:gd name="connsiteX2164" fmla="*/ 10344975 w 12187339"/>
                <a:gd name="connsiteY2164" fmla="*/ 3664560 h 6851196"/>
                <a:gd name="connsiteX2165" fmla="*/ 10344975 w 12187339"/>
                <a:gd name="connsiteY2165" fmla="*/ 3428068 h 6851196"/>
                <a:gd name="connsiteX2166" fmla="*/ 10569064 w 12187339"/>
                <a:gd name="connsiteY2166" fmla="*/ 3428068 h 6851196"/>
                <a:gd name="connsiteX2167" fmla="*/ 10569064 w 12187339"/>
                <a:gd name="connsiteY2167" fmla="*/ 3664560 h 6851196"/>
                <a:gd name="connsiteX2168" fmla="*/ 10344975 w 12187339"/>
                <a:gd name="connsiteY2168" fmla="*/ 3421264 h 6851196"/>
                <a:gd name="connsiteX2169" fmla="*/ 10344975 w 12187339"/>
                <a:gd name="connsiteY2169" fmla="*/ 3183139 h 6851196"/>
                <a:gd name="connsiteX2170" fmla="*/ 10569064 w 12187339"/>
                <a:gd name="connsiteY2170" fmla="*/ 3183139 h 6851196"/>
                <a:gd name="connsiteX2171" fmla="*/ 10569064 w 12187339"/>
                <a:gd name="connsiteY2171" fmla="*/ 3421264 h 6851196"/>
                <a:gd name="connsiteX2172" fmla="*/ 10344975 w 12187339"/>
                <a:gd name="connsiteY2172" fmla="*/ 3176336 h 6851196"/>
                <a:gd name="connsiteX2173" fmla="*/ 10344975 w 12187339"/>
                <a:gd name="connsiteY2173" fmla="*/ 2938211 h 6851196"/>
                <a:gd name="connsiteX2174" fmla="*/ 10569064 w 12187339"/>
                <a:gd name="connsiteY2174" fmla="*/ 2938211 h 6851196"/>
                <a:gd name="connsiteX2175" fmla="*/ 10569064 w 12187339"/>
                <a:gd name="connsiteY2175" fmla="*/ 3176336 h 6851196"/>
                <a:gd name="connsiteX2176" fmla="*/ 10344975 w 12187339"/>
                <a:gd name="connsiteY2176" fmla="*/ 2931407 h 6851196"/>
                <a:gd name="connsiteX2177" fmla="*/ 10344975 w 12187339"/>
                <a:gd name="connsiteY2177" fmla="*/ 2693282 h 6851196"/>
                <a:gd name="connsiteX2178" fmla="*/ 10569064 w 12187339"/>
                <a:gd name="connsiteY2178" fmla="*/ 2693282 h 6851196"/>
                <a:gd name="connsiteX2179" fmla="*/ 10569064 w 12187339"/>
                <a:gd name="connsiteY2179" fmla="*/ 2931407 h 6851196"/>
                <a:gd name="connsiteX2180" fmla="*/ 10344975 w 12187339"/>
                <a:gd name="connsiteY2180" fmla="*/ 2686479 h 6851196"/>
                <a:gd name="connsiteX2181" fmla="*/ 10344975 w 12187339"/>
                <a:gd name="connsiteY2181" fmla="*/ 2449986 h 6851196"/>
                <a:gd name="connsiteX2182" fmla="*/ 10569064 w 12187339"/>
                <a:gd name="connsiteY2182" fmla="*/ 2449986 h 6851196"/>
                <a:gd name="connsiteX2183" fmla="*/ 10569064 w 12187339"/>
                <a:gd name="connsiteY2183" fmla="*/ 2686479 h 6851196"/>
                <a:gd name="connsiteX2184" fmla="*/ 10344975 w 12187339"/>
                <a:gd name="connsiteY2184" fmla="*/ 2443183 h 6851196"/>
                <a:gd name="connsiteX2185" fmla="*/ 10344975 w 12187339"/>
                <a:gd name="connsiteY2185" fmla="*/ 2205058 h 6851196"/>
                <a:gd name="connsiteX2186" fmla="*/ 10569064 w 12187339"/>
                <a:gd name="connsiteY2186" fmla="*/ 2205058 h 6851196"/>
                <a:gd name="connsiteX2187" fmla="*/ 10569064 w 12187339"/>
                <a:gd name="connsiteY2187" fmla="*/ 2443183 h 6851196"/>
                <a:gd name="connsiteX2188" fmla="*/ 10344975 w 12187339"/>
                <a:gd name="connsiteY2188" fmla="*/ 2198254 h 6851196"/>
                <a:gd name="connsiteX2189" fmla="*/ 10344975 w 12187339"/>
                <a:gd name="connsiteY2189" fmla="*/ 1960129 h 6851196"/>
                <a:gd name="connsiteX2190" fmla="*/ 10569064 w 12187339"/>
                <a:gd name="connsiteY2190" fmla="*/ 1960129 h 6851196"/>
                <a:gd name="connsiteX2191" fmla="*/ 10569064 w 12187339"/>
                <a:gd name="connsiteY2191" fmla="*/ 2198254 h 6851196"/>
                <a:gd name="connsiteX2192" fmla="*/ 10344975 w 12187339"/>
                <a:gd name="connsiteY2192" fmla="*/ 1953326 h 6851196"/>
                <a:gd name="connsiteX2193" fmla="*/ 10344975 w 12187339"/>
                <a:gd name="connsiteY2193" fmla="*/ 1716697 h 6851196"/>
                <a:gd name="connsiteX2194" fmla="*/ 10569064 w 12187339"/>
                <a:gd name="connsiteY2194" fmla="*/ 1716697 h 6851196"/>
                <a:gd name="connsiteX2195" fmla="*/ 10569064 w 12187339"/>
                <a:gd name="connsiteY2195" fmla="*/ 1953189 h 6851196"/>
                <a:gd name="connsiteX2196" fmla="*/ 10344975 w 12187339"/>
                <a:gd name="connsiteY2196" fmla="*/ 1710030 h 6851196"/>
                <a:gd name="connsiteX2197" fmla="*/ 10344975 w 12187339"/>
                <a:gd name="connsiteY2197" fmla="*/ 1471769 h 6851196"/>
                <a:gd name="connsiteX2198" fmla="*/ 10569064 w 12187339"/>
                <a:gd name="connsiteY2198" fmla="*/ 1471769 h 6851196"/>
                <a:gd name="connsiteX2199" fmla="*/ 10569064 w 12187339"/>
                <a:gd name="connsiteY2199" fmla="*/ 1709894 h 6851196"/>
                <a:gd name="connsiteX2200" fmla="*/ 10338573 w 12187339"/>
                <a:gd name="connsiteY2200" fmla="*/ 1710030 h 6851196"/>
                <a:gd name="connsiteX2201" fmla="*/ 10114484 w 12187339"/>
                <a:gd name="connsiteY2201" fmla="*/ 1710030 h 6851196"/>
                <a:gd name="connsiteX2202" fmla="*/ 10114484 w 12187339"/>
                <a:gd name="connsiteY2202" fmla="*/ 1471769 h 6851196"/>
                <a:gd name="connsiteX2203" fmla="*/ 10338573 w 12187339"/>
                <a:gd name="connsiteY2203" fmla="*/ 1471769 h 6851196"/>
                <a:gd name="connsiteX2204" fmla="*/ 10108082 w 12187339"/>
                <a:gd name="connsiteY2204" fmla="*/ 1710030 h 6851196"/>
                <a:gd name="connsiteX2205" fmla="*/ 9883993 w 12187339"/>
                <a:gd name="connsiteY2205" fmla="*/ 1710030 h 6851196"/>
                <a:gd name="connsiteX2206" fmla="*/ 9883993 w 12187339"/>
                <a:gd name="connsiteY2206" fmla="*/ 1471769 h 6851196"/>
                <a:gd name="connsiteX2207" fmla="*/ 10108082 w 12187339"/>
                <a:gd name="connsiteY2207" fmla="*/ 1471769 h 6851196"/>
                <a:gd name="connsiteX2208" fmla="*/ 9877591 w 12187339"/>
                <a:gd name="connsiteY2208" fmla="*/ 1710030 h 6851196"/>
                <a:gd name="connsiteX2209" fmla="*/ 9655037 w 12187339"/>
                <a:gd name="connsiteY2209" fmla="*/ 1710030 h 6851196"/>
                <a:gd name="connsiteX2210" fmla="*/ 9655037 w 12187339"/>
                <a:gd name="connsiteY2210" fmla="*/ 1471769 h 6851196"/>
                <a:gd name="connsiteX2211" fmla="*/ 9877591 w 12187339"/>
                <a:gd name="connsiteY2211" fmla="*/ 1471769 h 6851196"/>
                <a:gd name="connsiteX2212" fmla="*/ 9648635 w 12187339"/>
                <a:gd name="connsiteY2212" fmla="*/ 1710030 h 6851196"/>
                <a:gd name="connsiteX2213" fmla="*/ 9424546 w 12187339"/>
                <a:gd name="connsiteY2213" fmla="*/ 1710030 h 6851196"/>
                <a:gd name="connsiteX2214" fmla="*/ 9424546 w 12187339"/>
                <a:gd name="connsiteY2214" fmla="*/ 1471769 h 6851196"/>
                <a:gd name="connsiteX2215" fmla="*/ 9648635 w 12187339"/>
                <a:gd name="connsiteY2215" fmla="*/ 1471769 h 6851196"/>
                <a:gd name="connsiteX2216" fmla="*/ 9418144 w 12187339"/>
                <a:gd name="connsiteY2216" fmla="*/ 1710030 h 6851196"/>
                <a:gd name="connsiteX2217" fmla="*/ 9194055 w 12187339"/>
                <a:gd name="connsiteY2217" fmla="*/ 1710030 h 6851196"/>
                <a:gd name="connsiteX2218" fmla="*/ 9194055 w 12187339"/>
                <a:gd name="connsiteY2218" fmla="*/ 1471769 h 6851196"/>
                <a:gd name="connsiteX2219" fmla="*/ 9418144 w 12187339"/>
                <a:gd name="connsiteY2219" fmla="*/ 1471769 h 6851196"/>
                <a:gd name="connsiteX2220" fmla="*/ 9187653 w 12187339"/>
                <a:gd name="connsiteY2220" fmla="*/ 1710030 h 6851196"/>
                <a:gd name="connsiteX2221" fmla="*/ 8963564 w 12187339"/>
                <a:gd name="connsiteY2221" fmla="*/ 1710030 h 6851196"/>
                <a:gd name="connsiteX2222" fmla="*/ 8963564 w 12187339"/>
                <a:gd name="connsiteY2222" fmla="*/ 1471769 h 6851196"/>
                <a:gd name="connsiteX2223" fmla="*/ 9187653 w 12187339"/>
                <a:gd name="connsiteY2223" fmla="*/ 1471769 h 6851196"/>
                <a:gd name="connsiteX2224" fmla="*/ 8957162 w 12187339"/>
                <a:gd name="connsiteY2224" fmla="*/ 1710030 h 6851196"/>
                <a:gd name="connsiteX2225" fmla="*/ 8734611 w 12187339"/>
                <a:gd name="connsiteY2225" fmla="*/ 1710030 h 6851196"/>
                <a:gd name="connsiteX2226" fmla="*/ 8734611 w 12187339"/>
                <a:gd name="connsiteY2226" fmla="*/ 1471769 h 6851196"/>
                <a:gd name="connsiteX2227" fmla="*/ 8957162 w 12187339"/>
                <a:gd name="connsiteY2227" fmla="*/ 1471769 h 6851196"/>
                <a:gd name="connsiteX2228" fmla="*/ 8728209 w 12187339"/>
                <a:gd name="connsiteY2228" fmla="*/ 1710030 h 6851196"/>
                <a:gd name="connsiteX2229" fmla="*/ 8504120 w 12187339"/>
                <a:gd name="connsiteY2229" fmla="*/ 1710030 h 6851196"/>
                <a:gd name="connsiteX2230" fmla="*/ 8504120 w 12187339"/>
                <a:gd name="connsiteY2230" fmla="*/ 1471769 h 6851196"/>
                <a:gd name="connsiteX2231" fmla="*/ 8728209 w 12187339"/>
                <a:gd name="connsiteY2231" fmla="*/ 1471769 h 6851196"/>
                <a:gd name="connsiteX2232" fmla="*/ 8497718 w 12187339"/>
                <a:gd name="connsiteY2232" fmla="*/ 1710030 h 6851196"/>
                <a:gd name="connsiteX2233" fmla="*/ 8273629 w 12187339"/>
                <a:gd name="connsiteY2233" fmla="*/ 1710030 h 6851196"/>
                <a:gd name="connsiteX2234" fmla="*/ 8273629 w 12187339"/>
                <a:gd name="connsiteY2234" fmla="*/ 1471769 h 6851196"/>
                <a:gd name="connsiteX2235" fmla="*/ 8497718 w 12187339"/>
                <a:gd name="connsiteY2235" fmla="*/ 1471769 h 6851196"/>
                <a:gd name="connsiteX2236" fmla="*/ 8267227 w 12187339"/>
                <a:gd name="connsiteY2236" fmla="*/ 1710030 h 6851196"/>
                <a:gd name="connsiteX2237" fmla="*/ 8044420 w 12187339"/>
                <a:gd name="connsiteY2237" fmla="*/ 1710030 h 6851196"/>
                <a:gd name="connsiteX2238" fmla="*/ 8044420 w 12187339"/>
                <a:gd name="connsiteY2238" fmla="*/ 1471769 h 6851196"/>
                <a:gd name="connsiteX2239" fmla="*/ 8267227 w 12187339"/>
                <a:gd name="connsiteY2239" fmla="*/ 1471769 h 6851196"/>
                <a:gd name="connsiteX2240" fmla="*/ 8038274 w 12187339"/>
                <a:gd name="connsiteY2240" fmla="*/ 1710030 h 6851196"/>
                <a:gd name="connsiteX2241" fmla="*/ 7814186 w 12187339"/>
                <a:gd name="connsiteY2241" fmla="*/ 1710030 h 6851196"/>
                <a:gd name="connsiteX2242" fmla="*/ 7814186 w 12187339"/>
                <a:gd name="connsiteY2242" fmla="*/ 1471769 h 6851196"/>
                <a:gd name="connsiteX2243" fmla="*/ 8038274 w 12187339"/>
                <a:gd name="connsiteY2243" fmla="*/ 1471769 h 6851196"/>
                <a:gd name="connsiteX2244" fmla="*/ 7807783 w 12187339"/>
                <a:gd name="connsiteY2244" fmla="*/ 1710030 h 6851196"/>
                <a:gd name="connsiteX2245" fmla="*/ 7583695 w 12187339"/>
                <a:gd name="connsiteY2245" fmla="*/ 1710030 h 6851196"/>
                <a:gd name="connsiteX2246" fmla="*/ 7583695 w 12187339"/>
                <a:gd name="connsiteY2246" fmla="*/ 1471769 h 6851196"/>
                <a:gd name="connsiteX2247" fmla="*/ 7807783 w 12187339"/>
                <a:gd name="connsiteY2247" fmla="*/ 1471769 h 6851196"/>
                <a:gd name="connsiteX2248" fmla="*/ 7577292 w 12187339"/>
                <a:gd name="connsiteY2248" fmla="*/ 1710030 h 6851196"/>
                <a:gd name="connsiteX2249" fmla="*/ 7353204 w 12187339"/>
                <a:gd name="connsiteY2249" fmla="*/ 1710030 h 6851196"/>
                <a:gd name="connsiteX2250" fmla="*/ 7353204 w 12187339"/>
                <a:gd name="connsiteY2250" fmla="*/ 1471769 h 6851196"/>
                <a:gd name="connsiteX2251" fmla="*/ 7577292 w 12187339"/>
                <a:gd name="connsiteY2251" fmla="*/ 1471769 h 6851196"/>
                <a:gd name="connsiteX2252" fmla="*/ 7346801 w 12187339"/>
                <a:gd name="connsiteY2252" fmla="*/ 1710030 h 6851196"/>
                <a:gd name="connsiteX2253" fmla="*/ 7124247 w 12187339"/>
                <a:gd name="connsiteY2253" fmla="*/ 1710030 h 6851196"/>
                <a:gd name="connsiteX2254" fmla="*/ 7124247 w 12187339"/>
                <a:gd name="connsiteY2254" fmla="*/ 1471769 h 6851196"/>
                <a:gd name="connsiteX2255" fmla="*/ 7346801 w 12187339"/>
                <a:gd name="connsiteY2255" fmla="*/ 1471769 h 6851196"/>
                <a:gd name="connsiteX2256" fmla="*/ 7117845 w 12187339"/>
                <a:gd name="connsiteY2256" fmla="*/ 1710030 h 6851196"/>
                <a:gd name="connsiteX2257" fmla="*/ 6893756 w 12187339"/>
                <a:gd name="connsiteY2257" fmla="*/ 1710030 h 6851196"/>
                <a:gd name="connsiteX2258" fmla="*/ 6893756 w 12187339"/>
                <a:gd name="connsiteY2258" fmla="*/ 1471769 h 6851196"/>
                <a:gd name="connsiteX2259" fmla="*/ 7117845 w 12187339"/>
                <a:gd name="connsiteY2259" fmla="*/ 1471769 h 6851196"/>
                <a:gd name="connsiteX2260" fmla="*/ 6887354 w 12187339"/>
                <a:gd name="connsiteY2260" fmla="*/ 1710030 h 6851196"/>
                <a:gd name="connsiteX2261" fmla="*/ 6663265 w 12187339"/>
                <a:gd name="connsiteY2261" fmla="*/ 1710030 h 6851196"/>
                <a:gd name="connsiteX2262" fmla="*/ 6663265 w 12187339"/>
                <a:gd name="connsiteY2262" fmla="*/ 1471769 h 6851196"/>
                <a:gd name="connsiteX2263" fmla="*/ 6887354 w 12187339"/>
                <a:gd name="connsiteY2263" fmla="*/ 1471769 h 6851196"/>
                <a:gd name="connsiteX2264" fmla="*/ 6656863 w 12187339"/>
                <a:gd name="connsiteY2264" fmla="*/ 1710030 h 6851196"/>
                <a:gd name="connsiteX2265" fmla="*/ 6446349 w 12187339"/>
                <a:gd name="connsiteY2265" fmla="*/ 1710030 h 6851196"/>
                <a:gd name="connsiteX2266" fmla="*/ 6446349 w 12187339"/>
                <a:gd name="connsiteY2266" fmla="*/ 1471769 h 6851196"/>
                <a:gd name="connsiteX2267" fmla="*/ 6656863 w 12187339"/>
                <a:gd name="connsiteY2267" fmla="*/ 1471769 h 6851196"/>
                <a:gd name="connsiteX2268" fmla="*/ 6439946 w 12187339"/>
                <a:gd name="connsiteY2268" fmla="*/ 1710030 h 6851196"/>
                <a:gd name="connsiteX2269" fmla="*/ 6217136 w 12187339"/>
                <a:gd name="connsiteY2269" fmla="*/ 1710030 h 6851196"/>
                <a:gd name="connsiteX2270" fmla="*/ 6217136 w 12187339"/>
                <a:gd name="connsiteY2270" fmla="*/ 1471769 h 6851196"/>
                <a:gd name="connsiteX2271" fmla="*/ 6439690 w 12187339"/>
                <a:gd name="connsiteY2271" fmla="*/ 1471769 h 6851196"/>
                <a:gd name="connsiteX2272" fmla="*/ 6210990 w 12187339"/>
                <a:gd name="connsiteY2272" fmla="*/ 1710030 h 6851196"/>
                <a:gd name="connsiteX2273" fmla="*/ 5986902 w 12187339"/>
                <a:gd name="connsiteY2273" fmla="*/ 1710030 h 6851196"/>
                <a:gd name="connsiteX2274" fmla="*/ 5986902 w 12187339"/>
                <a:gd name="connsiteY2274" fmla="*/ 1471769 h 6851196"/>
                <a:gd name="connsiteX2275" fmla="*/ 6210990 w 12187339"/>
                <a:gd name="connsiteY2275" fmla="*/ 1471769 h 6851196"/>
                <a:gd name="connsiteX2276" fmla="*/ 5980499 w 12187339"/>
                <a:gd name="connsiteY2276" fmla="*/ 1710030 h 6851196"/>
                <a:gd name="connsiteX2277" fmla="*/ 5756411 w 12187339"/>
                <a:gd name="connsiteY2277" fmla="*/ 1710030 h 6851196"/>
                <a:gd name="connsiteX2278" fmla="*/ 5756411 w 12187339"/>
                <a:gd name="connsiteY2278" fmla="*/ 1471769 h 6851196"/>
                <a:gd name="connsiteX2279" fmla="*/ 5980499 w 12187339"/>
                <a:gd name="connsiteY2279" fmla="*/ 1471769 h 6851196"/>
                <a:gd name="connsiteX2280" fmla="*/ 5750008 w 12187339"/>
                <a:gd name="connsiteY2280" fmla="*/ 1710030 h 6851196"/>
                <a:gd name="connsiteX2281" fmla="*/ 5526945 w 12187339"/>
                <a:gd name="connsiteY2281" fmla="*/ 1710030 h 6851196"/>
                <a:gd name="connsiteX2282" fmla="*/ 5526945 w 12187339"/>
                <a:gd name="connsiteY2282" fmla="*/ 1471769 h 6851196"/>
                <a:gd name="connsiteX2283" fmla="*/ 5749495 w 12187339"/>
                <a:gd name="connsiteY2283" fmla="*/ 1471769 h 6851196"/>
                <a:gd name="connsiteX2284" fmla="*/ 5521055 w 12187339"/>
                <a:gd name="connsiteY2284" fmla="*/ 1710030 h 6851196"/>
                <a:gd name="connsiteX2285" fmla="*/ 5296454 w 12187339"/>
                <a:gd name="connsiteY2285" fmla="*/ 1710030 h 6851196"/>
                <a:gd name="connsiteX2286" fmla="*/ 5296454 w 12187339"/>
                <a:gd name="connsiteY2286" fmla="*/ 1471769 h 6851196"/>
                <a:gd name="connsiteX2287" fmla="*/ 5520542 w 12187339"/>
                <a:gd name="connsiteY2287" fmla="*/ 1471769 h 6851196"/>
                <a:gd name="connsiteX2288" fmla="*/ 5290564 w 12187339"/>
                <a:gd name="connsiteY2288" fmla="*/ 1710030 h 6851196"/>
                <a:gd name="connsiteX2289" fmla="*/ 5065963 w 12187339"/>
                <a:gd name="connsiteY2289" fmla="*/ 1710030 h 6851196"/>
                <a:gd name="connsiteX2290" fmla="*/ 5065963 w 12187339"/>
                <a:gd name="connsiteY2290" fmla="*/ 1471769 h 6851196"/>
                <a:gd name="connsiteX2291" fmla="*/ 5290051 w 12187339"/>
                <a:gd name="connsiteY2291" fmla="*/ 1471769 h 6851196"/>
                <a:gd name="connsiteX2292" fmla="*/ 5060073 w 12187339"/>
                <a:gd name="connsiteY2292" fmla="*/ 1710030 h 6851196"/>
                <a:gd name="connsiteX2293" fmla="*/ 4835472 w 12187339"/>
                <a:gd name="connsiteY2293" fmla="*/ 1710030 h 6851196"/>
                <a:gd name="connsiteX2294" fmla="*/ 4835472 w 12187339"/>
                <a:gd name="connsiteY2294" fmla="*/ 1471769 h 6851196"/>
                <a:gd name="connsiteX2295" fmla="*/ 5059560 w 12187339"/>
                <a:gd name="connsiteY2295" fmla="*/ 1471769 h 6851196"/>
                <a:gd name="connsiteX2296" fmla="*/ 4829582 w 12187339"/>
                <a:gd name="connsiteY2296" fmla="*/ 1710030 h 6851196"/>
                <a:gd name="connsiteX2297" fmla="*/ 4607029 w 12187339"/>
                <a:gd name="connsiteY2297" fmla="*/ 1710030 h 6851196"/>
                <a:gd name="connsiteX2298" fmla="*/ 4607029 w 12187339"/>
                <a:gd name="connsiteY2298" fmla="*/ 1471769 h 6851196"/>
                <a:gd name="connsiteX2299" fmla="*/ 4829582 w 12187339"/>
                <a:gd name="connsiteY2299" fmla="*/ 1471769 h 6851196"/>
                <a:gd name="connsiteX2300" fmla="*/ 4600626 w 12187339"/>
                <a:gd name="connsiteY2300" fmla="*/ 1710030 h 6851196"/>
                <a:gd name="connsiteX2301" fmla="*/ 4376538 w 12187339"/>
                <a:gd name="connsiteY2301" fmla="*/ 1710030 h 6851196"/>
                <a:gd name="connsiteX2302" fmla="*/ 4376538 w 12187339"/>
                <a:gd name="connsiteY2302" fmla="*/ 1471769 h 6851196"/>
                <a:gd name="connsiteX2303" fmla="*/ 4600626 w 12187339"/>
                <a:gd name="connsiteY2303" fmla="*/ 1471769 h 6851196"/>
                <a:gd name="connsiteX2304" fmla="*/ 4370135 w 12187339"/>
                <a:gd name="connsiteY2304" fmla="*/ 1710030 h 6851196"/>
                <a:gd name="connsiteX2305" fmla="*/ 4146047 w 12187339"/>
                <a:gd name="connsiteY2305" fmla="*/ 1710030 h 6851196"/>
                <a:gd name="connsiteX2306" fmla="*/ 4146047 w 12187339"/>
                <a:gd name="connsiteY2306" fmla="*/ 1471769 h 6851196"/>
                <a:gd name="connsiteX2307" fmla="*/ 4370135 w 12187339"/>
                <a:gd name="connsiteY2307" fmla="*/ 1471769 h 6851196"/>
                <a:gd name="connsiteX2308" fmla="*/ 4139644 w 12187339"/>
                <a:gd name="connsiteY2308" fmla="*/ 1710030 h 6851196"/>
                <a:gd name="connsiteX2309" fmla="*/ 3917094 w 12187339"/>
                <a:gd name="connsiteY2309" fmla="*/ 1710030 h 6851196"/>
                <a:gd name="connsiteX2310" fmla="*/ 3917094 w 12187339"/>
                <a:gd name="connsiteY2310" fmla="*/ 1471769 h 6851196"/>
                <a:gd name="connsiteX2311" fmla="*/ 4139644 w 12187339"/>
                <a:gd name="connsiteY2311" fmla="*/ 1471769 h 6851196"/>
                <a:gd name="connsiteX2312" fmla="*/ 3910691 w 12187339"/>
                <a:gd name="connsiteY2312" fmla="*/ 1710030 h 6851196"/>
                <a:gd name="connsiteX2313" fmla="*/ 3686603 w 12187339"/>
                <a:gd name="connsiteY2313" fmla="*/ 1710030 h 6851196"/>
                <a:gd name="connsiteX2314" fmla="*/ 3686603 w 12187339"/>
                <a:gd name="connsiteY2314" fmla="*/ 1471769 h 6851196"/>
                <a:gd name="connsiteX2315" fmla="*/ 3910691 w 12187339"/>
                <a:gd name="connsiteY2315" fmla="*/ 1471769 h 6851196"/>
                <a:gd name="connsiteX2316" fmla="*/ 3680200 w 12187339"/>
                <a:gd name="connsiteY2316" fmla="*/ 1710030 h 6851196"/>
                <a:gd name="connsiteX2317" fmla="*/ 3456112 w 12187339"/>
                <a:gd name="connsiteY2317" fmla="*/ 1710030 h 6851196"/>
                <a:gd name="connsiteX2318" fmla="*/ 3456112 w 12187339"/>
                <a:gd name="connsiteY2318" fmla="*/ 1471769 h 6851196"/>
                <a:gd name="connsiteX2319" fmla="*/ 3680200 w 12187339"/>
                <a:gd name="connsiteY2319" fmla="*/ 1471769 h 6851196"/>
                <a:gd name="connsiteX2320" fmla="*/ 3449709 w 12187339"/>
                <a:gd name="connsiteY2320" fmla="*/ 1710030 h 6851196"/>
                <a:gd name="connsiteX2321" fmla="*/ 3225621 w 12187339"/>
                <a:gd name="connsiteY2321" fmla="*/ 1710030 h 6851196"/>
                <a:gd name="connsiteX2322" fmla="*/ 3225621 w 12187339"/>
                <a:gd name="connsiteY2322" fmla="*/ 1471769 h 6851196"/>
                <a:gd name="connsiteX2323" fmla="*/ 3449709 w 12187339"/>
                <a:gd name="connsiteY2323" fmla="*/ 1471769 h 6851196"/>
                <a:gd name="connsiteX2324" fmla="*/ 3219218 w 12187339"/>
                <a:gd name="connsiteY2324" fmla="*/ 1710030 h 6851196"/>
                <a:gd name="connsiteX2325" fmla="*/ 2996666 w 12187339"/>
                <a:gd name="connsiteY2325" fmla="*/ 1710030 h 6851196"/>
                <a:gd name="connsiteX2326" fmla="*/ 2996666 w 12187339"/>
                <a:gd name="connsiteY2326" fmla="*/ 1471769 h 6851196"/>
                <a:gd name="connsiteX2327" fmla="*/ 3219218 w 12187339"/>
                <a:gd name="connsiteY2327" fmla="*/ 1471769 h 6851196"/>
                <a:gd name="connsiteX2328" fmla="*/ 2990264 w 12187339"/>
                <a:gd name="connsiteY2328" fmla="*/ 1710030 h 6851196"/>
                <a:gd name="connsiteX2329" fmla="*/ 2766175 w 12187339"/>
                <a:gd name="connsiteY2329" fmla="*/ 1710030 h 6851196"/>
                <a:gd name="connsiteX2330" fmla="*/ 2766175 w 12187339"/>
                <a:gd name="connsiteY2330" fmla="*/ 1471769 h 6851196"/>
                <a:gd name="connsiteX2331" fmla="*/ 2990264 w 12187339"/>
                <a:gd name="connsiteY2331" fmla="*/ 1471769 h 6851196"/>
                <a:gd name="connsiteX2332" fmla="*/ 2759773 w 12187339"/>
                <a:gd name="connsiteY2332" fmla="*/ 1710030 h 6851196"/>
                <a:gd name="connsiteX2333" fmla="*/ 2535684 w 12187339"/>
                <a:gd name="connsiteY2333" fmla="*/ 1710030 h 6851196"/>
                <a:gd name="connsiteX2334" fmla="*/ 2535684 w 12187339"/>
                <a:gd name="connsiteY2334" fmla="*/ 1471769 h 6851196"/>
                <a:gd name="connsiteX2335" fmla="*/ 2759773 w 12187339"/>
                <a:gd name="connsiteY2335" fmla="*/ 1471769 h 6851196"/>
                <a:gd name="connsiteX2336" fmla="*/ 2529282 w 12187339"/>
                <a:gd name="connsiteY2336" fmla="*/ 1710030 h 6851196"/>
                <a:gd name="connsiteX2337" fmla="*/ 2305193 w 12187339"/>
                <a:gd name="connsiteY2337" fmla="*/ 1710030 h 6851196"/>
                <a:gd name="connsiteX2338" fmla="*/ 2305193 w 12187339"/>
                <a:gd name="connsiteY2338" fmla="*/ 1471769 h 6851196"/>
                <a:gd name="connsiteX2339" fmla="*/ 2529282 w 12187339"/>
                <a:gd name="connsiteY2339" fmla="*/ 1471769 h 6851196"/>
                <a:gd name="connsiteX2340" fmla="*/ 2298791 w 12187339"/>
                <a:gd name="connsiteY2340" fmla="*/ 1710030 h 6851196"/>
                <a:gd name="connsiteX2341" fmla="*/ 2075982 w 12187339"/>
                <a:gd name="connsiteY2341" fmla="*/ 1710030 h 6851196"/>
                <a:gd name="connsiteX2342" fmla="*/ 2075982 w 12187339"/>
                <a:gd name="connsiteY2342" fmla="*/ 1471769 h 6851196"/>
                <a:gd name="connsiteX2343" fmla="*/ 2298534 w 12187339"/>
                <a:gd name="connsiteY2343" fmla="*/ 1471769 h 6851196"/>
                <a:gd name="connsiteX2344" fmla="*/ 2069836 w 12187339"/>
                <a:gd name="connsiteY2344" fmla="*/ 1710030 h 6851196"/>
                <a:gd name="connsiteX2345" fmla="*/ 1845748 w 12187339"/>
                <a:gd name="connsiteY2345" fmla="*/ 1710030 h 6851196"/>
                <a:gd name="connsiteX2346" fmla="*/ 1845748 w 12187339"/>
                <a:gd name="connsiteY2346" fmla="*/ 1471769 h 6851196"/>
                <a:gd name="connsiteX2347" fmla="*/ 2069580 w 12187339"/>
                <a:gd name="connsiteY2347" fmla="*/ 1471769 h 6851196"/>
                <a:gd name="connsiteX2348" fmla="*/ 1839345 w 12187339"/>
                <a:gd name="connsiteY2348" fmla="*/ 1710030 h 6851196"/>
                <a:gd name="connsiteX2349" fmla="*/ 1615257 w 12187339"/>
                <a:gd name="connsiteY2349" fmla="*/ 1710030 h 6851196"/>
                <a:gd name="connsiteX2350" fmla="*/ 1615257 w 12187339"/>
                <a:gd name="connsiteY2350" fmla="*/ 1471769 h 6851196"/>
                <a:gd name="connsiteX2351" fmla="*/ 1839089 w 12187339"/>
                <a:gd name="connsiteY2351" fmla="*/ 1471769 h 6851196"/>
                <a:gd name="connsiteX2352" fmla="*/ 1608854 w 12187339"/>
                <a:gd name="connsiteY2352" fmla="*/ 1710030 h 6851196"/>
                <a:gd name="connsiteX2353" fmla="*/ 1386302 w 12187339"/>
                <a:gd name="connsiteY2353" fmla="*/ 1710030 h 6851196"/>
                <a:gd name="connsiteX2354" fmla="*/ 1386302 w 12187339"/>
                <a:gd name="connsiteY2354" fmla="*/ 1471769 h 6851196"/>
                <a:gd name="connsiteX2355" fmla="*/ 1608598 w 12187339"/>
                <a:gd name="connsiteY2355" fmla="*/ 1471769 h 6851196"/>
                <a:gd name="connsiteX2356" fmla="*/ 1608854 w 12187339"/>
                <a:gd name="connsiteY2356" fmla="*/ 1716833 h 6851196"/>
                <a:gd name="connsiteX2357" fmla="*/ 1608854 w 12187339"/>
                <a:gd name="connsiteY2357" fmla="*/ 1953326 h 6851196"/>
                <a:gd name="connsiteX2358" fmla="*/ 1386302 w 12187339"/>
                <a:gd name="connsiteY2358" fmla="*/ 1953326 h 6851196"/>
                <a:gd name="connsiteX2359" fmla="*/ 1386302 w 12187339"/>
                <a:gd name="connsiteY2359" fmla="*/ 1716697 h 6851196"/>
                <a:gd name="connsiteX2360" fmla="*/ 1608854 w 12187339"/>
                <a:gd name="connsiteY2360" fmla="*/ 1960129 h 6851196"/>
                <a:gd name="connsiteX2361" fmla="*/ 1608854 w 12187339"/>
                <a:gd name="connsiteY2361" fmla="*/ 2198254 h 6851196"/>
                <a:gd name="connsiteX2362" fmla="*/ 1386302 w 12187339"/>
                <a:gd name="connsiteY2362" fmla="*/ 2198254 h 6851196"/>
                <a:gd name="connsiteX2363" fmla="*/ 1386302 w 12187339"/>
                <a:gd name="connsiteY2363" fmla="*/ 1960129 h 6851196"/>
                <a:gd name="connsiteX2364" fmla="*/ 1608854 w 12187339"/>
                <a:gd name="connsiteY2364" fmla="*/ 2205058 h 6851196"/>
                <a:gd name="connsiteX2365" fmla="*/ 1608854 w 12187339"/>
                <a:gd name="connsiteY2365" fmla="*/ 2443183 h 6851196"/>
                <a:gd name="connsiteX2366" fmla="*/ 1386302 w 12187339"/>
                <a:gd name="connsiteY2366" fmla="*/ 2443183 h 6851196"/>
                <a:gd name="connsiteX2367" fmla="*/ 1386302 w 12187339"/>
                <a:gd name="connsiteY2367" fmla="*/ 2205058 h 6851196"/>
                <a:gd name="connsiteX2368" fmla="*/ 1608854 w 12187339"/>
                <a:gd name="connsiteY2368" fmla="*/ 2449986 h 6851196"/>
                <a:gd name="connsiteX2369" fmla="*/ 1608854 w 12187339"/>
                <a:gd name="connsiteY2369" fmla="*/ 2686479 h 6851196"/>
                <a:gd name="connsiteX2370" fmla="*/ 1386302 w 12187339"/>
                <a:gd name="connsiteY2370" fmla="*/ 2686479 h 6851196"/>
                <a:gd name="connsiteX2371" fmla="*/ 1386302 w 12187339"/>
                <a:gd name="connsiteY2371" fmla="*/ 2449986 h 6851196"/>
                <a:gd name="connsiteX2372" fmla="*/ 1608854 w 12187339"/>
                <a:gd name="connsiteY2372" fmla="*/ 2693282 h 6851196"/>
                <a:gd name="connsiteX2373" fmla="*/ 1608854 w 12187339"/>
                <a:gd name="connsiteY2373" fmla="*/ 2931407 h 6851196"/>
                <a:gd name="connsiteX2374" fmla="*/ 1386302 w 12187339"/>
                <a:gd name="connsiteY2374" fmla="*/ 2931407 h 6851196"/>
                <a:gd name="connsiteX2375" fmla="*/ 1386302 w 12187339"/>
                <a:gd name="connsiteY2375" fmla="*/ 2693282 h 6851196"/>
                <a:gd name="connsiteX2376" fmla="*/ 1608854 w 12187339"/>
                <a:gd name="connsiteY2376" fmla="*/ 2938211 h 6851196"/>
                <a:gd name="connsiteX2377" fmla="*/ 1608854 w 12187339"/>
                <a:gd name="connsiteY2377" fmla="*/ 3176336 h 6851196"/>
                <a:gd name="connsiteX2378" fmla="*/ 1386302 w 12187339"/>
                <a:gd name="connsiteY2378" fmla="*/ 3176336 h 6851196"/>
                <a:gd name="connsiteX2379" fmla="*/ 1386302 w 12187339"/>
                <a:gd name="connsiteY2379" fmla="*/ 2938211 h 6851196"/>
                <a:gd name="connsiteX2380" fmla="*/ 1608854 w 12187339"/>
                <a:gd name="connsiteY2380" fmla="*/ 3183139 h 6851196"/>
                <a:gd name="connsiteX2381" fmla="*/ 1608854 w 12187339"/>
                <a:gd name="connsiteY2381" fmla="*/ 3421264 h 6851196"/>
                <a:gd name="connsiteX2382" fmla="*/ 1386302 w 12187339"/>
                <a:gd name="connsiteY2382" fmla="*/ 3421264 h 6851196"/>
                <a:gd name="connsiteX2383" fmla="*/ 1386302 w 12187339"/>
                <a:gd name="connsiteY2383" fmla="*/ 3183139 h 6851196"/>
                <a:gd name="connsiteX2384" fmla="*/ 1608854 w 12187339"/>
                <a:gd name="connsiteY2384" fmla="*/ 3428068 h 6851196"/>
                <a:gd name="connsiteX2385" fmla="*/ 1608854 w 12187339"/>
                <a:gd name="connsiteY2385" fmla="*/ 3664560 h 6851196"/>
                <a:gd name="connsiteX2386" fmla="*/ 1386302 w 12187339"/>
                <a:gd name="connsiteY2386" fmla="*/ 3664560 h 6851196"/>
                <a:gd name="connsiteX2387" fmla="*/ 1386302 w 12187339"/>
                <a:gd name="connsiteY2387" fmla="*/ 3428068 h 6851196"/>
                <a:gd name="connsiteX2388" fmla="*/ 1608854 w 12187339"/>
                <a:gd name="connsiteY2388" fmla="*/ 3671364 h 6851196"/>
                <a:gd name="connsiteX2389" fmla="*/ 1608854 w 12187339"/>
                <a:gd name="connsiteY2389" fmla="*/ 3909489 h 6851196"/>
                <a:gd name="connsiteX2390" fmla="*/ 1386302 w 12187339"/>
                <a:gd name="connsiteY2390" fmla="*/ 3909489 h 6851196"/>
                <a:gd name="connsiteX2391" fmla="*/ 1386302 w 12187339"/>
                <a:gd name="connsiteY2391" fmla="*/ 3671364 h 6851196"/>
                <a:gd name="connsiteX2392" fmla="*/ 1608854 w 12187339"/>
                <a:gd name="connsiteY2392" fmla="*/ 3916292 h 6851196"/>
                <a:gd name="connsiteX2393" fmla="*/ 1608854 w 12187339"/>
                <a:gd name="connsiteY2393" fmla="*/ 4154417 h 6851196"/>
                <a:gd name="connsiteX2394" fmla="*/ 1386302 w 12187339"/>
                <a:gd name="connsiteY2394" fmla="*/ 4154417 h 6851196"/>
                <a:gd name="connsiteX2395" fmla="*/ 1386302 w 12187339"/>
                <a:gd name="connsiteY2395" fmla="*/ 3916292 h 6851196"/>
                <a:gd name="connsiteX2396" fmla="*/ 1608854 w 12187339"/>
                <a:gd name="connsiteY2396" fmla="*/ 4161221 h 6851196"/>
                <a:gd name="connsiteX2397" fmla="*/ 1608854 w 12187339"/>
                <a:gd name="connsiteY2397" fmla="*/ 4399346 h 6851196"/>
                <a:gd name="connsiteX2398" fmla="*/ 1386302 w 12187339"/>
                <a:gd name="connsiteY2398" fmla="*/ 4399346 h 6851196"/>
                <a:gd name="connsiteX2399" fmla="*/ 1386302 w 12187339"/>
                <a:gd name="connsiteY2399" fmla="*/ 4161221 h 6851196"/>
                <a:gd name="connsiteX2400" fmla="*/ 1608854 w 12187339"/>
                <a:gd name="connsiteY2400" fmla="*/ 4406149 h 6851196"/>
                <a:gd name="connsiteX2401" fmla="*/ 1608854 w 12187339"/>
                <a:gd name="connsiteY2401" fmla="*/ 4642233 h 6851196"/>
                <a:gd name="connsiteX2402" fmla="*/ 1386302 w 12187339"/>
                <a:gd name="connsiteY2402" fmla="*/ 4642233 h 6851196"/>
                <a:gd name="connsiteX2403" fmla="*/ 1386302 w 12187339"/>
                <a:gd name="connsiteY2403" fmla="*/ 4405741 h 6851196"/>
                <a:gd name="connsiteX2404" fmla="*/ 1608854 w 12187339"/>
                <a:gd name="connsiteY2404" fmla="*/ 4649445 h 6851196"/>
                <a:gd name="connsiteX2405" fmla="*/ 1608854 w 12187339"/>
                <a:gd name="connsiteY2405" fmla="*/ 4887162 h 6851196"/>
                <a:gd name="connsiteX2406" fmla="*/ 1386302 w 12187339"/>
                <a:gd name="connsiteY2406" fmla="*/ 4887162 h 6851196"/>
                <a:gd name="connsiteX2407" fmla="*/ 1386302 w 12187339"/>
                <a:gd name="connsiteY2407" fmla="*/ 4649037 h 6851196"/>
                <a:gd name="connsiteX2408" fmla="*/ 1608854 w 12187339"/>
                <a:gd name="connsiteY2408" fmla="*/ 4894374 h 6851196"/>
                <a:gd name="connsiteX2409" fmla="*/ 1608854 w 12187339"/>
                <a:gd name="connsiteY2409" fmla="*/ 5132090 h 6851196"/>
                <a:gd name="connsiteX2410" fmla="*/ 1386302 w 12187339"/>
                <a:gd name="connsiteY2410" fmla="*/ 5132090 h 6851196"/>
                <a:gd name="connsiteX2411" fmla="*/ 1386302 w 12187339"/>
                <a:gd name="connsiteY2411" fmla="*/ 4893965 h 6851196"/>
                <a:gd name="connsiteX2412" fmla="*/ 1608854 w 12187339"/>
                <a:gd name="connsiteY2412" fmla="*/ 5139302 h 6851196"/>
                <a:gd name="connsiteX2413" fmla="*/ 1608854 w 12187339"/>
                <a:gd name="connsiteY2413" fmla="*/ 5375795 h 6851196"/>
                <a:gd name="connsiteX2414" fmla="*/ 1386302 w 12187339"/>
                <a:gd name="connsiteY2414" fmla="*/ 5375795 h 6851196"/>
                <a:gd name="connsiteX2415" fmla="*/ 1386302 w 12187339"/>
                <a:gd name="connsiteY2415" fmla="*/ 5139302 h 6851196"/>
                <a:gd name="connsiteX2416" fmla="*/ 1615257 w 12187339"/>
                <a:gd name="connsiteY2416" fmla="*/ 5139302 h 6851196"/>
                <a:gd name="connsiteX2417" fmla="*/ 1839089 w 12187339"/>
                <a:gd name="connsiteY2417" fmla="*/ 5139302 h 6851196"/>
                <a:gd name="connsiteX2418" fmla="*/ 1839089 w 12187339"/>
                <a:gd name="connsiteY2418" fmla="*/ 5375795 h 6851196"/>
                <a:gd name="connsiteX2419" fmla="*/ 1615000 w 12187339"/>
                <a:gd name="connsiteY2419" fmla="*/ 5375795 h 6851196"/>
                <a:gd name="connsiteX2420" fmla="*/ 1845748 w 12187339"/>
                <a:gd name="connsiteY2420" fmla="*/ 5139302 h 6851196"/>
                <a:gd name="connsiteX2421" fmla="*/ 2069580 w 12187339"/>
                <a:gd name="connsiteY2421" fmla="*/ 5139302 h 6851196"/>
                <a:gd name="connsiteX2422" fmla="*/ 2069580 w 12187339"/>
                <a:gd name="connsiteY2422" fmla="*/ 5375795 h 6851196"/>
                <a:gd name="connsiteX2423" fmla="*/ 1845491 w 12187339"/>
                <a:gd name="connsiteY2423" fmla="*/ 5375795 h 6851196"/>
                <a:gd name="connsiteX2424" fmla="*/ 2076239 w 12187339"/>
                <a:gd name="connsiteY2424" fmla="*/ 5139302 h 6851196"/>
                <a:gd name="connsiteX2425" fmla="*/ 2298791 w 12187339"/>
                <a:gd name="connsiteY2425" fmla="*/ 5139302 h 6851196"/>
                <a:gd name="connsiteX2426" fmla="*/ 2298791 w 12187339"/>
                <a:gd name="connsiteY2426" fmla="*/ 5375795 h 6851196"/>
                <a:gd name="connsiteX2427" fmla="*/ 2075982 w 12187339"/>
                <a:gd name="connsiteY2427" fmla="*/ 5375795 h 6851196"/>
                <a:gd name="connsiteX2428" fmla="*/ 2305193 w 12187339"/>
                <a:gd name="connsiteY2428" fmla="*/ 5139302 h 6851196"/>
                <a:gd name="connsiteX2429" fmla="*/ 2529282 w 12187339"/>
                <a:gd name="connsiteY2429" fmla="*/ 5139302 h 6851196"/>
                <a:gd name="connsiteX2430" fmla="*/ 2529282 w 12187339"/>
                <a:gd name="connsiteY2430" fmla="*/ 5375795 h 6851196"/>
                <a:gd name="connsiteX2431" fmla="*/ 2305193 w 12187339"/>
                <a:gd name="connsiteY2431" fmla="*/ 5375795 h 6851196"/>
                <a:gd name="connsiteX2432" fmla="*/ 2535684 w 12187339"/>
                <a:gd name="connsiteY2432" fmla="*/ 5139302 h 6851196"/>
                <a:gd name="connsiteX2433" fmla="*/ 2759773 w 12187339"/>
                <a:gd name="connsiteY2433" fmla="*/ 5139302 h 6851196"/>
                <a:gd name="connsiteX2434" fmla="*/ 2759773 w 12187339"/>
                <a:gd name="connsiteY2434" fmla="*/ 5375795 h 6851196"/>
                <a:gd name="connsiteX2435" fmla="*/ 2535684 w 12187339"/>
                <a:gd name="connsiteY2435" fmla="*/ 5375795 h 6851196"/>
                <a:gd name="connsiteX2436" fmla="*/ 2766175 w 12187339"/>
                <a:gd name="connsiteY2436" fmla="*/ 5139302 h 6851196"/>
                <a:gd name="connsiteX2437" fmla="*/ 2990264 w 12187339"/>
                <a:gd name="connsiteY2437" fmla="*/ 5139302 h 6851196"/>
                <a:gd name="connsiteX2438" fmla="*/ 2990264 w 12187339"/>
                <a:gd name="connsiteY2438" fmla="*/ 5375795 h 6851196"/>
                <a:gd name="connsiteX2439" fmla="*/ 2766175 w 12187339"/>
                <a:gd name="connsiteY2439" fmla="*/ 5375795 h 6851196"/>
                <a:gd name="connsiteX2440" fmla="*/ 2996666 w 12187339"/>
                <a:gd name="connsiteY2440" fmla="*/ 5139302 h 6851196"/>
                <a:gd name="connsiteX2441" fmla="*/ 3219218 w 12187339"/>
                <a:gd name="connsiteY2441" fmla="*/ 5139302 h 6851196"/>
                <a:gd name="connsiteX2442" fmla="*/ 3219218 w 12187339"/>
                <a:gd name="connsiteY2442" fmla="*/ 5375795 h 6851196"/>
                <a:gd name="connsiteX2443" fmla="*/ 2996666 w 12187339"/>
                <a:gd name="connsiteY2443" fmla="*/ 5375795 h 6851196"/>
                <a:gd name="connsiteX2444" fmla="*/ 3225621 w 12187339"/>
                <a:gd name="connsiteY2444" fmla="*/ 5139302 h 6851196"/>
                <a:gd name="connsiteX2445" fmla="*/ 3449709 w 12187339"/>
                <a:gd name="connsiteY2445" fmla="*/ 5139302 h 6851196"/>
                <a:gd name="connsiteX2446" fmla="*/ 3449709 w 12187339"/>
                <a:gd name="connsiteY2446" fmla="*/ 5375795 h 6851196"/>
                <a:gd name="connsiteX2447" fmla="*/ 3225621 w 12187339"/>
                <a:gd name="connsiteY2447" fmla="*/ 5375795 h 6851196"/>
                <a:gd name="connsiteX2448" fmla="*/ 3456112 w 12187339"/>
                <a:gd name="connsiteY2448" fmla="*/ 5139302 h 6851196"/>
                <a:gd name="connsiteX2449" fmla="*/ 3680200 w 12187339"/>
                <a:gd name="connsiteY2449" fmla="*/ 5139302 h 6851196"/>
                <a:gd name="connsiteX2450" fmla="*/ 3680200 w 12187339"/>
                <a:gd name="connsiteY2450" fmla="*/ 5375795 h 6851196"/>
                <a:gd name="connsiteX2451" fmla="*/ 3456112 w 12187339"/>
                <a:gd name="connsiteY2451" fmla="*/ 5375795 h 6851196"/>
                <a:gd name="connsiteX2452" fmla="*/ 3686603 w 12187339"/>
                <a:gd name="connsiteY2452" fmla="*/ 5139302 h 6851196"/>
                <a:gd name="connsiteX2453" fmla="*/ 3910691 w 12187339"/>
                <a:gd name="connsiteY2453" fmla="*/ 5139302 h 6851196"/>
                <a:gd name="connsiteX2454" fmla="*/ 3910691 w 12187339"/>
                <a:gd name="connsiteY2454" fmla="*/ 5375795 h 6851196"/>
                <a:gd name="connsiteX2455" fmla="*/ 3686603 w 12187339"/>
                <a:gd name="connsiteY2455" fmla="*/ 5375795 h 6851196"/>
                <a:gd name="connsiteX2456" fmla="*/ 3917094 w 12187339"/>
                <a:gd name="connsiteY2456" fmla="*/ 5139302 h 6851196"/>
                <a:gd name="connsiteX2457" fmla="*/ 4139644 w 12187339"/>
                <a:gd name="connsiteY2457" fmla="*/ 5139302 h 6851196"/>
                <a:gd name="connsiteX2458" fmla="*/ 4139644 w 12187339"/>
                <a:gd name="connsiteY2458" fmla="*/ 5375795 h 6851196"/>
                <a:gd name="connsiteX2459" fmla="*/ 3917094 w 12187339"/>
                <a:gd name="connsiteY2459" fmla="*/ 5375795 h 6851196"/>
                <a:gd name="connsiteX2460" fmla="*/ 4146047 w 12187339"/>
                <a:gd name="connsiteY2460" fmla="*/ 5139302 h 6851196"/>
                <a:gd name="connsiteX2461" fmla="*/ 4370135 w 12187339"/>
                <a:gd name="connsiteY2461" fmla="*/ 5139302 h 6851196"/>
                <a:gd name="connsiteX2462" fmla="*/ 4370135 w 12187339"/>
                <a:gd name="connsiteY2462" fmla="*/ 5375795 h 6851196"/>
                <a:gd name="connsiteX2463" fmla="*/ 4146047 w 12187339"/>
                <a:gd name="connsiteY2463" fmla="*/ 5375795 h 6851196"/>
                <a:gd name="connsiteX2464" fmla="*/ 4376538 w 12187339"/>
                <a:gd name="connsiteY2464" fmla="*/ 5139302 h 6851196"/>
                <a:gd name="connsiteX2465" fmla="*/ 4600626 w 12187339"/>
                <a:gd name="connsiteY2465" fmla="*/ 5139302 h 6851196"/>
                <a:gd name="connsiteX2466" fmla="*/ 4600626 w 12187339"/>
                <a:gd name="connsiteY2466" fmla="*/ 5375795 h 6851196"/>
                <a:gd name="connsiteX2467" fmla="*/ 4376538 w 12187339"/>
                <a:gd name="connsiteY2467" fmla="*/ 5375795 h 6851196"/>
                <a:gd name="connsiteX2468" fmla="*/ 4607029 w 12187339"/>
                <a:gd name="connsiteY2468" fmla="*/ 5139302 h 6851196"/>
                <a:gd name="connsiteX2469" fmla="*/ 4829582 w 12187339"/>
                <a:gd name="connsiteY2469" fmla="*/ 5139302 h 6851196"/>
                <a:gd name="connsiteX2470" fmla="*/ 4829582 w 12187339"/>
                <a:gd name="connsiteY2470" fmla="*/ 5375795 h 6851196"/>
                <a:gd name="connsiteX2471" fmla="*/ 4607029 w 12187339"/>
                <a:gd name="connsiteY2471" fmla="*/ 5375795 h 6851196"/>
                <a:gd name="connsiteX2472" fmla="*/ 4835985 w 12187339"/>
                <a:gd name="connsiteY2472" fmla="*/ 5139302 h 6851196"/>
                <a:gd name="connsiteX2473" fmla="*/ 5060073 w 12187339"/>
                <a:gd name="connsiteY2473" fmla="*/ 5139302 h 6851196"/>
                <a:gd name="connsiteX2474" fmla="*/ 5060073 w 12187339"/>
                <a:gd name="connsiteY2474" fmla="*/ 5375795 h 6851196"/>
                <a:gd name="connsiteX2475" fmla="*/ 4835472 w 12187339"/>
                <a:gd name="connsiteY2475" fmla="*/ 5375795 h 6851196"/>
                <a:gd name="connsiteX2476" fmla="*/ 5066476 w 12187339"/>
                <a:gd name="connsiteY2476" fmla="*/ 5139302 h 6851196"/>
                <a:gd name="connsiteX2477" fmla="*/ 5290564 w 12187339"/>
                <a:gd name="connsiteY2477" fmla="*/ 5139302 h 6851196"/>
                <a:gd name="connsiteX2478" fmla="*/ 5290564 w 12187339"/>
                <a:gd name="connsiteY2478" fmla="*/ 5375795 h 6851196"/>
                <a:gd name="connsiteX2479" fmla="*/ 5065963 w 12187339"/>
                <a:gd name="connsiteY2479" fmla="*/ 5375795 h 6851196"/>
                <a:gd name="connsiteX2480" fmla="*/ 5296967 w 12187339"/>
                <a:gd name="connsiteY2480" fmla="*/ 5139302 h 6851196"/>
                <a:gd name="connsiteX2481" fmla="*/ 5521055 w 12187339"/>
                <a:gd name="connsiteY2481" fmla="*/ 5139302 h 6851196"/>
                <a:gd name="connsiteX2482" fmla="*/ 5521055 w 12187339"/>
                <a:gd name="connsiteY2482" fmla="*/ 5375795 h 6851196"/>
                <a:gd name="connsiteX2483" fmla="*/ 5296454 w 12187339"/>
                <a:gd name="connsiteY2483" fmla="*/ 5375795 h 6851196"/>
                <a:gd name="connsiteX2484" fmla="*/ 5527458 w 12187339"/>
                <a:gd name="connsiteY2484" fmla="*/ 5139302 h 6851196"/>
                <a:gd name="connsiteX2485" fmla="*/ 5750008 w 12187339"/>
                <a:gd name="connsiteY2485" fmla="*/ 5139302 h 6851196"/>
                <a:gd name="connsiteX2486" fmla="*/ 5750008 w 12187339"/>
                <a:gd name="connsiteY2486" fmla="*/ 5375795 h 6851196"/>
                <a:gd name="connsiteX2487" fmla="*/ 5526945 w 12187339"/>
                <a:gd name="connsiteY2487" fmla="*/ 5375795 h 6851196"/>
                <a:gd name="connsiteX2488" fmla="*/ 5756411 w 12187339"/>
                <a:gd name="connsiteY2488" fmla="*/ 5139302 h 6851196"/>
                <a:gd name="connsiteX2489" fmla="*/ 5980499 w 12187339"/>
                <a:gd name="connsiteY2489" fmla="*/ 5139302 h 6851196"/>
                <a:gd name="connsiteX2490" fmla="*/ 5980499 w 12187339"/>
                <a:gd name="connsiteY2490" fmla="*/ 5375795 h 6851196"/>
                <a:gd name="connsiteX2491" fmla="*/ 5756411 w 12187339"/>
                <a:gd name="connsiteY2491" fmla="*/ 5375795 h 6851196"/>
                <a:gd name="connsiteX2492" fmla="*/ 5986902 w 12187339"/>
                <a:gd name="connsiteY2492" fmla="*/ 5139302 h 6851196"/>
                <a:gd name="connsiteX2493" fmla="*/ 6210990 w 12187339"/>
                <a:gd name="connsiteY2493" fmla="*/ 5139302 h 6851196"/>
                <a:gd name="connsiteX2494" fmla="*/ 6210990 w 12187339"/>
                <a:gd name="connsiteY2494" fmla="*/ 5375795 h 6851196"/>
                <a:gd name="connsiteX2495" fmla="*/ 5986902 w 12187339"/>
                <a:gd name="connsiteY2495" fmla="*/ 5375795 h 6851196"/>
                <a:gd name="connsiteX2496" fmla="*/ 6217393 w 12187339"/>
                <a:gd name="connsiteY2496" fmla="*/ 5139302 h 6851196"/>
                <a:gd name="connsiteX2497" fmla="*/ 6439946 w 12187339"/>
                <a:gd name="connsiteY2497" fmla="*/ 5139302 h 6851196"/>
                <a:gd name="connsiteX2498" fmla="*/ 6439946 w 12187339"/>
                <a:gd name="connsiteY2498" fmla="*/ 5375795 h 6851196"/>
                <a:gd name="connsiteX2499" fmla="*/ 6217136 w 12187339"/>
                <a:gd name="connsiteY2499" fmla="*/ 5375795 h 6851196"/>
                <a:gd name="connsiteX2500" fmla="*/ 6446349 w 12187339"/>
                <a:gd name="connsiteY2500" fmla="*/ 5139302 h 6851196"/>
                <a:gd name="connsiteX2501" fmla="*/ 6656863 w 12187339"/>
                <a:gd name="connsiteY2501" fmla="*/ 5139302 h 6851196"/>
                <a:gd name="connsiteX2502" fmla="*/ 6656863 w 12187339"/>
                <a:gd name="connsiteY2502" fmla="*/ 5375795 h 6851196"/>
                <a:gd name="connsiteX2503" fmla="*/ 6446349 w 12187339"/>
                <a:gd name="connsiteY2503" fmla="*/ 5375795 h 6851196"/>
                <a:gd name="connsiteX2504" fmla="*/ 6663265 w 12187339"/>
                <a:gd name="connsiteY2504" fmla="*/ 5139302 h 6851196"/>
                <a:gd name="connsiteX2505" fmla="*/ 6887354 w 12187339"/>
                <a:gd name="connsiteY2505" fmla="*/ 5139302 h 6851196"/>
                <a:gd name="connsiteX2506" fmla="*/ 6887354 w 12187339"/>
                <a:gd name="connsiteY2506" fmla="*/ 5375795 h 6851196"/>
                <a:gd name="connsiteX2507" fmla="*/ 6663265 w 12187339"/>
                <a:gd name="connsiteY2507" fmla="*/ 5375795 h 6851196"/>
                <a:gd name="connsiteX2508" fmla="*/ 6893756 w 12187339"/>
                <a:gd name="connsiteY2508" fmla="*/ 5139302 h 6851196"/>
                <a:gd name="connsiteX2509" fmla="*/ 7117845 w 12187339"/>
                <a:gd name="connsiteY2509" fmla="*/ 5139302 h 6851196"/>
                <a:gd name="connsiteX2510" fmla="*/ 7117845 w 12187339"/>
                <a:gd name="connsiteY2510" fmla="*/ 5375795 h 6851196"/>
                <a:gd name="connsiteX2511" fmla="*/ 6893756 w 12187339"/>
                <a:gd name="connsiteY2511" fmla="*/ 5375795 h 6851196"/>
                <a:gd name="connsiteX2512" fmla="*/ 7124247 w 12187339"/>
                <a:gd name="connsiteY2512" fmla="*/ 5139302 h 6851196"/>
                <a:gd name="connsiteX2513" fmla="*/ 7346801 w 12187339"/>
                <a:gd name="connsiteY2513" fmla="*/ 5139302 h 6851196"/>
                <a:gd name="connsiteX2514" fmla="*/ 7346801 w 12187339"/>
                <a:gd name="connsiteY2514" fmla="*/ 5375795 h 6851196"/>
                <a:gd name="connsiteX2515" fmla="*/ 7124247 w 12187339"/>
                <a:gd name="connsiteY2515" fmla="*/ 5375795 h 6851196"/>
                <a:gd name="connsiteX2516" fmla="*/ 7353204 w 12187339"/>
                <a:gd name="connsiteY2516" fmla="*/ 5139302 h 6851196"/>
                <a:gd name="connsiteX2517" fmla="*/ 7577292 w 12187339"/>
                <a:gd name="connsiteY2517" fmla="*/ 5139302 h 6851196"/>
                <a:gd name="connsiteX2518" fmla="*/ 7577292 w 12187339"/>
                <a:gd name="connsiteY2518" fmla="*/ 5375795 h 6851196"/>
                <a:gd name="connsiteX2519" fmla="*/ 7353204 w 12187339"/>
                <a:gd name="connsiteY2519" fmla="*/ 5375795 h 6851196"/>
                <a:gd name="connsiteX2520" fmla="*/ 7583695 w 12187339"/>
                <a:gd name="connsiteY2520" fmla="*/ 5139302 h 6851196"/>
                <a:gd name="connsiteX2521" fmla="*/ 7807783 w 12187339"/>
                <a:gd name="connsiteY2521" fmla="*/ 5139302 h 6851196"/>
                <a:gd name="connsiteX2522" fmla="*/ 7807783 w 12187339"/>
                <a:gd name="connsiteY2522" fmla="*/ 5375795 h 6851196"/>
                <a:gd name="connsiteX2523" fmla="*/ 7583695 w 12187339"/>
                <a:gd name="connsiteY2523" fmla="*/ 5375795 h 6851196"/>
                <a:gd name="connsiteX2524" fmla="*/ 7814186 w 12187339"/>
                <a:gd name="connsiteY2524" fmla="*/ 5139302 h 6851196"/>
                <a:gd name="connsiteX2525" fmla="*/ 8038274 w 12187339"/>
                <a:gd name="connsiteY2525" fmla="*/ 5139302 h 6851196"/>
                <a:gd name="connsiteX2526" fmla="*/ 8038274 w 12187339"/>
                <a:gd name="connsiteY2526" fmla="*/ 5375795 h 6851196"/>
                <a:gd name="connsiteX2527" fmla="*/ 7814186 w 12187339"/>
                <a:gd name="connsiteY2527" fmla="*/ 5375795 h 6851196"/>
                <a:gd name="connsiteX2528" fmla="*/ 8044677 w 12187339"/>
                <a:gd name="connsiteY2528" fmla="*/ 5139302 h 6851196"/>
                <a:gd name="connsiteX2529" fmla="*/ 8267227 w 12187339"/>
                <a:gd name="connsiteY2529" fmla="*/ 5139302 h 6851196"/>
                <a:gd name="connsiteX2530" fmla="*/ 8267227 w 12187339"/>
                <a:gd name="connsiteY2530" fmla="*/ 5375795 h 6851196"/>
                <a:gd name="connsiteX2531" fmla="*/ 8044420 w 12187339"/>
                <a:gd name="connsiteY2531" fmla="*/ 5375795 h 6851196"/>
                <a:gd name="connsiteX2532" fmla="*/ 8273629 w 12187339"/>
                <a:gd name="connsiteY2532" fmla="*/ 5139302 h 6851196"/>
                <a:gd name="connsiteX2533" fmla="*/ 8497718 w 12187339"/>
                <a:gd name="connsiteY2533" fmla="*/ 5139302 h 6851196"/>
                <a:gd name="connsiteX2534" fmla="*/ 8497718 w 12187339"/>
                <a:gd name="connsiteY2534" fmla="*/ 5375795 h 6851196"/>
                <a:gd name="connsiteX2535" fmla="*/ 8273629 w 12187339"/>
                <a:gd name="connsiteY2535" fmla="*/ 5375795 h 6851196"/>
                <a:gd name="connsiteX2536" fmla="*/ 8504120 w 12187339"/>
                <a:gd name="connsiteY2536" fmla="*/ 5139302 h 6851196"/>
                <a:gd name="connsiteX2537" fmla="*/ 8728209 w 12187339"/>
                <a:gd name="connsiteY2537" fmla="*/ 5139302 h 6851196"/>
                <a:gd name="connsiteX2538" fmla="*/ 8728209 w 12187339"/>
                <a:gd name="connsiteY2538" fmla="*/ 5375795 h 6851196"/>
                <a:gd name="connsiteX2539" fmla="*/ 8504120 w 12187339"/>
                <a:gd name="connsiteY2539" fmla="*/ 5375795 h 6851196"/>
                <a:gd name="connsiteX2540" fmla="*/ 8734611 w 12187339"/>
                <a:gd name="connsiteY2540" fmla="*/ 5139302 h 6851196"/>
                <a:gd name="connsiteX2541" fmla="*/ 8957162 w 12187339"/>
                <a:gd name="connsiteY2541" fmla="*/ 5139302 h 6851196"/>
                <a:gd name="connsiteX2542" fmla="*/ 8957162 w 12187339"/>
                <a:gd name="connsiteY2542" fmla="*/ 5375795 h 6851196"/>
                <a:gd name="connsiteX2543" fmla="*/ 8734611 w 12187339"/>
                <a:gd name="connsiteY2543" fmla="*/ 5375795 h 6851196"/>
                <a:gd name="connsiteX2544" fmla="*/ 8963564 w 12187339"/>
                <a:gd name="connsiteY2544" fmla="*/ 5139302 h 6851196"/>
                <a:gd name="connsiteX2545" fmla="*/ 9187653 w 12187339"/>
                <a:gd name="connsiteY2545" fmla="*/ 5139302 h 6851196"/>
                <a:gd name="connsiteX2546" fmla="*/ 9187653 w 12187339"/>
                <a:gd name="connsiteY2546" fmla="*/ 5375795 h 6851196"/>
                <a:gd name="connsiteX2547" fmla="*/ 8963564 w 12187339"/>
                <a:gd name="connsiteY2547" fmla="*/ 5375795 h 6851196"/>
                <a:gd name="connsiteX2548" fmla="*/ 9194055 w 12187339"/>
                <a:gd name="connsiteY2548" fmla="*/ 5139302 h 6851196"/>
                <a:gd name="connsiteX2549" fmla="*/ 9418144 w 12187339"/>
                <a:gd name="connsiteY2549" fmla="*/ 5139302 h 6851196"/>
                <a:gd name="connsiteX2550" fmla="*/ 9418144 w 12187339"/>
                <a:gd name="connsiteY2550" fmla="*/ 5375795 h 6851196"/>
                <a:gd name="connsiteX2551" fmla="*/ 9194055 w 12187339"/>
                <a:gd name="connsiteY2551" fmla="*/ 5375795 h 6851196"/>
                <a:gd name="connsiteX2552" fmla="*/ 9424546 w 12187339"/>
                <a:gd name="connsiteY2552" fmla="*/ 5139302 h 6851196"/>
                <a:gd name="connsiteX2553" fmla="*/ 9648635 w 12187339"/>
                <a:gd name="connsiteY2553" fmla="*/ 5139302 h 6851196"/>
                <a:gd name="connsiteX2554" fmla="*/ 9648635 w 12187339"/>
                <a:gd name="connsiteY2554" fmla="*/ 5375795 h 6851196"/>
                <a:gd name="connsiteX2555" fmla="*/ 9424546 w 12187339"/>
                <a:gd name="connsiteY2555" fmla="*/ 5375795 h 6851196"/>
                <a:gd name="connsiteX2556" fmla="*/ 9655037 w 12187339"/>
                <a:gd name="connsiteY2556" fmla="*/ 5139302 h 6851196"/>
                <a:gd name="connsiteX2557" fmla="*/ 9877591 w 12187339"/>
                <a:gd name="connsiteY2557" fmla="*/ 5139302 h 6851196"/>
                <a:gd name="connsiteX2558" fmla="*/ 9877591 w 12187339"/>
                <a:gd name="connsiteY2558" fmla="*/ 5375795 h 6851196"/>
                <a:gd name="connsiteX2559" fmla="*/ 9655037 w 12187339"/>
                <a:gd name="connsiteY2559" fmla="*/ 5375795 h 6851196"/>
                <a:gd name="connsiteX2560" fmla="*/ 9883993 w 12187339"/>
                <a:gd name="connsiteY2560" fmla="*/ 5139302 h 6851196"/>
                <a:gd name="connsiteX2561" fmla="*/ 10108082 w 12187339"/>
                <a:gd name="connsiteY2561" fmla="*/ 5139302 h 6851196"/>
                <a:gd name="connsiteX2562" fmla="*/ 10108082 w 12187339"/>
                <a:gd name="connsiteY2562" fmla="*/ 5375795 h 6851196"/>
                <a:gd name="connsiteX2563" fmla="*/ 9883993 w 12187339"/>
                <a:gd name="connsiteY2563" fmla="*/ 5375795 h 6851196"/>
                <a:gd name="connsiteX2564" fmla="*/ 10114484 w 12187339"/>
                <a:gd name="connsiteY2564" fmla="*/ 5139302 h 6851196"/>
                <a:gd name="connsiteX2565" fmla="*/ 10338573 w 12187339"/>
                <a:gd name="connsiteY2565" fmla="*/ 5139302 h 6851196"/>
                <a:gd name="connsiteX2566" fmla="*/ 10338573 w 12187339"/>
                <a:gd name="connsiteY2566" fmla="*/ 5375795 h 6851196"/>
                <a:gd name="connsiteX2567" fmla="*/ 10114484 w 12187339"/>
                <a:gd name="connsiteY2567" fmla="*/ 5375795 h 6851196"/>
                <a:gd name="connsiteX2568" fmla="*/ 10344975 w 12187339"/>
                <a:gd name="connsiteY2568" fmla="*/ 5139302 h 6851196"/>
                <a:gd name="connsiteX2569" fmla="*/ 10569064 w 12187339"/>
                <a:gd name="connsiteY2569" fmla="*/ 5139302 h 6851196"/>
                <a:gd name="connsiteX2570" fmla="*/ 10569064 w 12187339"/>
                <a:gd name="connsiteY2570" fmla="*/ 5375795 h 6851196"/>
                <a:gd name="connsiteX2571" fmla="*/ 10344975 w 12187339"/>
                <a:gd name="connsiteY2571" fmla="*/ 5375795 h 6851196"/>
                <a:gd name="connsiteX2572" fmla="*/ 10575466 w 12187339"/>
                <a:gd name="connsiteY2572" fmla="*/ 5139302 h 6851196"/>
                <a:gd name="connsiteX2573" fmla="*/ 10798016 w 12187339"/>
                <a:gd name="connsiteY2573" fmla="*/ 5139302 h 6851196"/>
                <a:gd name="connsiteX2574" fmla="*/ 10798016 w 12187339"/>
                <a:gd name="connsiteY2574" fmla="*/ 5375795 h 6851196"/>
                <a:gd name="connsiteX2575" fmla="*/ 10575466 w 12187339"/>
                <a:gd name="connsiteY2575" fmla="*/ 5375795 h 6851196"/>
                <a:gd name="connsiteX2576" fmla="*/ 10575466 w 12187339"/>
                <a:gd name="connsiteY2576" fmla="*/ 5132499 h 6851196"/>
                <a:gd name="connsiteX2577" fmla="*/ 10575466 w 12187339"/>
                <a:gd name="connsiteY2577" fmla="*/ 4894374 h 6851196"/>
                <a:gd name="connsiteX2578" fmla="*/ 10798016 w 12187339"/>
                <a:gd name="connsiteY2578" fmla="*/ 4894374 h 6851196"/>
                <a:gd name="connsiteX2579" fmla="*/ 10798016 w 12187339"/>
                <a:gd name="connsiteY2579" fmla="*/ 5132090 h 6851196"/>
                <a:gd name="connsiteX2580" fmla="*/ 10575466 w 12187339"/>
                <a:gd name="connsiteY2580" fmla="*/ 4887570 h 6851196"/>
                <a:gd name="connsiteX2581" fmla="*/ 10575466 w 12187339"/>
                <a:gd name="connsiteY2581" fmla="*/ 4649445 h 6851196"/>
                <a:gd name="connsiteX2582" fmla="*/ 10798016 w 12187339"/>
                <a:gd name="connsiteY2582" fmla="*/ 4649445 h 6851196"/>
                <a:gd name="connsiteX2583" fmla="*/ 10798016 w 12187339"/>
                <a:gd name="connsiteY2583" fmla="*/ 4887162 h 6851196"/>
                <a:gd name="connsiteX2584" fmla="*/ 10575466 w 12187339"/>
                <a:gd name="connsiteY2584" fmla="*/ 4642642 h 6851196"/>
                <a:gd name="connsiteX2585" fmla="*/ 10575466 w 12187339"/>
                <a:gd name="connsiteY2585" fmla="*/ 4406149 h 6851196"/>
                <a:gd name="connsiteX2586" fmla="*/ 10798016 w 12187339"/>
                <a:gd name="connsiteY2586" fmla="*/ 4406149 h 6851196"/>
                <a:gd name="connsiteX2587" fmla="*/ 10798016 w 12187339"/>
                <a:gd name="connsiteY2587" fmla="*/ 4642233 h 6851196"/>
                <a:gd name="connsiteX2588" fmla="*/ 10575466 w 12187339"/>
                <a:gd name="connsiteY2588" fmla="*/ 4399346 h 6851196"/>
                <a:gd name="connsiteX2589" fmla="*/ 10575466 w 12187339"/>
                <a:gd name="connsiteY2589" fmla="*/ 4161221 h 6851196"/>
                <a:gd name="connsiteX2590" fmla="*/ 10798016 w 12187339"/>
                <a:gd name="connsiteY2590" fmla="*/ 4161221 h 6851196"/>
                <a:gd name="connsiteX2591" fmla="*/ 10798016 w 12187339"/>
                <a:gd name="connsiteY2591" fmla="*/ 4399346 h 6851196"/>
                <a:gd name="connsiteX2592" fmla="*/ 10575466 w 12187339"/>
                <a:gd name="connsiteY2592" fmla="*/ 4154417 h 6851196"/>
                <a:gd name="connsiteX2593" fmla="*/ 10575466 w 12187339"/>
                <a:gd name="connsiteY2593" fmla="*/ 3916292 h 6851196"/>
                <a:gd name="connsiteX2594" fmla="*/ 10798016 w 12187339"/>
                <a:gd name="connsiteY2594" fmla="*/ 3916292 h 6851196"/>
                <a:gd name="connsiteX2595" fmla="*/ 10798016 w 12187339"/>
                <a:gd name="connsiteY2595" fmla="*/ 4154417 h 6851196"/>
                <a:gd name="connsiteX2596" fmla="*/ 10575466 w 12187339"/>
                <a:gd name="connsiteY2596" fmla="*/ 3909489 h 6851196"/>
                <a:gd name="connsiteX2597" fmla="*/ 10575466 w 12187339"/>
                <a:gd name="connsiteY2597" fmla="*/ 3671364 h 6851196"/>
                <a:gd name="connsiteX2598" fmla="*/ 10798016 w 12187339"/>
                <a:gd name="connsiteY2598" fmla="*/ 3671364 h 6851196"/>
                <a:gd name="connsiteX2599" fmla="*/ 10798016 w 12187339"/>
                <a:gd name="connsiteY2599" fmla="*/ 3909489 h 6851196"/>
                <a:gd name="connsiteX2600" fmla="*/ 10575466 w 12187339"/>
                <a:gd name="connsiteY2600" fmla="*/ 3664560 h 6851196"/>
                <a:gd name="connsiteX2601" fmla="*/ 10575466 w 12187339"/>
                <a:gd name="connsiteY2601" fmla="*/ 3428068 h 6851196"/>
                <a:gd name="connsiteX2602" fmla="*/ 10798016 w 12187339"/>
                <a:gd name="connsiteY2602" fmla="*/ 3428068 h 6851196"/>
                <a:gd name="connsiteX2603" fmla="*/ 10798016 w 12187339"/>
                <a:gd name="connsiteY2603" fmla="*/ 3664560 h 6851196"/>
                <a:gd name="connsiteX2604" fmla="*/ 10575466 w 12187339"/>
                <a:gd name="connsiteY2604" fmla="*/ 3421264 h 6851196"/>
                <a:gd name="connsiteX2605" fmla="*/ 10575466 w 12187339"/>
                <a:gd name="connsiteY2605" fmla="*/ 3183139 h 6851196"/>
                <a:gd name="connsiteX2606" fmla="*/ 10798016 w 12187339"/>
                <a:gd name="connsiteY2606" fmla="*/ 3183139 h 6851196"/>
                <a:gd name="connsiteX2607" fmla="*/ 10798016 w 12187339"/>
                <a:gd name="connsiteY2607" fmla="*/ 3421264 h 6851196"/>
                <a:gd name="connsiteX2608" fmla="*/ 10575466 w 12187339"/>
                <a:gd name="connsiteY2608" fmla="*/ 3176336 h 6851196"/>
                <a:gd name="connsiteX2609" fmla="*/ 10575466 w 12187339"/>
                <a:gd name="connsiteY2609" fmla="*/ 2938211 h 6851196"/>
                <a:gd name="connsiteX2610" fmla="*/ 10798016 w 12187339"/>
                <a:gd name="connsiteY2610" fmla="*/ 2938211 h 6851196"/>
                <a:gd name="connsiteX2611" fmla="*/ 10798016 w 12187339"/>
                <a:gd name="connsiteY2611" fmla="*/ 3176336 h 6851196"/>
                <a:gd name="connsiteX2612" fmla="*/ 10575466 w 12187339"/>
                <a:gd name="connsiteY2612" fmla="*/ 2931407 h 6851196"/>
                <a:gd name="connsiteX2613" fmla="*/ 10575466 w 12187339"/>
                <a:gd name="connsiteY2613" fmla="*/ 2693282 h 6851196"/>
                <a:gd name="connsiteX2614" fmla="*/ 10798016 w 12187339"/>
                <a:gd name="connsiteY2614" fmla="*/ 2693282 h 6851196"/>
                <a:gd name="connsiteX2615" fmla="*/ 10798016 w 12187339"/>
                <a:gd name="connsiteY2615" fmla="*/ 2931407 h 6851196"/>
                <a:gd name="connsiteX2616" fmla="*/ 10575466 w 12187339"/>
                <a:gd name="connsiteY2616" fmla="*/ 2686479 h 6851196"/>
                <a:gd name="connsiteX2617" fmla="*/ 10575466 w 12187339"/>
                <a:gd name="connsiteY2617" fmla="*/ 2449986 h 6851196"/>
                <a:gd name="connsiteX2618" fmla="*/ 10798016 w 12187339"/>
                <a:gd name="connsiteY2618" fmla="*/ 2449986 h 6851196"/>
                <a:gd name="connsiteX2619" fmla="*/ 10798016 w 12187339"/>
                <a:gd name="connsiteY2619" fmla="*/ 2686479 h 6851196"/>
                <a:gd name="connsiteX2620" fmla="*/ 10575466 w 12187339"/>
                <a:gd name="connsiteY2620" fmla="*/ 2443183 h 6851196"/>
                <a:gd name="connsiteX2621" fmla="*/ 10575466 w 12187339"/>
                <a:gd name="connsiteY2621" fmla="*/ 2205058 h 6851196"/>
                <a:gd name="connsiteX2622" fmla="*/ 10798016 w 12187339"/>
                <a:gd name="connsiteY2622" fmla="*/ 2205058 h 6851196"/>
                <a:gd name="connsiteX2623" fmla="*/ 10798016 w 12187339"/>
                <a:gd name="connsiteY2623" fmla="*/ 2443183 h 6851196"/>
                <a:gd name="connsiteX2624" fmla="*/ 10575466 w 12187339"/>
                <a:gd name="connsiteY2624" fmla="*/ 2198254 h 6851196"/>
                <a:gd name="connsiteX2625" fmla="*/ 10575466 w 12187339"/>
                <a:gd name="connsiteY2625" fmla="*/ 1960129 h 6851196"/>
                <a:gd name="connsiteX2626" fmla="*/ 10798016 w 12187339"/>
                <a:gd name="connsiteY2626" fmla="*/ 1960129 h 6851196"/>
                <a:gd name="connsiteX2627" fmla="*/ 10798016 w 12187339"/>
                <a:gd name="connsiteY2627" fmla="*/ 2198254 h 6851196"/>
                <a:gd name="connsiteX2628" fmla="*/ 10575466 w 12187339"/>
                <a:gd name="connsiteY2628" fmla="*/ 1953326 h 6851196"/>
                <a:gd name="connsiteX2629" fmla="*/ 10575466 w 12187339"/>
                <a:gd name="connsiteY2629" fmla="*/ 1716697 h 6851196"/>
                <a:gd name="connsiteX2630" fmla="*/ 10798016 w 12187339"/>
                <a:gd name="connsiteY2630" fmla="*/ 1716697 h 6851196"/>
                <a:gd name="connsiteX2631" fmla="*/ 10798016 w 12187339"/>
                <a:gd name="connsiteY2631" fmla="*/ 1953189 h 6851196"/>
                <a:gd name="connsiteX2632" fmla="*/ 10575466 w 12187339"/>
                <a:gd name="connsiteY2632" fmla="*/ 1710030 h 6851196"/>
                <a:gd name="connsiteX2633" fmla="*/ 10575466 w 12187339"/>
                <a:gd name="connsiteY2633" fmla="*/ 1471769 h 6851196"/>
                <a:gd name="connsiteX2634" fmla="*/ 10798016 w 12187339"/>
                <a:gd name="connsiteY2634" fmla="*/ 1471769 h 6851196"/>
                <a:gd name="connsiteX2635" fmla="*/ 10798016 w 12187339"/>
                <a:gd name="connsiteY2635" fmla="*/ 1709894 h 6851196"/>
                <a:gd name="connsiteX2636" fmla="*/ 10575466 w 12187339"/>
                <a:gd name="connsiteY2636" fmla="*/ 1465101 h 6851196"/>
                <a:gd name="connsiteX2637" fmla="*/ 10575466 w 12187339"/>
                <a:gd name="connsiteY2637" fmla="*/ 1226840 h 6851196"/>
                <a:gd name="connsiteX2638" fmla="*/ 10798016 w 12187339"/>
                <a:gd name="connsiteY2638" fmla="*/ 1226840 h 6851196"/>
                <a:gd name="connsiteX2639" fmla="*/ 10798016 w 12187339"/>
                <a:gd name="connsiteY2639" fmla="*/ 1464965 h 6851196"/>
                <a:gd name="connsiteX2640" fmla="*/ 10569064 w 12187339"/>
                <a:gd name="connsiteY2640" fmla="*/ 1465101 h 6851196"/>
                <a:gd name="connsiteX2641" fmla="*/ 10344975 w 12187339"/>
                <a:gd name="connsiteY2641" fmla="*/ 1465101 h 6851196"/>
                <a:gd name="connsiteX2642" fmla="*/ 10344975 w 12187339"/>
                <a:gd name="connsiteY2642" fmla="*/ 1226840 h 6851196"/>
                <a:gd name="connsiteX2643" fmla="*/ 10569064 w 12187339"/>
                <a:gd name="connsiteY2643" fmla="*/ 1226840 h 6851196"/>
                <a:gd name="connsiteX2644" fmla="*/ 10338573 w 12187339"/>
                <a:gd name="connsiteY2644" fmla="*/ 1465101 h 6851196"/>
                <a:gd name="connsiteX2645" fmla="*/ 10114484 w 12187339"/>
                <a:gd name="connsiteY2645" fmla="*/ 1465101 h 6851196"/>
                <a:gd name="connsiteX2646" fmla="*/ 10114484 w 12187339"/>
                <a:gd name="connsiteY2646" fmla="*/ 1226840 h 6851196"/>
                <a:gd name="connsiteX2647" fmla="*/ 10338573 w 12187339"/>
                <a:gd name="connsiteY2647" fmla="*/ 1226840 h 6851196"/>
                <a:gd name="connsiteX2648" fmla="*/ 10108082 w 12187339"/>
                <a:gd name="connsiteY2648" fmla="*/ 1465101 h 6851196"/>
                <a:gd name="connsiteX2649" fmla="*/ 9883993 w 12187339"/>
                <a:gd name="connsiteY2649" fmla="*/ 1465101 h 6851196"/>
                <a:gd name="connsiteX2650" fmla="*/ 9883993 w 12187339"/>
                <a:gd name="connsiteY2650" fmla="*/ 1226840 h 6851196"/>
                <a:gd name="connsiteX2651" fmla="*/ 10108082 w 12187339"/>
                <a:gd name="connsiteY2651" fmla="*/ 1226840 h 6851196"/>
                <a:gd name="connsiteX2652" fmla="*/ 9877591 w 12187339"/>
                <a:gd name="connsiteY2652" fmla="*/ 1465101 h 6851196"/>
                <a:gd name="connsiteX2653" fmla="*/ 9655037 w 12187339"/>
                <a:gd name="connsiteY2653" fmla="*/ 1465101 h 6851196"/>
                <a:gd name="connsiteX2654" fmla="*/ 9655037 w 12187339"/>
                <a:gd name="connsiteY2654" fmla="*/ 1226840 h 6851196"/>
                <a:gd name="connsiteX2655" fmla="*/ 9877591 w 12187339"/>
                <a:gd name="connsiteY2655" fmla="*/ 1226840 h 6851196"/>
                <a:gd name="connsiteX2656" fmla="*/ 9648635 w 12187339"/>
                <a:gd name="connsiteY2656" fmla="*/ 1465101 h 6851196"/>
                <a:gd name="connsiteX2657" fmla="*/ 9424546 w 12187339"/>
                <a:gd name="connsiteY2657" fmla="*/ 1465101 h 6851196"/>
                <a:gd name="connsiteX2658" fmla="*/ 9424546 w 12187339"/>
                <a:gd name="connsiteY2658" fmla="*/ 1226840 h 6851196"/>
                <a:gd name="connsiteX2659" fmla="*/ 9648635 w 12187339"/>
                <a:gd name="connsiteY2659" fmla="*/ 1226840 h 6851196"/>
                <a:gd name="connsiteX2660" fmla="*/ 9418144 w 12187339"/>
                <a:gd name="connsiteY2660" fmla="*/ 1465101 h 6851196"/>
                <a:gd name="connsiteX2661" fmla="*/ 9194055 w 12187339"/>
                <a:gd name="connsiteY2661" fmla="*/ 1465101 h 6851196"/>
                <a:gd name="connsiteX2662" fmla="*/ 9194055 w 12187339"/>
                <a:gd name="connsiteY2662" fmla="*/ 1226840 h 6851196"/>
                <a:gd name="connsiteX2663" fmla="*/ 9418144 w 12187339"/>
                <a:gd name="connsiteY2663" fmla="*/ 1226840 h 6851196"/>
                <a:gd name="connsiteX2664" fmla="*/ 9187653 w 12187339"/>
                <a:gd name="connsiteY2664" fmla="*/ 1465101 h 6851196"/>
                <a:gd name="connsiteX2665" fmla="*/ 8963564 w 12187339"/>
                <a:gd name="connsiteY2665" fmla="*/ 1465101 h 6851196"/>
                <a:gd name="connsiteX2666" fmla="*/ 8963564 w 12187339"/>
                <a:gd name="connsiteY2666" fmla="*/ 1226840 h 6851196"/>
                <a:gd name="connsiteX2667" fmla="*/ 9187653 w 12187339"/>
                <a:gd name="connsiteY2667" fmla="*/ 1226840 h 6851196"/>
                <a:gd name="connsiteX2668" fmla="*/ 8957162 w 12187339"/>
                <a:gd name="connsiteY2668" fmla="*/ 1465101 h 6851196"/>
                <a:gd name="connsiteX2669" fmla="*/ 8734611 w 12187339"/>
                <a:gd name="connsiteY2669" fmla="*/ 1465101 h 6851196"/>
                <a:gd name="connsiteX2670" fmla="*/ 8734611 w 12187339"/>
                <a:gd name="connsiteY2670" fmla="*/ 1226840 h 6851196"/>
                <a:gd name="connsiteX2671" fmla="*/ 8957162 w 12187339"/>
                <a:gd name="connsiteY2671" fmla="*/ 1226840 h 6851196"/>
                <a:gd name="connsiteX2672" fmla="*/ 8728209 w 12187339"/>
                <a:gd name="connsiteY2672" fmla="*/ 1465101 h 6851196"/>
                <a:gd name="connsiteX2673" fmla="*/ 8504120 w 12187339"/>
                <a:gd name="connsiteY2673" fmla="*/ 1465101 h 6851196"/>
                <a:gd name="connsiteX2674" fmla="*/ 8504120 w 12187339"/>
                <a:gd name="connsiteY2674" fmla="*/ 1226840 h 6851196"/>
                <a:gd name="connsiteX2675" fmla="*/ 8728209 w 12187339"/>
                <a:gd name="connsiteY2675" fmla="*/ 1226840 h 6851196"/>
                <a:gd name="connsiteX2676" fmla="*/ 8497718 w 12187339"/>
                <a:gd name="connsiteY2676" fmla="*/ 1465101 h 6851196"/>
                <a:gd name="connsiteX2677" fmla="*/ 8273629 w 12187339"/>
                <a:gd name="connsiteY2677" fmla="*/ 1465101 h 6851196"/>
                <a:gd name="connsiteX2678" fmla="*/ 8273629 w 12187339"/>
                <a:gd name="connsiteY2678" fmla="*/ 1226840 h 6851196"/>
                <a:gd name="connsiteX2679" fmla="*/ 8497718 w 12187339"/>
                <a:gd name="connsiteY2679" fmla="*/ 1226840 h 6851196"/>
                <a:gd name="connsiteX2680" fmla="*/ 8267227 w 12187339"/>
                <a:gd name="connsiteY2680" fmla="*/ 1465101 h 6851196"/>
                <a:gd name="connsiteX2681" fmla="*/ 8044420 w 12187339"/>
                <a:gd name="connsiteY2681" fmla="*/ 1465101 h 6851196"/>
                <a:gd name="connsiteX2682" fmla="*/ 8044420 w 12187339"/>
                <a:gd name="connsiteY2682" fmla="*/ 1226840 h 6851196"/>
                <a:gd name="connsiteX2683" fmla="*/ 8267227 w 12187339"/>
                <a:gd name="connsiteY2683" fmla="*/ 1226840 h 6851196"/>
                <a:gd name="connsiteX2684" fmla="*/ 8038274 w 12187339"/>
                <a:gd name="connsiteY2684" fmla="*/ 1465101 h 6851196"/>
                <a:gd name="connsiteX2685" fmla="*/ 7814186 w 12187339"/>
                <a:gd name="connsiteY2685" fmla="*/ 1465101 h 6851196"/>
                <a:gd name="connsiteX2686" fmla="*/ 7814186 w 12187339"/>
                <a:gd name="connsiteY2686" fmla="*/ 1226840 h 6851196"/>
                <a:gd name="connsiteX2687" fmla="*/ 8038274 w 12187339"/>
                <a:gd name="connsiteY2687" fmla="*/ 1226840 h 6851196"/>
                <a:gd name="connsiteX2688" fmla="*/ 7807783 w 12187339"/>
                <a:gd name="connsiteY2688" fmla="*/ 1465101 h 6851196"/>
                <a:gd name="connsiteX2689" fmla="*/ 7583695 w 12187339"/>
                <a:gd name="connsiteY2689" fmla="*/ 1465101 h 6851196"/>
                <a:gd name="connsiteX2690" fmla="*/ 7583695 w 12187339"/>
                <a:gd name="connsiteY2690" fmla="*/ 1226840 h 6851196"/>
                <a:gd name="connsiteX2691" fmla="*/ 7807783 w 12187339"/>
                <a:gd name="connsiteY2691" fmla="*/ 1226840 h 6851196"/>
                <a:gd name="connsiteX2692" fmla="*/ 7577292 w 12187339"/>
                <a:gd name="connsiteY2692" fmla="*/ 1465101 h 6851196"/>
                <a:gd name="connsiteX2693" fmla="*/ 7353204 w 12187339"/>
                <a:gd name="connsiteY2693" fmla="*/ 1465101 h 6851196"/>
                <a:gd name="connsiteX2694" fmla="*/ 7353204 w 12187339"/>
                <a:gd name="connsiteY2694" fmla="*/ 1226840 h 6851196"/>
                <a:gd name="connsiteX2695" fmla="*/ 7577292 w 12187339"/>
                <a:gd name="connsiteY2695" fmla="*/ 1226840 h 6851196"/>
                <a:gd name="connsiteX2696" fmla="*/ 7346801 w 12187339"/>
                <a:gd name="connsiteY2696" fmla="*/ 1465101 h 6851196"/>
                <a:gd name="connsiteX2697" fmla="*/ 7124247 w 12187339"/>
                <a:gd name="connsiteY2697" fmla="*/ 1465101 h 6851196"/>
                <a:gd name="connsiteX2698" fmla="*/ 7124247 w 12187339"/>
                <a:gd name="connsiteY2698" fmla="*/ 1226840 h 6851196"/>
                <a:gd name="connsiteX2699" fmla="*/ 7346801 w 12187339"/>
                <a:gd name="connsiteY2699" fmla="*/ 1226840 h 6851196"/>
                <a:gd name="connsiteX2700" fmla="*/ 7117845 w 12187339"/>
                <a:gd name="connsiteY2700" fmla="*/ 1465101 h 6851196"/>
                <a:gd name="connsiteX2701" fmla="*/ 6893756 w 12187339"/>
                <a:gd name="connsiteY2701" fmla="*/ 1465101 h 6851196"/>
                <a:gd name="connsiteX2702" fmla="*/ 6893756 w 12187339"/>
                <a:gd name="connsiteY2702" fmla="*/ 1226840 h 6851196"/>
                <a:gd name="connsiteX2703" fmla="*/ 7117845 w 12187339"/>
                <a:gd name="connsiteY2703" fmla="*/ 1226840 h 6851196"/>
                <a:gd name="connsiteX2704" fmla="*/ 6887354 w 12187339"/>
                <a:gd name="connsiteY2704" fmla="*/ 1465101 h 6851196"/>
                <a:gd name="connsiteX2705" fmla="*/ 6663265 w 12187339"/>
                <a:gd name="connsiteY2705" fmla="*/ 1465101 h 6851196"/>
                <a:gd name="connsiteX2706" fmla="*/ 6663265 w 12187339"/>
                <a:gd name="connsiteY2706" fmla="*/ 1226840 h 6851196"/>
                <a:gd name="connsiteX2707" fmla="*/ 6887354 w 12187339"/>
                <a:gd name="connsiteY2707" fmla="*/ 1226840 h 6851196"/>
                <a:gd name="connsiteX2708" fmla="*/ 6656863 w 12187339"/>
                <a:gd name="connsiteY2708" fmla="*/ 1465101 h 6851196"/>
                <a:gd name="connsiteX2709" fmla="*/ 6446349 w 12187339"/>
                <a:gd name="connsiteY2709" fmla="*/ 1465101 h 6851196"/>
                <a:gd name="connsiteX2710" fmla="*/ 6446349 w 12187339"/>
                <a:gd name="connsiteY2710" fmla="*/ 1226840 h 6851196"/>
                <a:gd name="connsiteX2711" fmla="*/ 6656863 w 12187339"/>
                <a:gd name="connsiteY2711" fmla="*/ 1226840 h 6851196"/>
                <a:gd name="connsiteX2712" fmla="*/ 6439946 w 12187339"/>
                <a:gd name="connsiteY2712" fmla="*/ 1465101 h 6851196"/>
                <a:gd name="connsiteX2713" fmla="*/ 6217136 w 12187339"/>
                <a:gd name="connsiteY2713" fmla="*/ 1465101 h 6851196"/>
                <a:gd name="connsiteX2714" fmla="*/ 6217136 w 12187339"/>
                <a:gd name="connsiteY2714" fmla="*/ 1226840 h 6851196"/>
                <a:gd name="connsiteX2715" fmla="*/ 6439690 w 12187339"/>
                <a:gd name="connsiteY2715" fmla="*/ 1226840 h 6851196"/>
                <a:gd name="connsiteX2716" fmla="*/ 6210990 w 12187339"/>
                <a:gd name="connsiteY2716" fmla="*/ 1465101 h 6851196"/>
                <a:gd name="connsiteX2717" fmla="*/ 5986902 w 12187339"/>
                <a:gd name="connsiteY2717" fmla="*/ 1465101 h 6851196"/>
                <a:gd name="connsiteX2718" fmla="*/ 5986902 w 12187339"/>
                <a:gd name="connsiteY2718" fmla="*/ 1226840 h 6851196"/>
                <a:gd name="connsiteX2719" fmla="*/ 6210990 w 12187339"/>
                <a:gd name="connsiteY2719" fmla="*/ 1226840 h 6851196"/>
                <a:gd name="connsiteX2720" fmla="*/ 5980499 w 12187339"/>
                <a:gd name="connsiteY2720" fmla="*/ 1465101 h 6851196"/>
                <a:gd name="connsiteX2721" fmla="*/ 5756411 w 12187339"/>
                <a:gd name="connsiteY2721" fmla="*/ 1465101 h 6851196"/>
                <a:gd name="connsiteX2722" fmla="*/ 5756411 w 12187339"/>
                <a:gd name="connsiteY2722" fmla="*/ 1226840 h 6851196"/>
                <a:gd name="connsiteX2723" fmla="*/ 5980499 w 12187339"/>
                <a:gd name="connsiteY2723" fmla="*/ 1226840 h 6851196"/>
                <a:gd name="connsiteX2724" fmla="*/ 5750008 w 12187339"/>
                <a:gd name="connsiteY2724" fmla="*/ 1465101 h 6851196"/>
                <a:gd name="connsiteX2725" fmla="*/ 5526945 w 12187339"/>
                <a:gd name="connsiteY2725" fmla="*/ 1465101 h 6851196"/>
                <a:gd name="connsiteX2726" fmla="*/ 5526945 w 12187339"/>
                <a:gd name="connsiteY2726" fmla="*/ 1226840 h 6851196"/>
                <a:gd name="connsiteX2727" fmla="*/ 5749495 w 12187339"/>
                <a:gd name="connsiteY2727" fmla="*/ 1226840 h 6851196"/>
                <a:gd name="connsiteX2728" fmla="*/ 5521055 w 12187339"/>
                <a:gd name="connsiteY2728" fmla="*/ 1465101 h 6851196"/>
                <a:gd name="connsiteX2729" fmla="*/ 5296454 w 12187339"/>
                <a:gd name="connsiteY2729" fmla="*/ 1465101 h 6851196"/>
                <a:gd name="connsiteX2730" fmla="*/ 5296454 w 12187339"/>
                <a:gd name="connsiteY2730" fmla="*/ 1226840 h 6851196"/>
                <a:gd name="connsiteX2731" fmla="*/ 5520542 w 12187339"/>
                <a:gd name="connsiteY2731" fmla="*/ 1226840 h 6851196"/>
                <a:gd name="connsiteX2732" fmla="*/ 5290564 w 12187339"/>
                <a:gd name="connsiteY2732" fmla="*/ 1465101 h 6851196"/>
                <a:gd name="connsiteX2733" fmla="*/ 5065963 w 12187339"/>
                <a:gd name="connsiteY2733" fmla="*/ 1465101 h 6851196"/>
                <a:gd name="connsiteX2734" fmla="*/ 5065963 w 12187339"/>
                <a:gd name="connsiteY2734" fmla="*/ 1226840 h 6851196"/>
                <a:gd name="connsiteX2735" fmla="*/ 5290051 w 12187339"/>
                <a:gd name="connsiteY2735" fmla="*/ 1226840 h 6851196"/>
                <a:gd name="connsiteX2736" fmla="*/ 5060073 w 12187339"/>
                <a:gd name="connsiteY2736" fmla="*/ 1465101 h 6851196"/>
                <a:gd name="connsiteX2737" fmla="*/ 4835472 w 12187339"/>
                <a:gd name="connsiteY2737" fmla="*/ 1465101 h 6851196"/>
                <a:gd name="connsiteX2738" fmla="*/ 4835472 w 12187339"/>
                <a:gd name="connsiteY2738" fmla="*/ 1226840 h 6851196"/>
                <a:gd name="connsiteX2739" fmla="*/ 5059560 w 12187339"/>
                <a:gd name="connsiteY2739" fmla="*/ 1226840 h 6851196"/>
                <a:gd name="connsiteX2740" fmla="*/ 4829582 w 12187339"/>
                <a:gd name="connsiteY2740" fmla="*/ 1465101 h 6851196"/>
                <a:gd name="connsiteX2741" fmla="*/ 4607029 w 12187339"/>
                <a:gd name="connsiteY2741" fmla="*/ 1465101 h 6851196"/>
                <a:gd name="connsiteX2742" fmla="*/ 4607029 w 12187339"/>
                <a:gd name="connsiteY2742" fmla="*/ 1226840 h 6851196"/>
                <a:gd name="connsiteX2743" fmla="*/ 4829582 w 12187339"/>
                <a:gd name="connsiteY2743" fmla="*/ 1226840 h 6851196"/>
                <a:gd name="connsiteX2744" fmla="*/ 4600626 w 12187339"/>
                <a:gd name="connsiteY2744" fmla="*/ 1465101 h 6851196"/>
                <a:gd name="connsiteX2745" fmla="*/ 4376538 w 12187339"/>
                <a:gd name="connsiteY2745" fmla="*/ 1465101 h 6851196"/>
                <a:gd name="connsiteX2746" fmla="*/ 4376538 w 12187339"/>
                <a:gd name="connsiteY2746" fmla="*/ 1226840 h 6851196"/>
                <a:gd name="connsiteX2747" fmla="*/ 4600626 w 12187339"/>
                <a:gd name="connsiteY2747" fmla="*/ 1226840 h 6851196"/>
                <a:gd name="connsiteX2748" fmla="*/ 4370135 w 12187339"/>
                <a:gd name="connsiteY2748" fmla="*/ 1465101 h 6851196"/>
                <a:gd name="connsiteX2749" fmla="*/ 4146047 w 12187339"/>
                <a:gd name="connsiteY2749" fmla="*/ 1465101 h 6851196"/>
                <a:gd name="connsiteX2750" fmla="*/ 4146047 w 12187339"/>
                <a:gd name="connsiteY2750" fmla="*/ 1226840 h 6851196"/>
                <a:gd name="connsiteX2751" fmla="*/ 4370135 w 12187339"/>
                <a:gd name="connsiteY2751" fmla="*/ 1226840 h 6851196"/>
                <a:gd name="connsiteX2752" fmla="*/ 4139644 w 12187339"/>
                <a:gd name="connsiteY2752" fmla="*/ 1465101 h 6851196"/>
                <a:gd name="connsiteX2753" fmla="*/ 3917094 w 12187339"/>
                <a:gd name="connsiteY2753" fmla="*/ 1465101 h 6851196"/>
                <a:gd name="connsiteX2754" fmla="*/ 3917094 w 12187339"/>
                <a:gd name="connsiteY2754" fmla="*/ 1226840 h 6851196"/>
                <a:gd name="connsiteX2755" fmla="*/ 4139644 w 12187339"/>
                <a:gd name="connsiteY2755" fmla="*/ 1226840 h 6851196"/>
                <a:gd name="connsiteX2756" fmla="*/ 3910691 w 12187339"/>
                <a:gd name="connsiteY2756" fmla="*/ 1465101 h 6851196"/>
                <a:gd name="connsiteX2757" fmla="*/ 3686603 w 12187339"/>
                <a:gd name="connsiteY2757" fmla="*/ 1465101 h 6851196"/>
                <a:gd name="connsiteX2758" fmla="*/ 3686603 w 12187339"/>
                <a:gd name="connsiteY2758" fmla="*/ 1226840 h 6851196"/>
                <a:gd name="connsiteX2759" fmla="*/ 3910691 w 12187339"/>
                <a:gd name="connsiteY2759" fmla="*/ 1226840 h 6851196"/>
                <a:gd name="connsiteX2760" fmla="*/ 3680200 w 12187339"/>
                <a:gd name="connsiteY2760" fmla="*/ 1465101 h 6851196"/>
                <a:gd name="connsiteX2761" fmla="*/ 3456112 w 12187339"/>
                <a:gd name="connsiteY2761" fmla="*/ 1465101 h 6851196"/>
                <a:gd name="connsiteX2762" fmla="*/ 3456112 w 12187339"/>
                <a:gd name="connsiteY2762" fmla="*/ 1226840 h 6851196"/>
                <a:gd name="connsiteX2763" fmla="*/ 3680200 w 12187339"/>
                <a:gd name="connsiteY2763" fmla="*/ 1226840 h 6851196"/>
                <a:gd name="connsiteX2764" fmla="*/ 3449709 w 12187339"/>
                <a:gd name="connsiteY2764" fmla="*/ 1465101 h 6851196"/>
                <a:gd name="connsiteX2765" fmla="*/ 3225621 w 12187339"/>
                <a:gd name="connsiteY2765" fmla="*/ 1465101 h 6851196"/>
                <a:gd name="connsiteX2766" fmla="*/ 3225621 w 12187339"/>
                <a:gd name="connsiteY2766" fmla="*/ 1226840 h 6851196"/>
                <a:gd name="connsiteX2767" fmla="*/ 3449709 w 12187339"/>
                <a:gd name="connsiteY2767" fmla="*/ 1226840 h 6851196"/>
                <a:gd name="connsiteX2768" fmla="*/ 3219218 w 12187339"/>
                <a:gd name="connsiteY2768" fmla="*/ 1465101 h 6851196"/>
                <a:gd name="connsiteX2769" fmla="*/ 2996666 w 12187339"/>
                <a:gd name="connsiteY2769" fmla="*/ 1465101 h 6851196"/>
                <a:gd name="connsiteX2770" fmla="*/ 2996666 w 12187339"/>
                <a:gd name="connsiteY2770" fmla="*/ 1226840 h 6851196"/>
                <a:gd name="connsiteX2771" fmla="*/ 3219218 w 12187339"/>
                <a:gd name="connsiteY2771" fmla="*/ 1226840 h 6851196"/>
                <a:gd name="connsiteX2772" fmla="*/ 2990264 w 12187339"/>
                <a:gd name="connsiteY2772" fmla="*/ 1465101 h 6851196"/>
                <a:gd name="connsiteX2773" fmla="*/ 2766175 w 12187339"/>
                <a:gd name="connsiteY2773" fmla="*/ 1465101 h 6851196"/>
                <a:gd name="connsiteX2774" fmla="*/ 2766175 w 12187339"/>
                <a:gd name="connsiteY2774" fmla="*/ 1226840 h 6851196"/>
                <a:gd name="connsiteX2775" fmla="*/ 2990264 w 12187339"/>
                <a:gd name="connsiteY2775" fmla="*/ 1226840 h 6851196"/>
                <a:gd name="connsiteX2776" fmla="*/ 2759773 w 12187339"/>
                <a:gd name="connsiteY2776" fmla="*/ 1465101 h 6851196"/>
                <a:gd name="connsiteX2777" fmla="*/ 2535684 w 12187339"/>
                <a:gd name="connsiteY2777" fmla="*/ 1465101 h 6851196"/>
                <a:gd name="connsiteX2778" fmla="*/ 2535684 w 12187339"/>
                <a:gd name="connsiteY2778" fmla="*/ 1226840 h 6851196"/>
                <a:gd name="connsiteX2779" fmla="*/ 2759773 w 12187339"/>
                <a:gd name="connsiteY2779" fmla="*/ 1226840 h 6851196"/>
                <a:gd name="connsiteX2780" fmla="*/ 2529282 w 12187339"/>
                <a:gd name="connsiteY2780" fmla="*/ 1465101 h 6851196"/>
                <a:gd name="connsiteX2781" fmla="*/ 2305193 w 12187339"/>
                <a:gd name="connsiteY2781" fmla="*/ 1465101 h 6851196"/>
                <a:gd name="connsiteX2782" fmla="*/ 2305193 w 12187339"/>
                <a:gd name="connsiteY2782" fmla="*/ 1226840 h 6851196"/>
                <a:gd name="connsiteX2783" fmla="*/ 2529282 w 12187339"/>
                <a:gd name="connsiteY2783" fmla="*/ 1226840 h 6851196"/>
                <a:gd name="connsiteX2784" fmla="*/ 2298791 w 12187339"/>
                <a:gd name="connsiteY2784" fmla="*/ 1465101 h 6851196"/>
                <a:gd name="connsiteX2785" fmla="*/ 2075982 w 12187339"/>
                <a:gd name="connsiteY2785" fmla="*/ 1465101 h 6851196"/>
                <a:gd name="connsiteX2786" fmla="*/ 2075982 w 12187339"/>
                <a:gd name="connsiteY2786" fmla="*/ 1226840 h 6851196"/>
                <a:gd name="connsiteX2787" fmla="*/ 2298534 w 12187339"/>
                <a:gd name="connsiteY2787" fmla="*/ 1226840 h 6851196"/>
                <a:gd name="connsiteX2788" fmla="*/ 2069836 w 12187339"/>
                <a:gd name="connsiteY2788" fmla="*/ 1465101 h 6851196"/>
                <a:gd name="connsiteX2789" fmla="*/ 1845748 w 12187339"/>
                <a:gd name="connsiteY2789" fmla="*/ 1465101 h 6851196"/>
                <a:gd name="connsiteX2790" fmla="*/ 1845748 w 12187339"/>
                <a:gd name="connsiteY2790" fmla="*/ 1226840 h 6851196"/>
                <a:gd name="connsiteX2791" fmla="*/ 2069580 w 12187339"/>
                <a:gd name="connsiteY2791" fmla="*/ 1226840 h 6851196"/>
                <a:gd name="connsiteX2792" fmla="*/ 1839345 w 12187339"/>
                <a:gd name="connsiteY2792" fmla="*/ 1465101 h 6851196"/>
                <a:gd name="connsiteX2793" fmla="*/ 1615257 w 12187339"/>
                <a:gd name="connsiteY2793" fmla="*/ 1465101 h 6851196"/>
                <a:gd name="connsiteX2794" fmla="*/ 1615257 w 12187339"/>
                <a:gd name="connsiteY2794" fmla="*/ 1226840 h 6851196"/>
                <a:gd name="connsiteX2795" fmla="*/ 1839089 w 12187339"/>
                <a:gd name="connsiteY2795" fmla="*/ 1226840 h 6851196"/>
                <a:gd name="connsiteX2796" fmla="*/ 1608854 w 12187339"/>
                <a:gd name="connsiteY2796" fmla="*/ 1465101 h 6851196"/>
                <a:gd name="connsiteX2797" fmla="*/ 1386302 w 12187339"/>
                <a:gd name="connsiteY2797" fmla="*/ 1465101 h 6851196"/>
                <a:gd name="connsiteX2798" fmla="*/ 1386302 w 12187339"/>
                <a:gd name="connsiteY2798" fmla="*/ 1226840 h 6851196"/>
                <a:gd name="connsiteX2799" fmla="*/ 1608598 w 12187339"/>
                <a:gd name="connsiteY2799" fmla="*/ 1226840 h 6851196"/>
                <a:gd name="connsiteX2800" fmla="*/ 1379900 w 12187339"/>
                <a:gd name="connsiteY2800" fmla="*/ 1465101 h 6851196"/>
                <a:gd name="connsiteX2801" fmla="*/ 1155811 w 12187339"/>
                <a:gd name="connsiteY2801" fmla="*/ 1465101 h 6851196"/>
                <a:gd name="connsiteX2802" fmla="*/ 1155811 w 12187339"/>
                <a:gd name="connsiteY2802" fmla="*/ 1226840 h 6851196"/>
                <a:gd name="connsiteX2803" fmla="*/ 1379900 w 12187339"/>
                <a:gd name="connsiteY2803" fmla="*/ 1226840 h 6851196"/>
                <a:gd name="connsiteX2804" fmla="*/ 1379900 w 12187339"/>
                <a:gd name="connsiteY2804" fmla="*/ 1471905 h 6851196"/>
                <a:gd name="connsiteX2805" fmla="*/ 1379900 w 12187339"/>
                <a:gd name="connsiteY2805" fmla="*/ 1710030 h 6851196"/>
                <a:gd name="connsiteX2806" fmla="*/ 1155811 w 12187339"/>
                <a:gd name="connsiteY2806" fmla="*/ 1710030 h 6851196"/>
                <a:gd name="connsiteX2807" fmla="*/ 1155811 w 12187339"/>
                <a:gd name="connsiteY2807" fmla="*/ 1471769 h 6851196"/>
                <a:gd name="connsiteX2808" fmla="*/ 1379900 w 12187339"/>
                <a:gd name="connsiteY2808" fmla="*/ 1716833 h 6851196"/>
                <a:gd name="connsiteX2809" fmla="*/ 1379900 w 12187339"/>
                <a:gd name="connsiteY2809" fmla="*/ 1953326 h 6851196"/>
                <a:gd name="connsiteX2810" fmla="*/ 1155811 w 12187339"/>
                <a:gd name="connsiteY2810" fmla="*/ 1953326 h 6851196"/>
                <a:gd name="connsiteX2811" fmla="*/ 1155811 w 12187339"/>
                <a:gd name="connsiteY2811" fmla="*/ 1716697 h 6851196"/>
                <a:gd name="connsiteX2812" fmla="*/ 1379900 w 12187339"/>
                <a:gd name="connsiteY2812" fmla="*/ 1960129 h 6851196"/>
                <a:gd name="connsiteX2813" fmla="*/ 1379900 w 12187339"/>
                <a:gd name="connsiteY2813" fmla="*/ 2198254 h 6851196"/>
                <a:gd name="connsiteX2814" fmla="*/ 1155811 w 12187339"/>
                <a:gd name="connsiteY2814" fmla="*/ 2198254 h 6851196"/>
                <a:gd name="connsiteX2815" fmla="*/ 1155811 w 12187339"/>
                <a:gd name="connsiteY2815" fmla="*/ 1960129 h 6851196"/>
                <a:gd name="connsiteX2816" fmla="*/ 1379900 w 12187339"/>
                <a:gd name="connsiteY2816" fmla="*/ 2205058 h 6851196"/>
                <a:gd name="connsiteX2817" fmla="*/ 1379900 w 12187339"/>
                <a:gd name="connsiteY2817" fmla="*/ 2443183 h 6851196"/>
                <a:gd name="connsiteX2818" fmla="*/ 1155811 w 12187339"/>
                <a:gd name="connsiteY2818" fmla="*/ 2443183 h 6851196"/>
                <a:gd name="connsiteX2819" fmla="*/ 1155811 w 12187339"/>
                <a:gd name="connsiteY2819" fmla="*/ 2205058 h 6851196"/>
                <a:gd name="connsiteX2820" fmla="*/ 1379900 w 12187339"/>
                <a:gd name="connsiteY2820" fmla="*/ 2449986 h 6851196"/>
                <a:gd name="connsiteX2821" fmla="*/ 1379900 w 12187339"/>
                <a:gd name="connsiteY2821" fmla="*/ 2686479 h 6851196"/>
                <a:gd name="connsiteX2822" fmla="*/ 1155811 w 12187339"/>
                <a:gd name="connsiteY2822" fmla="*/ 2686479 h 6851196"/>
                <a:gd name="connsiteX2823" fmla="*/ 1155811 w 12187339"/>
                <a:gd name="connsiteY2823" fmla="*/ 2449986 h 6851196"/>
                <a:gd name="connsiteX2824" fmla="*/ 1379900 w 12187339"/>
                <a:gd name="connsiteY2824" fmla="*/ 2693282 h 6851196"/>
                <a:gd name="connsiteX2825" fmla="*/ 1379900 w 12187339"/>
                <a:gd name="connsiteY2825" fmla="*/ 2931407 h 6851196"/>
                <a:gd name="connsiteX2826" fmla="*/ 1155811 w 12187339"/>
                <a:gd name="connsiteY2826" fmla="*/ 2931407 h 6851196"/>
                <a:gd name="connsiteX2827" fmla="*/ 1155811 w 12187339"/>
                <a:gd name="connsiteY2827" fmla="*/ 2693282 h 6851196"/>
                <a:gd name="connsiteX2828" fmla="*/ 1379900 w 12187339"/>
                <a:gd name="connsiteY2828" fmla="*/ 2938211 h 6851196"/>
                <a:gd name="connsiteX2829" fmla="*/ 1379900 w 12187339"/>
                <a:gd name="connsiteY2829" fmla="*/ 3176336 h 6851196"/>
                <a:gd name="connsiteX2830" fmla="*/ 1155811 w 12187339"/>
                <a:gd name="connsiteY2830" fmla="*/ 3176336 h 6851196"/>
                <a:gd name="connsiteX2831" fmla="*/ 1155811 w 12187339"/>
                <a:gd name="connsiteY2831" fmla="*/ 2938211 h 6851196"/>
                <a:gd name="connsiteX2832" fmla="*/ 1379900 w 12187339"/>
                <a:gd name="connsiteY2832" fmla="*/ 3183139 h 6851196"/>
                <a:gd name="connsiteX2833" fmla="*/ 1379900 w 12187339"/>
                <a:gd name="connsiteY2833" fmla="*/ 3421264 h 6851196"/>
                <a:gd name="connsiteX2834" fmla="*/ 1155811 w 12187339"/>
                <a:gd name="connsiteY2834" fmla="*/ 3421264 h 6851196"/>
                <a:gd name="connsiteX2835" fmla="*/ 1155811 w 12187339"/>
                <a:gd name="connsiteY2835" fmla="*/ 3183139 h 6851196"/>
                <a:gd name="connsiteX2836" fmla="*/ 1379900 w 12187339"/>
                <a:gd name="connsiteY2836" fmla="*/ 3428068 h 6851196"/>
                <a:gd name="connsiteX2837" fmla="*/ 1379900 w 12187339"/>
                <a:gd name="connsiteY2837" fmla="*/ 3664560 h 6851196"/>
                <a:gd name="connsiteX2838" fmla="*/ 1155811 w 12187339"/>
                <a:gd name="connsiteY2838" fmla="*/ 3664560 h 6851196"/>
                <a:gd name="connsiteX2839" fmla="*/ 1155811 w 12187339"/>
                <a:gd name="connsiteY2839" fmla="*/ 3428068 h 6851196"/>
                <a:gd name="connsiteX2840" fmla="*/ 1379900 w 12187339"/>
                <a:gd name="connsiteY2840" fmla="*/ 3671364 h 6851196"/>
                <a:gd name="connsiteX2841" fmla="*/ 1379900 w 12187339"/>
                <a:gd name="connsiteY2841" fmla="*/ 3909489 h 6851196"/>
                <a:gd name="connsiteX2842" fmla="*/ 1155811 w 12187339"/>
                <a:gd name="connsiteY2842" fmla="*/ 3909489 h 6851196"/>
                <a:gd name="connsiteX2843" fmla="*/ 1155811 w 12187339"/>
                <a:gd name="connsiteY2843" fmla="*/ 3671364 h 6851196"/>
                <a:gd name="connsiteX2844" fmla="*/ 1379900 w 12187339"/>
                <a:gd name="connsiteY2844" fmla="*/ 3916292 h 6851196"/>
                <a:gd name="connsiteX2845" fmla="*/ 1379900 w 12187339"/>
                <a:gd name="connsiteY2845" fmla="*/ 4154417 h 6851196"/>
                <a:gd name="connsiteX2846" fmla="*/ 1155811 w 12187339"/>
                <a:gd name="connsiteY2846" fmla="*/ 4154417 h 6851196"/>
                <a:gd name="connsiteX2847" fmla="*/ 1155811 w 12187339"/>
                <a:gd name="connsiteY2847" fmla="*/ 3916292 h 6851196"/>
                <a:gd name="connsiteX2848" fmla="*/ 1379900 w 12187339"/>
                <a:gd name="connsiteY2848" fmla="*/ 4161221 h 6851196"/>
                <a:gd name="connsiteX2849" fmla="*/ 1379900 w 12187339"/>
                <a:gd name="connsiteY2849" fmla="*/ 4399346 h 6851196"/>
                <a:gd name="connsiteX2850" fmla="*/ 1155811 w 12187339"/>
                <a:gd name="connsiteY2850" fmla="*/ 4399346 h 6851196"/>
                <a:gd name="connsiteX2851" fmla="*/ 1155811 w 12187339"/>
                <a:gd name="connsiteY2851" fmla="*/ 4161221 h 6851196"/>
                <a:gd name="connsiteX2852" fmla="*/ 1379900 w 12187339"/>
                <a:gd name="connsiteY2852" fmla="*/ 4406149 h 6851196"/>
                <a:gd name="connsiteX2853" fmla="*/ 1379900 w 12187339"/>
                <a:gd name="connsiteY2853" fmla="*/ 4642233 h 6851196"/>
                <a:gd name="connsiteX2854" fmla="*/ 1155811 w 12187339"/>
                <a:gd name="connsiteY2854" fmla="*/ 4642233 h 6851196"/>
                <a:gd name="connsiteX2855" fmla="*/ 1155811 w 12187339"/>
                <a:gd name="connsiteY2855" fmla="*/ 4405741 h 6851196"/>
                <a:gd name="connsiteX2856" fmla="*/ 1379900 w 12187339"/>
                <a:gd name="connsiteY2856" fmla="*/ 4649445 h 6851196"/>
                <a:gd name="connsiteX2857" fmla="*/ 1379900 w 12187339"/>
                <a:gd name="connsiteY2857" fmla="*/ 4887162 h 6851196"/>
                <a:gd name="connsiteX2858" fmla="*/ 1155811 w 12187339"/>
                <a:gd name="connsiteY2858" fmla="*/ 4887162 h 6851196"/>
                <a:gd name="connsiteX2859" fmla="*/ 1155811 w 12187339"/>
                <a:gd name="connsiteY2859" fmla="*/ 4649037 h 6851196"/>
                <a:gd name="connsiteX2860" fmla="*/ 1379900 w 12187339"/>
                <a:gd name="connsiteY2860" fmla="*/ 4894374 h 6851196"/>
                <a:gd name="connsiteX2861" fmla="*/ 1379900 w 12187339"/>
                <a:gd name="connsiteY2861" fmla="*/ 5132090 h 6851196"/>
                <a:gd name="connsiteX2862" fmla="*/ 1155811 w 12187339"/>
                <a:gd name="connsiteY2862" fmla="*/ 5132090 h 6851196"/>
                <a:gd name="connsiteX2863" fmla="*/ 1155811 w 12187339"/>
                <a:gd name="connsiteY2863" fmla="*/ 4893965 h 6851196"/>
                <a:gd name="connsiteX2864" fmla="*/ 1379900 w 12187339"/>
                <a:gd name="connsiteY2864" fmla="*/ 5139302 h 6851196"/>
                <a:gd name="connsiteX2865" fmla="*/ 1379900 w 12187339"/>
                <a:gd name="connsiteY2865" fmla="*/ 5375795 h 6851196"/>
                <a:gd name="connsiteX2866" fmla="*/ 1155811 w 12187339"/>
                <a:gd name="connsiteY2866" fmla="*/ 5375795 h 6851196"/>
                <a:gd name="connsiteX2867" fmla="*/ 1155811 w 12187339"/>
                <a:gd name="connsiteY2867" fmla="*/ 5139302 h 6851196"/>
                <a:gd name="connsiteX2868" fmla="*/ 1379900 w 12187339"/>
                <a:gd name="connsiteY2868" fmla="*/ 5382598 h 6851196"/>
                <a:gd name="connsiteX2869" fmla="*/ 1379900 w 12187339"/>
                <a:gd name="connsiteY2869" fmla="*/ 5620723 h 6851196"/>
                <a:gd name="connsiteX2870" fmla="*/ 1155811 w 12187339"/>
                <a:gd name="connsiteY2870" fmla="*/ 5620723 h 6851196"/>
                <a:gd name="connsiteX2871" fmla="*/ 1155811 w 12187339"/>
                <a:gd name="connsiteY2871" fmla="*/ 5382598 h 6851196"/>
                <a:gd name="connsiteX2872" fmla="*/ 1386302 w 12187339"/>
                <a:gd name="connsiteY2872" fmla="*/ 5382598 h 6851196"/>
                <a:gd name="connsiteX2873" fmla="*/ 1608598 w 12187339"/>
                <a:gd name="connsiteY2873" fmla="*/ 5382598 h 6851196"/>
                <a:gd name="connsiteX2874" fmla="*/ 1608598 w 12187339"/>
                <a:gd name="connsiteY2874" fmla="*/ 5620723 h 6851196"/>
                <a:gd name="connsiteX2875" fmla="*/ 1386046 w 12187339"/>
                <a:gd name="connsiteY2875" fmla="*/ 5620723 h 6851196"/>
                <a:gd name="connsiteX2876" fmla="*/ 1615257 w 12187339"/>
                <a:gd name="connsiteY2876" fmla="*/ 5382598 h 6851196"/>
                <a:gd name="connsiteX2877" fmla="*/ 1839089 w 12187339"/>
                <a:gd name="connsiteY2877" fmla="*/ 5382598 h 6851196"/>
                <a:gd name="connsiteX2878" fmla="*/ 1839089 w 12187339"/>
                <a:gd name="connsiteY2878" fmla="*/ 5620723 h 6851196"/>
                <a:gd name="connsiteX2879" fmla="*/ 1615000 w 12187339"/>
                <a:gd name="connsiteY2879" fmla="*/ 5620723 h 6851196"/>
                <a:gd name="connsiteX2880" fmla="*/ 1845748 w 12187339"/>
                <a:gd name="connsiteY2880" fmla="*/ 5382598 h 6851196"/>
                <a:gd name="connsiteX2881" fmla="*/ 2069580 w 12187339"/>
                <a:gd name="connsiteY2881" fmla="*/ 5382598 h 6851196"/>
                <a:gd name="connsiteX2882" fmla="*/ 2069580 w 12187339"/>
                <a:gd name="connsiteY2882" fmla="*/ 5620723 h 6851196"/>
                <a:gd name="connsiteX2883" fmla="*/ 1845491 w 12187339"/>
                <a:gd name="connsiteY2883" fmla="*/ 5620723 h 6851196"/>
                <a:gd name="connsiteX2884" fmla="*/ 2076239 w 12187339"/>
                <a:gd name="connsiteY2884" fmla="*/ 5382598 h 6851196"/>
                <a:gd name="connsiteX2885" fmla="*/ 2298791 w 12187339"/>
                <a:gd name="connsiteY2885" fmla="*/ 5382598 h 6851196"/>
                <a:gd name="connsiteX2886" fmla="*/ 2298791 w 12187339"/>
                <a:gd name="connsiteY2886" fmla="*/ 5620723 h 6851196"/>
                <a:gd name="connsiteX2887" fmla="*/ 2075982 w 12187339"/>
                <a:gd name="connsiteY2887" fmla="*/ 5620723 h 6851196"/>
                <a:gd name="connsiteX2888" fmla="*/ 2305193 w 12187339"/>
                <a:gd name="connsiteY2888" fmla="*/ 5382598 h 6851196"/>
                <a:gd name="connsiteX2889" fmla="*/ 2529282 w 12187339"/>
                <a:gd name="connsiteY2889" fmla="*/ 5382598 h 6851196"/>
                <a:gd name="connsiteX2890" fmla="*/ 2529282 w 12187339"/>
                <a:gd name="connsiteY2890" fmla="*/ 5620723 h 6851196"/>
                <a:gd name="connsiteX2891" fmla="*/ 2305193 w 12187339"/>
                <a:gd name="connsiteY2891" fmla="*/ 5620723 h 6851196"/>
                <a:gd name="connsiteX2892" fmla="*/ 2535684 w 12187339"/>
                <a:gd name="connsiteY2892" fmla="*/ 5382598 h 6851196"/>
                <a:gd name="connsiteX2893" fmla="*/ 2759773 w 12187339"/>
                <a:gd name="connsiteY2893" fmla="*/ 5382598 h 6851196"/>
                <a:gd name="connsiteX2894" fmla="*/ 2759773 w 12187339"/>
                <a:gd name="connsiteY2894" fmla="*/ 5620723 h 6851196"/>
                <a:gd name="connsiteX2895" fmla="*/ 2535684 w 12187339"/>
                <a:gd name="connsiteY2895" fmla="*/ 5620723 h 6851196"/>
                <a:gd name="connsiteX2896" fmla="*/ 2766175 w 12187339"/>
                <a:gd name="connsiteY2896" fmla="*/ 5382598 h 6851196"/>
                <a:gd name="connsiteX2897" fmla="*/ 2990264 w 12187339"/>
                <a:gd name="connsiteY2897" fmla="*/ 5382598 h 6851196"/>
                <a:gd name="connsiteX2898" fmla="*/ 2990264 w 12187339"/>
                <a:gd name="connsiteY2898" fmla="*/ 5620723 h 6851196"/>
                <a:gd name="connsiteX2899" fmla="*/ 2766175 w 12187339"/>
                <a:gd name="connsiteY2899" fmla="*/ 5620723 h 6851196"/>
                <a:gd name="connsiteX2900" fmla="*/ 2996666 w 12187339"/>
                <a:gd name="connsiteY2900" fmla="*/ 5382598 h 6851196"/>
                <a:gd name="connsiteX2901" fmla="*/ 3219218 w 12187339"/>
                <a:gd name="connsiteY2901" fmla="*/ 5382598 h 6851196"/>
                <a:gd name="connsiteX2902" fmla="*/ 3219218 w 12187339"/>
                <a:gd name="connsiteY2902" fmla="*/ 5620723 h 6851196"/>
                <a:gd name="connsiteX2903" fmla="*/ 2996666 w 12187339"/>
                <a:gd name="connsiteY2903" fmla="*/ 5620723 h 6851196"/>
                <a:gd name="connsiteX2904" fmla="*/ 3225621 w 12187339"/>
                <a:gd name="connsiteY2904" fmla="*/ 5382598 h 6851196"/>
                <a:gd name="connsiteX2905" fmla="*/ 3449709 w 12187339"/>
                <a:gd name="connsiteY2905" fmla="*/ 5382598 h 6851196"/>
                <a:gd name="connsiteX2906" fmla="*/ 3449709 w 12187339"/>
                <a:gd name="connsiteY2906" fmla="*/ 5620723 h 6851196"/>
                <a:gd name="connsiteX2907" fmla="*/ 3225621 w 12187339"/>
                <a:gd name="connsiteY2907" fmla="*/ 5620723 h 6851196"/>
                <a:gd name="connsiteX2908" fmla="*/ 3456112 w 12187339"/>
                <a:gd name="connsiteY2908" fmla="*/ 5382598 h 6851196"/>
                <a:gd name="connsiteX2909" fmla="*/ 3680200 w 12187339"/>
                <a:gd name="connsiteY2909" fmla="*/ 5382598 h 6851196"/>
                <a:gd name="connsiteX2910" fmla="*/ 3680200 w 12187339"/>
                <a:gd name="connsiteY2910" fmla="*/ 5620723 h 6851196"/>
                <a:gd name="connsiteX2911" fmla="*/ 3456112 w 12187339"/>
                <a:gd name="connsiteY2911" fmla="*/ 5620723 h 6851196"/>
                <a:gd name="connsiteX2912" fmla="*/ 3686603 w 12187339"/>
                <a:gd name="connsiteY2912" fmla="*/ 5382598 h 6851196"/>
                <a:gd name="connsiteX2913" fmla="*/ 3910691 w 12187339"/>
                <a:gd name="connsiteY2913" fmla="*/ 5382598 h 6851196"/>
                <a:gd name="connsiteX2914" fmla="*/ 3910691 w 12187339"/>
                <a:gd name="connsiteY2914" fmla="*/ 5620723 h 6851196"/>
                <a:gd name="connsiteX2915" fmla="*/ 3686603 w 12187339"/>
                <a:gd name="connsiteY2915" fmla="*/ 5620723 h 6851196"/>
                <a:gd name="connsiteX2916" fmla="*/ 3917094 w 12187339"/>
                <a:gd name="connsiteY2916" fmla="*/ 5382598 h 6851196"/>
                <a:gd name="connsiteX2917" fmla="*/ 4139644 w 12187339"/>
                <a:gd name="connsiteY2917" fmla="*/ 5382598 h 6851196"/>
                <a:gd name="connsiteX2918" fmla="*/ 4139644 w 12187339"/>
                <a:gd name="connsiteY2918" fmla="*/ 5620723 h 6851196"/>
                <a:gd name="connsiteX2919" fmla="*/ 3917094 w 12187339"/>
                <a:gd name="connsiteY2919" fmla="*/ 5620723 h 6851196"/>
                <a:gd name="connsiteX2920" fmla="*/ 4146047 w 12187339"/>
                <a:gd name="connsiteY2920" fmla="*/ 5382598 h 6851196"/>
                <a:gd name="connsiteX2921" fmla="*/ 4370135 w 12187339"/>
                <a:gd name="connsiteY2921" fmla="*/ 5382598 h 6851196"/>
                <a:gd name="connsiteX2922" fmla="*/ 4370135 w 12187339"/>
                <a:gd name="connsiteY2922" fmla="*/ 5620723 h 6851196"/>
                <a:gd name="connsiteX2923" fmla="*/ 4146047 w 12187339"/>
                <a:gd name="connsiteY2923" fmla="*/ 5620723 h 6851196"/>
                <a:gd name="connsiteX2924" fmla="*/ 4376538 w 12187339"/>
                <a:gd name="connsiteY2924" fmla="*/ 5382598 h 6851196"/>
                <a:gd name="connsiteX2925" fmla="*/ 4600626 w 12187339"/>
                <a:gd name="connsiteY2925" fmla="*/ 5382598 h 6851196"/>
                <a:gd name="connsiteX2926" fmla="*/ 4600626 w 12187339"/>
                <a:gd name="connsiteY2926" fmla="*/ 5620723 h 6851196"/>
                <a:gd name="connsiteX2927" fmla="*/ 4376538 w 12187339"/>
                <a:gd name="connsiteY2927" fmla="*/ 5620723 h 6851196"/>
                <a:gd name="connsiteX2928" fmla="*/ 4607029 w 12187339"/>
                <a:gd name="connsiteY2928" fmla="*/ 5382598 h 6851196"/>
                <a:gd name="connsiteX2929" fmla="*/ 4829582 w 12187339"/>
                <a:gd name="connsiteY2929" fmla="*/ 5382598 h 6851196"/>
                <a:gd name="connsiteX2930" fmla="*/ 4829582 w 12187339"/>
                <a:gd name="connsiteY2930" fmla="*/ 5620723 h 6851196"/>
                <a:gd name="connsiteX2931" fmla="*/ 4607029 w 12187339"/>
                <a:gd name="connsiteY2931" fmla="*/ 5620723 h 6851196"/>
                <a:gd name="connsiteX2932" fmla="*/ 4835985 w 12187339"/>
                <a:gd name="connsiteY2932" fmla="*/ 5382598 h 6851196"/>
                <a:gd name="connsiteX2933" fmla="*/ 5060073 w 12187339"/>
                <a:gd name="connsiteY2933" fmla="*/ 5382598 h 6851196"/>
                <a:gd name="connsiteX2934" fmla="*/ 5060073 w 12187339"/>
                <a:gd name="connsiteY2934" fmla="*/ 5620723 h 6851196"/>
                <a:gd name="connsiteX2935" fmla="*/ 4835472 w 12187339"/>
                <a:gd name="connsiteY2935" fmla="*/ 5620723 h 6851196"/>
                <a:gd name="connsiteX2936" fmla="*/ 5066476 w 12187339"/>
                <a:gd name="connsiteY2936" fmla="*/ 5382598 h 6851196"/>
                <a:gd name="connsiteX2937" fmla="*/ 5290564 w 12187339"/>
                <a:gd name="connsiteY2937" fmla="*/ 5382598 h 6851196"/>
                <a:gd name="connsiteX2938" fmla="*/ 5290564 w 12187339"/>
                <a:gd name="connsiteY2938" fmla="*/ 5620723 h 6851196"/>
                <a:gd name="connsiteX2939" fmla="*/ 5065963 w 12187339"/>
                <a:gd name="connsiteY2939" fmla="*/ 5620723 h 6851196"/>
                <a:gd name="connsiteX2940" fmla="*/ 5296967 w 12187339"/>
                <a:gd name="connsiteY2940" fmla="*/ 5382598 h 6851196"/>
                <a:gd name="connsiteX2941" fmla="*/ 5521055 w 12187339"/>
                <a:gd name="connsiteY2941" fmla="*/ 5382598 h 6851196"/>
                <a:gd name="connsiteX2942" fmla="*/ 5521055 w 12187339"/>
                <a:gd name="connsiteY2942" fmla="*/ 5620723 h 6851196"/>
                <a:gd name="connsiteX2943" fmla="*/ 5296454 w 12187339"/>
                <a:gd name="connsiteY2943" fmla="*/ 5620723 h 6851196"/>
                <a:gd name="connsiteX2944" fmla="*/ 5527458 w 12187339"/>
                <a:gd name="connsiteY2944" fmla="*/ 5382598 h 6851196"/>
                <a:gd name="connsiteX2945" fmla="*/ 5750008 w 12187339"/>
                <a:gd name="connsiteY2945" fmla="*/ 5382598 h 6851196"/>
                <a:gd name="connsiteX2946" fmla="*/ 5750008 w 12187339"/>
                <a:gd name="connsiteY2946" fmla="*/ 5620723 h 6851196"/>
                <a:gd name="connsiteX2947" fmla="*/ 5526945 w 12187339"/>
                <a:gd name="connsiteY2947" fmla="*/ 5620723 h 6851196"/>
                <a:gd name="connsiteX2948" fmla="*/ 5756411 w 12187339"/>
                <a:gd name="connsiteY2948" fmla="*/ 5382598 h 6851196"/>
                <a:gd name="connsiteX2949" fmla="*/ 5980499 w 12187339"/>
                <a:gd name="connsiteY2949" fmla="*/ 5382598 h 6851196"/>
                <a:gd name="connsiteX2950" fmla="*/ 5980499 w 12187339"/>
                <a:gd name="connsiteY2950" fmla="*/ 5620723 h 6851196"/>
                <a:gd name="connsiteX2951" fmla="*/ 5756411 w 12187339"/>
                <a:gd name="connsiteY2951" fmla="*/ 5620723 h 6851196"/>
                <a:gd name="connsiteX2952" fmla="*/ 5986902 w 12187339"/>
                <a:gd name="connsiteY2952" fmla="*/ 5382598 h 6851196"/>
                <a:gd name="connsiteX2953" fmla="*/ 6210990 w 12187339"/>
                <a:gd name="connsiteY2953" fmla="*/ 5382598 h 6851196"/>
                <a:gd name="connsiteX2954" fmla="*/ 6210990 w 12187339"/>
                <a:gd name="connsiteY2954" fmla="*/ 5620723 h 6851196"/>
                <a:gd name="connsiteX2955" fmla="*/ 5986902 w 12187339"/>
                <a:gd name="connsiteY2955" fmla="*/ 5620723 h 6851196"/>
                <a:gd name="connsiteX2956" fmla="*/ 6217393 w 12187339"/>
                <a:gd name="connsiteY2956" fmla="*/ 5382598 h 6851196"/>
                <a:gd name="connsiteX2957" fmla="*/ 6439946 w 12187339"/>
                <a:gd name="connsiteY2957" fmla="*/ 5382598 h 6851196"/>
                <a:gd name="connsiteX2958" fmla="*/ 6439946 w 12187339"/>
                <a:gd name="connsiteY2958" fmla="*/ 5620723 h 6851196"/>
                <a:gd name="connsiteX2959" fmla="*/ 6217136 w 12187339"/>
                <a:gd name="connsiteY2959" fmla="*/ 5620723 h 6851196"/>
                <a:gd name="connsiteX2960" fmla="*/ 6446349 w 12187339"/>
                <a:gd name="connsiteY2960" fmla="*/ 5382598 h 6851196"/>
                <a:gd name="connsiteX2961" fmla="*/ 6656863 w 12187339"/>
                <a:gd name="connsiteY2961" fmla="*/ 5382598 h 6851196"/>
                <a:gd name="connsiteX2962" fmla="*/ 6656863 w 12187339"/>
                <a:gd name="connsiteY2962" fmla="*/ 5620723 h 6851196"/>
                <a:gd name="connsiteX2963" fmla="*/ 6446349 w 12187339"/>
                <a:gd name="connsiteY2963" fmla="*/ 5620723 h 6851196"/>
                <a:gd name="connsiteX2964" fmla="*/ 6663265 w 12187339"/>
                <a:gd name="connsiteY2964" fmla="*/ 5382598 h 6851196"/>
                <a:gd name="connsiteX2965" fmla="*/ 6887354 w 12187339"/>
                <a:gd name="connsiteY2965" fmla="*/ 5382598 h 6851196"/>
                <a:gd name="connsiteX2966" fmla="*/ 6887354 w 12187339"/>
                <a:gd name="connsiteY2966" fmla="*/ 5620723 h 6851196"/>
                <a:gd name="connsiteX2967" fmla="*/ 6663265 w 12187339"/>
                <a:gd name="connsiteY2967" fmla="*/ 5620723 h 6851196"/>
                <a:gd name="connsiteX2968" fmla="*/ 6893756 w 12187339"/>
                <a:gd name="connsiteY2968" fmla="*/ 5382598 h 6851196"/>
                <a:gd name="connsiteX2969" fmla="*/ 7117845 w 12187339"/>
                <a:gd name="connsiteY2969" fmla="*/ 5382598 h 6851196"/>
                <a:gd name="connsiteX2970" fmla="*/ 7117845 w 12187339"/>
                <a:gd name="connsiteY2970" fmla="*/ 5620723 h 6851196"/>
                <a:gd name="connsiteX2971" fmla="*/ 6893756 w 12187339"/>
                <a:gd name="connsiteY2971" fmla="*/ 5620723 h 6851196"/>
                <a:gd name="connsiteX2972" fmla="*/ 7124247 w 12187339"/>
                <a:gd name="connsiteY2972" fmla="*/ 5382598 h 6851196"/>
                <a:gd name="connsiteX2973" fmla="*/ 7346801 w 12187339"/>
                <a:gd name="connsiteY2973" fmla="*/ 5382598 h 6851196"/>
                <a:gd name="connsiteX2974" fmla="*/ 7346801 w 12187339"/>
                <a:gd name="connsiteY2974" fmla="*/ 5620723 h 6851196"/>
                <a:gd name="connsiteX2975" fmla="*/ 7124247 w 12187339"/>
                <a:gd name="connsiteY2975" fmla="*/ 5620723 h 6851196"/>
                <a:gd name="connsiteX2976" fmla="*/ 7353204 w 12187339"/>
                <a:gd name="connsiteY2976" fmla="*/ 5382598 h 6851196"/>
                <a:gd name="connsiteX2977" fmla="*/ 7577292 w 12187339"/>
                <a:gd name="connsiteY2977" fmla="*/ 5382598 h 6851196"/>
                <a:gd name="connsiteX2978" fmla="*/ 7577292 w 12187339"/>
                <a:gd name="connsiteY2978" fmla="*/ 5620723 h 6851196"/>
                <a:gd name="connsiteX2979" fmla="*/ 7353204 w 12187339"/>
                <a:gd name="connsiteY2979" fmla="*/ 5620723 h 6851196"/>
                <a:gd name="connsiteX2980" fmla="*/ 7583695 w 12187339"/>
                <a:gd name="connsiteY2980" fmla="*/ 5382598 h 6851196"/>
                <a:gd name="connsiteX2981" fmla="*/ 7807783 w 12187339"/>
                <a:gd name="connsiteY2981" fmla="*/ 5382598 h 6851196"/>
                <a:gd name="connsiteX2982" fmla="*/ 7807783 w 12187339"/>
                <a:gd name="connsiteY2982" fmla="*/ 5620723 h 6851196"/>
                <a:gd name="connsiteX2983" fmla="*/ 7583695 w 12187339"/>
                <a:gd name="connsiteY2983" fmla="*/ 5620723 h 6851196"/>
                <a:gd name="connsiteX2984" fmla="*/ 7814186 w 12187339"/>
                <a:gd name="connsiteY2984" fmla="*/ 5382598 h 6851196"/>
                <a:gd name="connsiteX2985" fmla="*/ 8038274 w 12187339"/>
                <a:gd name="connsiteY2985" fmla="*/ 5382598 h 6851196"/>
                <a:gd name="connsiteX2986" fmla="*/ 8038274 w 12187339"/>
                <a:gd name="connsiteY2986" fmla="*/ 5620723 h 6851196"/>
                <a:gd name="connsiteX2987" fmla="*/ 7814186 w 12187339"/>
                <a:gd name="connsiteY2987" fmla="*/ 5620723 h 6851196"/>
                <a:gd name="connsiteX2988" fmla="*/ 8044677 w 12187339"/>
                <a:gd name="connsiteY2988" fmla="*/ 5382598 h 6851196"/>
                <a:gd name="connsiteX2989" fmla="*/ 8267227 w 12187339"/>
                <a:gd name="connsiteY2989" fmla="*/ 5382598 h 6851196"/>
                <a:gd name="connsiteX2990" fmla="*/ 8267227 w 12187339"/>
                <a:gd name="connsiteY2990" fmla="*/ 5620723 h 6851196"/>
                <a:gd name="connsiteX2991" fmla="*/ 8044420 w 12187339"/>
                <a:gd name="connsiteY2991" fmla="*/ 5620723 h 6851196"/>
                <a:gd name="connsiteX2992" fmla="*/ 8273629 w 12187339"/>
                <a:gd name="connsiteY2992" fmla="*/ 5382598 h 6851196"/>
                <a:gd name="connsiteX2993" fmla="*/ 8497718 w 12187339"/>
                <a:gd name="connsiteY2993" fmla="*/ 5382598 h 6851196"/>
                <a:gd name="connsiteX2994" fmla="*/ 8497718 w 12187339"/>
                <a:gd name="connsiteY2994" fmla="*/ 5620723 h 6851196"/>
                <a:gd name="connsiteX2995" fmla="*/ 8273629 w 12187339"/>
                <a:gd name="connsiteY2995" fmla="*/ 5620723 h 6851196"/>
                <a:gd name="connsiteX2996" fmla="*/ 8504120 w 12187339"/>
                <a:gd name="connsiteY2996" fmla="*/ 5382598 h 6851196"/>
                <a:gd name="connsiteX2997" fmla="*/ 8728209 w 12187339"/>
                <a:gd name="connsiteY2997" fmla="*/ 5382598 h 6851196"/>
                <a:gd name="connsiteX2998" fmla="*/ 8728209 w 12187339"/>
                <a:gd name="connsiteY2998" fmla="*/ 5620723 h 6851196"/>
                <a:gd name="connsiteX2999" fmla="*/ 8504120 w 12187339"/>
                <a:gd name="connsiteY2999" fmla="*/ 5620723 h 6851196"/>
                <a:gd name="connsiteX3000" fmla="*/ 8734611 w 12187339"/>
                <a:gd name="connsiteY3000" fmla="*/ 5382598 h 6851196"/>
                <a:gd name="connsiteX3001" fmla="*/ 8957162 w 12187339"/>
                <a:gd name="connsiteY3001" fmla="*/ 5382598 h 6851196"/>
                <a:gd name="connsiteX3002" fmla="*/ 8957162 w 12187339"/>
                <a:gd name="connsiteY3002" fmla="*/ 5620723 h 6851196"/>
                <a:gd name="connsiteX3003" fmla="*/ 8734611 w 12187339"/>
                <a:gd name="connsiteY3003" fmla="*/ 5620723 h 6851196"/>
                <a:gd name="connsiteX3004" fmla="*/ 8963564 w 12187339"/>
                <a:gd name="connsiteY3004" fmla="*/ 5382598 h 6851196"/>
                <a:gd name="connsiteX3005" fmla="*/ 9187653 w 12187339"/>
                <a:gd name="connsiteY3005" fmla="*/ 5382598 h 6851196"/>
                <a:gd name="connsiteX3006" fmla="*/ 9187653 w 12187339"/>
                <a:gd name="connsiteY3006" fmla="*/ 5620723 h 6851196"/>
                <a:gd name="connsiteX3007" fmla="*/ 8963564 w 12187339"/>
                <a:gd name="connsiteY3007" fmla="*/ 5620723 h 6851196"/>
                <a:gd name="connsiteX3008" fmla="*/ 9194055 w 12187339"/>
                <a:gd name="connsiteY3008" fmla="*/ 5382598 h 6851196"/>
                <a:gd name="connsiteX3009" fmla="*/ 9418144 w 12187339"/>
                <a:gd name="connsiteY3009" fmla="*/ 5382598 h 6851196"/>
                <a:gd name="connsiteX3010" fmla="*/ 9418144 w 12187339"/>
                <a:gd name="connsiteY3010" fmla="*/ 5620723 h 6851196"/>
                <a:gd name="connsiteX3011" fmla="*/ 9194055 w 12187339"/>
                <a:gd name="connsiteY3011" fmla="*/ 5620723 h 6851196"/>
                <a:gd name="connsiteX3012" fmla="*/ 9424546 w 12187339"/>
                <a:gd name="connsiteY3012" fmla="*/ 5382598 h 6851196"/>
                <a:gd name="connsiteX3013" fmla="*/ 9648635 w 12187339"/>
                <a:gd name="connsiteY3013" fmla="*/ 5382598 h 6851196"/>
                <a:gd name="connsiteX3014" fmla="*/ 9648635 w 12187339"/>
                <a:gd name="connsiteY3014" fmla="*/ 5620723 h 6851196"/>
                <a:gd name="connsiteX3015" fmla="*/ 9424546 w 12187339"/>
                <a:gd name="connsiteY3015" fmla="*/ 5620723 h 6851196"/>
                <a:gd name="connsiteX3016" fmla="*/ 9655037 w 12187339"/>
                <a:gd name="connsiteY3016" fmla="*/ 5382598 h 6851196"/>
                <a:gd name="connsiteX3017" fmla="*/ 9877591 w 12187339"/>
                <a:gd name="connsiteY3017" fmla="*/ 5382598 h 6851196"/>
                <a:gd name="connsiteX3018" fmla="*/ 9877591 w 12187339"/>
                <a:gd name="connsiteY3018" fmla="*/ 5620723 h 6851196"/>
                <a:gd name="connsiteX3019" fmla="*/ 9655037 w 12187339"/>
                <a:gd name="connsiteY3019" fmla="*/ 5620723 h 6851196"/>
                <a:gd name="connsiteX3020" fmla="*/ 9883993 w 12187339"/>
                <a:gd name="connsiteY3020" fmla="*/ 5382598 h 6851196"/>
                <a:gd name="connsiteX3021" fmla="*/ 10108082 w 12187339"/>
                <a:gd name="connsiteY3021" fmla="*/ 5382598 h 6851196"/>
                <a:gd name="connsiteX3022" fmla="*/ 10108082 w 12187339"/>
                <a:gd name="connsiteY3022" fmla="*/ 5620723 h 6851196"/>
                <a:gd name="connsiteX3023" fmla="*/ 9883993 w 12187339"/>
                <a:gd name="connsiteY3023" fmla="*/ 5620723 h 6851196"/>
                <a:gd name="connsiteX3024" fmla="*/ 10114484 w 12187339"/>
                <a:gd name="connsiteY3024" fmla="*/ 5382598 h 6851196"/>
                <a:gd name="connsiteX3025" fmla="*/ 10338573 w 12187339"/>
                <a:gd name="connsiteY3025" fmla="*/ 5382598 h 6851196"/>
                <a:gd name="connsiteX3026" fmla="*/ 10338573 w 12187339"/>
                <a:gd name="connsiteY3026" fmla="*/ 5620723 h 6851196"/>
                <a:gd name="connsiteX3027" fmla="*/ 10114484 w 12187339"/>
                <a:gd name="connsiteY3027" fmla="*/ 5620723 h 6851196"/>
                <a:gd name="connsiteX3028" fmla="*/ 10344975 w 12187339"/>
                <a:gd name="connsiteY3028" fmla="*/ 5382598 h 6851196"/>
                <a:gd name="connsiteX3029" fmla="*/ 10569064 w 12187339"/>
                <a:gd name="connsiteY3029" fmla="*/ 5382598 h 6851196"/>
                <a:gd name="connsiteX3030" fmla="*/ 10569064 w 12187339"/>
                <a:gd name="connsiteY3030" fmla="*/ 5620723 h 6851196"/>
                <a:gd name="connsiteX3031" fmla="*/ 10344975 w 12187339"/>
                <a:gd name="connsiteY3031" fmla="*/ 5620723 h 6851196"/>
                <a:gd name="connsiteX3032" fmla="*/ 10575466 w 12187339"/>
                <a:gd name="connsiteY3032" fmla="*/ 5382598 h 6851196"/>
                <a:gd name="connsiteX3033" fmla="*/ 10798016 w 12187339"/>
                <a:gd name="connsiteY3033" fmla="*/ 5382598 h 6851196"/>
                <a:gd name="connsiteX3034" fmla="*/ 10798016 w 12187339"/>
                <a:gd name="connsiteY3034" fmla="*/ 5620723 h 6851196"/>
                <a:gd name="connsiteX3035" fmla="*/ 10575466 w 12187339"/>
                <a:gd name="connsiteY3035" fmla="*/ 5620723 h 6851196"/>
                <a:gd name="connsiteX3036" fmla="*/ 10804419 w 12187339"/>
                <a:gd name="connsiteY3036" fmla="*/ 5382598 h 6851196"/>
                <a:gd name="connsiteX3037" fmla="*/ 11028507 w 12187339"/>
                <a:gd name="connsiteY3037" fmla="*/ 5382598 h 6851196"/>
                <a:gd name="connsiteX3038" fmla="*/ 11028507 w 12187339"/>
                <a:gd name="connsiteY3038" fmla="*/ 5620723 h 6851196"/>
                <a:gd name="connsiteX3039" fmla="*/ 10804419 w 12187339"/>
                <a:gd name="connsiteY3039" fmla="*/ 5620723 h 6851196"/>
                <a:gd name="connsiteX3040" fmla="*/ 10804419 w 12187339"/>
                <a:gd name="connsiteY3040" fmla="*/ 5375795 h 6851196"/>
                <a:gd name="connsiteX3041" fmla="*/ 10804419 w 12187339"/>
                <a:gd name="connsiteY3041" fmla="*/ 5139302 h 6851196"/>
                <a:gd name="connsiteX3042" fmla="*/ 11028507 w 12187339"/>
                <a:gd name="connsiteY3042" fmla="*/ 5139302 h 6851196"/>
                <a:gd name="connsiteX3043" fmla="*/ 11028507 w 12187339"/>
                <a:gd name="connsiteY3043" fmla="*/ 5375795 h 6851196"/>
                <a:gd name="connsiteX3044" fmla="*/ 10804419 w 12187339"/>
                <a:gd name="connsiteY3044" fmla="*/ 5132499 h 6851196"/>
                <a:gd name="connsiteX3045" fmla="*/ 10804419 w 12187339"/>
                <a:gd name="connsiteY3045" fmla="*/ 4894374 h 6851196"/>
                <a:gd name="connsiteX3046" fmla="*/ 11028507 w 12187339"/>
                <a:gd name="connsiteY3046" fmla="*/ 4894374 h 6851196"/>
                <a:gd name="connsiteX3047" fmla="*/ 11028507 w 12187339"/>
                <a:gd name="connsiteY3047" fmla="*/ 5132090 h 6851196"/>
                <a:gd name="connsiteX3048" fmla="*/ 10804419 w 12187339"/>
                <a:gd name="connsiteY3048" fmla="*/ 4887570 h 6851196"/>
                <a:gd name="connsiteX3049" fmla="*/ 10804419 w 12187339"/>
                <a:gd name="connsiteY3049" fmla="*/ 4649445 h 6851196"/>
                <a:gd name="connsiteX3050" fmla="*/ 11028507 w 12187339"/>
                <a:gd name="connsiteY3050" fmla="*/ 4649445 h 6851196"/>
                <a:gd name="connsiteX3051" fmla="*/ 11028507 w 12187339"/>
                <a:gd name="connsiteY3051" fmla="*/ 4887162 h 6851196"/>
                <a:gd name="connsiteX3052" fmla="*/ 10804419 w 12187339"/>
                <a:gd name="connsiteY3052" fmla="*/ 4642642 h 6851196"/>
                <a:gd name="connsiteX3053" fmla="*/ 10804419 w 12187339"/>
                <a:gd name="connsiteY3053" fmla="*/ 4406149 h 6851196"/>
                <a:gd name="connsiteX3054" fmla="*/ 11028507 w 12187339"/>
                <a:gd name="connsiteY3054" fmla="*/ 4406149 h 6851196"/>
                <a:gd name="connsiteX3055" fmla="*/ 11028507 w 12187339"/>
                <a:gd name="connsiteY3055" fmla="*/ 4642233 h 6851196"/>
                <a:gd name="connsiteX3056" fmla="*/ 10804419 w 12187339"/>
                <a:gd name="connsiteY3056" fmla="*/ 4399346 h 6851196"/>
                <a:gd name="connsiteX3057" fmla="*/ 10804419 w 12187339"/>
                <a:gd name="connsiteY3057" fmla="*/ 4161221 h 6851196"/>
                <a:gd name="connsiteX3058" fmla="*/ 11028507 w 12187339"/>
                <a:gd name="connsiteY3058" fmla="*/ 4161221 h 6851196"/>
                <a:gd name="connsiteX3059" fmla="*/ 11028507 w 12187339"/>
                <a:gd name="connsiteY3059" fmla="*/ 4399346 h 6851196"/>
                <a:gd name="connsiteX3060" fmla="*/ 10804419 w 12187339"/>
                <a:gd name="connsiteY3060" fmla="*/ 4154417 h 6851196"/>
                <a:gd name="connsiteX3061" fmla="*/ 10804419 w 12187339"/>
                <a:gd name="connsiteY3061" fmla="*/ 3916292 h 6851196"/>
                <a:gd name="connsiteX3062" fmla="*/ 11028507 w 12187339"/>
                <a:gd name="connsiteY3062" fmla="*/ 3916292 h 6851196"/>
                <a:gd name="connsiteX3063" fmla="*/ 11028507 w 12187339"/>
                <a:gd name="connsiteY3063" fmla="*/ 4154417 h 6851196"/>
                <a:gd name="connsiteX3064" fmla="*/ 10804419 w 12187339"/>
                <a:gd name="connsiteY3064" fmla="*/ 3909489 h 6851196"/>
                <a:gd name="connsiteX3065" fmla="*/ 10804419 w 12187339"/>
                <a:gd name="connsiteY3065" fmla="*/ 3671364 h 6851196"/>
                <a:gd name="connsiteX3066" fmla="*/ 11028507 w 12187339"/>
                <a:gd name="connsiteY3066" fmla="*/ 3671364 h 6851196"/>
                <a:gd name="connsiteX3067" fmla="*/ 11028507 w 12187339"/>
                <a:gd name="connsiteY3067" fmla="*/ 3909489 h 6851196"/>
                <a:gd name="connsiteX3068" fmla="*/ 10804419 w 12187339"/>
                <a:gd name="connsiteY3068" fmla="*/ 3664560 h 6851196"/>
                <a:gd name="connsiteX3069" fmla="*/ 10804419 w 12187339"/>
                <a:gd name="connsiteY3069" fmla="*/ 3428068 h 6851196"/>
                <a:gd name="connsiteX3070" fmla="*/ 11028507 w 12187339"/>
                <a:gd name="connsiteY3070" fmla="*/ 3428068 h 6851196"/>
                <a:gd name="connsiteX3071" fmla="*/ 11028507 w 12187339"/>
                <a:gd name="connsiteY3071" fmla="*/ 3664560 h 6851196"/>
                <a:gd name="connsiteX3072" fmla="*/ 10804419 w 12187339"/>
                <a:gd name="connsiteY3072" fmla="*/ 3421264 h 6851196"/>
                <a:gd name="connsiteX3073" fmla="*/ 10804419 w 12187339"/>
                <a:gd name="connsiteY3073" fmla="*/ 3183139 h 6851196"/>
                <a:gd name="connsiteX3074" fmla="*/ 11028507 w 12187339"/>
                <a:gd name="connsiteY3074" fmla="*/ 3183139 h 6851196"/>
                <a:gd name="connsiteX3075" fmla="*/ 11028507 w 12187339"/>
                <a:gd name="connsiteY3075" fmla="*/ 3421264 h 6851196"/>
                <a:gd name="connsiteX3076" fmla="*/ 10804419 w 12187339"/>
                <a:gd name="connsiteY3076" fmla="*/ 3176336 h 6851196"/>
                <a:gd name="connsiteX3077" fmla="*/ 10804419 w 12187339"/>
                <a:gd name="connsiteY3077" fmla="*/ 2938211 h 6851196"/>
                <a:gd name="connsiteX3078" fmla="*/ 11028507 w 12187339"/>
                <a:gd name="connsiteY3078" fmla="*/ 2938211 h 6851196"/>
                <a:gd name="connsiteX3079" fmla="*/ 11028507 w 12187339"/>
                <a:gd name="connsiteY3079" fmla="*/ 3176336 h 6851196"/>
                <a:gd name="connsiteX3080" fmla="*/ 10804419 w 12187339"/>
                <a:gd name="connsiteY3080" fmla="*/ 2931407 h 6851196"/>
                <a:gd name="connsiteX3081" fmla="*/ 10804419 w 12187339"/>
                <a:gd name="connsiteY3081" fmla="*/ 2693282 h 6851196"/>
                <a:gd name="connsiteX3082" fmla="*/ 11028507 w 12187339"/>
                <a:gd name="connsiteY3082" fmla="*/ 2693282 h 6851196"/>
                <a:gd name="connsiteX3083" fmla="*/ 11028507 w 12187339"/>
                <a:gd name="connsiteY3083" fmla="*/ 2931407 h 6851196"/>
                <a:gd name="connsiteX3084" fmla="*/ 10804419 w 12187339"/>
                <a:gd name="connsiteY3084" fmla="*/ 2686479 h 6851196"/>
                <a:gd name="connsiteX3085" fmla="*/ 10804419 w 12187339"/>
                <a:gd name="connsiteY3085" fmla="*/ 2449986 h 6851196"/>
                <a:gd name="connsiteX3086" fmla="*/ 11028507 w 12187339"/>
                <a:gd name="connsiteY3086" fmla="*/ 2449986 h 6851196"/>
                <a:gd name="connsiteX3087" fmla="*/ 11028507 w 12187339"/>
                <a:gd name="connsiteY3087" fmla="*/ 2686479 h 6851196"/>
                <a:gd name="connsiteX3088" fmla="*/ 10804419 w 12187339"/>
                <a:gd name="connsiteY3088" fmla="*/ 2443183 h 6851196"/>
                <a:gd name="connsiteX3089" fmla="*/ 10804419 w 12187339"/>
                <a:gd name="connsiteY3089" fmla="*/ 2205058 h 6851196"/>
                <a:gd name="connsiteX3090" fmla="*/ 11028507 w 12187339"/>
                <a:gd name="connsiteY3090" fmla="*/ 2205058 h 6851196"/>
                <a:gd name="connsiteX3091" fmla="*/ 11028507 w 12187339"/>
                <a:gd name="connsiteY3091" fmla="*/ 2443183 h 6851196"/>
                <a:gd name="connsiteX3092" fmla="*/ 10804419 w 12187339"/>
                <a:gd name="connsiteY3092" fmla="*/ 2198254 h 6851196"/>
                <a:gd name="connsiteX3093" fmla="*/ 10804419 w 12187339"/>
                <a:gd name="connsiteY3093" fmla="*/ 1960129 h 6851196"/>
                <a:gd name="connsiteX3094" fmla="*/ 11028507 w 12187339"/>
                <a:gd name="connsiteY3094" fmla="*/ 1960129 h 6851196"/>
                <a:gd name="connsiteX3095" fmla="*/ 11028507 w 12187339"/>
                <a:gd name="connsiteY3095" fmla="*/ 2198254 h 6851196"/>
                <a:gd name="connsiteX3096" fmla="*/ 10804419 w 12187339"/>
                <a:gd name="connsiteY3096" fmla="*/ 1953326 h 6851196"/>
                <a:gd name="connsiteX3097" fmla="*/ 10804419 w 12187339"/>
                <a:gd name="connsiteY3097" fmla="*/ 1716697 h 6851196"/>
                <a:gd name="connsiteX3098" fmla="*/ 11028507 w 12187339"/>
                <a:gd name="connsiteY3098" fmla="*/ 1716697 h 6851196"/>
                <a:gd name="connsiteX3099" fmla="*/ 11028507 w 12187339"/>
                <a:gd name="connsiteY3099" fmla="*/ 1953189 h 6851196"/>
                <a:gd name="connsiteX3100" fmla="*/ 10804419 w 12187339"/>
                <a:gd name="connsiteY3100" fmla="*/ 1710030 h 6851196"/>
                <a:gd name="connsiteX3101" fmla="*/ 10804419 w 12187339"/>
                <a:gd name="connsiteY3101" fmla="*/ 1471769 h 6851196"/>
                <a:gd name="connsiteX3102" fmla="*/ 11028507 w 12187339"/>
                <a:gd name="connsiteY3102" fmla="*/ 1471769 h 6851196"/>
                <a:gd name="connsiteX3103" fmla="*/ 11028507 w 12187339"/>
                <a:gd name="connsiteY3103" fmla="*/ 1709894 h 6851196"/>
                <a:gd name="connsiteX3104" fmla="*/ 10804419 w 12187339"/>
                <a:gd name="connsiteY3104" fmla="*/ 1465101 h 6851196"/>
                <a:gd name="connsiteX3105" fmla="*/ 10804419 w 12187339"/>
                <a:gd name="connsiteY3105" fmla="*/ 1226840 h 6851196"/>
                <a:gd name="connsiteX3106" fmla="*/ 11028507 w 12187339"/>
                <a:gd name="connsiteY3106" fmla="*/ 1226840 h 6851196"/>
                <a:gd name="connsiteX3107" fmla="*/ 11028507 w 12187339"/>
                <a:gd name="connsiteY3107" fmla="*/ 1464965 h 6851196"/>
                <a:gd name="connsiteX3108" fmla="*/ 10804419 w 12187339"/>
                <a:gd name="connsiteY3108" fmla="*/ 1220173 h 6851196"/>
                <a:gd name="connsiteX3109" fmla="*/ 10804419 w 12187339"/>
                <a:gd name="connsiteY3109" fmla="*/ 981911 h 6851196"/>
                <a:gd name="connsiteX3110" fmla="*/ 11028507 w 12187339"/>
                <a:gd name="connsiteY3110" fmla="*/ 981911 h 6851196"/>
                <a:gd name="connsiteX3111" fmla="*/ 11028507 w 12187339"/>
                <a:gd name="connsiteY3111" fmla="*/ 1220036 h 6851196"/>
                <a:gd name="connsiteX3112" fmla="*/ 10798016 w 12187339"/>
                <a:gd name="connsiteY3112" fmla="*/ 1220173 h 6851196"/>
                <a:gd name="connsiteX3113" fmla="*/ 10575466 w 12187339"/>
                <a:gd name="connsiteY3113" fmla="*/ 1220173 h 6851196"/>
                <a:gd name="connsiteX3114" fmla="*/ 10575466 w 12187339"/>
                <a:gd name="connsiteY3114" fmla="*/ 981911 h 6851196"/>
                <a:gd name="connsiteX3115" fmla="*/ 10798016 w 12187339"/>
                <a:gd name="connsiteY3115" fmla="*/ 981911 h 6851196"/>
                <a:gd name="connsiteX3116" fmla="*/ 10569064 w 12187339"/>
                <a:gd name="connsiteY3116" fmla="*/ 1220173 h 6851196"/>
                <a:gd name="connsiteX3117" fmla="*/ 10344975 w 12187339"/>
                <a:gd name="connsiteY3117" fmla="*/ 1220173 h 6851196"/>
                <a:gd name="connsiteX3118" fmla="*/ 10344975 w 12187339"/>
                <a:gd name="connsiteY3118" fmla="*/ 981911 h 6851196"/>
                <a:gd name="connsiteX3119" fmla="*/ 10569064 w 12187339"/>
                <a:gd name="connsiteY3119" fmla="*/ 981911 h 6851196"/>
                <a:gd name="connsiteX3120" fmla="*/ 10338573 w 12187339"/>
                <a:gd name="connsiteY3120" fmla="*/ 1220173 h 6851196"/>
                <a:gd name="connsiteX3121" fmla="*/ 10114484 w 12187339"/>
                <a:gd name="connsiteY3121" fmla="*/ 1220173 h 6851196"/>
                <a:gd name="connsiteX3122" fmla="*/ 10114484 w 12187339"/>
                <a:gd name="connsiteY3122" fmla="*/ 981911 h 6851196"/>
                <a:gd name="connsiteX3123" fmla="*/ 10338573 w 12187339"/>
                <a:gd name="connsiteY3123" fmla="*/ 981911 h 6851196"/>
                <a:gd name="connsiteX3124" fmla="*/ 10108082 w 12187339"/>
                <a:gd name="connsiteY3124" fmla="*/ 1220173 h 6851196"/>
                <a:gd name="connsiteX3125" fmla="*/ 9883993 w 12187339"/>
                <a:gd name="connsiteY3125" fmla="*/ 1220173 h 6851196"/>
                <a:gd name="connsiteX3126" fmla="*/ 9883993 w 12187339"/>
                <a:gd name="connsiteY3126" fmla="*/ 981911 h 6851196"/>
                <a:gd name="connsiteX3127" fmla="*/ 10108082 w 12187339"/>
                <a:gd name="connsiteY3127" fmla="*/ 981911 h 6851196"/>
                <a:gd name="connsiteX3128" fmla="*/ 9877591 w 12187339"/>
                <a:gd name="connsiteY3128" fmla="*/ 1220173 h 6851196"/>
                <a:gd name="connsiteX3129" fmla="*/ 9655037 w 12187339"/>
                <a:gd name="connsiteY3129" fmla="*/ 1220173 h 6851196"/>
                <a:gd name="connsiteX3130" fmla="*/ 9655037 w 12187339"/>
                <a:gd name="connsiteY3130" fmla="*/ 981911 h 6851196"/>
                <a:gd name="connsiteX3131" fmla="*/ 9877591 w 12187339"/>
                <a:gd name="connsiteY3131" fmla="*/ 981911 h 6851196"/>
                <a:gd name="connsiteX3132" fmla="*/ 9648635 w 12187339"/>
                <a:gd name="connsiteY3132" fmla="*/ 1220173 h 6851196"/>
                <a:gd name="connsiteX3133" fmla="*/ 9424546 w 12187339"/>
                <a:gd name="connsiteY3133" fmla="*/ 1220173 h 6851196"/>
                <a:gd name="connsiteX3134" fmla="*/ 9424546 w 12187339"/>
                <a:gd name="connsiteY3134" fmla="*/ 981911 h 6851196"/>
                <a:gd name="connsiteX3135" fmla="*/ 9648635 w 12187339"/>
                <a:gd name="connsiteY3135" fmla="*/ 981911 h 6851196"/>
                <a:gd name="connsiteX3136" fmla="*/ 9418144 w 12187339"/>
                <a:gd name="connsiteY3136" fmla="*/ 1220173 h 6851196"/>
                <a:gd name="connsiteX3137" fmla="*/ 9194055 w 12187339"/>
                <a:gd name="connsiteY3137" fmla="*/ 1220173 h 6851196"/>
                <a:gd name="connsiteX3138" fmla="*/ 9194055 w 12187339"/>
                <a:gd name="connsiteY3138" fmla="*/ 981911 h 6851196"/>
                <a:gd name="connsiteX3139" fmla="*/ 9418144 w 12187339"/>
                <a:gd name="connsiteY3139" fmla="*/ 981911 h 6851196"/>
                <a:gd name="connsiteX3140" fmla="*/ 9187653 w 12187339"/>
                <a:gd name="connsiteY3140" fmla="*/ 1220173 h 6851196"/>
                <a:gd name="connsiteX3141" fmla="*/ 8963564 w 12187339"/>
                <a:gd name="connsiteY3141" fmla="*/ 1220173 h 6851196"/>
                <a:gd name="connsiteX3142" fmla="*/ 8963564 w 12187339"/>
                <a:gd name="connsiteY3142" fmla="*/ 981911 h 6851196"/>
                <a:gd name="connsiteX3143" fmla="*/ 9187653 w 12187339"/>
                <a:gd name="connsiteY3143" fmla="*/ 981911 h 6851196"/>
                <a:gd name="connsiteX3144" fmla="*/ 8957162 w 12187339"/>
                <a:gd name="connsiteY3144" fmla="*/ 1220173 h 6851196"/>
                <a:gd name="connsiteX3145" fmla="*/ 8734611 w 12187339"/>
                <a:gd name="connsiteY3145" fmla="*/ 1220173 h 6851196"/>
                <a:gd name="connsiteX3146" fmla="*/ 8734611 w 12187339"/>
                <a:gd name="connsiteY3146" fmla="*/ 981911 h 6851196"/>
                <a:gd name="connsiteX3147" fmla="*/ 8957162 w 12187339"/>
                <a:gd name="connsiteY3147" fmla="*/ 981911 h 6851196"/>
                <a:gd name="connsiteX3148" fmla="*/ 8728209 w 12187339"/>
                <a:gd name="connsiteY3148" fmla="*/ 1220173 h 6851196"/>
                <a:gd name="connsiteX3149" fmla="*/ 8504120 w 12187339"/>
                <a:gd name="connsiteY3149" fmla="*/ 1220173 h 6851196"/>
                <a:gd name="connsiteX3150" fmla="*/ 8504120 w 12187339"/>
                <a:gd name="connsiteY3150" fmla="*/ 981911 h 6851196"/>
                <a:gd name="connsiteX3151" fmla="*/ 8728209 w 12187339"/>
                <a:gd name="connsiteY3151" fmla="*/ 981911 h 6851196"/>
                <a:gd name="connsiteX3152" fmla="*/ 8497718 w 12187339"/>
                <a:gd name="connsiteY3152" fmla="*/ 1220173 h 6851196"/>
                <a:gd name="connsiteX3153" fmla="*/ 8273629 w 12187339"/>
                <a:gd name="connsiteY3153" fmla="*/ 1220173 h 6851196"/>
                <a:gd name="connsiteX3154" fmla="*/ 8273629 w 12187339"/>
                <a:gd name="connsiteY3154" fmla="*/ 981911 h 6851196"/>
                <a:gd name="connsiteX3155" fmla="*/ 8497718 w 12187339"/>
                <a:gd name="connsiteY3155" fmla="*/ 981911 h 6851196"/>
                <a:gd name="connsiteX3156" fmla="*/ 8267227 w 12187339"/>
                <a:gd name="connsiteY3156" fmla="*/ 1220173 h 6851196"/>
                <a:gd name="connsiteX3157" fmla="*/ 8044420 w 12187339"/>
                <a:gd name="connsiteY3157" fmla="*/ 1220173 h 6851196"/>
                <a:gd name="connsiteX3158" fmla="*/ 8044420 w 12187339"/>
                <a:gd name="connsiteY3158" fmla="*/ 981911 h 6851196"/>
                <a:gd name="connsiteX3159" fmla="*/ 8267227 w 12187339"/>
                <a:gd name="connsiteY3159" fmla="*/ 981911 h 6851196"/>
                <a:gd name="connsiteX3160" fmla="*/ 8038274 w 12187339"/>
                <a:gd name="connsiteY3160" fmla="*/ 1220173 h 6851196"/>
                <a:gd name="connsiteX3161" fmla="*/ 7814186 w 12187339"/>
                <a:gd name="connsiteY3161" fmla="*/ 1220173 h 6851196"/>
                <a:gd name="connsiteX3162" fmla="*/ 7814186 w 12187339"/>
                <a:gd name="connsiteY3162" fmla="*/ 981911 h 6851196"/>
                <a:gd name="connsiteX3163" fmla="*/ 8038274 w 12187339"/>
                <a:gd name="connsiteY3163" fmla="*/ 981911 h 6851196"/>
                <a:gd name="connsiteX3164" fmla="*/ 7807783 w 12187339"/>
                <a:gd name="connsiteY3164" fmla="*/ 1220173 h 6851196"/>
                <a:gd name="connsiteX3165" fmla="*/ 7583695 w 12187339"/>
                <a:gd name="connsiteY3165" fmla="*/ 1220173 h 6851196"/>
                <a:gd name="connsiteX3166" fmla="*/ 7583695 w 12187339"/>
                <a:gd name="connsiteY3166" fmla="*/ 981911 h 6851196"/>
                <a:gd name="connsiteX3167" fmla="*/ 7807783 w 12187339"/>
                <a:gd name="connsiteY3167" fmla="*/ 981911 h 6851196"/>
                <a:gd name="connsiteX3168" fmla="*/ 7577292 w 12187339"/>
                <a:gd name="connsiteY3168" fmla="*/ 1220173 h 6851196"/>
                <a:gd name="connsiteX3169" fmla="*/ 7353204 w 12187339"/>
                <a:gd name="connsiteY3169" fmla="*/ 1220173 h 6851196"/>
                <a:gd name="connsiteX3170" fmla="*/ 7353204 w 12187339"/>
                <a:gd name="connsiteY3170" fmla="*/ 981911 h 6851196"/>
                <a:gd name="connsiteX3171" fmla="*/ 7577292 w 12187339"/>
                <a:gd name="connsiteY3171" fmla="*/ 981911 h 6851196"/>
                <a:gd name="connsiteX3172" fmla="*/ 7346801 w 12187339"/>
                <a:gd name="connsiteY3172" fmla="*/ 1220173 h 6851196"/>
                <a:gd name="connsiteX3173" fmla="*/ 7124247 w 12187339"/>
                <a:gd name="connsiteY3173" fmla="*/ 1220173 h 6851196"/>
                <a:gd name="connsiteX3174" fmla="*/ 7124247 w 12187339"/>
                <a:gd name="connsiteY3174" fmla="*/ 981911 h 6851196"/>
                <a:gd name="connsiteX3175" fmla="*/ 7346801 w 12187339"/>
                <a:gd name="connsiteY3175" fmla="*/ 981911 h 6851196"/>
                <a:gd name="connsiteX3176" fmla="*/ 7117845 w 12187339"/>
                <a:gd name="connsiteY3176" fmla="*/ 1220173 h 6851196"/>
                <a:gd name="connsiteX3177" fmla="*/ 6893756 w 12187339"/>
                <a:gd name="connsiteY3177" fmla="*/ 1220173 h 6851196"/>
                <a:gd name="connsiteX3178" fmla="*/ 6893756 w 12187339"/>
                <a:gd name="connsiteY3178" fmla="*/ 981911 h 6851196"/>
                <a:gd name="connsiteX3179" fmla="*/ 7117845 w 12187339"/>
                <a:gd name="connsiteY3179" fmla="*/ 981911 h 6851196"/>
                <a:gd name="connsiteX3180" fmla="*/ 6887354 w 12187339"/>
                <a:gd name="connsiteY3180" fmla="*/ 1220173 h 6851196"/>
                <a:gd name="connsiteX3181" fmla="*/ 6663265 w 12187339"/>
                <a:gd name="connsiteY3181" fmla="*/ 1220173 h 6851196"/>
                <a:gd name="connsiteX3182" fmla="*/ 6663265 w 12187339"/>
                <a:gd name="connsiteY3182" fmla="*/ 981911 h 6851196"/>
                <a:gd name="connsiteX3183" fmla="*/ 6887354 w 12187339"/>
                <a:gd name="connsiteY3183" fmla="*/ 981911 h 6851196"/>
                <a:gd name="connsiteX3184" fmla="*/ 6656863 w 12187339"/>
                <a:gd name="connsiteY3184" fmla="*/ 1220173 h 6851196"/>
                <a:gd name="connsiteX3185" fmla="*/ 6446349 w 12187339"/>
                <a:gd name="connsiteY3185" fmla="*/ 1220173 h 6851196"/>
                <a:gd name="connsiteX3186" fmla="*/ 6446349 w 12187339"/>
                <a:gd name="connsiteY3186" fmla="*/ 981911 h 6851196"/>
                <a:gd name="connsiteX3187" fmla="*/ 6656863 w 12187339"/>
                <a:gd name="connsiteY3187" fmla="*/ 981911 h 6851196"/>
                <a:gd name="connsiteX3188" fmla="*/ 6439946 w 12187339"/>
                <a:gd name="connsiteY3188" fmla="*/ 1220173 h 6851196"/>
                <a:gd name="connsiteX3189" fmla="*/ 6217136 w 12187339"/>
                <a:gd name="connsiteY3189" fmla="*/ 1220173 h 6851196"/>
                <a:gd name="connsiteX3190" fmla="*/ 6217136 w 12187339"/>
                <a:gd name="connsiteY3190" fmla="*/ 981911 h 6851196"/>
                <a:gd name="connsiteX3191" fmla="*/ 6439690 w 12187339"/>
                <a:gd name="connsiteY3191" fmla="*/ 981911 h 6851196"/>
                <a:gd name="connsiteX3192" fmla="*/ 6210990 w 12187339"/>
                <a:gd name="connsiteY3192" fmla="*/ 1220173 h 6851196"/>
                <a:gd name="connsiteX3193" fmla="*/ 5986902 w 12187339"/>
                <a:gd name="connsiteY3193" fmla="*/ 1220173 h 6851196"/>
                <a:gd name="connsiteX3194" fmla="*/ 5986902 w 12187339"/>
                <a:gd name="connsiteY3194" fmla="*/ 981911 h 6851196"/>
                <a:gd name="connsiteX3195" fmla="*/ 6210990 w 12187339"/>
                <a:gd name="connsiteY3195" fmla="*/ 981911 h 6851196"/>
                <a:gd name="connsiteX3196" fmla="*/ 5980499 w 12187339"/>
                <a:gd name="connsiteY3196" fmla="*/ 1220173 h 6851196"/>
                <a:gd name="connsiteX3197" fmla="*/ 5756411 w 12187339"/>
                <a:gd name="connsiteY3197" fmla="*/ 1220173 h 6851196"/>
                <a:gd name="connsiteX3198" fmla="*/ 5756411 w 12187339"/>
                <a:gd name="connsiteY3198" fmla="*/ 981911 h 6851196"/>
                <a:gd name="connsiteX3199" fmla="*/ 5980499 w 12187339"/>
                <a:gd name="connsiteY3199" fmla="*/ 981911 h 6851196"/>
                <a:gd name="connsiteX3200" fmla="*/ 5750008 w 12187339"/>
                <a:gd name="connsiteY3200" fmla="*/ 1220173 h 6851196"/>
                <a:gd name="connsiteX3201" fmla="*/ 5526945 w 12187339"/>
                <a:gd name="connsiteY3201" fmla="*/ 1220173 h 6851196"/>
                <a:gd name="connsiteX3202" fmla="*/ 5526945 w 12187339"/>
                <a:gd name="connsiteY3202" fmla="*/ 981911 h 6851196"/>
                <a:gd name="connsiteX3203" fmla="*/ 5749495 w 12187339"/>
                <a:gd name="connsiteY3203" fmla="*/ 981911 h 6851196"/>
                <a:gd name="connsiteX3204" fmla="*/ 5521055 w 12187339"/>
                <a:gd name="connsiteY3204" fmla="*/ 1220173 h 6851196"/>
                <a:gd name="connsiteX3205" fmla="*/ 5296454 w 12187339"/>
                <a:gd name="connsiteY3205" fmla="*/ 1220173 h 6851196"/>
                <a:gd name="connsiteX3206" fmla="*/ 5296454 w 12187339"/>
                <a:gd name="connsiteY3206" fmla="*/ 981911 h 6851196"/>
                <a:gd name="connsiteX3207" fmla="*/ 5520542 w 12187339"/>
                <a:gd name="connsiteY3207" fmla="*/ 981911 h 6851196"/>
                <a:gd name="connsiteX3208" fmla="*/ 5290564 w 12187339"/>
                <a:gd name="connsiteY3208" fmla="*/ 1220173 h 6851196"/>
                <a:gd name="connsiteX3209" fmla="*/ 5065963 w 12187339"/>
                <a:gd name="connsiteY3209" fmla="*/ 1220173 h 6851196"/>
                <a:gd name="connsiteX3210" fmla="*/ 5065963 w 12187339"/>
                <a:gd name="connsiteY3210" fmla="*/ 981911 h 6851196"/>
                <a:gd name="connsiteX3211" fmla="*/ 5290051 w 12187339"/>
                <a:gd name="connsiteY3211" fmla="*/ 981911 h 6851196"/>
                <a:gd name="connsiteX3212" fmla="*/ 5060073 w 12187339"/>
                <a:gd name="connsiteY3212" fmla="*/ 1220173 h 6851196"/>
                <a:gd name="connsiteX3213" fmla="*/ 4835472 w 12187339"/>
                <a:gd name="connsiteY3213" fmla="*/ 1220173 h 6851196"/>
                <a:gd name="connsiteX3214" fmla="*/ 4835472 w 12187339"/>
                <a:gd name="connsiteY3214" fmla="*/ 981911 h 6851196"/>
                <a:gd name="connsiteX3215" fmla="*/ 5059560 w 12187339"/>
                <a:gd name="connsiteY3215" fmla="*/ 981911 h 6851196"/>
                <a:gd name="connsiteX3216" fmla="*/ 4829582 w 12187339"/>
                <a:gd name="connsiteY3216" fmla="*/ 1220173 h 6851196"/>
                <a:gd name="connsiteX3217" fmla="*/ 4607029 w 12187339"/>
                <a:gd name="connsiteY3217" fmla="*/ 1220173 h 6851196"/>
                <a:gd name="connsiteX3218" fmla="*/ 4607029 w 12187339"/>
                <a:gd name="connsiteY3218" fmla="*/ 981911 h 6851196"/>
                <a:gd name="connsiteX3219" fmla="*/ 4829582 w 12187339"/>
                <a:gd name="connsiteY3219" fmla="*/ 981911 h 6851196"/>
                <a:gd name="connsiteX3220" fmla="*/ 4600626 w 12187339"/>
                <a:gd name="connsiteY3220" fmla="*/ 1220173 h 6851196"/>
                <a:gd name="connsiteX3221" fmla="*/ 4376538 w 12187339"/>
                <a:gd name="connsiteY3221" fmla="*/ 1220173 h 6851196"/>
                <a:gd name="connsiteX3222" fmla="*/ 4376538 w 12187339"/>
                <a:gd name="connsiteY3222" fmla="*/ 981911 h 6851196"/>
                <a:gd name="connsiteX3223" fmla="*/ 4600626 w 12187339"/>
                <a:gd name="connsiteY3223" fmla="*/ 981911 h 6851196"/>
                <a:gd name="connsiteX3224" fmla="*/ 4370135 w 12187339"/>
                <a:gd name="connsiteY3224" fmla="*/ 1220173 h 6851196"/>
                <a:gd name="connsiteX3225" fmla="*/ 4146047 w 12187339"/>
                <a:gd name="connsiteY3225" fmla="*/ 1220173 h 6851196"/>
                <a:gd name="connsiteX3226" fmla="*/ 4146047 w 12187339"/>
                <a:gd name="connsiteY3226" fmla="*/ 981911 h 6851196"/>
                <a:gd name="connsiteX3227" fmla="*/ 4370135 w 12187339"/>
                <a:gd name="connsiteY3227" fmla="*/ 981911 h 6851196"/>
                <a:gd name="connsiteX3228" fmla="*/ 4139644 w 12187339"/>
                <a:gd name="connsiteY3228" fmla="*/ 1220173 h 6851196"/>
                <a:gd name="connsiteX3229" fmla="*/ 3917094 w 12187339"/>
                <a:gd name="connsiteY3229" fmla="*/ 1220173 h 6851196"/>
                <a:gd name="connsiteX3230" fmla="*/ 3917094 w 12187339"/>
                <a:gd name="connsiteY3230" fmla="*/ 981911 h 6851196"/>
                <a:gd name="connsiteX3231" fmla="*/ 4139644 w 12187339"/>
                <a:gd name="connsiteY3231" fmla="*/ 981911 h 6851196"/>
                <a:gd name="connsiteX3232" fmla="*/ 3910691 w 12187339"/>
                <a:gd name="connsiteY3232" fmla="*/ 1220173 h 6851196"/>
                <a:gd name="connsiteX3233" fmla="*/ 3686603 w 12187339"/>
                <a:gd name="connsiteY3233" fmla="*/ 1220173 h 6851196"/>
                <a:gd name="connsiteX3234" fmla="*/ 3686603 w 12187339"/>
                <a:gd name="connsiteY3234" fmla="*/ 981911 h 6851196"/>
                <a:gd name="connsiteX3235" fmla="*/ 3910691 w 12187339"/>
                <a:gd name="connsiteY3235" fmla="*/ 981911 h 6851196"/>
                <a:gd name="connsiteX3236" fmla="*/ 3680200 w 12187339"/>
                <a:gd name="connsiteY3236" fmla="*/ 1220173 h 6851196"/>
                <a:gd name="connsiteX3237" fmla="*/ 3456112 w 12187339"/>
                <a:gd name="connsiteY3237" fmla="*/ 1220173 h 6851196"/>
                <a:gd name="connsiteX3238" fmla="*/ 3456112 w 12187339"/>
                <a:gd name="connsiteY3238" fmla="*/ 981911 h 6851196"/>
                <a:gd name="connsiteX3239" fmla="*/ 3680200 w 12187339"/>
                <a:gd name="connsiteY3239" fmla="*/ 981911 h 6851196"/>
                <a:gd name="connsiteX3240" fmla="*/ 3449709 w 12187339"/>
                <a:gd name="connsiteY3240" fmla="*/ 1220173 h 6851196"/>
                <a:gd name="connsiteX3241" fmla="*/ 3225621 w 12187339"/>
                <a:gd name="connsiteY3241" fmla="*/ 1220173 h 6851196"/>
                <a:gd name="connsiteX3242" fmla="*/ 3225621 w 12187339"/>
                <a:gd name="connsiteY3242" fmla="*/ 981911 h 6851196"/>
                <a:gd name="connsiteX3243" fmla="*/ 3449709 w 12187339"/>
                <a:gd name="connsiteY3243" fmla="*/ 981911 h 6851196"/>
                <a:gd name="connsiteX3244" fmla="*/ 3219218 w 12187339"/>
                <a:gd name="connsiteY3244" fmla="*/ 1220173 h 6851196"/>
                <a:gd name="connsiteX3245" fmla="*/ 2996666 w 12187339"/>
                <a:gd name="connsiteY3245" fmla="*/ 1220173 h 6851196"/>
                <a:gd name="connsiteX3246" fmla="*/ 2996666 w 12187339"/>
                <a:gd name="connsiteY3246" fmla="*/ 981911 h 6851196"/>
                <a:gd name="connsiteX3247" fmla="*/ 3219218 w 12187339"/>
                <a:gd name="connsiteY3247" fmla="*/ 981911 h 6851196"/>
                <a:gd name="connsiteX3248" fmla="*/ 2990264 w 12187339"/>
                <a:gd name="connsiteY3248" fmla="*/ 1220173 h 6851196"/>
                <a:gd name="connsiteX3249" fmla="*/ 2766175 w 12187339"/>
                <a:gd name="connsiteY3249" fmla="*/ 1220173 h 6851196"/>
                <a:gd name="connsiteX3250" fmla="*/ 2766175 w 12187339"/>
                <a:gd name="connsiteY3250" fmla="*/ 981911 h 6851196"/>
                <a:gd name="connsiteX3251" fmla="*/ 2990264 w 12187339"/>
                <a:gd name="connsiteY3251" fmla="*/ 981911 h 6851196"/>
                <a:gd name="connsiteX3252" fmla="*/ 2759773 w 12187339"/>
                <a:gd name="connsiteY3252" fmla="*/ 1220173 h 6851196"/>
                <a:gd name="connsiteX3253" fmla="*/ 2535684 w 12187339"/>
                <a:gd name="connsiteY3253" fmla="*/ 1220173 h 6851196"/>
                <a:gd name="connsiteX3254" fmla="*/ 2535684 w 12187339"/>
                <a:gd name="connsiteY3254" fmla="*/ 981911 h 6851196"/>
                <a:gd name="connsiteX3255" fmla="*/ 2759773 w 12187339"/>
                <a:gd name="connsiteY3255" fmla="*/ 981911 h 6851196"/>
                <a:gd name="connsiteX3256" fmla="*/ 2529282 w 12187339"/>
                <a:gd name="connsiteY3256" fmla="*/ 1220173 h 6851196"/>
                <a:gd name="connsiteX3257" fmla="*/ 2305193 w 12187339"/>
                <a:gd name="connsiteY3257" fmla="*/ 1220173 h 6851196"/>
                <a:gd name="connsiteX3258" fmla="*/ 2305193 w 12187339"/>
                <a:gd name="connsiteY3258" fmla="*/ 981911 h 6851196"/>
                <a:gd name="connsiteX3259" fmla="*/ 2529282 w 12187339"/>
                <a:gd name="connsiteY3259" fmla="*/ 981911 h 6851196"/>
                <a:gd name="connsiteX3260" fmla="*/ 2298791 w 12187339"/>
                <a:gd name="connsiteY3260" fmla="*/ 1220173 h 6851196"/>
                <a:gd name="connsiteX3261" fmla="*/ 2075982 w 12187339"/>
                <a:gd name="connsiteY3261" fmla="*/ 1220173 h 6851196"/>
                <a:gd name="connsiteX3262" fmla="*/ 2075982 w 12187339"/>
                <a:gd name="connsiteY3262" fmla="*/ 981911 h 6851196"/>
                <a:gd name="connsiteX3263" fmla="*/ 2298534 w 12187339"/>
                <a:gd name="connsiteY3263" fmla="*/ 981911 h 6851196"/>
                <a:gd name="connsiteX3264" fmla="*/ 2069836 w 12187339"/>
                <a:gd name="connsiteY3264" fmla="*/ 1220173 h 6851196"/>
                <a:gd name="connsiteX3265" fmla="*/ 1845748 w 12187339"/>
                <a:gd name="connsiteY3265" fmla="*/ 1220173 h 6851196"/>
                <a:gd name="connsiteX3266" fmla="*/ 1845748 w 12187339"/>
                <a:gd name="connsiteY3266" fmla="*/ 981911 h 6851196"/>
                <a:gd name="connsiteX3267" fmla="*/ 2069580 w 12187339"/>
                <a:gd name="connsiteY3267" fmla="*/ 981911 h 6851196"/>
                <a:gd name="connsiteX3268" fmla="*/ 1839345 w 12187339"/>
                <a:gd name="connsiteY3268" fmla="*/ 1220173 h 6851196"/>
                <a:gd name="connsiteX3269" fmla="*/ 1615257 w 12187339"/>
                <a:gd name="connsiteY3269" fmla="*/ 1220173 h 6851196"/>
                <a:gd name="connsiteX3270" fmla="*/ 1615257 w 12187339"/>
                <a:gd name="connsiteY3270" fmla="*/ 981911 h 6851196"/>
                <a:gd name="connsiteX3271" fmla="*/ 1839089 w 12187339"/>
                <a:gd name="connsiteY3271" fmla="*/ 981911 h 6851196"/>
                <a:gd name="connsiteX3272" fmla="*/ 1608854 w 12187339"/>
                <a:gd name="connsiteY3272" fmla="*/ 1220173 h 6851196"/>
                <a:gd name="connsiteX3273" fmla="*/ 1386302 w 12187339"/>
                <a:gd name="connsiteY3273" fmla="*/ 1220173 h 6851196"/>
                <a:gd name="connsiteX3274" fmla="*/ 1386302 w 12187339"/>
                <a:gd name="connsiteY3274" fmla="*/ 981911 h 6851196"/>
                <a:gd name="connsiteX3275" fmla="*/ 1608598 w 12187339"/>
                <a:gd name="connsiteY3275" fmla="*/ 981911 h 6851196"/>
                <a:gd name="connsiteX3276" fmla="*/ 1379900 w 12187339"/>
                <a:gd name="connsiteY3276" fmla="*/ 1220173 h 6851196"/>
                <a:gd name="connsiteX3277" fmla="*/ 1155811 w 12187339"/>
                <a:gd name="connsiteY3277" fmla="*/ 1220173 h 6851196"/>
                <a:gd name="connsiteX3278" fmla="*/ 1155811 w 12187339"/>
                <a:gd name="connsiteY3278" fmla="*/ 981911 h 6851196"/>
                <a:gd name="connsiteX3279" fmla="*/ 1379900 w 12187339"/>
                <a:gd name="connsiteY3279" fmla="*/ 981911 h 6851196"/>
                <a:gd name="connsiteX3280" fmla="*/ 1149409 w 12187339"/>
                <a:gd name="connsiteY3280" fmla="*/ 1220173 h 6851196"/>
                <a:gd name="connsiteX3281" fmla="*/ 925320 w 12187339"/>
                <a:gd name="connsiteY3281" fmla="*/ 1220173 h 6851196"/>
                <a:gd name="connsiteX3282" fmla="*/ 925320 w 12187339"/>
                <a:gd name="connsiteY3282" fmla="*/ 981911 h 6851196"/>
                <a:gd name="connsiteX3283" fmla="*/ 1149409 w 12187339"/>
                <a:gd name="connsiteY3283" fmla="*/ 981911 h 6851196"/>
                <a:gd name="connsiteX3284" fmla="*/ 1149409 w 12187339"/>
                <a:gd name="connsiteY3284" fmla="*/ 1226976 h 6851196"/>
                <a:gd name="connsiteX3285" fmla="*/ 1149409 w 12187339"/>
                <a:gd name="connsiteY3285" fmla="*/ 1465101 h 6851196"/>
                <a:gd name="connsiteX3286" fmla="*/ 925320 w 12187339"/>
                <a:gd name="connsiteY3286" fmla="*/ 1465101 h 6851196"/>
                <a:gd name="connsiteX3287" fmla="*/ 925320 w 12187339"/>
                <a:gd name="connsiteY3287" fmla="*/ 1226840 h 6851196"/>
                <a:gd name="connsiteX3288" fmla="*/ 1149409 w 12187339"/>
                <a:gd name="connsiteY3288" fmla="*/ 1471905 h 6851196"/>
                <a:gd name="connsiteX3289" fmla="*/ 1149409 w 12187339"/>
                <a:gd name="connsiteY3289" fmla="*/ 1710030 h 6851196"/>
                <a:gd name="connsiteX3290" fmla="*/ 925320 w 12187339"/>
                <a:gd name="connsiteY3290" fmla="*/ 1710030 h 6851196"/>
                <a:gd name="connsiteX3291" fmla="*/ 925320 w 12187339"/>
                <a:gd name="connsiteY3291" fmla="*/ 1471769 h 6851196"/>
                <a:gd name="connsiteX3292" fmla="*/ 1149409 w 12187339"/>
                <a:gd name="connsiteY3292" fmla="*/ 1716833 h 6851196"/>
                <a:gd name="connsiteX3293" fmla="*/ 1149409 w 12187339"/>
                <a:gd name="connsiteY3293" fmla="*/ 1953326 h 6851196"/>
                <a:gd name="connsiteX3294" fmla="*/ 925320 w 12187339"/>
                <a:gd name="connsiteY3294" fmla="*/ 1953326 h 6851196"/>
                <a:gd name="connsiteX3295" fmla="*/ 925320 w 12187339"/>
                <a:gd name="connsiteY3295" fmla="*/ 1716697 h 6851196"/>
                <a:gd name="connsiteX3296" fmla="*/ 1149409 w 12187339"/>
                <a:gd name="connsiteY3296" fmla="*/ 1960129 h 6851196"/>
                <a:gd name="connsiteX3297" fmla="*/ 1149409 w 12187339"/>
                <a:gd name="connsiteY3297" fmla="*/ 2198254 h 6851196"/>
                <a:gd name="connsiteX3298" fmla="*/ 925320 w 12187339"/>
                <a:gd name="connsiteY3298" fmla="*/ 2198254 h 6851196"/>
                <a:gd name="connsiteX3299" fmla="*/ 925320 w 12187339"/>
                <a:gd name="connsiteY3299" fmla="*/ 1960129 h 6851196"/>
                <a:gd name="connsiteX3300" fmla="*/ 1149409 w 12187339"/>
                <a:gd name="connsiteY3300" fmla="*/ 2205058 h 6851196"/>
                <a:gd name="connsiteX3301" fmla="*/ 1149409 w 12187339"/>
                <a:gd name="connsiteY3301" fmla="*/ 2443183 h 6851196"/>
                <a:gd name="connsiteX3302" fmla="*/ 925320 w 12187339"/>
                <a:gd name="connsiteY3302" fmla="*/ 2443183 h 6851196"/>
                <a:gd name="connsiteX3303" fmla="*/ 925320 w 12187339"/>
                <a:gd name="connsiteY3303" fmla="*/ 2205058 h 6851196"/>
                <a:gd name="connsiteX3304" fmla="*/ 1149409 w 12187339"/>
                <a:gd name="connsiteY3304" fmla="*/ 2449986 h 6851196"/>
                <a:gd name="connsiteX3305" fmla="*/ 1149409 w 12187339"/>
                <a:gd name="connsiteY3305" fmla="*/ 2686479 h 6851196"/>
                <a:gd name="connsiteX3306" fmla="*/ 925320 w 12187339"/>
                <a:gd name="connsiteY3306" fmla="*/ 2686479 h 6851196"/>
                <a:gd name="connsiteX3307" fmla="*/ 925320 w 12187339"/>
                <a:gd name="connsiteY3307" fmla="*/ 2449986 h 6851196"/>
                <a:gd name="connsiteX3308" fmla="*/ 1149409 w 12187339"/>
                <a:gd name="connsiteY3308" fmla="*/ 2693282 h 6851196"/>
                <a:gd name="connsiteX3309" fmla="*/ 1149409 w 12187339"/>
                <a:gd name="connsiteY3309" fmla="*/ 2931407 h 6851196"/>
                <a:gd name="connsiteX3310" fmla="*/ 925320 w 12187339"/>
                <a:gd name="connsiteY3310" fmla="*/ 2931407 h 6851196"/>
                <a:gd name="connsiteX3311" fmla="*/ 925320 w 12187339"/>
                <a:gd name="connsiteY3311" fmla="*/ 2693282 h 6851196"/>
                <a:gd name="connsiteX3312" fmla="*/ 1149409 w 12187339"/>
                <a:gd name="connsiteY3312" fmla="*/ 2938211 h 6851196"/>
                <a:gd name="connsiteX3313" fmla="*/ 1149409 w 12187339"/>
                <a:gd name="connsiteY3313" fmla="*/ 3176336 h 6851196"/>
                <a:gd name="connsiteX3314" fmla="*/ 925320 w 12187339"/>
                <a:gd name="connsiteY3314" fmla="*/ 3176336 h 6851196"/>
                <a:gd name="connsiteX3315" fmla="*/ 925320 w 12187339"/>
                <a:gd name="connsiteY3315" fmla="*/ 2938211 h 6851196"/>
                <a:gd name="connsiteX3316" fmla="*/ 1149409 w 12187339"/>
                <a:gd name="connsiteY3316" fmla="*/ 3183139 h 6851196"/>
                <a:gd name="connsiteX3317" fmla="*/ 1149409 w 12187339"/>
                <a:gd name="connsiteY3317" fmla="*/ 3421264 h 6851196"/>
                <a:gd name="connsiteX3318" fmla="*/ 925320 w 12187339"/>
                <a:gd name="connsiteY3318" fmla="*/ 3421264 h 6851196"/>
                <a:gd name="connsiteX3319" fmla="*/ 925320 w 12187339"/>
                <a:gd name="connsiteY3319" fmla="*/ 3183139 h 6851196"/>
                <a:gd name="connsiteX3320" fmla="*/ 1149409 w 12187339"/>
                <a:gd name="connsiteY3320" fmla="*/ 3428068 h 6851196"/>
                <a:gd name="connsiteX3321" fmla="*/ 1149409 w 12187339"/>
                <a:gd name="connsiteY3321" fmla="*/ 3664560 h 6851196"/>
                <a:gd name="connsiteX3322" fmla="*/ 925320 w 12187339"/>
                <a:gd name="connsiteY3322" fmla="*/ 3664560 h 6851196"/>
                <a:gd name="connsiteX3323" fmla="*/ 925320 w 12187339"/>
                <a:gd name="connsiteY3323" fmla="*/ 3428068 h 6851196"/>
                <a:gd name="connsiteX3324" fmla="*/ 1149409 w 12187339"/>
                <a:gd name="connsiteY3324" fmla="*/ 3671364 h 6851196"/>
                <a:gd name="connsiteX3325" fmla="*/ 1149409 w 12187339"/>
                <a:gd name="connsiteY3325" fmla="*/ 3909489 h 6851196"/>
                <a:gd name="connsiteX3326" fmla="*/ 925320 w 12187339"/>
                <a:gd name="connsiteY3326" fmla="*/ 3909489 h 6851196"/>
                <a:gd name="connsiteX3327" fmla="*/ 925320 w 12187339"/>
                <a:gd name="connsiteY3327" fmla="*/ 3671364 h 6851196"/>
                <a:gd name="connsiteX3328" fmla="*/ 1149409 w 12187339"/>
                <a:gd name="connsiteY3328" fmla="*/ 3916292 h 6851196"/>
                <a:gd name="connsiteX3329" fmla="*/ 1149409 w 12187339"/>
                <a:gd name="connsiteY3329" fmla="*/ 4154417 h 6851196"/>
                <a:gd name="connsiteX3330" fmla="*/ 925320 w 12187339"/>
                <a:gd name="connsiteY3330" fmla="*/ 4154417 h 6851196"/>
                <a:gd name="connsiteX3331" fmla="*/ 925320 w 12187339"/>
                <a:gd name="connsiteY3331" fmla="*/ 3916292 h 6851196"/>
                <a:gd name="connsiteX3332" fmla="*/ 1149409 w 12187339"/>
                <a:gd name="connsiteY3332" fmla="*/ 4161221 h 6851196"/>
                <a:gd name="connsiteX3333" fmla="*/ 1149409 w 12187339"/>
                <a:gd name="connsiteY3333" fmla="*/ 4399346 h 6851196"/>
                <a:gd name="connsiteX3334" fmla="*/ 925320 w 12187339"/>
                <a:gd name="connsiteY3334" fmla="*/ 4399346 h 6851196"/>
                <a:gd name="connsiteX3335" fmla="*/ 925320 w 12187339"/>
                <a:gd name="connsiteY3335" fmla="*/ 4161221 h 6851196"/>
                <a:gd name="connsiteX3336" fmla="*/ 1149409 w 12187339"/>
                <a:gd name="connsiteY3336" fmla="*/ 4406149 h 6851196"/>
                <a:gd name="connsiteX3337" fmla="*/ 1149409 w 12187339"/>
                <a:gd name="connsiteY3337" fmla="*/ 4642233 h 6851196"/>
                <a:gd name="connsiteX3338" fmla="*/ 925320 w 12187339"/>
                <a:gd name="connsiteY3338" fmla="*/ 4642233 h 6851196"/>
                <a:gd name="connsiteX3339" fmla="*/ 925320 w 12187339"/>
                <a:gd name="connsiteY3339" fmla="*/ 4405741 h 6851196"/>
                <a:gd name="connsiteX3340" fmla="*/ 1149409 w 12187339"/>
                <a:gd name="connsiteY3340" fmla="*/ 4649445 h 6851196"/>
                <a:gd name="connsiteX3341" fmla="*/ 1149409 w 12187339"/>
                <a:gd name="connsiteY3341" fmla="*/ 4887162 h 6851196"/>
                <a:gd name="connsiteX3342" fmla="*/ 925320 w 12187339"/>
                <a:gd name="connsiteY3342" fmla="*/ 4887162 h 6851196"/>
                <a:gd name="connsiteX3343" fmla="*/ 925320 w 12187339"/>
                <a:gd name="connsiteY3343" fmla="*/ 4649037 h 6851196"/>
                <a:gd name="connsiteX3344" fmla="*/ 1149409 w 12187339"/>
                <a:gd name="connsiteY3344" fmla="*/ 4894374 h 6851196"/>
                <a:gd name="connsiteX3345" fmla="*/ 1149409 w 12187339"/>
                <a:gd name="connsiteY3345" fmla="*/ 5132090 h 6851196"/>
                <a:gd name="connsiteX3346" fmla="*/ 925320 w 12187339"/>
                <a:gd name="connsiteY3346" fmla="*/ 5132090 h 6851196"/>
                <a:gd name="connsiteX3347" fmla="*/ 925320 w 12187339"/>
                <a:gd name="connsiteY3347" fmla="*/ 4893965 h 6851196"/>
                <a:gd name="connsiteX3348" fmla="*/ 1149409 w 12187339"/>
                <a:gd name="connsiteY3348" fmla="*/ 5139302 h 6851196"/>
                <a:gd name="connsiteX3349" fmla="*/ 1149409 w 12187339"/>
                <a:gd name="connsiteY3349" fmla="*/ 5375795 h 6851196"/>
                <a:gd name="connsiteX3350" fmla="*/ 925320 w 12187339"/>
                <a:gd name="connsiteY3350" fmla="*/ 5375795 h 6851196"/>
                <a:gd name="connsiteX3351" fmla="*/ 925320 w 12187339"/>
                <a:gd name="connsiteY3351" fmla="*/ 5139302 h 6851196"/>
                <a:gd name="connsiteX3352" fmla="*/ 1149409 w 12187339"/>
                <a:gd name="connsiteY3352" fmla="*/ 5382598 h 6851196"/>
                <a:gd name="connsiteX3353" fmla="*/ 1149409 w 12187339"/>
                <a:gd name="connsiteY3353" fmla="*/ 5620723 h 6851196"/>
                <a:gd name="connsiteX3354" fmla="*/ 925320 w 12187339"/>
                <a:gd name="connsiteY3354" fmla="*/ 5620723 h 6851196"/>
                <a:gd name="connsiteX3355" fmla="*/ 925320 w 12187339"/>
                <a:gd name="connsiteY3355" fmla="*/ 5382598 h 6851196"/>
                <a:gd name="connsiteX3356" fmla="*/ 1149409 w 12187339"/>
                <a:gd name="connsiteY3356" fmla="*/ 5627527 h 6851196"/>
                <a:gd name="connsiteX3357" fmla="*/ 1149409 w 12187339"/>
                <a:gd name="connsiteY3357" fmla="*/ 5865652 h 6851196"/>
                <a:gd name="connsiteX3358" fmla="*/ 925320 w 12187339"/>
                <a:gd name="connsiteY3358" fmla="*/ 5865652 h 6851196"/>
                <a:gd name="connsiteX3359" fmla="*/ 925320 w 12187339"/>
                <a:gd name="connsiteY3359" fmla="*/ 5627527 h 6851196"/>
                <a:gd name="connsiteX3360" fmla="*/ 1155811 w 12187339"/>
                <a:gd name="connsiteY3360" fmla="*/ 5627527 h 6851196"/>
                <a:gd name="connsiteX3361" fmla="*/ 1379900 w 12187339"/>
                <a:gd name="connsiteY3361" fmla="*/ 5627527 h 6851196"/>
                <a:gd name="connsiteX3362" fmla="*/ 1379900 w 12187339"/>
                <a:gd name="connsiteY3362" fmla="*/ 5865652 h 6851196"/>
                <a:gd name="connsiteX3363" fmla="*/ 1155811 w 12187339"/>
                <a:gd name="connsiteY3363" fmla="*/ 5865652 h 6851196"/>
                <a:gd name="connsiteX3364" fmla="*/ 1386302 w 12187339"/>
                <a:gd name="connsiteY3364" fmla="*/ 5627527 h 6851196"/>
                <a:gd name="connsiteX3365" fmla="*/ 1608598 w 12187339"/>
                <a:gd name="connsiteY3365" fmla="*/ 5627527 h 6851196"/>
                <a:gd name="connsiteX3366" fmla="*/ 1608598 w 12187339"/>
                <a:gd name="connsiteY3366" fmla="*/ 5865652 h 6851196"/>
                <a:gd name="connsiteX3367" fmla="*/ 1386046 w 12187339"/>
                <a:gd name="connsiteY3367" fmla="*/ 5865652 h 6851196"/>
                <a:gd name="connsiteX3368" fmla="*/ 1615257 w 12187339"/>
                <a:gd name="connsiteY3368" fmla="*/ 5627527 h 6851196"/>
                <a:gd name="connsiteX3369" fmla="*/ 1839089 w 12187339"/>
                <a:gd name="connsiteY3369" fmla="*/ 5627527 h 6851196"/>
                <a:gd name="connsiteX3370" fmla="*/ 1839089 w 12187339"/>
                <a:gd name="connsiteY3370" fmla="*/ 5865652 h 6851196"/>
                <a:gd name="connsiteX3371" fmla="*/ 1615000 w 12187339"/>
                <a:gd name="connsiteY3371" fmla="*/ 5865652 h 6851196"/>
                <a:gd name="connsiteX3372" fmla="*/ 1845748 w 12187339"/>
                <a:gd name="connsiteY3372" fmla="*/ 5627527 h 6851196"/>
                <a:gd name="connsiteX3373" fmla="*/ 2069580 w 12187339"/>
                <a:gd name="connsiteY3373" fmla="*/ 5627527 h 6851196"/>
                <a:gd name="connsiteX3374" fmla="*/ 2069580 w 12187339"/>
                <a:gd name="connsiteY3374" fmla="*/ 5865652 h 6851196"/>
                <a:gd name="connsiteX3375" fmla="*/ 1845491 w 12187339"/>
                <a:gd name="connsiteY3375" fmla="*/ 5865652 h 6851196"/>
                <a:gd name="connsiteX3376" fmla="*/ 2076239 w 12187339"/>
                <a:gd name="connsiteY3376" fmla="*/ 5627527 h 6851196"/>
                <a:gd name="connsiteX3377" fmla="*/ 2298791 w 12187339"/>
                <a:gd name="connsiteY3377" fmla="*/ 5627527 h 6851196"/>
                <a:gd name="connsiteX3378" fmla="*/ 2298791 w 12187339"/>
                <a:gd name="connsiteY3378" fmla="*/ 5865652 h 6851196"/>
                <a:gd name="connsiteX3379" fmla="*/ 2075982 w 12187339"/>
                <a:gd name="connsiteY3379" fmla="*/ 5865652 h 6851196"/>
                <a:gd name="connsiteX3380" fmla="*/ 2305193 w 12187339"/>
                <a:gd name="connsiteY3380" fmla="*/ 5627527 h 6851196"/>
                <a:gd name="connsiteX3381" fmla="*/ 2529282 w 12187339"/>
                <a:gd name="connsiteY3381" fmla="*/ 5627527 h 6851196"/>
                <a:gd name="connsiteX3382" fmla="*/ 2529282 w 12187339"/>
                <a:gd name="connsiteY3382" fmla="*/ 5865652 h 6851196"/>
                <a:gd name="connsiteX3383" fmla="*/ 2305193 w 12187339"/>
                <a:gd name="connsiteY3383" fmla="*/ 5865652 h 6851196"/>
                <a:gd name="connsiteX3384" fmla="*/ 2535684 w 12187339"/>
                <a:gd name="connsiteY3384" fmla="*/ 5627527 h 6851196"/>
                <a:gd name="connsiteX3385" fmla="*/ 2759773 w 12187339"/>
                <a:gd name="connsiteY3385" fmla="*/ 5627527 h 6851196"/>
                <a:gd name="connsiteX3386" fmla="*/ 2759773 w 12187339"/>
                <a:gd name="connsiteY3386" fmla="*/ 5865652 h 6851196"/>
                <a:gd name="connsiteX3387" fmla="*/ 2535684 w 12187339"/>
                <a:gd name="connsiteY3387" fmla="*/ 5865652 h 6851196"/>
                <a:gd name="connsiteX3388" fmla="*/ 2766175 w 12187339"/>
                <a:gd name="connsiteY3388" fmla="*/ 5627527 h 6851196"/>
                <a:gd name="connsiteX3389" fmla="*/ 2990264 w 12187339"/>
                <a:gd name="connsiteY3389" fmla="*/ 5627527 h 6851196"/>
                <a:gd name="connsiteX3390" fmla="*/ 2990264 w 12187339"/>
                <a:gd name="connsiteY3390" fmla="*/ 5865652 h 6851196"/>
                <a:gd name="connsiteX3391" fmla="*/ 2766175 w 12187339"/>
                <a:gd name="connsiteY3391" fmla="*/ 5865652 h 6851196"/>
                <a:gd name="connsiteX3392" fmla="*/ 2996666 w 12187339"/>
                <a:gd name="connsiteY3392" fmla="*/ 5627527 h 6851196"/>
                <a:gd name="connsiteX3393" fmla="*/ 3219218 w 12187339"/>
                <a:gd name="connsiteY3393" fmla="*/ 5627527 h 6851196"/>
                <a:gd name="connsiteX3394" fmla="*/ 3219218 w 12187339"/>
                <a:gd name="connsiteY3394" fmla="*/ 5865652 h 6851196"/>
                <a:gd name="connsiteX3395" fmla="*/ 2996666 w 12187339"/>
                <a:gd name="connsiteY3395" fmla="*/ 5865652 h 6851196"/>
                <a:gd name="connsiteX3396" fmla="*/ 3225621 w 12187339"/>
                <a:gd name="connsiteY3396" fmla="*/ 5627527 h 6851196"/>
                <a:gd name="connsiteX3397" fmla="*/ 3449709 w 12187339"/>
                <a:gd name="connsiteY3397" fmla="*/ 5627527 h 6851196"/>
                <a:gd name="connsiteX3398" fmla="*/ 3449709 w 12187339"/>
                <a:gd name="connsiteY3398" fmla="*/ 5865652 h 6851196"/>
                <a:gd name="connsiteX3399" fmla="*/ 3225621 w 12187339"/>
                <a:gd name="connsiteY3399" fmla="*/ 5865652 h 6851196"/>
                <a:gd name="connsiteX3400" fmla="*/ 3456112 w 12187339"/>
                <a:gd name="connsiteY3400" fmla="*/ 5627527 h 6851196"/>
                <a:gd name="connsiteX3401" fmla="*/ 3680200 w 12187339"/>
                <a:gd name="connsiteY3401" fmla="*/ 5627527 h 6851196"/>
                <a:gd name="connsiteX3402" fmla="*/ 3680200 w 12187339"/>
                <a:gd name="connsiteY3402" fmla="*/ 5865652 h 6851196"/>
                <a:gd name="connsiteX3403" fmla="*/ 3456112 w 12187339"/>
                <a:gd name="connsiteY3403" fmla="*/ 5865652 h 6851196"/>
                <a:gd name="connsiteX3404" fmla="*/ 3686603 w 12187339"/>
                <a:gd name="connsiteY3404" fmla="*/ 5627527 h 6851196"/>
                <a:gd name="connsiteX3405" fmla="*/ 3910691 w 12187339"/>
                <a:gd name="connsiteY3405" fmla="*/ 5627527 h 6851196"/>
                <a:gd name="connsiteX3406" fmla="*/ 3910691 w 12187339"/>
                <a:gd name="connsiteY3406" fmla="*/ 5865652 h 6851196"/>
                <a:gd name="connsiteX3407" fmla="*/ 3686603 w 12187339"/>
                <a:gd name="connsiteY3407" fmla="*/ 5865652 h 6851196"/>
                <a:gd name="connsiteX3408" fmla="*/ 3917094 w 12187339"/>
                <a:gd name="connsiteY3408" fmla="*/ 5627527 h 6851196"/>
                <a:gd name="connsiteX3409" fmla="*/ 4139644 w 12187339"/>
                <a:gd name="connsiteY3409" fmla="*/ 5627527 h 6851196"/>
                <a:gd name="connsiteX3410" fmla="*/ 4139644 w 12187339"/>
                <a:gd name="connsiteY3410" fmla="*/ 5865652 h 6851196"/>
                <a:gd name="connsiteX3411" fmla="*/ 3917094 w 12187339"/>
                <a:gd name="connsiteY3411" fmla="*/ 5865652 h 6851196"/>
                <a:gd name="connsiteX3412" fmla="*/ 4146047 w 12187339"/>
                <a:gd name="connsiteY3412" fmla="*/ 5627527 h 6851196"/>
                <a:gd name="connsiteX3413" fmla="*/ 4370135 w 12187339"/>
                <a:gd name="connsiteY3413" fmla="*/ 5627527 h 6851196"/>
                <a:gd name="connsiteX3414" fmla="*/ 4370135 w 12187339"/>
                <a:gd name="connsiteY3414" fmla="*/ 5865652 h 6851196"/>
                <a:gd name="connsiteX3415" fmla="*/ 4146047 w 12187339"/>
                <a:gd name="connsiteY3415" fmla="*/ 5865652 h 6851196"/>
                <a:gd name="connsiteX3416" fmla="*/ 4376538 w 12187339"/>
                <a:gd name="connsiteY3416" fmla="*/ 5627527 h 6851196"/>
                <a:gd name="connsiteX3417" fmla="*/ 4600626 w 12187339"/>
                <a:gd name="connsiteY3417" fmla="*/ 5627527 h 6851196"/>
                <a:gd name="connsiteX3418" fmla="*/ 4600626 w 12187339"/>
                <a:gd name="connsiteY3418" fmla="*/ 5865652 h 6851196"/>
                <a:gd name="connsiteX3419" fmla="*/ 4376538 w 12187339"/>
                <a:gd name="connsiteY3419" fmla="*/ 5865652 h 6851196"/>
                <a:gd name="connsiteX3420" fmla="*/ 4607029 w 12187339"/>
                <a:gd name="connsiteY3420" fmla="*/ 5627527 h 6851196"/>
                <a:gd name="connsiteX3421" fmla="*/ 4829582 w 12187339"/>
                <a:gd name="connsiteY3421" fmla="*/ 5627527 h 6851196"/>
                <a:gd name="connsiteX3422" fmla="*/ 4829582 w 12187339"/>
                <a:gd name="connsiteY3422" fmla="*/ 5865652 h 6851196"/>
                <a:gd name="connsiteX3423" fmla="*/ 4607029 w 12187339"/>
                <a:gd name="connsiteY3423" fmla="*/ 5865652 h 6851196"/>
                <a:gd name="connsiteX3424" fmla="*/ 4835985 w 12187339"/>
                <a:gd name="connsiteY3424" fmla="*/ 5627527 h 6851196"/>
                <a:gd name="connsiteX3425" fmla="*/ 5060073 w 12187339"/>
                <a:gd name="connsiteY3425" fmla="*/ 5627527 h 6851196"/>
                <a:gd name="connsiteX3426" fmla="*/ 5060073 w 12187339"/>
                <a:gd name="connsiteY3426" fmla="*/ 5865652 h 6851196"/>
                <a:gd name="connsiteX3427" fmla="*/ 4835472 w 12187339"/>
                <a:gd name="connsiteY3427" fmla="*/ 5865652 h 6851196"/>
                <a:gd name="connsiteX3428" fmla="*/ 5066476 w 12187339"/>
                <a:gd name="connsiteY3428" fmla="*/ 5627527 h 6851196"/>
                <a:gd name="connsiteX3429" fmla="*/ 5290564 w 12187339"/>
                <a:gd name="connsiteY3429" fmla="*/ 5627527 h 6851196"/>
                <a:gd name="connsiteX3430" fmla="*/ 5290564 w 12187339"/>
                <a:gd name="connsiteY3430" fmla="*/ 5865652 h 6851196"/>
                <a:gd name="connsiteX3431" fmla="*/ 5065963 w 12187339"/>
                <a:gd name="connsiteY3431" fmla="*/ 5865652 h 6851196"/>
                <a:gd name="connsiteX3432" fmla="*/ 5296967 w 12187339"/>
                <a:gd name="connsiteY3432" fmla="*/ 5627527 h 6851196"/>
                <a:gd name="connsiteX3433" fmla="*/ 5521055 w 12187339"/>
                <a:gd name="connsiteY3433" fmla="*/ 5627527 h 6851196"/>
                <a:gd name="connsiteX3434" fmla="*/ 5521055 w 12187339"/>
                <a:gd name="connsiteY3434" fmla="*/ 5865652 h 6851196"/>
                <a:gd name="connsiteX3435" fmla="*/ 5296454 w 12187339"/>
                <a:gd name="connsiteY3435" fmla="*/ 5865652 h 6851196"/>
                <a:gd name="connsiteX3436" fmla="*/ 5527458 w 12187339"/>
                <a:gd name="connsiteY3436" fmla="*/ 5627527 h 6851196"/>
                <a:gd name="connsiteX3437" fmla="*/ 5750008 w 12187339"/>
                <a:gd name="connsiteY3437" fmla="*/ 5627527 h 6851196"/>
                <a:gd name="connsiteX3438" fmla="*/ 5750008 w 12187339"/>
                <a:gd name="connsiteY3438" fmla="*/ 5865652 h 6851196"/>
                <a:gd name="connsiteX3439" fmla="*/ 5526945 w 12187339"/>
                <a:gd name="connsiteY3439" fmla="*/ 5865652 h 6851196"/>
                <a:gd name="connsiteX3440" fmla="*/ 5756411 w 12187339"/>
                <a:gd name="connsiteY3440" fmla="*/ 5627527 h 6851196"/>
                <a:gd name="connsiteX3441" fmla="*/ 5980499 w 12187339"/>
                <a:gd name="connsiteY3441" fmla="*/ 5627527 h 6851196"/>
                <a:gd name="connsiteX3442" fmla="*/ 5980499 w 12187339"/>
                <a:gd name="connsiteY3442" fmla="*/ 5865652 h 6851196"/>
                <a:gd name="connsiteX3443" fmla="*/ 5756411 w 12187339"/>
                <a:gd name="connsiteY3443" fmla="*/ 5865652 h 6851196"/>
                <a:gd name="connsiteX3444" fmla="*/ 5986902 w 12187339"/>
                <a:gd name="connsiteY3444" fmla="*/ 5627527 h 6851196"/>
                <a:gd name="connsiteX3445" fmla="*/ 6210990 w 12187339"/>
                <a:gd name="connsiteY3445" fmla="*/ 5627527 h 6851196"/>
                <a:gd name="connsiteX3446" fmla="*/ 6210990 w 12187339"/>
                <a:gd name="connsiteY3446" fmla="*/ 5865652 h 6851196"/>
                <a:gd name="connsiteX3447" fmla="*/ 5986902 w 12187339"/>
                <a:gd name="connsiteY3447" fmla="*/ 5865652 h 6851196"/>
                <a:gd name="connsiteX3448" fmla="*/ 6217393 w 12187339"/>
                <a:gd name="connsiteY3448" fmla="*/ 5627527 h 6851196"/>
                <a:gd name="connsiteX3449" fmla="*/ 6439946 w 12187339"/>
                <a:gd name="connsiteY3449" fmla="*/ 5627527 h 6851196"/>
                <a:gd name="connsiteX3450" fmla="*/ 6439946 w 12187339"/>
                <a:gd name="connsiteY3450" fmla="*/ 5865652 h 6851196"/>
                <a:gd name="connsiteX3451" fmla="*/ 6217136 w 12187339"/>
                <a:gd name="connsiteY3451" fmla="*/ 5865652 h 6851196"/>
                <a:gd name="connsiteX3452" fmla="*/ 6446349 w 12187339"/>
                <a:gd name="connsiteY3452" fmla="*/ 5627527 h 6851196"/>
                <a:gd name="connsiteX3453" fmla="*/ 6656863 w 12187339"/>
                <a:gd name="connsiteY3453" fmla="*/ 5627527 h 6851196"/>
                <a:gd name="connsiteX3454" fmla="*/ 6656863 w 12187339"/>
                <a:gd name="connsiteY3454" fmla="*/ 5865652 h 6851196"/>
                <a:gd name="connsiteX3455" fmla="*/ 6446349 w 12187339"/>
                <a:gd name="connsiteY3455" fmla="*/ 5865652 h 6851196"/>
                <a:gd name="connsiteX3456" fmla="*/ 6663265 w 12187339"/>
                <a:gd name="connsiteY3456" fmla="*/ 5627527 h 6851196"/>
                <a:gd name="connsiteX3457" fmla="*/ 6887354 w 12187339"/>
                <a:gd name="connsiteY3457" fmla="*/ 5627527 h 6851196"/>
                <a:gd name="connsiteX3458" fmla="*/ 6887354 w 12187339"/>
                <a:gd name="connsiteY3458" fmla="*/ 5865652 h 6851196"/>
                <a:gd name="connsiteX3459" fmla="*/ 6663265 w 12187339"/>
                <a:gd name="connsiteY3459" fmla="*/ 5865652 h 6851196"/>
                <a:gd name="connsiteX3460" fmla="*/ 6893756 w 12187339"/>
                <a:gd name="connsiteY3460" fmla="*/ 5627527 h 6851196"/>
                <a:gd name="connsiteX3461" fmla="*/ 7117845 w 12187339"/>
                <a:gd name="connsiteY3461" fmla="*/ 5627527 h 6851196"/>
                <a:gd name="connsiteX3462" fmla="*/ 7117845 w 12187339"/>
                <a:gd name="connsiteY3462" fmla="*/ 5865652 h 6851196"/>
                <a:gd name="connsiteX3463" fmla="*/ 6893756 w 12187339"/>
                <a:gd name="connsiteY3463" fmla="*/ 5865652 h 6851196"/>
                <a:gd name="connsiteX3464" fmla="*/ 7124247 w 12187339"/>
                <a:gd name="connsiteY3464" fmla="*/ 5627527 h 6851196"/>
                <a:gd name="connsiteX3465" fmla="*/ 7346801 w 12187339"/>
                <a:gd name="connsiteY3465" fmla="*/ 5627527 h 6851196"/>
                <a:gd name="connsiteX3466" fmla="*/ 7346801 w 12187339"/>
                <a:gd name="connsiteY3466" fmla="*/ 5865652 h 6851196"/>
                <a:gd name="connsiteX3467" fmla="*/ 7124247 w 12187339"/>
                <a:gd name="connsiteY3467" fmla="*/ 5865652 h 6851196"/>
                <a:gd name="connsiteX3468" fmla="*/ 7353204 w 12187339"/>
                <a:gd name="connsiteY3468" fmla="*/ 5627527 h 6851196"/>
                <a:gd name="connsiteX3469" fmla="*/ 7577292 w 12187339"/>
                <a:gd name="connsiteY3469" fmla="*/ 5627527 h 6851196"/>
                <a:gd name="connsiteX3470" fmla="*/ 7577292 w 12187339"/>
                <a:gd name="connsiteY3470" fmla="*/ 5865652 h 6851196"/>
                <a:gd name="connsiteX3471" fmla="*/ 7353204 w 12187339"/>
                <a:gd name="connsiteY3471" fmla="*/ 5865652 h 6851196"/>
                <a:gd name="connsiteX3472" fmla="*/ 7583695 w 12187339"/>
                <a:gd name="connsiteY3472" fmla="*/ 5627527 h 6851196"/>
                <a:gd name="connsiteX3473" fmla="*/ 7807783 w 12187339"/>
                <a:gd name="connsiteY3473" fmla="*/ 5627527 h 6851196"/>
                <a:gd name="connsiteX3474" fmla="*/ 7807783 w 12187339"/>
                <a:gd name="connsiteY3474" fmla="*/ 5865652 h 6851196"/>
                <a:gd name="connsiteX3475" fmla="*/ 7583695 w 12187339"/>
                <a:gd name="connsiteY3475" fmla="*/ 5865652 h 6851196"/>
                <a:gd name="connsiteX3476" fmla="*/ 7814186 w 12187339"/>
                <a:gd name="connsiteY3476" fmla="*/ 5627527 h 6851196"/>
                <a:gd name="connsiteX3477" fmla="*/ 8038274 w 12187339"/>
                <a:gd name="connsiteY3477" fmla="*/ 5627527 h 6851196"/>
                <a:gd name="connsiteX3478" fmla="*/ 8038274 w 12187339"/>
                <a:gd name="connsiteY3478" fmla="*/ 5865652 h 6851196"/>
                <a:gd name="connsiteX3479" fmla="*/ 7814186 w 12187339"/>
                <a:gd name="connsiteY3479" fmla="*/ 5865652 h 6851196"/>
                <a:gd name="connsiteX3480" fmla="*/ 8044677 w 12187339"/>
                <a:gd name="connsiteY3480" fmla="*/ 5627527 h 6851196"/>
                <a:gd name="connsiteX3481" fmla="*/ 8267227 w 12187339"/>
                <a:gd name="connsiteY3481" fmla="*/ 5627527 h 6851196"/>
                <a:gd name="connsiteX3482" fmla="*/ 8267227 w 12187339"/>
                <a:gd name="connsiteY3482" fmla="*/ 5865652 h 6851196"/>
                <a:gd name="connsiteX3483" fmla="*/ 8044420 w 12187339"/>
                <a:gd name="connsiteY3483" fmla="*/ 5865652 h 6851196"/>
                <a:gd name="connsiteX3484" fmla="*/ 8273629 w 12187339"/>
                <a:gd name="connsiteY3484" fmla="*/ 5627527 h 6851196"/>
                <a:gd name="connsiteX3485" fmla="*/ 8497718 w 12187339"/>
                <a:gd name="connsiteY3485" fmla="*/ 5627527 h 6851196"/>
                <a:gd name="connsiteX3486" fmla="*/ 8497718 w 12187339"/>
                <a:gd name="connsiteY3486" fmla="*/ 5865652 h 6851196"/>
                <a:gd name="connsiteX3487" fmla="*/ 8273629 w 12187339"/>
                <a:gd name="connsiteY3487" fmla="*/ 5865652 h 6851196"/>
                <a:gd name="connsiteX3488" fmla="*/ 8504120 w 12187339"/>
                <a:gd name="connsiteY3488" fmla="*/ 5627527 h 6851196"/>
                <a:gd name="connsiteX3489" fmla="*/ 8728209 w 12187339"/>
                <a:gd name="connsiteY3489" fmla="*/ 5627527 h 6851196"/>
                <a:gd name="connsiteX3490" fmla="*/ 8728209 w 12187339"/>
                <a:gd name="connsiteY3490" fmla="*/ 5865652 h 6851196"/>
                <a:gd name="connsiteX3491" fmla="*/ 8504120 w 12187339"/>
                <a:gd name="connsiteY3491" fmla="*/ 5865652 h 6851196"/>
                <a:gd name="connsiteX3492" fmla="*/ 8734611 w 12187339"/>
                <a:gd name="connsiteY3492" fmla="*/ 5627527 h 6851196"/>
                <a:gd name="connsiteX3493" fmla="*/ 8957162 w 12187339"/>
                <a:gd name="connsiteY3493" fmla="*/ 5627527 h 6851196"/>
                <a:gd name="connsiteX3494" fmla="*/ 8957162 w 12187339"/>
                <a:gd name="connsiteY3494" fmla="*/ 5865652 h 6851196"/>
                <a:gd name="connsiteX3495" fmla="*/ 8734611 w 12187339"/>
                <a:gd name="connsiteY3495" fmla="*/ 5865652 h 6851196"/>
                <a:gd name="connsiteX3496" fmla="*/ 8963564 w 12187339"/>
                <a:gd name="connsiteY3496" fmla="*/ 5627527 h 6851196"/>
                <a:gd name="connsiteX3497" fmla="*/ 9187653 w 12187339"/>
                <a:gd name="connsiteY3497" fmla="*/ 5627527 h 6851196"/>
                <a:gd name="connsiteX3498" fmla="*/ 9187653 w 12187339"/>
                <a:gd name="connsiteY3498" fmla="*/ 5865652 h 6851196"/>
                <a:gd name="connsiteX3499" fmla="*/ 8963564 w 12187339"/>
                <a:gd name="connsiteY3499" fmla="*/ 5865652 h 6851196"/>
                <a:gd name="connsiteX3500" fmla="*/ 9194055 w 12187339"/>
                <a:gd name="connsiteY3500" fmla="*/ 5627527 h 6851196"/>
                <a:gd name="connsiteX3501" fmla="*/ 9418144 w 12187339"/>
                <a:gd name="connsiteY3501" fmla="*/ 5627527 h 6851196"/>
                <a:gd name="connsiteX3502" fmla="*/ 9418144 w 12187339"/>
                <a:gd name="connsiteY3502" fmla="*/ 5865652 h 6851196"/>
                <a:gd name="connsiteX3503" fmla="*/ 9194055 w 12187339"/>
                <a:gd name="connsiteY3503" fmla="*/ 5865652 h 6851196"/>
                <a:gd name="connsiteX3504" fmla="*/ 9424546 w 12187339"/>
                <a:gd name="connsiteY3504" fmla="*/ 5627527 h 6851196"/>
                <a:gd name="connsiteX3505" fmla="*/ 9648635 w 12187339"/>
                <a:gd name="connsiteY3505" fmla="*/ 5627527 h 6851196"/>
                <a:gd name="connsiteX3506" fmla="*/ 9648635 w 12187339"/>
                <a:gd name="connsiteY3506" fmla="*/ 5865652 h 6851196"/>
                <a:gd name="connsiteX3507" fmla="*/ 9424546 w 12187339"/>
                <a:gd name="connsiteY3507" fmla="*/ 5865652 h 6851196"/>
                <a:gd name="connsiteX3508" fmla="*/ 9655037 w 12187339"/>
                <a:gd name="connsiteY3508" fmla="*/ 5627527 h 6851196"/>
                <a:gd name="connsiteX3509" fmla="*/ 9877591 w 12187339"/>
                <a:gd name="connsiteY3509" fmla="*/ 5627527 h 6851196"/>
                <a:gd name="connsiteX3510" fmla="*/ 9877591 w 12187339"/>
                <a:gd name="connsiteY3510" fmla="*/ 5865652 h 6851196"/>
                <a:gd name="connsiteX3511" fmla="*/ 9655037 w 12187339"/>
                <a:gd name="connsiteY3511" fmla="*/ 5865652 h 6851196"/>
                <a:gd name="connsiteX3512" fmla="*/ 9883993 w 12187339"/>
                <a:gd name="connsiteY3512" fmla="*/ 5627527 h 6851196"/>
                <a:gd name="connsiteX3513" fmla="*/ 10108082 w 12187339"/>
                <a:gd name="connsiteY3513" fmla="*/ 5627527 h 6851196"/>
                <a:gd name="connsiteX3514" fmla="*/ 10108082 w 12187339"/>
                <a:gd name="connsiteY3514" fmla="*/ 5865652 h 6851196"/>
                <a:gd name="connsiteX3515" fmla="*/ 9883993 w 12187339"/>
                <a:gd name="connsiteY3515" fmla="*/ 5865652 h 6851196"/>
                <a:gd name="connsiteX3516" fmla="*/ 10114484 w 12187339"/>
                <a:gd name="connsiteY3516" fmla="*/ 5627527 h 6851196"/>
                <a:gd name="connsiteX3517" fmla="*/ 10338573 w 12187339"/>
                <a:gd name="connsiteY3517" fmla="*/ 5627527 h 6851196"/>
                <a:gd name="connsiteX3518" fmla="*/ 10338573 w 12187339"/>
                <a:gd name="connsiteY3518" fmla="*/ 5865652 h 6851196"/>
                <a:gd name="connsiteX3519" fmla="*/ 10114484 w 12187339"/>
                <a:gd name="connsiteY3519" fmla="*/ 5865652 h 6851196"/>
                <a:gd name="connsiteX3520" fmla="*/ 10344975 w 12187339"/>
                <a:gd name="connsiteY3520" fmla="*/ 5627527 h 6851196"/>
                <a:gd name="connsiteX3521" fmla="*/ 10569064 w 12187339"/>
                <a:gd name="connsiteY3521" fmla="*/ 5627527 h 6851196"/>
                <a:gd name="connsiteX3522" fmla="*/ 10569064 w 12187339"/>
                <a:gd name="connsiteY3522" fmla="*/ 5865652 h 6851196"/>
                <a:gd name="connsiteX3523" fmla="*/ 10344975 w 12187339"/>
                <a:gd name="connsiteY3523" fmla="*/ 5865652 h 6851196"/>
                <a:gd name="connsiteX3524" fmla="*/ 10575466 w 12187339"/>
                <a:gd name="connsiteY3524" fmla="*/ 5627527 h 6851196"/>
                <a:gd name="connsiteX3525" fmla="*/ 10798016 w 12187339"/>
                <a:gd name="connsiteY3525" fmla="*/ 5627527 h 6851196"/>
                <a:gd name="connsiteX3526" fmla="*/ 10798016 w 12187339"/>
                <a:gd name="connsiteY3526" fmla="*/ 5865652 h 6851196"/>
                <a:gd name="connsiteX3527" fmla="*/ 10575466 w 12187339"/>
                <a:gd name="connsiteY3527" fmla="*/ 5865652 h 6851196"/>
                <a:gd name="connsiteX3528" fmla="*/ 10804419 w 12187339"/>
                <a:gd name="connsiteY3528" fmla="*/ 5627527 h 6851196"/>
                <a:gd name="connsiteX3529" fmla="*/ 11028507 w 12187339"/>
                <a:gd name="connsiteY3529" fmla="*/ 5627527 h 6851196"/>
                <a:gd name="connsiteX3530" fmla="*/ 11028507 w 12187339"/>
                <a:gd name="connsiteY3530" fmla="*/ 5865652 h 6851196"/>
                <a:gd name="connsiteX3531" fmla="*/ 10804419 w 12187339"/>
                <a:gd name="connsiteY3531" fmla="*/ 5865652 h 6851196"/>
                <a:gd name="connsiteX3532" fmla="*/ 11034910 w 12187339"/>
                <a:gd name="connsiteY3532" fmla="*/ 5627527 h 6851196"/>
                <a:gd name="connsiteX3533" fmla="*/ 11258998 w 12187339"/>
                <a:gd name="connsiteY3533" fmla="*/ 5627527 h 6851196"/>
                <a:gd name="connsiteX3534" fmla="*/ 11258998 w 12187339"/>
                <a:gd name="connsiteY3534" fmla="*/ 5865652 h 6851196"/>
                <a:gd name="connsiteX3535" fmla="*/ 11034910 w 12187339"/>
                <a:gd name="connsiteY3535" fmla="*/ 5865652 h 6851196"/>
                <a:gd name="connsiteX3536" fmla="*/ 11034910 w 12187339"/>
                <a:gd name="connsiteY3536" fmla="*/ 5620723 h 6851196"/>
                <a:gd name="connsiteX3537" fmla="*/ 11034910 w 12187339"/>
                <a:gd name="connsiteY3537" fmla="*/ 5382598 h 6851196"/>
                <a:gd name="connsiteX3538" fmla="*/ 11258998 w 12187339"/>
                <a:gd name="connsiteY3538" fmla="*/ 5382598 h 6851196"/>
                <a:gd name="connsiteX3539" fmla="*/ 11258998 w 12187339"/>
                <a:gd name="connsiteY3539" fmla="*/ 5620723 h 6851196"/>
                <a:gd name="connsiteX3540" fmla="*/ 11034910 w 12187339"/>
                <a:gd name="connsiteY3540" fmla="*/ 5375795 h 6851196"/>
                <a:gd name="connsiteX3541" fmla="*/ 11034910 w 12187339"/>
                <a:gd name="connsiteY3541" fmla="*/ 5139302 h 6851196"/>
                <a:gd name="connsiteX3542" fmla="*/ 11258998 w 12187339"/>
                <a:gd name="connsiteY3542" fmla="*/ 5139302 h 6851196"/>
                <a:gd name="connsiteX3543" fmla="*/ 11258998 w 12187339"/>
                <a:gd name="connsiteY3543" fmla="*/ 5375795 h 6851196"/>
                <a:gd name="connsiteX3544" fmla="*/ 11034910 w 12187339"/>
                <a:gd name="connsiteY3544" fmla="*/ 5132499 h 6851196"/>
                <a:gd name="connsiteX3545" fmla="*/ 11034910 w 12187339"/>
                <a:gd name="connsiteY3545" fmla="*/ 4894374 h 6851196"/>
                <a:gd name="connsiteX3546" fmla="*/ 11258998 w 12187339"/>
                <a:gd name="connsiteY3546" fmla="*/ 4894374 h 6851196"/>
                <a:gd name="connsiteX3547" fmla="*/ 11258998 w 12187339"/>
                <a:gd name="connsiteY3547" fmla="*/ 5132090 h 6851196"/>
                <a:gd name="connsiteX3548" fmla="*/ 11034910 w 12187339"/>
                <a:gd name="connsiteY3548" fmla="*/ 4887570 h 6851196"/>
                <a:gd name="connsiteX3549" fmla="*/ 11034910 w 12187339"/>
                <a:gd name="connsiteY3549" fmla="*/ 4649445 h 6851196"/>
                <a:gd name="connsiteX3550" fmla="*/ 11258998 w 12187339"/>
                <a:gd name="connsiteY3550" fmla="*/ 4649445 h 6851196"/>
                <a:gd name="connsiteX3551" fmla="*/ 11258998 w 12187339"/>
                <a:gd name="connsiteY3551" fmla="*/ 4887162 h 6851196"/>
                <a:gd name="connsiteX3552" fmla="*/ 11034910 w 12187339"/>
                <a:gd name="connsiteY3552" fmla="*/ 4642642 h 6851196"/>
                <a:gd name="connsiteX3553" fmla="*/ 11034910 w 12187339"/>
                <a:gd name="connsiteY3553" fmla="*/ 4406149 h 6851196"/>
                <a:gd name="connsiteX3554" fmla="*/ 11258998 w 12187339"/>
                <a:gd name="connsiteY3554" fmla="*/ 4406149 h 6851196"/>
                <a:gd name="connsiteX3555" fmla="*/ 11258998 w 12187339"/>
                <a:gd name="connsiteY3555" fmla="*/ 4642233 h 6851196"/>
                <a:gd name="connsiteX3556" fmla="*/ 11034910 w 12187339"/>
                <a:gd name="connsiteY3556" fmla="*/ 4399346 h 6851196"/>
                <a:gd name="connsiteX3557" fmla="*/ 11034910 w 12187339"/>
                <a:gd name="connsiteY3557" fmla="*/ 4161221 h 6851196"/>
                <a:gd name="connsiteX3558" fmla="*/ 11258998 w 12187339"/>
                <a:gd name="connsiteY3558" fmla="*/ 4161221 h 6851196"/>
                <a:gd name="connsiteX3559" fmla="*/ 11258998 w 12187339"/>
                <a:gd name="connsiteY3559" fmla="*/ 4399346 h 6851196"/>
                <a:gd name="connsiteX3560" fmla="*/ 11034910 w 12187339"/>
                <a:gd name="connsiteY3560" fmla="*/ 4154417 h 6851196"/>
                <a:gd name="connsiteX3561" fmla="*/ 11034910 w 12187339"/>
                <a:gd name="connsiteY3561" fmla="*/ 3916292 h 6851196"/>
                <a:gd name="connsiteX3562" fmla="*/ 11258998 w 12187339"/>
                <a:gd name="connsiteY3562" fmla="*/ 3916292 h 6851196"/>
                <a:gd name="connsiteX3563" fmla="*/ 11258998 w 12187339"/>
                <a:gd name="connsiteY3563" fmla="*/ 4154417 h 6851196"/>
                <a:gd name="connsiteX3564" fmla="*/ 11034910 w 12187339"/>
                <a:gd name="connsiteY3564" fmla="*/ 3909489 h 6851196"/>
                <a:gd name="connsiteX3565" fmla="*/ 11034910 w 12187339"/>
                <a:gd name="connsiteY3565" fmla="*/ 3671364 h 6851196"/>
                <a:gd name="connsiteX3566" fmla="*/ 11258998 w 12187339"/>
                <a:gd name="connsiteY3566" fmla="*/ 3671364 h 6851196"/>
                <a:gd name="connsiteX3567" fmla="*/ 11258998 w 12187339"/>
                <a:gd name="connsiteY3567" fmla="*/ 3909489 h 6851196"/>
                <a:gd name="connsiteX3568" fmla="*/ 11034910 w 12187339"/>
                <a:gd name="connsiteY3568" fmla="*/ 3664560 h 6851196"/>
                <a:gd name="connsiteX3569" fmla="*/ 11034910 w 12187339"/>
                <a:gd name="connsiteY3569" fmla="*/ 3428068 h 6851196"/>
                <a:gd name="connsiteX3570" fmla="*/ 11258998 w 12187339"/>
                <a:gd name="connsiteY3570" fmla="*/ 3428068 h 6851196"/>
                <a:gd name="connsiteX3571" fmla="*/ 11258998 w 12187339"/>
                <a:gd name="connsiteY3571" fmla="*/ 3664560 h 6851196"/>
                <a:gd name="connsiteX3572" fmla="*/ 11034910 w 12187339"/>
                <a:gd name="connsiteY3572" fmla="*/ 3421264 h 6851196"/>
                <a:gd name="connsiteX3573" fmla="*/ 11034910 w 12187339"/>
                <a:gd name="connsiteY3573" fmla="*/ 3183139 h 6851196"/>
                <a:gd name="connsiteX3574" fmla="*/ 11258998 w 12187339"/>
                <a:gd name="connsiteY3574" fmla="*/ 3183139 h 6851196"/>
                <a:gd name="connsiteX3575" fmla="*/ 11258998 w 12187339"/>
                <a:gd name="connsiteY3575" fmla="*/ 3421264 h 6851196"/>
                <a:gd name="connsiteX3576" fmla="*/ 11034910 w 12187339"/>
                <a:gd name="connsiteY3576" fmla="*/ 3176336 h 6851196"/>
                <a:gd name="connsiteX3577" fmla="*/ 11034910 w 12187339"/>
                <a:gd name="connsiteY3577" fmla="*/ 2938211 h 6851196"/>
                <a:gd name="connsiteX3578" fmla="*/ 11258998 w 12187339"/>
                <a:gd name="connsiteY3578" fmla="*/ 2938211 h 6851196"/>
                <a:gd name="connsiteX3579" fmla="*/ 11258998 w 12187339"/>
                <a:gd name="connsiteY3579" fmla="*/ 3176336 h 6851196"/>
                <a:gd name="connsiteX3580" fmla="*/ 11034910 w 12187339"/>
                <a:gd name="connsiteY3580" fmla="*/ 2931407 h 6851196"/>
                <a:gd name="connsiteX3581" fmla="*/ 11034910 w 12187339"/>
                <a:gd name="connsiteY3581" fmla="*/ 2693282 h 6851196"/>
                <a:gd name="connsiteX3582" fmla="*/ 11258998 w 12187339"/>
                <a:gd name="connsiteY3582" fmla="*/ 2693282 h 6851196"/>
                <a:gd name="connsiteX3583" fmla="*/ 11258998 w 12187339"/>
                <a:gd name="connsiteY3583" fmla="*/ 2931407 h 6851196"/>
                <a:gd name="connsiteX3584" fmla="*/ 11034910 w 12187339"/>
                <a:gd name="connsiteY3584" fmla="*/ 2686479 h 6851196"/>
                <a:gd name="connsiteX3585" fmla="*/ 11034910 w 12187339"/>
                <a:gd name="connsiteY3585" fmla="*/ 2449986 h 6851196"/>
                <a:gd name="connsiteX3586" fmla="*/ 11258998 w 12187339"/>
                <a:gd name="connsiteY3586" fmla="*/ 2449986 h 6851196"/>
                <a:gd name="connsiteX3587" fmla="*/ 11258998 w 12187339"/>
                <a:gd name="connsiteY3587" fmla="*/ 2686479 h 6851196"/>
                <a:gd name="connsiteX3588" fmla="*/ 11034910 w 12187339"/>
                <a:gd name="connsiteY3588" fmla="*/ 2443183 h 6851196"/>
                <a:gd name="connsiteX3589" fmla="*/ 11034910 w 12187339"/>
                <a:gd name="connsiteY3589" fmla="*/ 2205058 h 6851196"/>
                <a:gd name="connsiteX3590" fmla="*/ 11258998 w 12187339"/>
                <a:gd name="connsiteY3590" fmla="*/ 2205058 h 6851196"/>
                <a:gd name="connsiteX3591" fmla="*/ 11258998 w 12187339"/>
                <a:gd name="connsiteY3591" fmla="*/ 2443183 h 6851196"/>
                <a:gd name="connsiteX3592" fmla="*/ 11034910 w 12187339"/>
                <a:gd name="connsiteY3592" fmla="*/ 2198254 h 6851196"/>
                <a:gd name="connsiteX3593" fmla="*/ 11034910 w 12187339"/>
                <a:gd name="connsiteY3593" fmla="*/ 1960129 h 6851196"/>
                <a:gd name="connsiteX3594" fmla="*/ 11258998 w 12187339"/>
                <a:gd name="connsiteY3594" fmla="*/ 1960129 h 6851196"/>
                <a:gd name="connsiteX3595" fmla="*/ 11258998 w 12187339"/>
                <a:gd name="connsiteY3595" fmla="*/ 2198254 h 6851196"/>
                <a:gd name="connsiteX3596" fmla="*/ 11034910 w 12187339"/>
                <a:gd name="connsiteY3596" fmla="*/ 1953326 h 6851196"/>
                <a:gd name="connsiteX3597" fmla="*/ 11034910 w 12187339"/>
                <a:gd name="connsiteY3597" fmla="*/ 1716697 h 6851196"/>
                <a:gd name="connsiteX3598" fmla="*/ 11258998 w 12187339"/>
                <a:gd name="connsiteY3598" fmla="*/ 1716697 h 6851196"/>
                <a:gd name="connsiteX3599" fmla="*/ 11258998 w 12187339"/>
                <a:gd name="connsiteY3599" fmla="*/ 1953189 h 6851196"/>
                <a:gd name="connsiteX3600" fmla="*/ 11034910 w 12187339"/>
                <a:gd name="connsiteY3600" fmla="*/ 1710030 h 6851196"/>
                <a:gd name="connsiteX3601" fmla="*/ 11034910 w 12187339"/>
                <a:gd name="connsiteY3601" fmla="*/ 1471769 h 6851196"/>
                <a:gd name="connsiteX3602" fmla="*/ 11258998 w 12187339"/>
                <a:gd name="connsiteY3602" fmla="*/ 1471769 h 6851196"/>
                <a:gd name="connsiteX3603" fmla="*/ 11258998 w 12187339"/>
                <a:gd name="connsiteY3603" fmla="*/ 1709894 h 6851196"/>
                <a:gd name="connsiteX3604" fmla="*/ 11034910 w 12187339"/>
                <a:gd name="connsiteY3604" fmla="*/ 1465101 h 6851196"/>
                <a:gd name="connsiteX3605" fmla="*/ 11034910 w 12187339"/>
                <a:gd name="connsiteY3605" fmla="*/ 1226840 h 6851196"/>
                <a:gd name="connsiteX3606" fmla="*/ 11258998 w 12187339"/>
                <a:gd name="connsiteY3606" fmla="*/ 1226840 h 6851196"/>
                <a:gd name="connsiteX3607" fmla="*/ 11258998 w 12187339"/>
                <a:gd name="connsiteY3607" fmla="*/ 1464965 h 6851196"/>
                <a:gd name="connsiteX3608" fmla="*/ 11034910 w 12187339"/>
                <a:gd name="connsiteY3608" fmla="*/ 1220173 h 6851196"/>
                <a:gd name="connsiteX3609" fmla="*/ 11034910 w 12187339"/>
                <a:gd name="connsiteY3609" fmla="*/ 981911 h 6851196"/>
                <a:gd name="connsiteX3610" fmla="*/ 11258998 w 12187339"/>
                <a:gd name="connsiteY3610" fmla="*/ 981911 h 6851196"/>
                <a:gd name="connsiteX3611" fmla="*/ 11258998 w 12187339"/>
                <a:gd name="connsiteY3611" fmla="*/ 1220036 h 6851196"/>
                <a:gd name="connsiteX3612" fmla="*/ 11034910 w 12187339"/>
                <a:gd name="connsiteY3612" fmla="*/ 975244 h 6851196"/>
                <a:gd name="connsiteX3613" fmla="*/ 11034910 w 12187339"/>
                <a:gd name="connsiteY3613" fmla="*/ 738752 h 6851196"/>
                <a:gd name="connsiteX3614" fmla="*/ 11258998 w 12187339"/>
                <a:gd name="connsiteY3614" fmla="*/ 738752 h 6851196"/>
                <a:gd name="connsiteX3615" fmla="*/ 11258998 w 12187339"/>
                <a:gd name="connsiteY3615" fmla="*/ 975244 h 6851196"/>
                <a:gd name="connsiteX3616" fmla="*/ 11028507 w 12187339"/>
                <a:gd name="connsiteY3616" fmla="*/ 975244 h 6851196"/>
                <a:gd name="connsiteX3617" fmla="*/ 10804419 w 12187339"/>
                <a:gd name="connsiteY3617" fmla="*/ 975244 h 6851196"/>
                <a:gd name="connsiteX3618" fmla="*/ 10804419 w 12187339"/>
                <a:gd name="connsiteY3618" fmla="*/ 738752 h 6851196"/>
                <a:gd name="connsiteX3619" fmla="*/ 11028507 w 12187339"/>
                <a:gd name="connsiteY3619" fmla="*/ 738752 h 6851196"/>
                <a:gd name="connsiteX3620" fmla="*/ 10798016 w 12187339"/>
                <a:gd name="connsiteY3620" fmla="*/ 975244 h 6851196"/>
                <a:gd name="connsiteX3621" fmla="*/ 10575466 w 12187339"/>
                <a:gd name="connsiteY3621" fmla="*/ 975244 h 6851196"/>
                <a:gd name="connsiteX3622" fmla="*/ 10575466 w 12187339"/>
                <a:gd name="connsiteY3622" fmla="*/ 738752 h 6851196"/>
                <a:gd name="connsiteX3623" fmla="*/ 10798016 w 12187339"/>
                <a:gd name="connsiteY3623" fmla="*/ 738752 h 6851196"/>
                <a:gd name="connsiteX3624" fmla="*/ 10569064 w 12187339"/>
                <a:gd name="connsiteY3624" fmla="*/ 975244 h 6851196"/>
                <a:gd name="connsiteX3625" fmla="*/ 10344975 w 12187339"/>
                <a:gd name="connsiteY3625" fmla="*/ 975244 h 6851196"/>
                <a:gd name="connsiteX3626" fmla="*/ 10344975 w 12187339"/>
                <a:gd name="connsiteY3626" fmla="*/ 738752 h 6851196"/>
                <a:gd name="connsiteX3627" fmla="*/ 10569064 w 12187339"/>
                <a:gd name="connsiteY3627" fmla="*/ 738752 h 6851196"/>
                <a:gd name="connsiteX3628" fmla="*/ 10338573 w 12187339"/>
                <a:gd name="connsiteY3628" fmla="*/ 975244 h 6851196"/>
                <a:gd name="connsiteX3629" fmla="*/ 10114484 w 12187339"/>
                <a:gd name="connsiteY3629" fmla="*/ 975244 h 6851196"/>
                <a:gd name="connsiteX3630" fmla="*/ 10114484 w 12187339"/>
                <a:gd name="connsiteY3630" fmla="*/ 738752 h 6851196"/>
                <a:gd name="connsiteX3631" fmla="*/ 10338573 w 12187339"/>
                <a:gd name="connsiteY3631" fmla="*/ 738752 h 6851196"/>
                <a:gd name="connsiteX3632" fmla="*/ 10108082 w 12187339"/>
                <a:gd name="connsiteY3632" fmla="*/ 975244 h 6851196"/>
                <a:gd name="connsiteX3633" fmla="*/ 9883993 w 12187339"/>
                <a:gd name="connsiteY3633" fmla="*/ 975244 h 6851196"/>
                <a:gd name="connsiteX3634" fmla="*/ 9883993 w 12187339"/>
                <a:gd name="connsiteY3634" fmla="*/ 738752 h 6851196"/>
                <a:gd name="connsiteX3635" fmla="*/ 10108082 w 12187339"/>
                <a:gd name="connsiteY3635" fmla="*/ 738752 h 6851196"/>
                <a:gd name="connsiteX3636" fmla="*/ 9877591 w 12187339"/>
                <a:gd name="connsiteY3636" fmla="*/ 975244 h 6851196"/>
                <a:gd name="connsiteX3637" fmla="*/ 9655037 w 12187339"/>
                <a:gd name="connsiteY3637" fmla="*/ 975244 h 6851196"/>
                <a:gd name="connsiteX3638" fmla="*/ 9655037 w 12187339"/>
                <a:gd name="connsiteY3638" fmla="*/ 738752 h 6851196"/>
                <a:gd name="connsiteX3639" fmla="*/ 9877591 w 12187339"/>
                <a:gd name="connsiteY3639" fmla="*/ 738752 h 6851196"/>
                <a:gd name="connsiteX3640" fmla="*/ 9648635 w 12187339"/>
                <a:gd name="connsiteY3640" fmla="*/ 975244 h 6851196"/>
                <a:gd name="connsiteX3641" fmla="*/ 9424546 w 12187339"/>
                <a:gd name="connsiteY3641" fmla="*/ 975244 h 6851196"/>
                <a:gd name="connsiteX3642" fmla="*/ 9424546 w 12187339"/>
                <a:gd name="connsiteY3642" fmla="*/ 738752 h 6851196"/>
                <a:gd name="connsiteX3643" fmla="*/ 9648635 w 12187339"/>
                <a:gd name="connsiteY3643" fmla="*/ 738752 h 6851196"/>
                <a:gd name="connsiteX3644" fmla="*/ 9418144 w 12187339"/>
                <a:gd name="connsiteY3644" fmla="*/ 975244 h 6851196"/>
                <a:gd name="connsiteX3645" fmla="*/ 9194055 w 12187339"/>
                <a:gd name="connsiteY3645" fmla="*/ 975244 h 6851196"/>
                <a:gd name="connsiteX3646" fmla="*/ 9194055 w 12187339"/>
                <a:gd name="connsiteY3646" fmla="*/ 738752 h 6851196"/>
                <a:gd name="connsiteX3647" fmla="*/ 9418144 w 12187339"/>
                <a:gd name="connsiteY3647" fmla="*/ 738752 h 6851196"/>
                <a:gd name="connsiteX3648" fmla="*/ 9187653 w 12187339"/>
                <a:gd name="connsiteY3648" fmla="*/ 975244 h 6851196"/>
                <a:gd name="connsiteX3649" fmla="*/ 8963564 w 12187339"/>
                <a:gd name="connsiteY3649" fmla="*/ 975244 h 6851196"/>
                <a:gd name="connsiteX3650" fmla="*/ 8963564 w 12187339"/>
                <a:gd name="connsiteY3650" fmla="*/ 738752 h 6851196"/>
                <a:gd name="connsiteX3651" fmla="*/ 9187653 w 12187339"/>
                <a:gd name="connsiteY3651" fmla="*/ 738752 h 6851196"/>
                <a:gd name="connsiteX3652" fmla="*/ 8957162 w 12187339"/>
                <a:gd name="connsiteY3652" fmla="*/ 975244 h 6851196"/>
                <a:gd name="connsiteX3653" fmla="*/ 8734611 w 12187339"/>
                <a:gd name="connsiteY3653" fmla="*/ 975244 h 6851196"/>
                <a:gd name="connsiteX3654" fmla="*/ 8734611 w 12187339"/>
                <a:gd name="connsiteY3654" fmla="*/ 738752 h 6851196"/>
                <a:gd name="connsiteX3655" fmla="*/ 8957162 w 12187339"/>
                <a:gd name="connsiteY3655" fmla="*/ 738752 h 6851196"/>
                <a:gd name="connsiteX3656" fmla="*/ 8728209 w 12187339"/>
                <a:gd name="connsiteY3656" fmla="*/ 975244 h 6851196"/>
                <a:gd name="connsiteX3657" fmla="*/ 8504120 w 12187339"/>
                <a:gd name="connsiteY3657" fmla="*/ 975244 h 6851196"/>
                <a:gd name="connsiteX3658" fmla="*/ 8504120 w 12187339"/>
                <a:gd name="connsiteY3658" fmla="*/ 738752 h 6851196"/>
                <a:gd name="connsiteX3659" fmla="*/ 8728209 w 12187339"/>
                <a:gd name="connsiteY3659" fmla="*/ 738752 h 6851196"/>
                <a:gd name="connsiteX3660" fmla="*/ 8497718 w 12187339"/>
                <a:gd name="connsiteY3660" fmla="*/ 975244 h 6851196"/>
                <a:gd name="connsiteX3661" fmla="*/ 8273629 w 12187339"/>
                <a:gd name="connsiteY3661" fmla="*/ 975244 h 6851196"/>
                <a:gd name="connsiteX3662" fmla="*/ 8273629 w 12187339"/>
                <a:gd name="connsiteY3662" fmla="*/ 738752 h 6851196"/>
                <a:gd name="connsiteX3663" fmla="*/ 8497718 w 12187339"/>
                <a:gd name="connsiteY3663" fmla="*/ 738752 h 6851196"/>
                <a:gd name="connsiteX3664" fmla="*/ 8267227 w 12187339"/>
                <a:gd name="connsiteY3664" fmla="*/ 975244 h 6851196"/>
                <a:gd name="connsiteX3665" fmla="*/ 8044420 w 12187339"/>
                <a:gd name="connsiteY3665" fmla="*/ 975244 h 6851196"/>
                <a:gd name="connsiteX3666" fmla="*/ 8044420 w 12187339"/>
                <a:gd name="connsiteY3666" fmla="*/ 738752 h 6851196"/>
                <a:gd name="connsiteX3667" fmla="*/ 8267227 w 12187339"/>
                <a:gd name="connsiteY3667" fmla="*/ 738752 h 6851196"/>
                <a:gd name="connsiteX3668" fmla="*/ 8038274 w 12187339"/>
                <a:gd name="connsiteY3668" fmla="*/ 975244 h 6851196"/>
                <a:gd name="connsiteX3669" fmla="*/ 7814186 w 12187339"/>
                <a:gd name="connsiteY3669" fmla="*/ 975244 h 6851196"/>
                <a:gd name="connsiteX3670" fmla="*/ 7814186 w 12187339"/>
                <a:gd name="connsiteY3670" fmla="*/ 738752 h 6851196"/>
                <a:gd name="connsiteX3671" fmla="*/ 8038274 w 12187339"/>
                <a:gd name="connsiteY3671" fmla="*/ 738752 h 6851196"/>
                <a:gd name="connsiteX3672" fmla="*/ 7807783 w 12187339"/>
                <a:gd name="connsiteY3672" fmla="*/ 975244 h 6851196"/>
                <a:gd name="connsiteX3673" fmla="*/ 7583695 w 12187339"/>
                <a:gd name="connsiteY3673" fmla="*/ 975244 h 6851196"/>
                <a:gd name="connsiteX3674" fmla="*/ 7583695 w 12187339"/>
                <a:gd name="connsiteY3674" fmla="*/ 738752 h 6851196"/>
                <a:gd name="connsiteX3675" fmla="*/ 7807783 w 12187339"/>
                <a:gd name="connsiteY3675" fmla="*/ 738752 h 6851196"/>
                <a:gd name="connsiteX3676" fmla="*/ 7577292 w 12187339"/>
                <a:gd name="connsiteY3676" fmla="*/ 975244 h 6851196"/>
                <a:gd name="connsiteX3677" fmla="*/ 7353204 w 12187339"/>
                <a:gd name="connsiteY3677" fmla="*/ 975244 h 6851196"/>
                <a:gd name="connsiteX3678" fmla="*/ 7353204 w 12187339"/>
                <a:gd name="connsiteY3678" fmla="*/ 738752 h 6851196"/>
                <a:gd name="connsiteX3679" fmla="*/ 7577292 w 12187339"/>
                <a:gd name="connsiteY3679" fmla="*/ 738752 h 6851196"/>
                <a:gd name="connsiteX3680" fmla="*/ 7346801 w 12187339"/>
                <a:gd name="connsiteY3680" fmla="*/ 975244 h 6851196"/>
                <a:gd name="connsiteX3681" fmla="*/ 7124247 w 12187339"/>
                <a:gd name="connsiteY3681" fmla="*/ 975244 h 6851196"/>
                <a:gd name="connsiteX3682" fmla="*/ 7124247 w 12187339"/>
                <a:gd name="connsiteY3682" fmla="*/ 738752 h 6851196"/>
                <a:gd name="connsiteX3683" fmla="*/ 7346801 w 12187339"/>
                <a:gd name="connsiteY3683" fmla="*/ 738752 h 6851196"/>
                <a:gd name="connsiteX3684" fmla="*/ 7117845 w 12187339"/>
                <a:gd name="connsiteY3684" fmla="*/ 975244 h 6851196"/>
                <a:gd name="connsiteX3685" fmla="*/ 6893756 w 12187339"/>
                <a:gd name="connsiteY3685" fmla="*/ 975244 h 6851196"/>
                <a:gd name="connsiteX3686" fmla="*/ 6893756 w 12187339"/>
                <a:gd name="connsiteY3686" fmla="*/ 738752 h 6851196"/>
                <a:gd name="connsiteX3687" fmla="*/ 7117845 w 12187339"/>
                <a:gd name="connsiteY3687" fmla="*/ 738752 h 6851196"/>
                <a:gd name="connsiteX3688" fmla="*/ 6887354 w 12187339"/>
                <a:gd name="connsiteY3688" fmla="*/ 975244 h 6851196"/>
                <a:gd name="connsiteX3689" fmla="*/ 6663265 w 12187339"/>
                <a:gd name="connsiteY3689" fmla="*/ 975244 h 6851196"/>
                <a:gd name="connsiteX3690" fmla="*/ 6663265 w 12187339"/>
                <a:gd name="connsiteY3690" fmla="*/ 738752 h 6851196"/>
                <a:gd name="connsiteX3691" fmla="*/ 6887354 w 12187339"/>
                <a:gd name="connsiteY3691" fmla="*/ 738752 h 6851196"/>
                <a:gd name="connsiteX3692" fmla="*/ 6656863 w 12187339"/>
                <a:gd name="connsiteY3692" fmla="*/ 975244 h 6851196"/>
                <a:gd name="connsiteX3693" fmla="*/ 6446349 w 12187339"/>
                <a:gd name="connsiteY3693" fmla="*/ 975244 h 6851196"/>
                <a:gd name="connsiteX3694" fmla="*/ 6446349 w 12187339"/>
                <a:gd name="connsiteY3694" fmla="*/ 738752 h 6851196"/>
                <a:gd name="connsiteX3695" fmla="*/ 6656863 w 12187339"/>
                <a:gd name="connsiteY3695" fmla="*/ 738752 h 6851196"/>
                <a:gd name="connsiteX3696" fmla="*/ 6439946 w 12187339"/>
                <a:gd name="connsiteY3696" fmla="*/ 975244 h 6851196"/>
                <a:gd name="connsiteX3697" fmla="*/ 6217136 w 12187339"/>
                <a:gd name="connsiteY3697" fmla="*/ 975244 h 6851196"/>
                <a:gd name="connsiteX3698" fmla="*/ 6217136 w 12187339"/>
                <a:gd name="connsiteY3698" fmla="*/ 738752 h 6851196"/>
                <a:gd name="connsiteX3699" fmla="*/ 6439690 w 12187339"/>
                <a:gd name="connsiteY3699" fmla="*/ 738752 h 6851196"/>
                <a:gd name="connsiteX3700" fmla="*/ 6210990 w 12187339"/>
                <a:gd name="connsiteY3700" fmla="*/ 975244 h 6851196"/>
                <a:gd name="connsiteX3701" fmla="*/ 5986902 w 12187339"/>
                <a:gd name="connsiteY3701" fmla="*/ 975244 h 6851196"/>
                <a:gd name="connsiteX3702" fmla="*/ 5986902 w 12187339"/>
                <a:gd name="connsiteY3702" fmla="*/ 738752 h 6851196"/>
                <a:gd name="connsiteX3703" fmla="*/ 6210990 w 12187339"/>
                <a:gd name="connsiteY3703" fmla="*/ 738752 h 6851196"/>
                <a:gd name="connsiteX3704" fmla="*/ 5980499 w 12187339"/>
                <a:gd name="connsiteY3704" fmla="*/ 975244 h 6851196"/>
                <a:gd name="connsiteX3705" fmla="*/ 5756411 w 12187339"/>
                <a:gd name="connsiteY3705" fmla="*/ 975244 h 6851196"/>
                <a:gd name="connsiteX3706" fmla="*/ 5756411 w 12187339"/>
                <a:gd name="connsiteY3706" fmla="*/ 738752 h 6851196"/>
                <a:gd name="connsiteX3707" fmla="*/ 5980499 w 12187339"/>
                <a:gd name="connsiteY3707" fmla="*/ 738752 h 6851196"/>
                <a:gd name="connsiteX3708" fmla="*/ 5750008 w 12187339"/>
                <a:gd name="connsiteY3708" fmla="*/ 975244 h 6851196"/>
                <a:gd name="connsiteX3709" fmla="*/ 5526945 w 12187339"/>
                <a:gd name="connsiteY3709" fmla="*/ 975244 h 6851196"/>
                <a:gd name="connsiteX3710" fmla="*/ 5526945 w 12187339"/>
                <a:gd name="connsiteY3710" fmla="*/ 738752 h 6851196"/>
                <a:gd name="connsiteX3711" fmla="*/ 5749495 w 12187339"/>
                <a:gd name="connsiteY3711" fmla="*/ 738752 h 6851196"/>
                <a:gd name="connsiteX3712" fmla="*/ 5521055 w 12187339"/>
                <a:gd name="connsiteY3712" fmla="*/ 975244 h 6851196"/>
                <a:gd name="connsiteX3713" fmla="*/ 5296454 w 12187339"/>
                <a:gd name="connsiteY3713" fmla="*/ 975244 h 6851196"/>
                <a:gd name="connsiteX3714" fmla="*/ 5296454 w 12187339"/>
                <a:gd name="connsiteY3714" fmla="*/ 738752 h 6851196"/>
                <a:gd name="connsiteX3715" fmla="*/ 5520542 w 12187339"/>
                <a:gd name="connsiteY3715" fmla="*/ 738752 h 6851196"/>
                <a:gd name="connsiteX3716" fmla="*/ 5290564 w 12187339"/>
                <a:gd name="connsiteY3716" fmla="*/ 975244 h 6851196"/>
                <a:gd name="connsiteX3717" fmla="*/ 5065963 w 12187339"/>
                <a:gd name="connsiteY3717" fmla="*/ 975244 h 6851196"/>
                <a:gd name="connsiteX3718" fmla="*/ 5065963 w 12187339"/>
                <a:gd name="connsiteY3718" fmla="*/ 738752 h 6851196"/>
                <a:gd name="connsiteX3719" fmla="*/ 5290051 w 12187339"/>
                <a:gd name="connsiteY3719" fmla="*/ 738752 h 6851196"/>
                <a:gd name="connsiteX3720" fmla="*/ 5060073 w 12187339"/>
                <a:gd name="connsiteY3720" fmla="*/ 975244 h 6851196"/>
                <a:gd name="connsiteX3721" fmla="*/ 4835472 w 12187339"/>
                <a:gd name="connsiteY3721" fmla="*/ 975244 h 6851196"/>
                <a:gd name="connsiteX3722" fmla="*/ 4835472 w 12187339"/>
                <a:gd name="connsiteY3722" fmla="*/ 738752 h 6851196"/>
                <a:gd name="connsiteX3723" fmla="*/ 5059560 w 12187339"/>
                <a:gd name="connsiteY3723" fmla="*/ 738752 h 6851196"/>
                <a:gd name="connsiteX3724" fmla="*/ 4829582 w 12187339"/>
                <a:gd name="connsiteY3724" fmla="*/ 975244 h 6851196"/>
                <a:gd name="connsiteX3725" fmla="*/ 4607029 w 12187339"/>
                <a:gd name="connsiteY3725" fmla="*/ 975244 h 6851196"/>
                <a:gd name="connsiteX3726" fmla="*/ 4607029 w 12187339"/>
                <a:gd name="connsiteY3726" fmla="*/ 738752 h 6851196"/>
                <a:gd name="connsiteX3727" fmla="*/ 4829582 w 12187339"/>
                <a:gd name="connsiteY3727" fmla="*/ 738752 h 6851196"/>
                <a:gd name="connsiteX3728" fmla="*/ 4600626 w 12187339"/>
                <a:gd name="connsiteY3728" fmla="*/ 975244 h 6851196"/>
                <a:gd name="connsiteX3729" fmla="*/ 4376538 w 12187339"/>
                <a:gd name="connsiteY3729" fmla="*/ 975244 h 6851196"/>
                <a:gd name="connsiteX3730" fmla="*/ 4376538 w 12187339"/>
                <a:gd name="connsiteY3730" fmla="*/ 738752 h 6851196"/>
                <a:gd name="connsiteX3731" fmla="*/ 4600626 w 12187339"/>
                <a:gd name="connsiteY3731" fmla="*/ 738752 h 6851196"/>
                <a:gd name="connsiteX3732" fmla="*/ 4370135 w 12187339"/>
                <a:gd name="connsiteY3732" fmla="*/ 975244 h 6851196"/>
                <a:gd name="connsiteX3733" fmla="*/ 4146047 w 12187339"/>
                <a:gd name="connsiteY3733" fmla="*/ 975244 h 6851196"/>
                <a:gd name="connsiteX3734" fmla="*/ 4146047 w 12187339"/>
                <a:gd name="connsiteY3734" fmla="*/ 738752 h 6851196"/>
                <a:gd name="connsiteX3735" fmla="*/ 4370135 w 12187339"/>
                <a:gd name="connsiteY3735" fmla="*/ 738752 h 6851196"/>
                <a:gd name="connsiteX3736" fmla="*/ 4139644 w 12187339"/>
                <a:gd name="connsiteY3736" fmla="*/ 975244 h 6851196"/>
                <a:gd name="connsiteX3737" fmla="*/ 3917094 w 12187339"/>
                <a:gd name="connsiteY3737" fmla="*/ 975244 h 6851196"/>
                <a:gd name="connsiteX3738" fmla="*/ 3917094 w 12187339"/>
                <a:gd name="connsiteY3738" fmla="*/ 738752 h 6851196"/>
                <a:gd name="connsiteX3739" fmla="*/ 4139644 w 12187339"/>
                <a:gd name="connsiteY3739" fmla="*/ 738752 h 6851196"/>
                <a:gd name="connsiteX3740" fmla="*/ 3910691 w 12187339"/>
                <a:gd name="connsiteY3740" fmla="*/ 975244 h 6851196"/>
                <a:gd name="connsiteX3741" fmla="*/ 3686603 w 12187339"/>
                <a:gd name="connsiteY3741" fmla="*/ 975244 h 6851196"/>
                <a:gd name="connsiteX3742" fmla="*/ 3686603 w 12187339"/>
                <a:gd name="connsiteY3742" fmla="*/ 738752 h 6851196"/>
                <a:gd name="connsiteX3743" fmla="*/ 3910691 w 12187339"/>
                <a:gd name="connsiteY3743" fmla="*/ 738752 h 6851196"/>
                <a:gd name="connsiteX3744" fmla="*/ 3680200 w 12187339"/>
                <a:gd name="connsiteY3744" fmla="*/ 975244 h 6851196"/>
                <a:gd name="connsiteX3745" fmla="*/ 3456112 w 12187339"/>
                <a:gd name="connsiteY3745" fmla="*/ 975244 h 6851196"/>
                <a:gd name="connsiteX3746" fmla="*/ 3456112 w 12187339"/>
                <a:gd name="connsiteY3746" fmla="*/ 738752 h 6851196"/>
                <a:gd name="connsiteX3747" fmla="*/ 3680200 w 12187339"/>
                <a:gd name="connsiteY3747" fmla="*/ 738752 h 6851196"/>
                <a:gd name="connsiteX3748" fmla="*/ 3449709 w 12187339"/>
                <a:gd name="connsiteY3748" fmla="*/ 975244 h 6851196"/>
                <a:gd name="connsiteX3749" fmla="*/ 3225621 w 12187339"/>
                <a:gd name="connsiteY3749" fmla="*/ 975244 h 6851196"/>
                <a:gd name="connsiteX3750" fmla="*/ 3225621 w 12187339"/>
                <a:gd name="connsiteY3750" fmla="*/ 738752 h 6851196"/>
                <a:gd name="connsiteX3751" fmla="*/ 3449709 w 12187339"/>
                <a:gd name="connsiteY3751" fmla="*/ 738752 h 6851196"/>
                <a:gd name="connsiteX3752" fmla="*/ 3219218 w 12187339"/>
                <a:gd name="connsiteY3752" fmla="*/ 975244 h 6851196"/>
                <a:gd name="connsiteX3753" fmla="*/ 2996666 w 12187339"/>
                <a:gd name="connsiteY3753" fmla="*/ 975244 h 6851196"/>
                <a:gd name="connsiteX3754" fmla="*/ 2996666 w 12187339"/>
                <a:gd name="connsiteY3754" fmla="*/ 738752 h 6851196"/>
                <a:gd name="connsiteX3755" fmla="*/ 3219218 w 12187339"/>
                <a:gd name="connsiteY3755" fmla="*/ 738752 h 6851196"/>
                <a:gd name="connsiteX3756" fmla="*/ 2990264 w 12187339"/>
                <a:gd name="connsiteY3756" fmla="*/ 975244 h 6851196"/>
                <a:gd name="connsiteX3757" fmla="*/ 2766175 w 12187339"/>
                <a:gd name="connsiteY3757" fmla="*/ 975244 h 6851196"/>
                <a:gd name="connsiteX3758" fmla="*/ 2766175 w 12187339"/>
                <a:gd name="connsiteY3758" fmla="*/ 738752 h 6851196"/>
                <a:gd name="connsiteX3759" fmla="*/ 2990264 w 12187339"/>
                <a:gd name="connsiteY3759" fmla="*/ 738752 h 6851196"/>
                <a:gd name="connsiteX3760" fmla="*/ 2759773 w 12187339"/>
                <a:gd name="connsiteY3760" fmla="*/ 975244 h 6851196"/>
                <a:gd name="connsiteX3761" fmla="*/ 2535684 w 12187339"/>
                <a:gd name="connsiteY3761" fmla="*/ 975244 h 6851196"/>
                <a:gd name="connsiteX3762" fmla="*/ 2535684 w 12187339"/>
                <a:gd name="connsiteY3762" fmla="*/ 738752 h 6851196"/>
                <a:gd name="connsiteX3763" fmla="*/ 2759773 w 12187339"/>
                <a:gd name="connsiteY3763" fmla="*/ 738752 h 6851196"/>
                <a:gd name="connsiteX3764" fmla="*/ 2529282 w 12187339"/>
                <a:gd name="connsiteY3764" fmla="*/ 975244 h 6851196"/>
                <a:gd name="connsiteX3765" fmla="*/ 2305193 w 12187339"/>
                <a:gd name="connsiteY3765" fmla="*/ 975244 h 6851196"/>
                <a:gd name="connsiteX3766" fmla="*/ 2305193 w 12187339"/>
                <a:gd name="connsiteY3766" fmla="*/ 738752 h 6851196"/>
                <a:gd name="connsiteX3767" fmla="*/ 2529282 w 12187339"/>
                <a:gd name="connsiteY3767" fmla="*/ 738752 h 6851196"/>
                <a:gd name="connsiteX3768" fmla="*/ 2298791 w 12187339"/>
                <a:gd name="connsiteY3768" fmla="*/ 975244 h 6851196"/>
                <a:gd name="connsiteX3769" fmla="*/ 2075982 w 12187339"/>
                <a:gd name="connsiteY3769" fmla="*/ 975244 h 6851196"/>
                <a:gd name="connsiteX3770" fmla="*/ 2075982 w 12187339"/>
                <a:gd name="connsiteY3770" fmla="*/ 738752 h 6851196"/>
                <a:gd name="connsiteX3771" fmla="*/ 2298534 w 12187339"/>
                <a:gd name="connsiteY3771" fmla="*/ 738752 h 6851196"/>
                <a:gd name="connsiteX3772" fmla="*/ 2069836 w 12187339"/>
                <a:gd name="connsiteY3772" fmla="*/ 975244 h 6851196"/>
                <a:gd name="connsiteX3773" fmla="*/ 1845748 w 12187339"/>
                <a:gd name="connsiteY3773" fmla="*/ 975244 h 6851196"/>
                <a:gd name="connsiteX3774" fmla="*/ 1845748 w 12187339"/>
                <a:gd name="connsiteY3774" fmla="*/ 738752 h 6851196"/>
                <a:gd name="connsiteX3775" fmla="*/ 2069580 w 12187339"/>
                <a:gd name="connsiteY3775" fmla="*/ 738752 h 6851196"/>
                <a:gd name="connsiteX3776" fmla="*/ 1839345 w 12187339"/>
                <a:gd name="connsiteY3776" fmla="*/ 975244 h 6851196"/>
                <a:gd name="connsiteX3777" fmla="*/ 1615257 w 12187339"/>
                <a:gd name="connsiteY3777" fmla="*/ 975244 h 6851196"/>
                <a:gd name="connsiteX3778" fmla="*/ 1615257 w 12187339"/>
                <a:gd name="connsiteY3778" fmla="*/ 738752 h 6851196"/>
                <a:gd name="connsiteX3779" fmla="*/ 1839089 w 12187339"/>
                <a:gd name="connsiteY3779" fmla="*/ 738752 h 6851196"/>
                <a:gd name="connsiteX3780" fmla="*/ 1608854 w 12187339"/>
                <a:gd name="connsiteY3780" fmla="*/ 975244 h 6851196"/>
                <a:gd name="connsiteX3781" fmla="*/ 1386302 w 12187339"/>
                <a:gd name="connsiteY3781" fmla="*/ 975244 h 6851196"/>
                <a:gd name="connsiteX3782" fmla="*/ 1386302 w 12187339"/>
                <a:gd name="connsiteY3782" fmla="*/ 738752 h 6851196"/>
                <a:gd name="connsiteX3783" fmla="*/ 1608598 w 12187339"/>
                <a:gd name="connsiteY3783" fmla="*/ 738752 h 6851196"/>
                <a:gd name="connsiteX3784" fmla="*/ 1379900 w 12187339"/>
                <a:gd name="connsiteY3784" fmla="*/ 975244 h 6851196"/>
                <a:gd name="connsiteX3785" fmla="*/ 1155811 w 12187339"/>
                <a:gd name="connsiteY3785" fmla="*/ 975244 h 6851196"/>
                <a:gd name="connsiteX3786" fmla="*/ 1155811 w 12187339"/>
                <a:gd name="connsiteY3786" fmla="*/ 738752 h 6851196"/>
                <a:gd name="connsiteX3787" fmla="*/ 1379900 w 12187339"/>
                <a:gd name="connsiteY3787" fmla="*/ 738752 h 6851196"/>
                <a:gd name="connsiteX3788" fmla="*/ 1149409 w 12187339"/>
                <a:gd name="connsiteY3788" fmla="*/ 975244 h 6851196"/>
                <a:gd name="connsiteX3789" fmla="*/ 925320 w 12187339"/>
                <a:gd name="connsiteY3789" fmla="*/ 975244 h 6851196"/>
                <a:gd name="connsiteX3790" fmla="*/ 925320 w 12187339"/>
                <a:gd name="connsiteY3790" fmla="*/ 738752 h 6851196"/>
                <a:gd name="connsiteX3791" fmla="*/ 1149409 w 12187339"/>
                <a:gd name="connsiteY3791" fmla="*/ 738752 h 6851196"/>
                <a:gd name="connsiteX3792" fmla="*/ 918918 w 12187339"/>
                <a:gd name="connsiteY3792" fmla="*/ 975244 h 6851196"/>
                <a:gd name="connsiteX3793" fmla="*/ 694829 w 12187339"/>
                <a:gd name="connsiteY3793" fmla="*/ 975244 h 6851196"/>
                <a:gd name="connsiteX3794" fmla="*/ 694829 w 12187339"/>
                <a:gd name="connsiteY3794" fmla="*/ 738752 h 6851196"/>
                <a:gd name="connsiteX3795" fmla="*/ 918918 w 12187339"/>
                <a:gd name="connsiteY3795" fmla="*/ 738752 h 6851196"/>
                <a:gd name="connsiteX3796" fmla="*/ 918918 w 12187339"/>
                <a:gd name="connsiteY3796" fmla="*/ 982048 h 6851196"/>
                <a:gd name="connsiteX3797" fmla="*/ 918918 w 12187339"/>
                <a:gd name="connsiteY3797" fmla="*/ 1220173 h 6851196"/>
                <a:gd name="connsiteX3798" fmla="*/ 694829 w 12187339"/>
                <a:gd name="connsiteY3798" fmla="*/ 1220173 h 6851196"/>
                <a:gd name="connsiteX3799" fmla="*/ 694829 w 12187339"/>
                <a:gd name="connsiteY3799" fmla="*/ 981911 h 6851196"/>
                <a:gd name="connsiteX3800" fmla="*/ 918918 w 12187339"/>
                <a:gd name="connsiteY3800" fmla="*/ 1226976 h 6851196"/>
                <a:gd name="connsiteX3801" fmla="*/ 918918 w 12187339"/>
                <a:gd name="connsiteY3801" fmla="*/ 1465101 h 6851196"/>
                <a:gd name="connsiteX3802" fmla="*/ 694829 w 12187339"/>
                <a:gd name="connsiteY3802" fmla="*/ 1465101 h 6851196"/>
                <a:gd name="connsiteX3803" fmla="*/ 694829 w 12187339"/>
                <a:gd name="connsiteY3803" fmla="*/ 1226840 h 6851196"/>
                <a:gd name="connsiteX3804" fmla="*/ 918918 w 12187339"/>
                <a:gd name="connsiteY3804" fmla="*/ 1471905 h 6851196"/>
                <a:gd name="connsiteX3805" fmla="*/ 918918 w 12187339"/>
                <a:gd name="connsiteY3805" fmla="*/ 1710030 h 6851196"/>
                <a:gd name="connsiteX3806" fmla="*/ 694829 w 12187339"/>
                <a:gd name="connsiteY3806" fmla="*/ 1710030 h 6851196"/>
                <a:gd name="connsiteX3807" fmla="*/ 694829 w 12187339"/>
                <a:gd name="connsiteY3807" fmla="*/ 1471769 h 6851196"/>
                <a:gd name="connsiteX3808" fmla="*/ 918918 w 12187339"/>
                <a:gd name="connsiteY3808" fmla="*/ 1716833 h 6851196"/>
                <a:gd name="connsiteX3809" fmla="*/ 918918 w 12187339"/>
                <a:gd name="connsiteY3809" fmla="*/ 1953326 h 6851196"/>
                <a:gd name="connsiteX3810" fmla="*/ 694829 w 12187339"/>
                <a:gd name="connsiteY3810" fmla="*/ 1953326 h 6851196"/>
                <a:gd name="connsiteX3811" fmla="*/ 694829 w 12187339"/>
                <a:gd name="connsiteY3811" fmla="*/ 1716697 h 6851196"/>
                <a:gd name="connsiteX3812" fmla="*/ 918918 w 12187339"/>
                <a:gd name="connsiteY3812" fmla="*/ 1960129 h 6851196"/>
                <a:gd name="connsiteX3813" fmla="*/ 918918 w 12187339"/>
                <a:gd name="connsiteY3813" fmla="*/ 2198254 h 6851196"/>
                <a:gd name="connsiteX3814" fmla="*/ 694829 w 12187339"/>
                <a:gd name="connsiteY3814" fmla="*/ 2198254 h 6851196"/>
                <a:gd name="connsiteX3815" fmla="*/ 694829 w 12187339"/>
                <a:gd name="connsiteY3815" fmla="*/ 1960129 h 6851196"/>
                <a:gd name="connsiteX3816" fmla="*/ 918918 w 12187339"/>
                <a:gd name="connsiteY3816" fmla="*/ 2205058 h 6851196"/>
                <a:gd name="connsiteX3817" fmla="*/ 918918 w 12187339"/>
                <a:gd name="connsiteY3817" fmla="*/ 2443183 h 6851196"/>
                <a:gd name="connsiteX3818" fmla="*/ 694829 w 12187339"/>
                <a:gd name="connsiteY3818" fmla="*/ 2443183 h 6851196"/>
                <a:gd name="connsiteX3819" fmla="*/ 694829 w 12187339"/>
                <a:gd name="connsiteY3819" fmla="*/ 2205058 h 6851196"/>
                <a:gd name="connsiteX3820" fmla="*/ 918918 w 12187339"/>
                <a:gd name="connsiteY3820" fmla="*/ 2449986 h 6851196"/>
                <a:gd name="connsiteX3821" fmla="*/ 918918 w 12187339"/>
                <a:gd name="connsiteY3821" fmla="*/ 2686479 h 6851196"/>
                <a:gd name="connsiteX3822" fmla="*/ 694829 w 12187339"/>
                <a:gd name="connsiteY3822" fmla="*/ 2686479 h 6851196"/>
                <a:gd name="connsiteX3823" fmla="*/ 694829 w 12187339"/>
                <a:gd name="connsiteY3823" fmla="*/ 2449986 h 6851196"/>
                <a:gd name="connsiteX3824" fmla="*/ 918918 w 12187339"/>
                <a:gd name="connsiteY3824" fmla="*/ 2693282 h 6851196"/>
                <a:gd name="connsiteX3825" fmla="*/ 918918 w 12187339"/>
                <a:gd name="connsiteY3825" fmla="*/ 2931407 h 6851196"/>
                <a:gd name="connsiteX3826" fmla="*/ 694829 w 12187339"/>
                <a:gd name="connsiteY3826" fmla="*/ 2931407 h 6851196"/>
                <a:gd name="connsiteX3827" fmla="*/ 694829 w 12187339"/>
                <a:gd name="connsiteY3827" fmla="*/ 2693282 h 6851196"/>
                <a:gd name="connsiteX3828" fmla="*/ 918918 w 12187339"/>
                <a:gd name="connsiteY3828" fmla="*/ 2938211 h 6851196"/>
                <a:gd name="connsiteX3829" fmla="*/ 918918 w 12187339"/>
                <a:gd name="connsiteY3829" fmla="*/ 3176336 h 6851196"/>
                <a:gd name="connsiteX3830" fmla="*/ 694829 w 12187339"/>
                <a:gd name="connsiteY3830" fmla="*/ 3176336 h 6851196"/>
                <a:gd name="connsiteX3831" fmla="*/ 694829 w 12187339"/>
                <a:gd name="connsiteY3831" fmla="*/ 2938211 h 6851196"/>
                <a:gd name="connsiteX3832" fmla="*/ 918918 w 12187339"/>
                <a:gd name="connsiteY3832" fmla="*/ 3183139 h 6851196"/>
                <a:gd name="connsiteX3833" fmla="*/ 918918 w 12187339"/>
                <a:gd name="connsiteY3833" fmla="*/ 3421264 h 6851196"/>
                <a:gd name="connsiteX3834" fmla="*/ 694829 w 12187339"/>
                <a:gd name="connsiteY3834" fmla="*/ 3421264 h 6851196"/>
                <a:gd name="connsiteX3835" fmla="*/ 694829 w 12187339"/>
                <a:gd name="connsiteY3835" fmla="*/ 3183139 h 6851196"/>
                <a:gd name="connsiteX3836" fmla="*/ 918918 w 12187339"/>
                <a:gd name="connsiteY3836" fmla="*/ 3428068 h 6851196"/>
                <a:gd name="connsiteX3837" fmla="*/ 918918 w 12187339"/>
                <a:gd name="connsiteY3837" fmla="*/ 3664560 h 6851196"/>
                <a:gd name="connsiteX3838" fmla="*/ 694829 w 12187339"/>
                <a:gd name="connsiteY3838" fmla="*/ 3664560 h 6851196"/>
                <a:gd name="connsiteX3839" fmla="*/ 694829 w 12187339"/>
                <a:gd name="connsiteY3839" fmla="*/ 3428068 h 6851196"/>
                <a:gd name="connsiteX3840" fmla="*/ 918918 w 12187339"/>
                <a:gd name="connsiteY3840" fmla="*/ 3671364 h 6851196"/>
                <a:gd name="connsiteX3841" fmla="*/ 918918 w 12187339"/>
                <a:gd name="connsiteY3841" fmla="*/ 3909489 h 6851196"/>
                <a:gd name="connsiteX3842" fmla="*/ 694829 w 12187339"/>
                <a:gd name="connsiteY3842" fmla="*/ 3909489 h 6851196"/>
                <a:gd name="connsiteX3843" fmla="*/ 694829 w 12187339"/>
                <a:gd name="connsiteY3843" fmla="*/ 3671364 h 6851196"/>
                <a:gd name="connsiteX3844" fmla="*/ 918918 w 12187339"/>
                <a:gd name="connsiteY3844" fmla="*/ 3916292 h 6851196"/>
                <a:gd name="connsiteX3845" fmla="*/ 918918 w 12187339"/>
                <a:gd name="connsiteY3845" fmla="*/ 4154417 h 6851196"/>
                <a:gd name="connsiteX3846" fmla="*/ 694829 w 12187339"/>
                <a:gd name="connsiteY3846" fmla="*/ 4154417 h 6851196"/>
                <a:gd name="connsiteX3847" fmla="*/ 694829 w 12187339"/>
                <a:gd name="connsiteY3847" fmla="*/ 3916292 h 6851196"/>
                <a:gd name="connsiteX3848" fmla="*/ 918918 w 12187339"/>
                <a:gd name="connsiteY3848" fmla="*/ 4161221 h 6851196"/>
                <a:gd name="connsiteX3849" fmla="*/ 918918 w 12187339"/>
                <a:gd name="connsiteY3849" fmla="*/ 4399346 h 6851196"/>
                <a:gd name="connsiteX3850" fmla="*/ 694829 w 12187339"/>
                <a:gd name="connsiteY3850" fmla="*/ 4399346 h 6851196"/>
                <a:gd name="connsiteX3851" fmla="*/ 694829 w 12187339"/>
                <a:gd name="connsiteY3851" fmla="*/ 4161221 h 6851196"/>
                <a:gd name="connsiteX3852" fmla="*/ 918918 w 12187339"/>
                <a:gd name="connsiteY3852" fmla="*/ 4406149 h 6851196"/>
                <a:gd name="connsiteX3853" fmla="*/ 918918 w 12187339"/>
                <a:gd name="connsiteY3853" fmla="*/ 4642233 h 6851196"/>
                <a:gd name="connsiteX3854" fmla="*/ 694829 w 12187339"/>
                <a:gd name="connsiteY3854" fmla="*/ 4642233 h 6851196"/>
                <a:gd name="connsiteX3855" fmla="*/ 694829 w 12187339"/>
                <a:gd name="connsiteY3855" fmla="*/ 4405741 h 6851196"/>
                <a:gd name="connsiteX3856" fmla="*/ 918918 w 12187339"/>
                <a:gd name="connsiteY3856" fmla="*/ 4649445 h 6851196"/>
                <a:gd name="connsiteX3857" fmla="*/ 918918 w 12187339"/>
                <a:gd name="connsiteY3857" fmla="*/ 4887162 h 6851196"/>
                <a:gd name="connsiteX3858" fmla="*/ 694829 w 12187339"/>
                <a:gd name="connsiteY3858" fmla="*/ 4887162 h 6851196"/>
                <a:gd name="connsiteX3859" fmla="*/ 694829 w 12187339"/>
                <a:gd name="connsiteY3859" fmla="*/ 4649037 h 6851196"/>
                <a:gd name="connsiteX3860" fmla="*/ 918918 w 12187339"/>
                <a:gd name="connsiteY3860" fmla="*/ 4894374 h 6851196"/>
                <a:gd name="connsiteX3861" fmla="*/ 918918 w 12187339"/>
                <a:gd name="connsiteY3861" fmla="*/ 5132090 h 6851196"/>
                <a:gd name="connsiteX3862" fmla="*/ 694829 w 12187339"/>
                <a:gd name="connsiteY3862" fmla="*/ 5132090 h 6851196"/>
                <a:gd name="connsiteX3863" fmla="*/ 694829 w 12187339"/>
                <a:gd name="connsiteY3863" fmla="*/ 4893965 h 6851196"/>
                <a:gd name="connsiteX3864" fmla="*/ 918918 w 12187339"/>
                <a:gd name="connsiteY3864" fmla="*/ 5139302 h 6851196"/>
                <a:gd name="connsiteX3865" fmla="*/ 918918 w 12187339"/>
                <a:gd name="connsiteY3865" fmla="*/ 5375795 h 6851196"/>
                <a:gd name="connsiteX3866" fmla="*/ 694829 w 12187339"/>
                <a:gd name="connsiteY3866" fmla="*/ 5375795 h 6851196"/>
                <a:gd name="connsiteX3867" fmla="*/ 694829 w 12187339"/>
                <a:gd name="connsiteY3867" fmla="*/ 5139302 h 6851196"/>
                <a:gd name="connsiteX3868" fmla="*/ 918918 w 12187339"/>
                <a:gd name="connsiteY3868" fmla="*/ 5382598 h 6851196"/>
                <a:gd name="connsiteX3869" fmla="*/ 918918 w 12187339"/>
                <a:gd name="connsiteY3869" fmla="*/ 5620723 h 6851196"/>
                <a:gd name="connsiteX3870" fmla="*/ 694829 w 12187339"/>
                <a:gd name="connsiteY3870" fmla="*/ 5620723 h 6851196"/>
                <a:gd name="connsiteX3871" fmla="*/ 694829 w 12187339"/>
                <a:gd name="connsiteY3871" fmla="*/ 5382598 h 6851196"/>
                <a:gd name="connsiteX3872" fmla="*/ 918918 w 12187339"/>
                <a:gd name="connsiteY3872" fmla="*/ 5627527 h 6851196"/>
                <a:gd name="connsiteX3873" fmla="*/ 918918 w 12187339"/>
                <a:gd name="connsiteY3873" fmla="*/ 5865652 h 6851196"/>
                <a:gd name="connsiteX3874" fmla="*/ 694829 w 12187339"/>
                <a:gd name="connsiteY3874" fmla="*/ 5865652 h 6851196"/>
                <a:gd name="connsiteX3875" fmla="*/ 694829 w 12187339"/>
                <a:gd name="connsiteY3875" fmla="*/ 5627527 h 6851196"/>
                <a:gd name="connsiteX3876" fmla="*/ 918918 w 12187339"/>
                <a:gd name="connsiteY3876" fmla="*/ 5872455 h 6851196"/>
                <a:gd name="connsiteX3877" fmla="*/ 918918 w 12187339"/>
                <a:gd name="connsiteY3877" fmla="*/ 6110580 h 6851196"/>
                <a:gd name="connsiteX3878" fmla="*/ 694829 w 12187339"/>
                <a:gd name="connsiteY3878" fmla="*/ 6110580 h 6851196"/>
                <a:gd name="connsiteX3879" fmla="*/ 694829 w 12187339"/>
                <a:gd name="connsiteY3879" fmla="*/ 5872455 h 6851196"/>
                <a:gd name="connsiteX3880" fmla="*/ 925320 w 12187339"/>
                <a:gd name="connsiteY3880" fmla="*/ 5872455 h 6851196"/>
                <a:gd name="connsiteX3881" fmla="*/ 1149409 w 12187339"/>
                <a:gd name="connsiteY3881" fmla="*/ 5872455 h 6851196"/>
                <a:gd name="connsiteX3882" fmla="*/ 1149409 w 12187339"/>
                <a:gd name="connsiteY3882" fmla="*/ 6110580 h 6851196"/>
                <a:gd name="connsiteX3883" fmla="*/ 925320 w 12187339"/>
                <a:gd name="connsiteY3883" fmla="*/ 6110580 h 6851196"/>
                <a:gd name="connsiteX3884" fmla="*/ 1155811 w 12187339"/>
                <a:gd name="connsiteY3884" fmla="*/ 5872455 h 6851196"/>
                <a:gd name="connsiteX3885" fmla="*/ 1379900 w 12187339"/>
                <a:gd name="connsiteY3885" fmla="*/ 5872455 h 6851196"/>
                <a:gd name="connsiteX3886" fmla="*/ 1379900 w 12187339"/>
                <a:gd name="connsiteY3886" fmla="*/ 6110580 h 6851196"/>
                <a:gd name="connsiteX3887" fmla="*/ 1155811 w 12187339"/>
                <a:gd name="connsiteY3887" fmla="*/ 6110580 h 6851196"/>
                <a:gd name="connsiteX3888" fmla="*/ 1386302 w 12187339"/>
                <a:gd name="connsiteY3888" fmla="*/ 5872455 h 6851196"/>
                <a:gd name="connsiteX3889" fmla="*/ 1608598 w 12187339"/>
                <a:gd name="connsiteY3889" fmla="*/ 5872455 h 6851196"/>
                <a:gd name="connsiteX3890" fmla="*/ 1608598 w 12187339"/>
                <a:gd name="connsiteY3890" fmla="*/ 6110580 h 6851196"/>
                <a:gd name="connsiteX3891" fmla="*/ 1386046 w 12187339"/>
                <a:gd name="connsiteY3891" fmla="*/ 6110580 h 6851196"/>
                <a:gd name="connsiteX3892" fmla="*/ 1615257 w 12187339"/>
                <a:gd name="connsiteY3892" fmla="*/ 5872455 h 6851196"/>
                <a:gd name="connsiteX3893" fmla="*/ 1839089 w 12187339"/>
                <a:gd name="connsiteY3893" fmla="*/ 5872455 h 6851196"/>
                <a:gd name="connsiteX3894" fmla="*/ 1839089 w 12187339"/>
                <a:gd name="connsiteY3894" fmla="*/ 6110580 h 6851196"/>
                <a:gd name="connsiteX3895" fmla="*/ 1615000 w 12187339"/>
                <a:gd name="connsiteY3895" fmla="*/ 6110580 h 6851196"/>
                <a:gd name="connsiteX3896" fmla="*/ 1845748 w 12187339"/>
                <a:gd name="connsiteY3896" fmla="*/ 5872455 h 6851196"/>
                <a:gd name="connsiteX3897" fmla="*/ 2069580 w 12187339"/>
                <a:gd name="connsiteY3897" fmla="*/ 5872455 h 6851196"/>
                <a:gd name="connsiteX3898" fmla="*/ 2069580 w 12187339"/>
                <a:gd name="connsiteY3898" fmla="*/ 6110580 h 6851196"/>
                <a:gd name="connsiteX3899" fmla="*/ 1845491 w 12187339"/>
                <a:gd name="connsiteY3899" fmla="*/ 6110580 h 6851196"/>
                <a:gd name="connsiteX3900" fmla="*/ 2076239 w 12187339"/>
                <a:gd name="connsiteY3900" fmla="*/ 5872455 h 6851196"/>
                <a:gd name="connsiteX3901" fmla="*/ 2298791 w 12187339"/>
                <a:gd name="connsiteY3901" fmla="*/ 5872455 h 6851196"/>
                <a:gd name="connsiteX3902" fmla="*/ 2298791 w 12187339"/>
                <a:gd name="connsiteY3902" fmla="*/ 6110580 h 6851196"/>
                <a:gd name="connsiteX3903" fmla="*/ 2075982 w 12187339"/>
                <a:gd name="connsiteY3903" fmla="*/ 6110580 h 6851196"/>
                <a:gd name="connsiteX3904" fmla="*/ 2305193 w 12187339"/>
                <a:gd name="connsiteY3904" fmla="*/ 5872455 h 6851196"/>
                <a:gd name="connsiteX3905" fmla="*/ 2529282 w 12187339"/>
                <a:gd name="connsiteY3905" fmla="*/ 5872455 h 6851196"/>
                <a:gd name="connsiteX3906" fmla="*/ 2529282 w 12187339"/>
                <a:gd name="connsiteY3906" fmla="*/ 6110580 h 6851196"/>
                <a:gd name="connsiteX3907" fmla="*/ 2305193 w 12187339"/>
                <a:gd name="connsiteY3907" fmla="*/ 6110580 h 6851196"/>
                <a:gd name="connsiteX3908" fmla="*/ 2535684 w 12187339"/>
                <a:gd name="connsiteY3908" fmla="*/ 5872455 h 6851196"/>
                <a:gd name="connsiteX3909" fmla="*/ 2759773 w 12187339"/>
                <a:gd name="connsiteY3909" fmla="*/ 5872455 h 6851196"/>
                <a:gd name="connsiteX3910" fmla="*/ 2759773 w 12187339"/>
                <a:gd name="connsiteY3910" fmla="*/ 6110580 h 6851196"/>
                <a:gd name="connsiteX3911" fmla="*/ 2535684 w 12187339"/>
                <a:gd name="connsiteY3911" fmla="*/ 6110580 h 6851196"/>
                <a:gd name="connsiteX3912" fmla="*/ 2766175 w 12187339"/>
                <a:gd name="connsiteY3912" fmla="*/ 5872455 h 6851196"/>
                <a:gd name="connsiteX3913" fmla="*/ 2990264 w 12187339"/>
                <a:gd name="connsiteY3913" fmla="*/ 5872455 h 6851196"/>
                <a:gd name="connsiteX3914" fmla="*/ 2990264 w 12187339"/>
                <a:gd name="connsiteY3914" fmla="*/ 6110580 h 6851196"/>
                <a:gd name="connsiteX3915" fmla="*/ 2766175 w 12187339"/>
                <a:gd name="connsiteY3915" fmla="*/ 6110580 h 6851196"/>
                <a:gd name="connsiteX3916" fmla="*/ 2996666 w 12187339"/>
                <a:gd name="connsiteY3916" fmla="*/ 5872455 h 6851196"/>
                <a:gd name="connsiteX3917" fmla="*/ 3219218 w 12187339"/>
                <a:gd name="connsiteY3917" fmla="*/ 5872455 h 6851196"/>
                <a:gd name="connsiteX3918" fmla="*/ 3219218 w 12187339"/>
                <a:gd name="connsiteY3918" fmla="*/ 6110580 h 6851196"/>
                <a:gd name="connsiteX3919" fmla="*/ 2996666 w 12187339"/>
                <a:gd name="connsiteY3919" fmla="*/ 6110580 h 6851196"/>
                <a:gd name="connsiteX3920" fmla="*/ 3225621 w 12187339"/>
                <a:gd name="connsiteY3920" fmla="*/ 5872455 h 6851196"/>
                <a:gd name="connsiteX3921" fmla="*/ 3449709 w 12187339"/>
                <a:gd name="connsiteY3921" fmla="*/ 5872455 h 6851196"/>
                <a:gd name="connsiteX3922" fmla="*/ 3449709 w 12187339"/>
                <a:gd name="connsiteY3922" fmla="*/ 6110580 h 6851196"/>
                <a:gd name="connsiteX3923" fmla="*/ 3225621 w 12187339"/>
                <a:gd name="connsiteY3923" fmla="*/ 6110580 h 6851196"/>
                <a:gd name="connsiteX3924" fmla="*/ 3456112 w 12187339"/>
                <a:gd name="connsiteY3924" fmla="*/ 5872455 h 6851196"/>
                <a:gd name="connsiteX3925" fmla="*/ 3680200 w 12187339"/>
                <a:gd name="connsiteY3925" fmla="*/ 5872455 h 6851196"/>
                <a:gd name="connsiteX3926" fmla="*/ 3680200 w 12187339"/>
                <a:gd name="connsiteY3926" fmla="*/ 6110580 h 6851196"/>
                <a:gd name="connsiteX3927" fmla="*/ 3456112 w 12187339"/>
                <a:gd name="connsiteY3927" fmla="*/ 6110580 h 6851196"/>
                <a:gd name="connsiteX3928" fmla="*/ 3686603 w 12187339"/>
                <a:gd name="connsiteY3928" fmla="*/ 5872455 h 6851196"/>
                <a:gd name="connsiteX3929" fmla="*/ 3910691 w 12187339"/>
                <a:gd name="connsiteY3929" fmla="*/ 5872455 h 6851196"/>
                <a:gd name="connsiteX3930" fmla="*/ 3910691 w 12187339"/>
                <a:gd name="connsiteY3930" fmla="*/ 6110580 h 6851196"/>
                <a:gd name="connsiteX3931" fmla="*/ 3686603 w 12187339"/>
                <a:gd name="connsiteY3931" fmla="*/ 6110580 h 6851196"/>
                <a:gd name="connsiteX3932" fmla="*/ 3917094 w 12187339"/>
                <a:gd name="connsiteY3932" fmla="*/ 5872455 h 6851196"/>
                <a:gd name="connsiteX3933" fmla="*/ 4139644 w 12187339"/>
                <a:gd name="connsiteY3933" fmla="*/ 5872455 h 6851196"/>
                <a:gd name="connsiteX3934" fmla="*/ 4139644 w 12187339"/>
                <a:gd name="connsiteY3934" fmla="*/ 6110580 h 6851196"/>
                <a:gd name="connsiteX3935" fmla="*/ 3917094 w 12187339"/>
                <a:gd name="connsiteY3935" fmla="*/ 6110580 h 6851196"/>
                <a:gd name="connsiteX3936" fmla="*/ 4146047 w 12187339"/>
                <a:gd name="connsiteY3936" fmla="*/ 5872455 h 6851196"/>
                <a:gd name="connsiteX3937" fmla="*/ 4370135 w 12187339"/>
                <a:gd name="connsiteY3937" fmla="*/ 5872455 h 6851196"/>
                <a:gd name="connsiteX3938" fmla="*/ 4370135 w 12187339"/>
                <a:gd name="connsiteY3938" fmla="*/ 6110580 h 6851196"/>
                <a:gd name="connsiteX3939" fmla="*/ 4146047 w 12187339"/>
                <a:gd name="connsiteY3939" fmla="*/ 6110580 h 6851196"/>
                <a:gd name="connsiteX3940" fmla="*/ 4376538 w 12187339"/>
                <a:gd name="connsiteY3940" fmla="*/ 5872455 h 6851196"/>
                <a:gd name="connsiteX3941" fmla="*/ 4600626 w 12187339"/>
                <a:gd name="connsiteY3941" fmla="*/ 5872455 h 6851196"/>
                <a:gd name="connsiteX3942" fmla="*/ 4600626 w 12187339"/>
                <a:gd name="connsiteY3942" fmla="*/ 6110580 h 6851196"/>
                <a:gd name="connsiteX3943" fmla="*/ 4376538 w 12187339"/>
                <a:gd name="connsiteY3943" fmla="*/ 6110580 h 6851196"/>
                <a:gd name="connsiteX3944" fmla="*/ 4607029 w 12187339"/>
                <a:gd name="connsiteY3944" fmla="*/ 5872455 h 6851196"/>
                <a:gd name="connsiteX3945" fmla="*/ 4829582 w 12187339"/>
                <a:gd name="connsiteY3945" fmla="*/ 5872455 h 6851196"/>
                <a:gd name="connsiteX3946" fmla="*/ 4829582 w 12187339"/>
                <a:gd name="connsiteY3946" fmla="*/ 6110580 h 6851196"/>
                <a:gd name="connsiteX3947" fmla="*/ 4607029 w 12187339"/>
                <a:gd name="connsiteY3947" fmla="*/ 6110580 h 6851196"/>
                <a:gd name="connsiteX3948" fmla="*/ 4835985 w 12187339"/>
                <a:gd name="connsiteY3948" fmla="*/ 5872455 h 6851196"/>
                <a:gd name="connsiteX3949" fmla="*/ 5060073 w 12187339"/>
                <a:gd name="connsiteY3949" fmla="*/ 5872455 h 6851196"/>
                <a:gd name="connsiteX3950" fmla="*/ 5060073 w 12187339"/>
                <a:gd name="connsiteY3950" fmla="*/ 6110580 h 6851196"/>
                <a:gd name="connsiteX3951" fmla="*/ 4835472 w 12187339"/>
                <a:gd name="connsiteY3951" fmla="*/ 6110580 h 6851196"/>
                <a:gd name="connsiteX3952" fmla="*/ 5066476 w 12187339"/>
                <a:gd name="connsiteY3952" fmla="*/ 5872455 h 6851196"/>
                <a:gd name="connsiteX3953" fmla="*/ 5290564 w 12187339"/>
                <a:gd name="connsiteY3953" fmla="*/ 5872455 h 6851196"/>
                <a:gd name="connsiteX3954" fmla="*/ 5290564 w 12187339"/>
                <a:gd name="connsiteY3954" fmla="*/ 6110580 h 6851196"/>
                <a:gd name="connsiteX3955" fmla="*/ 5065963 w 12187339"/>
                <a:gd name="connsiteY3955" fmla="*/ 6110580 h 6851196"/>
                <a:gd name="connsiteX3956" fmla="*/ 5296967 w 12187339"/>
                <a:gd name="connsiteY3956" fmla="*/ 5872455 h 6851196"/>
                <a:gd name="connsiteX3957" fmla="*/ 5521055 w 12187339"/>
                <a:gd name="connsiteY3957" fmla="*/ 5872455 h 6851196"/>
                <a:gd name="connsiteX3958" fmla="*/ 5521055 w 12187339"/>
                <a:gd name="connsiteY3958" fmla="*/ 6110580 h 6851196"/>
                <a:gd name="connsiteX3959" fmla="*/ 5296454 w 12187339"/>
                <a:gd name="connsiteY3959" fmla="*/ 6110580 h 6851196"/>
                <a:gd name="connsiteX3960" fmla="*/ 5527458 w 12187339"/>
                <a:gd name="connsiteY3960" fmla="*/ 5872455 h 6851196"/>
                <a:gd name="connsiteX3961" fmla="*/ 5750008 w 12187339"/>
                <a:gd name="connsiteY3961" fmla="*/ 5872455 h 6851196"/>
                <a:gd name="connsiteX3962" fmla="*/ 5750008 w 12187339"/>
                <a:gd name="connsiteY3962" fmla="*/ 6110580 h 6851196"/>
                <a:gd name="connsiteX3963" fmla="*/ 5526945 w 12187339"/>
                <a:gd name="connsiteY3963" fmla="*/ 6110580 h 6851196"/>
                <a:gd name="connsiteX3964" fmla="*/ 5756411 w 12187339"/>
                <a:gd name="connsiteY3964" fmla="*/ 5872455 h 6851196"/>
                <a:gd name="connsiteX3965" fmla="*/ 5980499 w 12187339"/>
                <a:gd name="connsiteY3965" fmla="*/ 5872455 h 6851196"/>
                <a:gd name="connsiteX3966" fmla="*/ 5980499 w 12187339"/>
                <a:gd name="connsiteY3966" fmla="*/ 6110580 h 6851196"/>
                <a:gd name="connsiteX3967" fmla="*/ 5756411 w 12187339"/>
                <a:gd name="connsiteY3967" fmla="*/ 6110580 h 6851196"/>
                <a:gd name="connsiteX3968" fmla="*/ 5986902 w 12187339"/>
                <a:gd name="connsiteY3968" fmla="*/ 5872455 h 6851196"/>
                <a:gd name="connsiteX3969" fmla="*/ 6210990 w 12187339"/>
                <a:gd name="connsiteY3969" fmla="*/ 5872455 h 6851196"/>
                <a:gd name="connsiteX3970" fmla="*/ 6210990 w 12187339"/>
                <a:gd name="connsiteY3970" fmla="*/ 6110580 h 6851196"/>
                <a:gd name="connsiteX3971" fmla="*/ 5986902 w 12187339"/>
                <a:gd name="connsiteY3971" fmla="*/ 6110580 h 6851196"/>
                <a:gd name="connsiteX3972" fmla="*/ 6217393 w 12187339"/>
                <a:gd name="connsiteY3972" fmla="*/ 5872455 h 6851196"/>
                <a:gd name="connsiteX3973" fmla="*/ 6439946 w 12187339"/>
                <a:gd name="connsiteY3973" fmla="*/ 5872455 h 6851196"/>
                <a:gd name="connsiteX3974" fmla="*/ 6439946 w 12187339"/>
                <a:gd name="connsiteY3974" fmla="*/ 6110580 h 6851196"/>
                <a:gd name="connsiteX3975" fmla="*/ 6217136 w 12187339"/>
                <a:gd name="connsiteY3975" fmla="*/ 6110580 h 6851196"/>
                <a:gd name="connsiteX3976" fmla="*/ 6446349 w 12187339"/>
                <a:gd name="connsiteY3976" fmla="*/ 5872455 h 6851196"/>
                <a:gd name="connsiteX3977" fmla="*/ 6656863 w 12187339"/>
                <a:gd name="connsiteY3977" fmla="*/ 5872455 h 6851196"/>
                <a:gd name="connsiteX3978" fmla="*/ 6656863 w 12187339"/>
                <a:gd name="connsiteY3978" fmla="*/ 6110580 h 6851196"/>
                <a:gd name="connsiteX3979" fmla="*/ 6446349 w 12187339"/>
                <a:gd name="connsiteY3979" fmla="*/ 6110580 h 6851196"/>
                <a:gd name="connsiteX3980" fmla="*/ 6663265 w 12187339"/>
                <a:gd name="connsiteY3980" fmla="*/ 5872455 h 6851196"/>
                <a:gd name="connsiteX3981" fmla="*/ 6887354 w 12187339"/>
                <a:gd name="connsiteY3981" fmla="*/ 5872455 h 6851196"/>
                <a:gd name="connsiteX3982" fmla="*/ 6887354 w 12187339"/>
                <a:gd name="connsiteY3982" fmla="*/ 6110580 h 6851196"/>
                <a:gd name="connsiteX3983" fmla="*/ 6663265 w 12187339"/>
                <a:gd name="connsiteY3983" fmla="*/ 6110580 h 6851196"/>
                <a:gd name="connsiteX3984" fmla="*/ 6893756 w 12187339"/>
                <a:gd name="connsiteY3984" fmla="*/ 5872455 h 6851196"/>
                <a:gd name="connsiteX3985" fmla="*/ 7117845 w 12187339"/>
                <a:gd name="connsiteY3985" fmla="*/ 5872455 h 6851196"/>
                <a:gd name="connsiteX3986" fmla="*/ 7117845 w 12187339"/>
                <a:gd name="connsiteY3986" fmla="*/ 6110580 h 6851196"/>
                <a:gd name="connsiteX3987" fmla="*/ 6893756 w 12187339"/>
                <a:gd name="connsiteY3987" fmla="*/ 6110580 h 6851196"/>
                <a:gd name="connsiteX3988" fmla="*/ 7124247 w 12187339"/>
                <a:gd name="connsiteY3988" fmla="*/ 5872455 h 6851196"/>
                <a:gd name="connsiteX3989" fmla="*/ 7346801 w 12187339"/>
                <a:gd name="connsiteY3989" fmla="*/ 5872455 h 6851196"/>
                <a:gd name="connsiteX3990" fmla="*/ 7346801 w 12187339"/>
                <a:gd name="connsiteY3990" fmla="*/ 6110580 h 6851196"/>
                <a:gd name="connsiteX3991" fmla="*/ 7124247 w 12187339"/>
                <a:gd name="connsiteY3991" fmla="*/ 6110580 h 6851196"/>
                <a:gd name="connsiteX3992" fmla="*/ 7353204 w 12187339"/>
                <a:gd name="connsiteY3992" fmla="*/ 5872455 h 6851196"/>
                <a:gd name="connsiteX3993" fmla="*/ 7577292 w 12187339"/>
                <a:gd name="connsiteY3993" fmla="*/ 5872455 h 6851196"/>
                <a:gd name="connsiteX3994" fmla="*/ 7577292 w 12187339"/>
                <a:gd name="connsiteY3994" fmla="*/ 6110580 h 6851196"/>
                <a:gd name="connsiteX3995" fmla="*/ 7353204 w 12187339"/>
                <a:gd name="connsiteY3995" fmla="*/ 6110580 h 6851196"/>
                <a:gd name="connsiteX3996" fmla="*/ 7583695 w 12187339"/>
                <a:gd name="connsiteY3996" fmla="*/ 5872455 h 6851196"/>
                <a:gd name="connsiteX3997" fmla="*/ 7807783 w 12187339"/>
                <a:gd name="connsiteY3997" fmla="*/ 5872455 h 6851196"/>
                <a:gd name="connsiteX3998" fmla="*/ 7807783 w 12187339"/>
                <a:gd name="connsiteY3998" fmla="*/ 6110580 h 6851196"/>
                <a:gd name="connsiteX3999" fmla="*/ 7583695 w 12187339"/>
                <a:gd name="connsiteY3999" fmla="*/ 6110580 h 6851196"/>
                <a:gd name="connsiteX4000" fmla="*/ 7814186 w 12187339"/>
                <a:gd name="connsiteY4000" fmla="*/ 5872455 h 6851196"/>
                <a:gd name="connsiteX4001" fmla="*/ 8038274 w 12187339"/>
                <a:gd name="connsiteY4001" fmla="*/ 5872455 h 6851196"/>
                <a:gd name="connsiteX4002" fmla="*/ 8038274 w 12187339"/>
                <a:gd name="connsiteY4002" fmla="*/ 6110580 h 6851196"/>
                <a:gd name="connsiteX4003" fmla="*/ 7814186 w 12187339"/>
                <a:gd name="connsiteY4003" fmla="*/ 6110580 h 6851196"/>
                <a:gd name="connsiteX4004" fmla="*/ 8044677 w 12187339"/>
                <a:gd name="connsiteY4004" fmla="*/ 5872455 h 6851196"/>
                <a:gd name="connsiteX4005" fmla="*/ 8267227 w 12187339"/>
                <a:gd name="connsiteY4005" fmla="*/ 5872455 h 6851196"/>
                <a:gd name="connsiteX4006" fmla="*/ 8267227 w 12187339"/>
                <a:gd name="connsiteY4006" fmla="*/ 6110580 h 6851196"/>
                <a:gd name="connsiteX4007" fmla="*/ 8044420 w 12187339"/>
                <a:gd name="connsiteY4007" fmla="*/ 6110580 h 6851196"/>
                <a:gd name="connsiteX4008" fmla="*/ 8273629 w 12187339"/>
                <a:gd name="connsiteY4008" fmla="*/ 5872455 h 6851196"/>
                <a:gd name="connsiteX4009" fmla="*/ 8497718 w 12187339"/>
                <a:gd name="connsiteY4009" fmla="*/ 5872455 h 6851196"/>
                <a:gd name="connsiteX4010" fmla="*/ 8497718 w 12187339"/>
                <a:gd name="connsiteY4010" fmla="*/ 6110580 h 6851196"/>
                <a:gd name="connsiteX4011" fmla="*/ 8273629 w 12187339"/>
                <a:gd name="connsiteY4011" fmla="*/ 6110580 h 6851196"/>
                <a:gd name="connsiteX4012" fmla="*/ 8504120 w 12187339"/>
                <a:gd name="connsiteY4012" fmla="*/ 5872455 h 6851196"/>
                <a:gd name="connsiteX4013" fmla="*/ 8728209 w 12187339"/>
                <a:gd name="connsiteY4013" fmla="*/ 5872455 h 6851196"/>
                <a:gd name="connsiteX4014" fmla="*/ 8728209 w 12187339"/>
                <a:gd name="connsiteY4014" fmla="*/ 6110580 h 6851196"/>
                <a:gd name="connsiteX4015" fmla="*/ 8504120 w 12187339"/>
                <a:gd name="connsiteY4015" fmla="*/ 6110580 h 6851196"/>
                <a:gd name="connsiteX4016" fmla="*/ 8734611 w 12187339"/>
                <a:gd name="connsiteY4016" fmla="*/ 5872455 h 6851196"/>
                <a:gd name="connsiteX4017" fmla="*/ 8957162 w 12187339"/>
                <a:gd name="connsiteY4017" fmla="*/ 5872455 h 6851196"/>
                <a:gd name="connsiteX4018" fmla="*/ 8957162 w 12187339"/>
                <a:gd name="connsiteY4018" fmla="*/ 6110580 h 6851196"/>
                <a:gd name="connsiteX4019" fmla="*/ 8734611 w 12187339"/>
                <a:gd name="connsiteY4019" fmla="*/ 6110580 h 6851196"/>
                <a:gd name="connsiteX4020" fmla="*/ 8963564 w 12187339"/>
                <a:gd name="connsiteY4020" fmla="*/ 5872455 h 6851196"/>
                <a:gd name="connsiteX4021" fmla="*/ 9187653 w 12187339"/>
                <a:gd name="connsiteY4021" fmla="*/ 5872455 h 6851196"/>
                <a:gd name="connsiteX4022" fmla="*/ 9187653 w 12187339"/>
                <a:gd name="connsiteY4022" fmla="*/ 6110580 h 6851196"/>
                <a:gd name="connsiteX4023" fmla="*/ 8963564 w 12187339"/>
                <a:gd name="connsiteY4023" fmla="*/ 6110580 h 6851196"/>
                <a:gd name="connsiteX4024" fmla="*/ 9194055 w 12187339"/>
                <a:gd name="connsiteY4024" fmla="*/ 5872455 h 6851196"/>
                <a:gd name="connsiteX4025" fmla="*/ 9418144 w 12187339"/>
                <a:gd name="connsiteY4025" fmla="*/ 5872455 h 6851196"/>
                <a:gd name="connsiteX4026" fmla="*/ 9418144 w 12187339"/>
                <a:gd name="connsiteY4026" fmla="*/ 6110580 h 6851196"/>
                <a:gd name="connsiteX4027" fmla="*/ 9194055 w 12187339"/>
                <a:gd name="connsiteY4027" fmla="*/ 6110580 h 6851196"/>
                <a:gd name="connsiteX4028" fmla="*/ 9424546 w 12187339"/>
                <a:gd name="connsiteY4028" fmla="*/ 5872455 h 6851196"/>
                <a:gd name="connsiteX4029" fmla="*/ 9648635 w 12187339"/>
                <a:gd name="connsiteY4029" fmla="*/ 5872455 h 6851196"/>
                <a:gd name="connsiteX4030" fmla="*/ 9648635 w 12187339"/>
                <a:gd name="connsiteY4030" fmla="*/ 6110580 h 6851196"/>
                <a:gd name="connsiteX4031" fmla="*/ 9424546 w 12187339"/>
                <a:gd name="connsiteY4031" fmla="*/ 6110580 h 6851196"/>
                <a:gd name="connsiteX4032" fmla="*/ 9655037 w 12187339"/>
                <a:gd name="connsiteY4032" fmla="*/ 5872455 h 6851196"/>
                <a:gd name="connsiteX4033" fmla="*/ 9877591 w 12187339"/>
                <a:gd name="connsiteY4033" fmla="*/ 5872455 h 6851196"/>
                <a:gd name="connsiteX4034" fmla="*/ 9877591 w 12187339"/>
                <a:gd name="connsiteY4034" fmla="*/ 6110580 h 6851196"/>
                <a:gd name="connsiteX4035" fmla="*/ 9655037 w 12187339"/>
                <a:gd name="connsiteY4035" fmla="*/ 6110580 h 6851196"/>
                <a:gd name="connsiteX4036" fmla="*/ 9883993 w 12187339"/>
                <a:gd name="connsiteY4036" fmla="*/ 5872455 h 6851196"/>
                <a:gd name="connsiteX4037" fmla="*/ 10108082 w 12187339"/>
                <a:gd name="connsiteY4037" fmla="*/ 5872455 h 6851196"/>
                <a:gd name="connsiteX4038" fmla="*/ 10108082 w 12187339"/>
                <a:gd name="connsiteY4038" fmla="*/ 6110580 h 6851196"/>
                <a:gd name="connsiteX4039" fmla="*/ 9883993 w 12187339"/>
                <a:gd name="connsiteY4039" fmla="*/ 6110580 h 6851196"/>
                <a:gd name="connsiteX4040" fmla="*/ 10114484 w 12187339"/>
                <a:gd name="connsiteY4040" fmla="*/ 5872455 h 6851196"/>
                <a:gd name="connsiteX4041" fmla="*/ 10338573 w 12187339"/>
                <a:gd name="connsiteY4041" fmla="*/ 5872455 h 6851196"/>
                <a:gd name="connsiteX4042" fmla="*/ 10338573 w 12187339"/>
                <a:gd name="connsiteY4042" fmla="*/ 6110580 h 6851196"/>
                <a:gd name="connsiteX4043" fmla="*/ 10114484 w 12187339"/>
                <a:gd name="connsiteY4043" fmla="*/ 6110580 h 6851196"/>
                <a:gd name="connsiteX4044" fmla="*/ 10344975 w 12187339"/>
                <a:gd name="connsiteY4044" fmla="*/ 5872455 h 6851196"/>
                <a:gd name="connsiteX4045" fmla="*/ 10569064 w 12187339"/>
                <a:gd name="connsiteY4045" fmla="*/ 5872455 h 6851196"/>
                <a:gd name="connsiteX4046" fmla="*/ 10569064 w 12187339"/>
                <a:gd name="connsiteY4046" fmla="*/ 6110580 h 6851196"/>
                <a:gd name="connsiteX4047" fmla="*/ 10344975 w 12187339"/>
                <a:gd name="connsiteY4047" fmla="*/ 6110580 h 6851196"/>
                <a:gd name="connsiteX4048" fmla="*/ 10575466 w 12187339"/>
                <a:gd name="connsiteY4048" fmla="*/ 5872455 h 6851196"/>
                <a:gd name="connsiteX4049" fmla="*/ 10798016 w 12187339"/>
                <a:gd name="connsiteY4049" fmla="*/ 5872455 h 6851196"/>
                <a:gd name="connsiteX4050" fmla="*/ 10798016 w 12187339"/>
                <a:gd name="connsiteY4050" fmla="*/ 6110580 h 6851196"/>
                <a:gd name="connsiteX4051" fmla="*/ 10575466 w 12187339"/>
                <a:gd name="connsiteY4051" fmla="*/ 6110580 h 6851196"/>
                <a:gd name="connsiteX4052" fmla="*/ 10804419 w 12187339"/>
                <a:gd name="connsiteY4052" fmla="*/ 5872455 h 6851196"/>
                <a:gd name="connsiteX4053" fmla="*/ 11028507 w 12187339"/>
                <a:gd name="connsiteY4053" fmla="*/ 5872455 h 6851196"/>
                <a:gd name="connsiteX4054" fmla="*/ 11028507 w 12187339"/>
                <a:gd name="connsiteY4054" fmla="*/ 6110580 h 6851196"/>
                <a:gd name="connsiteX4055" fmla="*/ 10804419 w 12187339"/>
                <a:gd name="connsiteY4055" fmla="*/ 6110580 h 6851196"/>
                <a:gd name="connsiteX4056" fmla="*/ 11034910 w 12187339"/>
                <a:gd name="connsiteY4056" fmla="*/ 5872455 h 6851196"/>
                <a:gd name="connsiteX4057" fmla="*/ 11258998 w 12187339"/>
                <a:gd name="connsiteY4057" fmla="*/ 5872455 h 6851196"/>
                <a:gd name="connsiteX4058" fmla="*/ 11258998 w 12187339"/>
                <a:gd name="connsiteY4058" fmla="*/ 6110580 h 6851196"/>
                <a:gd name="connsiteX4059" fmla="*/ 11034910 w 12187339"/>
                <a:gd name="connsiteY4059" fmla="*/ 6110580 h 6851196"/>
                <a:gd name="connsiteX4060" fmla="*/ 11265401 w 12187339"/>
                <a:gd name="connsiteY4060" fmla="*/ 5872455 h 6851196"/>
                <a:gd name="connsiteX4061" fmla="*/ 11487954 w 12187339"/>
                <a:gd name="connsiteY4061" fmla="*/ 5872455 h 6851196"/>
                <a:gd name="connsiteX4062" fmla="*/ 11487954 w 12187339"/>
                <a:gd name="connsiteY4062" fmla="*/ 6110580 h 6851196"/>
                <a:gd name="connsiteX4063" fmla="*/ 11265401 w 12187339"/>
                <a:gd name="connsiteY4063" fmla="*/ 6110580 h 6851196"/>
                <a:gd name="connsiteX4064" fmla="*/ 11265401 w 12187339"/>
                <a:gd name="connsiteY4064" fmla="*/ 5865652 h 6851196"/>
                <a:gd name="connsiteX4065" fmla="*/ 11265401 w 12187339"/>
                <a:gd name="connsiteY4065" fmla="*/ 5627527 h 6851196"/>
                <a:gd name="connsiteX4066" fmla="*/ 11487954 w 12187339"/>
                <a:gd name="connsiteY4066" fmla="*/ 5627527 h 6851196"/>
                <a:gd name="connsiteX4067" fmla="*/ 11487954 w 12187339"/>
                <a:gd name="connsiteY4067" fmla="*/ 5865652 h 6851196"/>
                <a:gd name="connsiteX4068" fmla="*/ 11265401 w 12187339"/>
                <a:gd name="connsiteY4068" fmla="*/ 5620723 h 6851196"/>
                <a:gd name="connsiteX4069" fmla="*/ 11265401 w 12187339"/>
                <a:gd name="connsiteY4069" fmla="*/ 5382598 h 6851196"/>
                <a:gd name="connsiteX4070" fmla="*/ 11487954 w 12187339"/>
                <a:gd name="connsiteY4070" fmla="*/ 5382598 h 6851196"/>
                <a:gd name="connsiteX4071" fmla="*/ 11487954 w 12187339"/>
                <a:gd name="connsiteY4071" fmla="*/ 5620723 h 6851196"/>
                <a:gd name="connsiteX4072" fmla="*/ 11265401 w 12187339"/>
                <a:gd name="connsiteY4072" fmla="*/ 5375795 h 6851196"/>
                <a:gd name="connsiteX4073" fmla="*/ 11265401 w 12187339"/>
                <a:gd name="connsiteY4073" fmla="*/ 5139302 h 6851196"/>
                <a:gd name="connsiteX4074" fmla="*/ 11487954 w 12187339"/>
                <a:gd name="connsiteY4074" fmla="*/ 5139302 h 6851196"/>
                <a:gd name="connsiteX4075" fmla="*/ 11487954 w 12187339"/>
                <a:gd name="connsiteY4075" fmla="*/ 5375795 h 6851196"/>
                <a:gd name="connsiteX4076" fmla="*/ 11265401 w 12187339"/>
                <a:gd name="connsiteY4076" fmla="*/ 5132499 h 6851196"/>
                <a:gd name="connsiteX4077" fmla="*/ 11265401 w 12187339"/>
                <a:gd name="connsiteY4077" fmla="*/ 4894374 h 6851196"/>
                <a:gd name="connsiteX4078" fmla="*/ 11487954 w 12187339"/>
                <a:gd name="connsiteY4078" fmla="*/ 4894374 h 6851196"/>
                <a:gd name="connsiteX4079" fmla="*/ 11487954 w 12187339"/>
                <a:gd name="connsiteY4079" fmla="*/ 5132090 h 6851196"/>
                <a:gd name="connsiteX4080" fmla="*/ 11265401 w 12187339"/>
                <a:gd name="connsiteY4080" fmla="*/ 4887570 h 6851196"/>
                <a:gd name="connsiteX4081" fmla="*/ 11265401 w 12187339"/>
                <a:gd name="connsiteY4081" fmla="*/ 4649445 h 6851196"/>
                <a:gd name="connsiteX4082" fmla="*/ 11487954 w 12187339"/>
                <a:gd name="connsiteY4082" fmla="*/ 4649445 h 6851196"/>
                <a:gd name="connsiteX4083" fmla="*/ 11487954 w 12187339"/>
                <a:gd name="connsiteY4083" fmla="*/ 4887162 h 6851196"/>
                <a:gd name="connsiteX4084" fmla="*/ 11265401 w 12187339"/>
                <a:gd name="connsiteY4084" fmla="*/ 4642642 h 6851196"/>
                <a:gd name="connsiteX4085" fmla="*/ 11265401 w 12187339"/>
                <a:gd name="connsiteY4085" fmla="*/ 4406149 h 6851196"/>
                <a:gd name="connsiteX4086" fmla="*/ 11487954 w 12187339"/>
                <a:gd name="connsiteY4086" fmla="*/ 4406149 h 6851196"/>
                <a:gd name="connsiteX4087" fmla="*/ 11487954 w 12187339"/>
                <a:gd name="connsiteY4087" fmla="*/ 4642233 h 6851196"/>
                <a:gd name="connsiteX4088" fmla="*/ 11265401 w 12187339"/>
                <a:gd name="connsiteY4088" fmla="*/ 4399346 h 6851196"/>
                <a:gd name="connsiteX4089" fmla="*/ 11265401 w 12187339"/>
                <a:gd name="connsiteY4089" fmla="*/ 4161221 h 6851196"/>
                <a:gd name="connsiteX4090" fmla="*/ 11487954 w 12187339"/>
                <a:gd name="connsiteY4090" fmla="*/ 4161221 h 6851196"/>
                <a:gd name="connsiteX4091" fmla="*/ 11487954 w 12187339"/>
                <a:gd name="connsiteY4091" fmla="*/ 4399346 h 6851196"/>
                <a:gd name="connsiteX4092" fmla="*/ 11265401 w 12187339"/>
                <a:gd name="connsiteY4092" fmla="*/ 4154417 h 6851196"/>
                <a:gd name="connsiteX4093" fmla="*/ 11265401 w 12187339"/>
                <a:gd name="connsiteY4093" fmla="*/ 3916292 h 6851196"/>
                <a:gd name="connsiteX4094" fmla="*/ 11487954 w 12187339"/>
                <a:gd name="connsiteY4094" fmla="*/ 3916292 h 6851196"/>
                <a:gd name="connsiteX4095" fmla="*/ 11487954 w 12187339"/>
                <a:gd name="connsiteY4095" fmla="*/ 4154417 h 6851196"/>
                <a:gd name="connsiteX4096" fmla="*/ 11265401 w 12187339"/>
                <a:gd name="connsiteY4096" fmla="*/ 3909489 h 6851196"/>
                <a:gd name="connsiteX4097" fmla="*/ 11265401 w 12187339"/>
                <a:gd name="connsiteY4097" fmla="*/ 3671364 h 6851196"/>
                <a:gd name="connsiteX4098" fmla="*/ 11487954 w 12187339"/>
                <a:gd name="connsiteY4098" fmla="*/ 3671364 h 6851196"/>
                <a:gd name="connsiteX4099" fmla="*/ 11487954 w 12187339"/>
                <a:gd name="connsiteY4099" fmla="*/ 3909489 h 6851196"/>
                <a:gd name="connsiteX4100" fmla="*/ 11265401 w 12187339"/>
                <a:gd name="connsiteY4100" fmla="*/ 3664560 h 6851196"/>
                <a:gd name="connsiteX4101" fmla="*/ 11265401 w 12187339"/>
                <a:gd name="connsiteY4101" fmla="*/ 3428068 h 6851196"/>
                <a:gd name="connsiteX4102" fmla="*/ 11487954 w 12187339"/>
                <a:gd name="connsiteY4102" fmla="*/ 3428068 h 6851196"/>
                <a:gd name="connsiteX4103" fmla="*/ 11487954 w 12187339"/>
                <a:gd name="connsiteY4103" fmla="*/ 3664560 h 6851196"/>
                <a:gd name="connsiteX4104" fmla="*/ 11265401 w 12187339"/>
                <a:gd name="connsiteY4104" fmla="*/ 3421264 h 6851196"/>
                <a:gd name="connsiteX4105" fmla="*/ 11265401 w 12187339"/>
                <a:gd name="connsiteY4105" fmla="*/ 3183139 h 6851196"/>
                <a:gd name="connsiteX4106" fmla="*/ 11487954 w 12187339"/>
                <a:gd name="connsiteY4106" fmla="*/ 3183139 h 6851196"/>
                <a:gd name="connsiteX4107" fmla="*/ 11487954 w 12187339"/>
                <a:gd name="connsiteY4107" fmla="*/ 3421264 h 6851196"/>
                <a:gd name="connsiteX4108" fmla="*/ 11265401 w 12187339"/>
                <a:gd name="connsiteY4108" fmla="*/ 3176336 h 6851196"/>
                <a:gd name="connsiteX4109" fmla="*/ 11265401 w 12187339"/>
                <a:gd name="connsiteY4109" fmla="*/ 2938211 h 6851196"/>
                <a:gd name="connsiteX4110" fmla="*/ 11487954 w 12187339"/>
                <a:gd name="connsiteY4110" fmla="*/ 2938211 h 6851196"/>
                <a:gd name="connsiteX4111" fmla="*/ 11487954 w 12187339"/>
                <a:gd name="connsiteY4111" fmla="*/ 3176336 h 6851196"/>
                <a:gd name="connsiteX4112" fmla="*/ 11265401 w 12187339"/>
                <a:gd name="connsiteY4112" fmla="*/ 2931407 h 6851196"/>
                <a:gd name="connsiteX4113" fmla="*/ 11265401 w 12187339"/>
                <a:gd name="connsiteY4113" fmla="*/ 2693282 h 6851196"/>
                <a:gd name="connsiteX4114" fmla="*/ 11487954 w 12187339"/>
                <a:gd name="connsiteY4114" fmla="*/ 2693282 h 6851196"/>
                <a:gd name="connsiteX4115" fmla="*/ 11487954 w 12187339"/>
                <a:gd name="connsiteY4115" fmla="*/ 2931407 h 6851196"/>
                <a:gd name="connsiteX4116" fmla="*/ 11265401 w 12187339"/>
                <a:gd name="connsiteY4116" fmla="*/ 2686479 h 6851196"/>
                <a:gd name="connsiteX4117" fmla="*/ 11265401 w 12187339"/>
                <a:gd name="connsiteY4117" fmla="*/ 2449986 h 6851196"/>
                <a:gd name="connsiteX4118" fmla="*/ 11487954 w 12187339"/>
                <a:gd name="connsiteY4118" fmla="*/ 2449986 h 6851196"/>
                <a:gd name="connsiteX4119" fmla="*/ 11487954 w 12187339"/>
                <a:gd name="connsiteY4119" fmla="*/ 2686479 h 6851196"/>
                <a:gd name="connsiteX4120" fmla="*/ 11265401 w 12187339"/>
                <a:gd name="connsiteY4120" fmla="*/ 2443183 h 6851196"/>
                <a:gd name="connsiteX4121" fmla="*/ 11265401 w 12187339"/>
                <a:gd name="connsiteY4121" fmla="*/ 2205058 h 6851196"/>
                <a:gd name="connsiteX4122" fmla="*/ 11487954 w 12187339"/>
                <a:gd name="connsiteY4122" fmla="*/ 2205058 h 6851196"/>
                <a:gd name="connsiteX4123" fmla="*/ 11487954 w 12187339"/>
                <a:gd name="connsiteY4123" fmla="*/ 2443183 h 6851196"/>
                <a:gd name="connsiteX4124" fmla="*/ 11265401 w 12187339"/>
                <a:gd name="connsiteY4124" fmla="*/ 2198254 h 6851196"/>
                <a:gd name="connsiteX4125" fmla="*/ 11265401 w 12187339"/>
                <a:gd name="connsiteY4125" fmla="*/ 1960129 h 6851196"/>
                <a:gd name="connsiteX4126" fmla="*/ 11487954 w 12187339"/>
                <a:gd name="connsiteY4126" fmla="*/ 1960129 h 6851196"/>
                <a:gd name="connsiteX4127" fmla="*/ 11487954 w 12187339"/>
                <a:gd name="connsiteY4127" fmla="*/ 2198254 h 6851196"/>
                <a:gd name="connsiteX4128" fmla="*/ 11265401 w 12187339"/>
                <a:gd name="connsiteY4128" fmla="*/ 1953326 h 6851196"/>
                <a:gd name="connsiteX4129" fmla="*/ 11265401 w 12187339"/>
                <a:gd name="connsiteY4129" fmla="*/ 1716697 h 6851196"/>
                <a:gd name="connsiteX4130" fmla="*/ 11487954 w 12187339"/>
                <a:gd name="connsiteY4130" fmla="*/ 1716697 h 6851196"/>
                <a:gd name="connsiteX4131" fmla="*/ 11487954 w 12187339"/>
                <a:gd name="connsiteY4131" fmla="*/ 1953189 h 6851196"/>
                <a:gd name="connsiteX4132" fmla="*/ 11265401 w 12187339"/>
                <a:gd name="connsiteY4132" fmla="*/ 1710030 h 6851196"/>
                <a:gd name="connsiteX4133" fmla="*/ 11265401 w 12187339"/>
                <a:gd name="connsiteY4133" fmla="*/ 1471769 h 6851196"/>
                <a:gd name="connsiteX4134" fmla="*/ 11487954 w 12187339"/>
                <a:gd name="connsiteY4134" fmla="*/ 1471769 h 6851196"/>
                <a:gd name="connsiteX4135" fmla="*/ 11487954 w 12187339"/>
                <a:gd name="connsiteY4135" fmla="*/ 1709894 h 6851196"/>
                <a:gd name="connsiteX4136" fmla="*/ 11265401 w 12187339"/>
                <a:gd name="connsiteY4136" fmla="*/ 1465101 h 6851196"/>
                <a:gd name="connsiteX4137" fmla="*/ 11265401 w 12187339"/>
                <a:gd name="connsiteY4137" fmla="*/ 1226840 h 6851196"/>
                <a:gd name="connsiteX4138" fmla="*/ 11487954 w 12187339"/>
                <a:gd name="connsiteY4138" fmla="*/ 1226840 h 6851196"/>
                <a:gd name="connsiteX4139" fmla="*/ 11487954 w 12187339"/>
                <a:gd name="connsiteY4139" fmla="*/ 1464965 h 6851196"/>
                <a:gd name="connsiteX4140" fmla="*/ 11265401 w 12187339"/>
                <a:gd name="connsiteY4140" fmla="*/ 1220173 h 6851196"/>
                <a:gd name="connsiteX4141" fmla="*/ 11265401 w 12187339"/>
                <a:gd name="connsiteY4141" fmla="*/ 981911 h 6851196"/>
                <a:gd name="connsiteX4142" fmla="*/ 11487954 w 12187339"/>
                <a:gd name="connsiteY4142" fmla="*/ 981911 h 6851196"/>
                <a:gd name="connsiteX4143" fmla="*/ 11487954 w 12187339"/>
                <a:gd name="connsiteY4143" fmla="*/ 1220036 h 6851196"/>
                <a:gd name="connsiteX4144" fmla="*/ 11265401 w 12187339"/>
                <a:gd name="connsiteY4144" fmla="*/ 975244 h 6851196"/>
                <a:gd name="connsiteX4145" fmla="*/ 11265401 w 12187339"/>
                <a:gd name="connsiteY4145" fmla="*/ 738752 h 6851196"/>
                <a:gd name="connsiteX4146" fmla="*/ 11487954 w 12187339"/>
                <a:gd name="connsiteY4146" fmla="*/ 738752 h 6851196"/>
                <a:gd name="connsiteX4147" fmla="*/ 11487954 w 12187339"/>
                <a:gd name="connsiteY4147" fmla="*/ 975244 h 6851196"/>
                <a:gd name="connsiteX4148" fmla="*/ 11265401 w 12187339"/>
                <a:gd name="connsiteY4148" fmla="*/ 731948 h 6851196"/>
                <a:gd name="connsiteX4149" fmla="*/ 11265401 w 12187339"/>
                <a:gd name="connsiteY4149" fmla="*/ 493823 h 6851196"/>
                <a:gd name="connsiteX4150" fmla="*/ 11487954 w 12187339"/>
                <a:gd name="connsiteY4150" fmla="*/ 493823 h 6851196"/>
                <a:gd name="connsiteX4151" fmla="*/ 11487954 w 12187339"/>
                <a:gd name="connsiteY4151" fmla="*/ 731948 h 6851196"/>
                <a:gd name="connsiteX4152" fmla="*/ 11258998 w 12187339"/>
                <a:gd name="connsiteY4152" fmla="*/ 731948 h 6851196"/>
                <a:gd name="connsiteX4153" fmla="*/ 11034910 w 12187339"/>
                <a:gd name="connsiteY4153" fmla="*/ 731948 h 6851196"/>
                <a:gd name="connsiteX4154" fmla="*/ 11034910 w 12187339"/>
                <a:gd name="connsiteY4154" fmla="*/ 493823 h 6851196"/>
                <a:gd name="connsiteX4155" fmla="*/ 11258998 w 12187339"/>
                <a:gd name="connsiteY4155" fmla="*/ 493823 h 6851196"/>
                <a:gd name="connsiteX4156" fmla="*/ 11028507 w 12187339"/>
                <a:gd name="connsiteY4156" fmla="*/ 731948 h 6851196"/>
                <a:gd name="connsiteX4157" fmla="*/ 10804419 w 12187339"/>
                <a:gd name="connsiteY4157" fmla="*/ 731948 h 6851196"/>
                <a:gd name="connsiteX4158" fmla="*/ 10804419 w 12187339"/>
                <a:gd name="connsiteY4158" fmla="*/ 493823 h 6851196"/>
                <a:gd name="connsiteX4159" fmla="*/ 11028507 w 12187339"/>
                <a:gd name="connsiteY4159" fmla="*/ 493823 h 6851196"/>
                <a:gd name="connsiteX4160" fmla="*/ 10798016 w 12187339"/>
                <a:gd name="connsiteY4160" fmla="*/ 731948 h 6851196"/>
                <a:gd name="connsiteX4161" fmla="*/ 10575466 w 12187339"/>
                <a:gd name="connsiteY4161" fmla="*/ 731948 h 6851196"/>
                <a:gd name="connsiteX4162" fmla="*/ 10575466 w 12187339"/>
                <a:gd name="connsiteY4162" fmla="*/ 493823 h 6851196"/>
                <a:gd name="connsiteX4163" fmla="*/ 10798016 w 12187339"/>
                <a:gd name="connsiteY4163" fmla="*/ 493823 h 6851196"/>
                <a:gd name="connsiteX4164" fmla="*/ 10569064 w 12187339"/>
                <a:gd name="connsiteY4164" fmla="*/ 731948 h 6851196"/>
                <a:gd name="connsiteX4165" fmla="*/ 10344975 w 12187339"/>
                <a:gd name="connsiteY4165" fmla="*/ 731948 h 6851196"/>
                <a:gd name="connsiteX4166" fmla="*/ 10344975 w 12187339"/>
                <a:gd name="connsiteY4166" fmla="*/ 493823 h 6851196"/>
                <a:gd name="connsiteX4167" fmla="*/ 10569064 w 12187339"/>
                <a:gd name="connsiteY4167" fmla="*/ 493823 h 6851196"/>
                <a:gd name="connsiteX4168" fmla="*/ 10338573 w 12187339"/>
                <a:gd name="connsiteY4168" fmla="*/ 731948 h 6851196"/>
                <a:gd name="connsiteX4169" fmla="*/ 10114484 w 12187339"/>
                <a:gd name="connsiteY4169" fmla="*/ 731948 h 6851196"/>
                <a:gd name="connsiteX4170" fmla="*/ 10114484 w 12187339"/>
                <a:gd name="connsiteY4170" fmla="*/ 493823 h 6851196"/>
                <a:gd name="connsiteX4171" fmla="*/ 10338573 w 12187339"/>
                <a:gd name="connsiteY4171" fmla="*/ 493823 h 6851196"/>
                <a:gd name="connsiteX4172" fmla="*/ 10108082 w 12187339"/>
                <a:gd name="connsiteY4172" fmla="*/ 731948 h 6851196"/>
                <a:gd name="connsiteX4173" fmla="*/ 9883993 w 12187339"/>
                <a:gd name="connsiteY4173" fmla="*/ 731948 h 6851196"/>
                <a:gd name="connsiteX4174" fmla="*/ 9883993 w 12187339"/>
                <a:gd name="connsiteY4174" fmla="*/ 493823 h 6851196"/>
                <a:gd name="connsiteX4175" fmla="*/ 10108082 w 12187339"/>
                <a:gd name="connsiteY4175" fmla="*/ 493823 h 6851196"/>
                <a:gd name="connsiteX4176" fmla="*/ 9877591 w 12187339"/>
                <a:gd name="connsiteY4176" fmla="*/ 731948 h 6851196"/>
                <a:gd name="connsiteX4177" fmla="*/ 9655037 w 12187339"/>
                <a:gd name="connsiteY4177" fmla="*/ 731948 h 6851196"/>
                <a:gd name="connsiteX4178" fmla="*/ 9655037 w 12187339"/>
                <a:gd name="connsiteY4178" fmla="*/ 493823 h 6851196"/>
                <a:gd name="connsiteX4179" fmla="*/ 9877591 w 12187339"/>
                <a:gd name="connsiteY4179" fmla="*/ 493823 h 6851196"/>
                <a:gd name="connsiteX4180" fmla="*/ 9648635 w 12187339"/>
                <a:gd name="connsiteY4180" fmla="*/ 731948 h 6851196"/>
                <a:gd name="connsiteX4181" fmla="*/ 9424546 w 12187339"/>
                <a:gd name="connsiteY4181" fmla="*/ 731948 h 6851196"/>
                <a:gd name="connsiteX4182" fmla="*/ 9424546 w 12187339"/>
                <a:gd name="connsiteY4182" fmla="*/ 493823 h 6851196"/>
                <a:gd name="connsiteX4183" fmla="*/ 9648635 w 12187339"/>
                <a:gd name="connsiteY4183" fmla="*/ 493823 h 6851196"/>
                <a:gd name="connsiteX4184" fmla="*/ 9418144 w 12187339"/>
                <a:gd name="connsiteY4184" fmla="*/ 731948 h 6851196"/>
                <a:gd name="connsiteX4185" fmla="*/ 9194055 w 12187339"/>
                <a:gd name="connsiteY4185" fmla="*/ 731948 h 6851196"/>
                <a:gd name="connsiteX4186" fmla="*/ 9194055 w 12187339"/>
                <a:gd name="connsiteY4186" fmla="*/ 493823 h 6851196"/>
                <a:gd name="connsiteX4187" fmla="*/ 9418144 w 12187339"/>
                <a:gd name="connsiteY4187" fmla="*/ 493823 h 6851196"/>
                <a:gd name="connsiteX4188" fmla="*/ 9187653 w 12187339"/>
                <a:gd name="connsiteY4188" fmla="*/ 731948 h 6851196"/>
                <a:gd name="connsiteX4189" fmla="*/ 8963564 w 12187339"/>
                <a:gd name="connsiteY4189" fmla="*/ 731948 h 6851196"/>
                <a:gd name="connsiteX4190" fmla="*/ 8963564 w 12187339"/>
                <a:gd name="connsiteY4190" fmla="*/ 493823 h 6851196"/>
                <a:gd name="connsiteX4191" fmla="*/ 9187653 w 12187339"/>
                <a:gd name="connsiteY4191" fmla="*/ 493823 h 6851196"/>
                <a:gd name="connsiteX4192" fmla="*/ 8957162 w 12187339"/>
                <a:gd name="connsiteY4192" fmla="*/ 731948 h 6851196"/>
                <a:gd name="connsiteX4193" fmla="*/ 8734611 w 12187339"/>
                <a:gd name="connsiteY4193" fmla="*/ 731948 h 6851196"/>
                <a:gd name="connsiteX4194" fmla="*/ 8734611 w 12187339"/>
                <a:gd name="connsiteY4194" fmla="*/ 493823 h 6851196"/>
                <a:gd name="connsiteX4195" fmla="*/ 8957162 w 12187339"/>
                <a:gd name="connsiteY4195" fmla="*/ 493823 h 6851196"/>
                <a:gd name="connsiteX4196" fmla="*/ 8728209 w 12187339"/>
                <a:gd name="connsiteY4196" fmla="*/ 731948 h 6851196"/>
                <a:gd name="connsiteX4197" fmla="*/ 8504120 w 12187339"/>
                <a:gd name="connsiteY4197" fmla="*/ 731948 h 6851196"/>
                <a:gd name="connsiteX4198" fmla="*/ 8504120 w 12187339"/>
                <a:gd name="connsiteY4198" fmla="*/ 493823 h 6851196"/>
                <a:gd name="connsiteX4199" fmla="*/ 8728209 w 12187339"/>
                <a:gd name="connsiteY4199" fmla="*/ 493823 h 6851196"/>
                <a:gd name="connsiteX4200" fmla="*/ 8497718 w 12187339"/>
                <a:gd name="connsiteY4200" fmla="*/ 731948 h 6851196"/>
                <a:gd name="connsiteX4201" fmla="*/ 8273629 w 12187339"/>
                <a:gd name="connsiteY4201" fmla="*/ 731948 h 6851196"/>
                <a:gd name="connsiteX4202" fmla="*/ 8273629 w 12187339"/>
                <a:gd name="connsiteY4202" fmla="*/ 493823 h 6851196"/>
                <a:gd name="connsiteX4203" fmla="*/ 8497718 w 12187339"/>
                <a:gd name="connsiteY4203" fmla="*/ 493823 h 6851196"/>
                <a:gd name="connsiteX4204" fmla="*/ 8267227 w 12187339"/>
                <a:gd name="connsiteY4204" fmla="*/ 731948 h 6851196"/>
                <a:gd name="connsiteX4205" fmla="*/ 8044420 w 12187339"/>
                <a:gd name="connsiteY4205" fmla="*/ 731948 h 6851196"/>
                <a:gd name="connsiteX4206" fmla="*/ 8044420 w 12187339"/>
                <a:gd name="connsiteY4206" fmla="*/ 493823 h 6851196"/>
                <a:gd name="connsiteX4207" fmla="*/ 8267227 w 12187339"/>
                <a:gd name="connsiteY4207" fmla="*/ 493823 h 6851196"/>
                <a:gd name="connsiteX4208" fmla="*/ 8038274 w 12187339"/>
                <a:gd name="connsiteY4208" fmla="*/ 731948 h 6851196"/>
                <a:gd name="connsiteX4209" fmla="*/ 7814186 w 12187339"/>
                <a:gd name="connsiteY4209" fmla="*/ 731948 h 6851196"/>
                <a:gd name="connsiteX4210" fmla="*/ 7814186 w 12187339"/>
                <a:gd name="connsiteY4210" fmla="*/ 493823 h 6851196"/>
                <a:gd name="connsiteX4211" fmla="*/ 8038274 w 12187339"/>
                <a:gd name="connsiteY4211" fmla="*/ 493823 h 6851196"/>
                <a:gd name="connsiteX4212" fmla="*/ 7807783 w 12187339"/>
                <a:gd name="connsiteY4212" fmla="*/ 731948 h 6851196"/>
                <a:gd name="connsiteX4213" fmla="*/ 7583695 w 12187339"/>
                <a:gd name="connsiteY4213" fmla="*/ 731948 h 6851196"/>
                <a:gd name="connsiteX4214" fmla="*/ 7583695 w 12187339"/>
                <a:gd name="connsiteY4214" fmla="*/ 493823 h 6851196"/>
                <a:gd name="connsiteX4215" fmla="*/ 7807783 w 12187339"/>
                <a:gd name="connsiteY4215" fmla="*/ 493823 h 6851196"/>
                <a:gd name="connsiteX4216" fmla="*/ 7577292 w 12187339"/>
                <a:gd name="connsiteY4216" fmla="*/ 731948 h 6851196"/>
                <a:gd name="connsiteX4217" fmla="*/ 7353204 w 12187339"/>
                <a:gd name="connsiteY4217" fmla="*/ 731948 h 6851196"/>
                <a:gd name="connsiteX4218" fmla="*/ 7353204 w 12187339"/>
                <a:gd name="connsiteY4218" fmla="*/ 493823 h 6851196"/>
                <a:gd name="connsiteX4219" fmla="*/ 7577292 w 12187339"/>
                <a:gd name="connsiteY4219" fmla="*/ 493823 h 6851196"/>
                <a:gd name="connsiteX4220" fmla="*/ 7346801 w 12187339"/>
                <a:gd name="connsiteY4220" fmla="*/ 731948 h 6851196"/>
                <a:gd name="connsiteX4221" fmla="*/ 7124247 w 12187339"/>
                <a:gd name="connsiteY4221" fmla="*/ 731948 h 6851196"/>
                <a:gd name="connsiteX4222" fmla="*/ 7124247 w 12187339"/>
                <a:gd name="connsiteY4222" fmla="*/ 493823 h 6851196"/>
                <a:gd name="connsiteX4223" fmla="*/ 7346801 w 12187339"/>
                <a:gd name="connsiteY4223" fmla="*/ 493823 h 6851196"/>
                <a:gd name="connsiteX4224" fmla="*/ 7117845 w 12187339"/>
                <a:gd name="connsiteY4224" fmla="*/ 731948 h 6851196"/>
                <a:gd name="connsiteX4225" fmla="*/ 6893756 w 12187339"/>
                <a:gd name="connsiteY4225" fmla="*/ 731948 h 6851196"/>
                <a:gd name="connsiteX4226" fmla="*/ 6893756 w 12187339"/>
                <a:gd name="connsiteY4226" fmla="*/ 493823 h 6851196"/>
                <a:gd name="connsiteX4227" fmla="*/ 7117845 w 12187339"/>
                <a:gd name="connsiteY4227" fmla="*/ 493823 h 6851196"/>
                <a:gd name="connsiteX4228" fmla="*/ 6887354 w 12187339"/>
                <a:gd name="connsiteY4228" fmla="*/ 731948 h 6851196"/>
                <a:gd name="connsiteX4229" fmla="*/ 6663265 w 12187339"/>
                <a:gd name="connsiteY4229" fmla="*/ 731948 h 6851196"/>
                <a:gd name="connsiteX4230" fmla="*/ 6663265 w 12187339"/>
                <a:gd name="connsiteY4230" fmla="*/ 493823 h 6851196"/>
                <a:gd name="connsiteX4231" fmla="*/ 6887354 w 12187339"/>
                <a:gd name="connsiteY4231" fmla="*/ 493823 h 6851196"/>
                <a:gd name="connsiteX4232" fmla="*/ 6656863 w 12187339"/>
                <a:gd name="connsiteY4232" fmla="*/ 731948 h 6851196"/>
                <a:gd name="connsiteX4233" fmla="*/ 6446349 w 12187339"/>
                <a:gd name="connsiteY4233" fmla="*/ 731948 h 6851196"/>
                <a:gd name="connsiteX4234" fmla="*/ 6446349 w 12187339"/>
                <a:gd name="connsiteY4234" fmla="*/ 493823 h 6851196"/>
                <a:gd name="connsiteX4235" fmla="*/ 6656863 w 12187339"/>
                <a:gd name="connsiteY4235" fmla="*/ 493823 h 6851196"/>
                <a:gd name="connsiteX4236" fmla="*/ 6439946 w 12187339"/>
                <a:gd name="connsiteY4236" fmla="*/ 731948 h 6851196"/>
                <a:gd name="connsiteX4237" fmla="*/ 6217136 w 12187339"/>
                <a:gd name="connsiteY4237" fmla="*/ 731948 h 6851196"/>
                <a:gd name="connsiteX4238" fmla="*/ 6217136 w 12187339"/>
                <a:gd name="connsiteY4238" fmla="*/ 493823 h 6851196"/>
                <a:gd name="connsiteX4239" fmla="*/ 6439690 w 12187339"/>
                <a:gd name="connsiteY4239" fmla="*/ 493823 h 6851196"/>
                <a:gd name="connsiteX4240" fmla="*/ 6210990 w 12187339"/>
                <a:gd name="connsiteY4240" fmla="*/ 731948 h 6851196"/>
                <a:gd name="connsiteX4241" fmla="*/ 5986902 w 12187339"/>
                <a:gd name="connsiteY4241" fmla="*/ 731948 h 6851196"/>
                <a:gd name="connsiteX4242" fmla="*/ 5986902 w 12187339"/>
                <a:gd name="connsiteY4242" fmla="*/ 493823 h 6851196"/>
                <a:gd name="connsiteX4243" fmla="*/ 6210990 w 12187339"/>
                <a:gd name="connsiteY4243" fmla="*/ 493823 h 6851196"/>
                <a:gd name="connsiteX4244" fmla="*/ 5980499 w 12187339"/>
                <a:gd name="connsiteY4244" fmla="*/ 731948 h 6851196"/>
                <a:gd name="connsiteX4245" fmla="*/ 5756411 w 12187339"/>
                <a:gd name="connsiteY4245" fmla="*/ 731948 h 6851196"/>
                <a:gd name="connsiteX4246" fmla="*/ 5756411 w 12187339"/>
                <a:gd name="connsiteY4246" fmla="*/ 493823 h 6851196"/>
                <a:gd name="connsiteX4247" fmla="*/ 5980499 w 12187339"/>
                <a:gd name="connsiteY4247" fmla="*/ 493823 h 6851196"/>
                <a:gd name="connsiteX4248" fmla="*/ 5750008 w 12187339"/>
                <a:gd name="connsiteY4248" fmla="*/ 731948 h 6851196"/>
                <a:gd name="connsiteX4249" fmla="*/ 5526945 w 12187339"/>
                <a:gd name="connsiteY4249" fmla="*/ 731948 h 6851196"/>
                <a:gd name="connsiteX4250" fmla="*/ 5526945 w 12187339"/>
                <a:gd name="connsiteY4250" fmla="*/ 493823 h 6851196"/>
                <a:gd name="connsiteX4251" fmla="*/ 5749495 w 12187339"/>
                <a:gd name="connsiteY4251" fmla="*/ 493823 h 6851196"/>
                <a:gd name="connsiteX4252" fmla="*/ 5521055 w 12187339"/>
                <a:gd name="connsiteY4252" fmla="*/ 731948 h 6851196"/>
                <a:gd name="connsiteX4253" fmla="*/ 5296454 w 12187339"/>
                <a:gd name="connsiteY4253" fmla="*/ 731948 h 6851196"/>
                <a:gd name="connsiteX4254" fmla="*/ 5296454 w 12187339"/>
                <a:gd name="connsiteY4254" fmla="*/ 493823 h 6851196"/>
                <a:gd name="connsiteX4255" fmla="*/ 5520542 w 12187339"/>
                <a:gd name="connsiteY4255" fmla="*/ 493823 h 6851196"/>
                <a:gd name="connsiteX4256" fmla="*/ 5290564 w 12187339"/>
                <a:gd name="connsiteY4256" fmla="*/ 731948 h 6851196"/>
                <a:gd name="connsiteX4257" fmla="*/ 5065963 w 12187339"/>
                <a:gd name="connsiteY4257" fmla="*/ 731948 h 6851196"/>
                <a:gd name="connsiteX4258" fmla="*/ 5065963 w 12187339"/>
                <a:gd name="connsiteY4258" fmla="*/ 493823 h 6851196"/>
                <a:gd name="connsiteX4259" fmla="*/ 5290051 w 12187339"/>
                <a:gd name="connsiteY4259" fmla="*/ 493823 h 6851196"/>
                <a:gd name="connsiteX4260" fmla="*/ 5060073 w 12187339"/>
                <a:gd name="connsiteY4260" fmla="*/ 731948 h 6851196"/>
                <a:gd name="connsiteX4261" fmla="*/ 4835472 w 12187339"/>
                <a:gd name="connsiteY4261" fmla="*/ 731948 h 6851196"/>
                <a:gd name="connsiteX4262" fmla="*/ 4835472 w 12187339"/>
                <a:gd name="connsiteY4262" fmla="*/ 493823 h 6851196"/>
                <a:gd name="connsiteX4263" fmla="*/ 5059560 w 12187339"/>
                <a:gd name="connsiteY4263" fmla="*/ 493823 h 6851196"/>
                <a:gd name="connsiteX4264" fmla="*/ 4829582 w 12187339"/>
                <a:gd name="connsiteY4264" fmla="*/ 731948 h 6851196"/>
                <a:gd name="connsiteX4265" fmla="*/ 4607029 w 12187339"/>
                <a:gd name="connsiteY4265" fmla="*/ 731948 h 6851196"/>
                <a:gd name="connsiteX4266" fmla="*/ 4607029 w 12187339"/>
                <a:gd name="connsiteY4266" fmla="*/ 493823 h 6851196"/>
                <a:gd name="connsiteX4267" fmla="*/ 4829582 w 12187339"/>
                <a:gd name="connsiteY4267" fmla="*/ 493823 h 6851196"/>
                <a:gd name="connsiteX4268" fmla="*/ 4600626 w 12187339"/>
                <a:gd name="connsiteY4268" fmla="*/ 731948 h 6851196"/>
                <a:gd name="connsiteX4269" fmla="*/ 4376538 w 12187339"/>
                <a:gd name="connsiteY4269" fmla="*/ 731948 h 6851196"/>
                <a:gd name="connsiteX4270" fmla="*/ 4376538 w 12187339"/>
                <a:gd name="connsiteY4270" fmla="*/ 493823 h 6851196"/>
                <a:gd name="connsiteX4271" fmla="*/ 4600626 w 12187339"/>
                <a:gd name="connsiteY4271" fmla="*/ 493823 h 6851196"/>
                <a:gd name="connsiteX4272" fmla="*/ 4370135 w 12187339"/>
                <a:gd name="connsiteY4272" fmla="*/ 731948 h 6851196"/>
                <a:gd name="connsiteX4273" fmla="*/ 4146047 w 12187339"/>
                <a:gd name="connsiteY4273" fmla="*/ 731948 h 6851196"/>
                <a:gd name="connsiteX4274" fmla="*/ 4146047 w 12187339"/>
                <a:gd name="connsiteY4274" fmla="*/ 493823 h 6851196"/>
                <a:gd name="connsiteX4275" fmla="*/ 4370135 w 12187339"/>
                <a:gd name="connsiteY4275" fmla="*/ 493823 h 6851196"/>
                <a:gd name="connsiteX4276" fmla="*/ 4139644 w 12187339"/>
                <a:gd name="connsiteY4276" fmla="*/ 731948 h 6851196"/>
                <a:gd name="connsiteX4277" fmla="*/ 3917094 w 12187339"/>
                <a:gd name="connsiteY4277" fmla="*/ 731948 h 6851196"/>
                <a:gd name="connsiteX4278" fmla="*/ 3917094 w 12187339"/>
                <a:gd name="connsiteY4278" fmla="*/ 493823 h 6851196"/>
                <a:gd name="connsiteX4279" fmla="*/ 4139644 w 12187339"/>
                <a:gd name="connsiteY4279" fmla="*/ 493823 h 6851196"/>
                <a:gd name="connsiteX4280" fmla="*/ 3910691 w 12187339"/>
                <a:gd name="connsiteY4280" fmla="*/ 731948 h 6851196"/>
                <a:gd name="connsiteX4281" fmla="*/ 3686603 w 12187339"/>
                <a:gd name="connsiteY4281" fmla="*/ 731948 h 6851196"/>
                <a:gd name="connsiteX4282" fmla="*/ 3686603 w 12187339"/>
                <a:gd name="connsiteY4282" fmla="*/ 493823 h 6851196"/>
                <a:gd name="connsiteX4283" fmla="*/ 3910691 w 12187339"/>
                <a:gd name="connsiteY4283" fmla="*/ 493823 h 6851196"/>
                <a:gd name="connsiteX4284" fmla="*/ 3680200 w 12187339"/>
                <a:gd name="connsiteY4284" fmla="*/ 731948 h 6851196"/>
                <a:gd name="connsiteX4285" fmla="*/ 3456112 w 12187339"/>
                <a:gd name="connsiteY4285" fmla="*/ 731948 h 6851196"/>
                <a:gd name="connsiteX4286" fmla="*/ 3456112 w 12187339"/>
                <a:gd name="connsiteY4286" fmla="*/ 493823 h 6851196"/>
                <a:gd name="connsiteX4287" fmla="*/ 3680200 w 12187339"/>
                <a:gd name="connsiteY4287" fmla="*/ 493823 h 6851196"/>
                <a:gd name="connsiteX4288" fmla="*/ 3449709 w 12187339"/>
                <a:gd name="connsiteY4288" fmla="*/ 731948 h 6851196"/>
                <a:gd name="connsiteX4289" fmla="*/ 3225621 w 12187339"/>
                <a:gd name="connsiteY4289" fmla="*/ 731948 h 6851196"/>
                <a:gd name="connsiteX4290" fmla="*/ 3225621 w 12187339"/>
                <a:gd name="connsiteY4290" fmla="*/ 493823 h 6851196"/>
                <a:gd name="connsiteX4291" fmla="*/ 3449709 w 12187339"/>
                <a:gd name="connsiteY4291" fmla="*/ 493823 h 6851196"/>
                <a:gd name="connsiteX4292" fmla="*/ 3219218 w 12187339"/>
                <a:gd name="connsiteY4292" fmla="*/ 731948 h 6851196"/>
                <a:gd name="connsiteX4293" fmla="*/ 2996666 w 12187339"/>
                <a:gd name="connsiteY4293" fmla="*/ 731948 h 6851196"/>
                <a:gd name="connsiteX4294" fmla="*/ 2996666 w 12187339"/>
                <a:gd name="connsiteY4294" fmla="*/ 493823 h 6851196"/>
                <a:gd name="connsiteX4295" fmla="*/ 3219218 w 12187339"/>
                <a:gd name="connsiteY4295" fmla="*/ 493823 h 6851196"/>
                <a:gd name="connsiteX4296" fmla="*/ 2990264 w 12187339"/>
                <a:gd name="connsiteY4296" fmla="*/ 731948 h 6851196"/>
                <a:gd name="connsiteX4297" fmla="*/ 2766175 w 12187339"/>
                <a:gd name="connsiteY4297" fmla="*/ 731948 h 6851196"/>
                <a:gd name="connsiteX4298" fmla="*/ 2766175 w 12187339"/>
                <a:gd name="connsiteY4298" fmla="*/ 493823 h 6851196"/>
                <a:gd name="connsiteX4299" fmla="*/ 2990264 w 12187339"/>
                <a:gd name="connsiteY4299" fmla="*/ 493823 h 6851196"/>
                <a:gd name="connsiteX4300" fmla="*/ 2759773 w 12187339"/>
                <a:gd name="connsiteY4300" fmla="*/ 731948 h 6851196"/>
                <a:gd name="connsiteX4301" fmla="*/ 2535684 w 12187339"/>
                <a:gd name="connsiteY4301" fmla="*/ 731948 h 6851196"/>
                <a:gd name="connsiteX4302" fmla="*/ 2535684 w 12187339"/>
                <a:gd name="connsiteY4302" fmla="*/ 493823 h 6851196"/>
                <a:gd name="connsiteX4303" fmla="*/ 2759773 w 12187339"/>
                <a:gd name="connsiteY4303" fmla="*/ 493823 h 6851196"/>
                <a:gd name="connsiteX4304" fmla="*/ 2529282 w 12187339"/>
                <a:gd name="connsiteY4304" fmla="*/ 731948 h 6851196"/>
                <a:gd name="connsiteX4305" fmla="*/ 2305193 w 12187339"/>
                <a:gd name="connsiteY4305" fmla="*/ 731948 h 6851196"/>
                <a:gd name="connsiteX4306" fmla="*/ 2305193 w 12187339"/>
                <a:gd name="connsiteY4306" fmla="*/ 493823 h 6851196"/>
                <a:gd name="connsiteX4307" fmla="*/ 2529282 w 12187339"/>
                <a:gd name="connsiteY4307" fmla="*/ 493823 h 6851196"/>
                <a:gd name="connsiteX4308" fmla="*/ 2298791 w 12187339"/>
                <a:gd name="connsiteY4308" fmla="*/ 731948 h 6851196"/>
                <a:gd name="connsiteX4309" fmla="*/ 2075982 w 12187339"/>
                <a:gd name="connsiteY4309" fmla="*/ 731948 h 6851196"/>
                <a:gd name="connsiteX4310" fmla="*/ 2075982 w 12187339"/>
                <a:gd name="connsiteY4310" fmla="*/ 493823 h 6851196"/>
                <a:gd name="connsiteX4311" fmla="*/ 2298534 w 12187339"/>
                <a:gd name="connsiteY4311" fmla="*/ 493823 h 6851196"/>
                <a:gd name="connsiteX4312" fmla="*/ 2069836 w 12187339"/>
                <a:gd name="connsiteY4312" fmla="*/ 731948 h 6851196"/>
                <a:gd name="connsiteX4313" fmla="*/ 1845748 w 12187339"/>
                <a:gd name="connsiteY4313" fmla="*/ 731948 h 6851196"/>
                <a:gd name="connsiteX4314" fmla="*/ 1845748 w 12187339"/>
                <a:gd name="connsiteY4314" fmla="*/ 493823 h 6851196"/>
                <a:gd name="connsiteX4315" fmla="*/ 2069580 w 12187339"/>
                <a:gd name="connsiteY4315" fmla="*/ 493823 h 6851196"/>
                <a:gd name="connsiteX4316" fmla="*/ 1839345 w 12187339"/>
                <a:gd name="connsiteY4316" fmla="*/ 731948 h 6851196"/>
                <a:gd name="connsiteX4317" fmla="*/ 1615257 w 12187339"/>
                <a:gd name="connsiteY4317" fmla="*/ 731948 h 6851196"/>
                <a:gd name="connsiteX4318" fmla="*/ 1615257 w 12187339"/>
                <a:gd name="connsiteY4318" fmla="*/ 493823 h 6851196"/>
                <a:gd name="connsiteX4319" fmla="*/ 1839089 w 12187339"/>
                <a:gd name="connsiteY4319" fmla="*/ 493823 h 6851196"/>
                <a:gd name="connsiteX4320" fmla="*/ 1608854 w 12187339"/>
                <a:gd name="connsiteY4320" fmla="*/ 731948 h 6851196"/>
                <a:gd name="connsiteX4321" fmla="*/ 1386302 w 12187339"/>
                <a:gd name="connsiteY4321" fmla="*/ 731948 h 6851196"/>
                <a:gd name="connsiteX4322" fmla="*/ 1386302 w 12187339"/>
                <a:gd name="connsiteY4322" fmla="*/ 493823 h 6851196"/>
                <a:gd name="connsiteX4323" fmla="*/ 1608598 w 12187339"/>
                <a:gd name="connsiteY4323" fmla="*/ 493823 h 6851196"/>
                <a:gd name="connsiteX4324" fmla="*/ 1379900 w 12187339"/>
                <a:gd name="connsiteY4324" fmla="*/ 731948 h 6851196"/>
                <a:gd name="connsiteX4325" fmla="*/ 1155811 w 12187339"/>
                <a:gd name="connsiteY4325" fmla="*/ 731948 h 6851196"/>
                <a:gd name="connsiteX4326" fmla="*/ 1155811 w 12187339"/>
                <a:gd name="connsiteY4326" fmla="*/ 493823 h 6851196"/>
                <a:gd name="connsiteX4327" fmla="*/ 1379900 w 12187339"/>
                <a:gd name="connsiteY4327" fmla="*/ 493823 h 6851196"/>
                <a:gd name="connsiteX4328" fmla="*/ 1149409 w 12187339"/>
                <a:gd name="connsiteY4328" fmla="*/ 731948 h 6851196"/>
                <a:gd name="connsiteX4329" fmla="*/ 925320 w 12187339"/>
                <a:gd name="connsiteY4329" fmla="*/ 731948 h 6851196"/>
                <a:gd name="connsiteX4330" fmla="*/ 925320 w 12187339"/>
                <a:gd name="connsiteY4330" fmla="*/ 493823 h 6851196"/>
                <a:gd name="connsiteX4331" fmla="*/ 1149409 w 12187339"/>
                <a:gd name="connsiteY4331" fmla="*/ 493823 h 6851196"/>
                <a:gd name="connsiteX4332" fmla="*/ 918918 w 12187339"/>
                <a:gd name="connsiteY4332" fmla="*/ 731948 h 6851196"/>
                <a:gd name="connsiteX4333" fmla="*/ 694829 w 12187339"/>
                <a:gd name="connsiteY4333" fmla="*/ 731948 h 6851196"/>
                <a:gd name="connsiteX4334" fmla="*/ 694829 w 12187339"/>
                <a:gd name="connsiteY4334" fmla="*/ 493823 h 6851196"/>
                <a:gd name="connsiteX4335" fmla="*/ 918918 w 12187339"/>
                <a:gd name="connsiteY4335" fmla="*/ 493823 h 6851196"/>
                <a:gd name="connsiteX4336" fmla="*/ 688427 w 12187339"/>
                <a:gd name="connsiteY4336" fmla="*/ 731948 h 6851196"/>
                <a:gd name="connsiteX4337" fmla="*/ 465875 w 12187339"/>
                <a:gd name="connsiteY4337" fmla="*/ 731948 h 6851196"/>
                <a:gd name="connsiteX4338" fmla="*/ 465875 w 12187339"/>
                <a:gd name="connsiteY4338" fmla="*/ 493823 h 6851196"/>
                <a:gd name="connsiteX4339" fmla="*/ 688427 w 12187339"/>
                <a:gd name="connsiteY4339" fmla="*/ 493823 h 6851196"/>
                <a:gd name="connsiteX4340" fmla="*/ 688427 w 12187339"/>
                <a:gd name="connsiteY4340" fmla="*/ 738752 h 6851196"/>
                <a:gd name="connsiteX4341" fmla="*/ 688427 w 12187339"/>
                <a:gd name="connsiteY4341" fmla="*/ 975244 h 6851196"/>
                <a:gd name="connsiteX4342" fmla="*/ 465875 w 12187339"/>
                <a:gd name="connsiteY4342" fmla="*/ 975244 h 6851196"/>
                <a:gd name="connsiteX4343" fmla="*/ 465875 w 12187339"/>
                <a:gd name="connsiteY4343" fmla="*/ 738752 h 6851196"/>
                <a:gd name="connsiteX4344" fmla="*/ 688427 w 12187339"/>
                <a:gd name="connsiteY4344" fmla="*/ 982048 h 6851196"/>
                <a:gd name="connsiteX4345" fmla="*/ 688427 w 12187339"/>
                <a:gd name="connsiteY4345" fmla="*/ 1220173 h 6851196"/>
                <a:gd name="connsiteX4346" fmla="*/ 465875 w 12187339"/>
                <a:gd name="connsiteY4346" fmla="*/ 1220173 h 6851196"/>
                <a:gd name="connsiteX4347" fmla="*/ 465875 w 12187339"/>
                <a:gd name="connsiteY4347" fmla="*/ 981911 h 6851196"/>
                <a:gd name="connsiteX4348" fmla="*/ 688427 w 12187339"/>
                <a:gd name="connsiteY4348" fmla="*/ 1226976 h 6851196"/>
                <a:gd name="connsiteX4349" fmla="*/ 688427 w 12187339"/>
                <a:gd name="connsiteY4349" fmla="*/ 1465101 h 6851196"/>
                <a:gd name="connsiteX4350" fmla="*/ 465875 w 12187339"/>
                <a:gd name="connsiteY4350" fmla="*/ 1465101 h 6851196"/>
                <a:gd name="connsiteX4351" fmla="*/ 465875 w 12187339"/>
                <a:gd name="connsiteY4351" fmla="*/ 1226840 h 6851196"/>
                <a:gd name="connsiteX4352" fmla="*/ 688427 w 12187339"/>
                <a:gd name="connsiteY4352" fmla="*/ 1471905 h 6851196"/>
                <a:gd name="connsiteX4353" fmla="*/ 688427 w 12187339"/>
                <a:gd name="connsiteY4353" fmla="*/ 1710030 h 6851196"/>
                <a:gd name="connsiteX4354" fmla="*/ 465875 w 12187339"/>
                <a:gd name="connsiteY4354" fmla="*/ 1710030 h 6851196"/>
                <a:gd name="connsiteX4355" fmla="*/ 465875 w 12187339"/>
                <a:gd name="connsiteY4355" fmla="*/ 1471769 h 6851196"/>
                <a:gd name="connsiteX4356" fmla="*/ 688427 w 12187339"/>
                <a:gd name="connsiteY4356" fmla="*/ 1716833 h 6851196"/>
                <a:gd name="connsiteX4357" fmla="*/ 688427 w 12187339"/>
                <a:gd name="connsiteY4357" fmla="*/ 1953326 h 6851196"/>
                <a:gd name="connsiteX4358" fmla="*/ 465875 w 12187339"/>
                <a:gd name="connsiteY4358" fmla="*/ 1953326 h 6851196"/>
                <a:gd name="connsiteX4359" fmla="*/ 465875 w 12187339"/>
                <a:gd name="connsiteY4359" fmla="*/ 1716697 h 6851196"/>
                <a:gd name="connsiteX4360" fmla="*/ 688427 w 12187339"/>
                <a:gd name="connsiteY4360" fmla="*/ 1960129 h 6851196"/>
                <a:gd name="connsiteX4361" fmla="*/ 688427 w 12187339"/>
                <a:gd name="connsiteY4361" fmla="*/ 2198254 h 6851196"/>
                <a:gd name="connsiteX4362" fmla="*/ 465875 w 12187339"/>
                <a:gd name="connsiteY4362" fmla="*/ 2198254 h 6851196"/>
                <a:gd name="connsiteX4363" fmla="*/ 465875 w 12187339"/>
                <a:gd name="connsiteY4363" fmla="*/ 1960129 h 6851196"/>
                <a:gd name="connsiteX4364" fmla="*/ 688427 w 12187339"/>
                <a:gd name="connsiteY4364" fmla="*/ 2205058 h 6851196"/>
                <a:gd name="connsiteX4365" fmla="*/ 688427 w 12187339"/>
                <a:gd name="connsiteY4365" fmla="*/ 2443183 h 6851196"/>
                <a:gd name="connsiteX4366" fmla="*/ 465875 w 12187339"/>
                <a:gd name="connsiteY4366" fmla="*/ 2443183 h 6851196"/>
                <a:gd name="connsiteX4367" fmla="*/ 465875 w 12187339"/>
                <a:gd name="connsiteY4367" fmla="*/ 2205058 h 6851196"/>
                <a:gd name="connsiteX4368" fmla="*/ 688427 w 12187339"/>
                <a:gd name="connsiteY4368" fmla="*/ 2449986 h 6851196"/>
                <a:gd name="connsiteX4369" fmla="*/ 688427 w 12187339"/>
                <a:gd name="connsiteY4369" fmla="*/ 2686479 h 6851196"/>
                <a:gd name="connsiteX4370" fmla="*/ 465875 w 12187339"/>
                <a:gd name="connsiteY4370" fmla="*/ 2686479 h 6851196"/>
                <a:gd name="connsiteX4371" fmla="*/ 465875 w 12187339"/>
                <a:gd name="connsiteY4371" fmla="*/ 2449986 h 6851196"/>
                <a:gd name="connsiteX4372" fmla="*/ 688427 w 12187339"/>
                <a:gd name="connsiteY4372" fmla="*/ 2693282 h 6851196"/>
                <a:gd name="connsiteX4373" fmla="*/ 688427 w 12187339"/>
                <a:gd name="connsiteY4373" fmla="*/ 2931407 h 6851196"/>
                <a:gd name="connsiteX4374" fmla="*/ 465875 w 12187339"/>
                <a:gd name="connsiteY4374" fmla="*/ 2931407 h 6851196"/>
                <a:gd name="connsiteX4375" fmla="*/ 465875 w 12187339"/>
                <a:gd name="connsiteY4375" fmla="*/ 2693282 h 6851196"/>
                <a:gd name="connsiteX4376" fmla="*/ 688427 w 12187339"/>
                <a:gd name="connsiteY4376" fmla="*/ 2938211 h 6851196"/>
                <a:gd name="connsiteX4377" fmla="*/ 688427 w 12187339"/>
                <a:gd name="connsiteY4377" fmla="*/ 3176336 h 6851196"/>
                <a:gd name="connsiteX4378" fmla="*/ 465875 w 12187339"/>
                <a:gd name="connsiteY4378" fmla="*/ 3176336 h 6851196"/>
                <a:gd name="connsiteX4379" fmla="*/ 465875 w 12187339"/>
                <a:gd name="connsiteY4379" fmla="*/ 2938211 h 6851196"/>
                <a:gd name="connsiteX4380" fmla="*/ 688427 w 12187339"/>
                <a:gd name="connsiteY4380" fmla="*/ 3183139 h 6851196"/>
                <a:gd name="connsiteX4381" fmla="*/ 688427 w 12187339"/>
                <a:gd name="connsiteY4381" fmla="*/ 3421264 h 6851196"/>
                <a:gd name="connsiteX4382" fmla="*/ 465875 w 12187339"/>
                <a:gd name="connsiteY4382" fmla="*/ 3421264 h 6851196"/>
                <a:gd name="connsiteX4383" fmla="*/ 465875 w 12187339"/>
                <a:gd name="connsiteY4383" fmla="*/ 3183139 h 6851196"/>
                <a:gd name="connsiteX4384" fmla="*/ 688427 w 12187339"/>
                <a:gd name="connsiteY4384" fmla="*/ 3428068 h 6851196"/>
                <a:gd name="connsiteX4385" fmla="*/ 688427 w 12187339"/>
                <a:gd name="connsiteY4385" fmla="*/ 3664560 h 6851196"/>
                <a:gd name="connsiteX4386" fmla="*/ 465875 w 12187339"/>
                <a:gd name="connsiteY4386" fmla="*/ 3664560 h 6851196"/>
                <a:gd name="connsiteX4387" fmla="*/ 465875 w 12187339"/>
                <a:gd name="connsiteY4387" fmla="*/ 3428068 h 6851196"/>
                <a:gd name="connsiteX4388" fmla="*/ 688427 w 12187339"/>
                <a:gd name="connsiteY4388" fmla="*/ 3671364 h 6851196"/>
                <a:gd name="connsiteX4389" fmla="*/ 688427 w 12187339"/>
                <a:gd name="connsiteY4389" fmla="*/ 3909489 h 6851196"/>
                <a:gd name="connsiteX4390" fmla="*/ 465875 w 12187339"/>
                <a:gd name="connsiteY4390" fmla="*/ 3909489 h 6851196"/>
                <a:gd name="connsiteX4391" fmla="*/ 465875 w 12187339"/>
                <a:gd name="connsiteY4391" fmla="*/ 3671364 h 6851196"/>
                <a:gd name="connsiteX4392" fmla="*/ 688427 w 12187339"/>
                <a:gd name="connsiteY4392" fmla="*/ 3916292 h 6851196"/>
                <a:gd name="connsiteX4393" fmla="*/ 688427 w 12187339"/>
                <a:gd name="connsiteY4393" fmla="*/ 4154417 h 6851196"/>
                <a:gd name="connsiteX4394" fmla="*/ 465875 w 12187339"/>
                <a:gd name="connsiteY4394" fmla="*/ 4154417 h 6851196"/>
                <a:gd name="connsiteX4395" fmla="*/ 465875 w 12187339"/>
                <a:gd name="connsiteY4395" fmla="*/ 3916292 h 6851196"/>
                <a:gd name="connsiteX4396" fmla="*/ 688427 w 12187339"/>
                <a:gd name="connsiteY4396" fmla="*/ 4161221 h 6851196"/>
                <a:gd name="connsiteX4397" fmla="*/ 688427 w 12187339"/>
                <a:gd name="connsiteY4397" fmla="*/ 4399346 h 6851196"/>
                <a:gd name="connsiteX4398" fmla="*/ 465875 w 12187339"/>
                <a:gd name="connsiteY4398" fmla="*/ 4399346 h 6851196"/>
                <a:gd name="connsiteX4399" fmla="*/ 465875 w 12187339"/>
                <a:gd name="connsiteY4399" fmla="*/ 4161221 h 6851196"/>
                <a:gd name="connsiteX4400" fmla="*/ 688427 w 12187339"/>
                <a:gd name="connsiteY4400" fmla="*/ 4406149 h 6851196"/>
                <a:gd name="connsiteX4401" fmla="*/ 688427 w 12187339"/>
                <a:gd name="connsiteY4401" fmla="*/ 4642233 h 6851196"/>
                <a:gd name="connsiteX4402" fmla="*/ 465875 w 12187339"/>
                <a:gd name="connsiteY4402" fmla="*/ 4642233 h 6851196"/>
                <a:gd name="connsiteX4403" fmla="*/ 465875 w 12187339"/>
                <a:gd name="connsiteY4403" fmla="*/ 4405741 h 6851196"/>
                <a:gd name="connsiteX4404" fmla="*/ 688427 w 12187339"/>
                <a:gd name="connsiteY4404" fmla="*/ 4649445 h 6851196"/>
                <a:gd name="connsiteX4405" fmla="*/ 688427 w 12187339"/>
                <a:gd name="connsiteY4405" fmla="*/ 4887162 h 6851196"/>
                <a:gd name="connsiteX4406" fmla="*/ 465875 w 12187339"/>
                <a:gd name="connsiteY4406" fmla="*/ 4887162 h 6851196"/>
                <a:gd name="connsiteX4407" fmla="*/ 465875 w 12187339"/>
                <a:gd name="connsiteY4407" fmla="*/ 4649037 h 6851196"/>
                <a:gd name="connsiteX4408" fmla="*/ 688427 w 12187339"/>
                <a:gd name="connsiteY4408" fmla="*/ 4894374 h 6851196"/>
                <a:gd name="connsiteX4409" fmla="*/ 688427 w 12187339"/>
                <a:gd name="connsiteY4409" fmla="*/ 5132090 h 6851196"/>
                <a:gd name="connsiteX4410" fmla="*/ 465875 w 12187339"/>
                <a:gd name="connsiteY4410" fmla="*/ 5132090 h 6851196"/>
                <a:gd name="connsiteX4411" fmla="*/ 465875 w 12187339"/>
                <a:gd name="connsiteY4411" fmla="*/ 4893965 h 6851196"/>
                <a:gd name="connsiteX4412" fmla="*/ 688427 w 12187339"/>
                <a:gd name="connsiteY4412" fmla="*/ 5139302 h 6851196"/>
                <a:gd name="connsiteX4413" fmla="*/ 688427 w 12187339"/>
                <a:gd name="connsiteY4413" fmla="*/ 5375795 h 6851196"/>
                <a:gd name="connsiteX4414" fmla="*/ 465875 w 12187339"/>
                <a:gd name="connsiteY4414" fmla="*/ 5375795 h 6851196"/>
                <a:gd name="connsiteX4415" fmla="*/ 465875 w 12187339"/>
                <a:gd name="connsiteY4415" fmla="*/ 5139302 h 6851196"/>
                <a:gd name="connsiteX4416" fmla="*/ 688427 w 12187339"/>
                <a:gd name="connsiteY4416" fmla="*/ 5382598 h 6851196"/>
                <a:gd name="connsiteX4417" fmla="*/ 688427 w 12187339"/>
                <a:gd name="connsiteY4417" fmla="*/ 5620723 h 6851196"/>
                <a:gd name="connsiteX4418" fmla="*/ 465875 w 12187339"/>
                <a:gd name="connsiteY4418" fmla="*/ 5620723 h 6851196"/>
                <a:gd name="connsiteX4419" fmla="*/ 465875 w 12187339"/>
                <a:gd name="connsiteY4419" fmla="*/ 5382598 h 6851196"/>
                <a:gd name="connsiteX4420" fmla="*/ 688427 w 12187339"/>
                <a:gd name="connsiteY4420" fmla="*/ 5627527 h 6851196"/>
                <a:gd name="connsiteX4421" fmla="*/ 688427 w 12187339"/>
                <a:gd name="connsiteY4421" fmla="*/ 5865652 h 6851196"/>
                <a:gd name="connsiteX4422" fmla="*/ 465875 w 12187339"/>
                <a:gd name="connsiteY4422" fmla="*/ 5865652 h 6851196"/>
                <a:gd name="connsiteX4423" fmla="*/ 465875 w 12187339"/>
                <a:gd name="connsiteY4423" fmla="*/ 5627527 h 6851196"/>
                <a:gd name="connsiteX4424" fmla="*/ 688427 w 12187339"/>
                <a:gd name="connsiteY4424" fmla="*/ 5872455 h 6851196"/>
                <a:gd name="connsiteX4425" fmla="*/ 688427 w 12187339"/>
                <a:gd name="connsiteY4425" fmla="*/ 6110580 h 6851196"/>
                <a:gd name="connsiteX4426" fmla="*/ 465875 w 12187339"/>
                <a:gd name="connsiteY4426" fmla="*/ 6110580 h 6851196"/>
                <a:gd name="connsiteX4427" fmla="*/ 465875 w 12187339"/>
                <a:gd name="connsiteY4427" fmla="*/ 5872455 h 6851196"/>
                <a:gd name="connsiteX4428" fmla="*/ 688427 w 12187339"/>
                <a:gd name="connsiteY4428" fmla="*/ 6117384 h 6851196"/>
                <a:gd name="connsiteX4429" fmla="*/ 688427 w 12187339"/>
                <a:gd name="connsiteY4429" fmla="*/ 6353876 h 6851196"/>
                <a:gd name="connsiteX4430" fmla="*/ 465875 w 12187339"/>
                <a:gd name="connsiteY4430" fmla="*/ 6353876 h 6851196"/>
                <a:gd name="connsiteX4431" fmla="*/ 465875 w 12187339"/>
                <a:gd name="connsiteY4431" fmla="*/ 6117384 h 6851196"/>
                <a:gd name="connsiteX4432" fmla="*/ 694829 w 12187339"/>
                <a:gd name="connsiteY4432" fmla="*/ 6117384 h 6851196"/>
                <a:gd name="connsiteX4433" fmla="*/ 918918 w 12187339"/>
                <a:gd name="connsiteY4433" fmla="*/ 6117384 h 6851196"/>
                <a:gd name="connsiteX4434" fmla="*/ 918918 w 12187339"/>
                <a:gd name="connsiteY4434" fmla="*/ 6353876 h 6851196"/>
                <a:gd name="connsiteX4435" fmla="*/ 694829 w 12187339"/>
                <a:gd name="connsiteY4435" fmla="*/ 6353876 h 6851196"/>
                <a:gd name="connsiteX4436" fmla="*/ 925320 w 12187339"/>
                <a:gd name="connsiteY4436" fmla="*/ 6117384 h 6851196"/>
                <a:gd name="connsiteX4437" fmla="*/ 1149409 w 12187339"/>
                <a:gd name="connsiteY4437" fmla="*/ 6117384 h 6851196"/>
                <a:gd name="connsiteX4438" fmla="*/ 1149409 w 12187339"/>
                <a:gd name="connsiteY4438" fmla="*/ 6353876 h 6851196"/>
                <a:gd name="connsiteX4439" fmla="*/ 925320 w 12187339"/>
                <a:gd name="connsiteY4439" fmla="*/ 6353876 h 6851196"/>
                <a:gd name="connsiteX4440" fmla="*/ 1155811 w 12187339"/>
                <a:gd name="connsiteY4440" fmla="*/ 6117384 h 6851196"/>
                <a:gd name="connsiteX4441" fmla="*/ 1379900 w 12187339"/>
                <a:gd name="connsiteY4441" fmla="*/ 6117384 h 6851196"/>
                <a:gd name="connsiteX4442" fmla="*/ 1379900 w 12187339"/>
                <a:gd name="connsiteY4442" fmla="*/ 6353876 h 6851196"/>
                <a:gd name="connsiteX4443" fmla="*/ 1155811 w 12187339"/>
                <a:gd name="connsiteY4443" fmla="*/ 6353876 h 6851196"/>
                <a:gd name="connsiteX4444" fmla="*/ 1386302 w 12187339"/>
                <a:gd name="connsiteY4444" fmla="*/ 6117384 h 6851196"/>
                <a:gd name="connsiteX4445" fmla="*/ 1608598 w 12187339"/>
                <a:gd name="connsiteY4445" fmla="*/ 6117384 h 6851196"/>
                <a:gd name="connsiteX4446" fmla="*/ 1608598 w 12187339"/>
                <a:gd name="connsiteY4446" fmla="*/ 6353876 h 6851196"/>
                <a:gd name="connsiteX4447" fmla="*/ 1386046 w 12187339"/>
                <a:gd name="connsiteY4447" fmla="*/ 6353876 h 6851196"/>
                <a:gd name="connsiteX4448" fmla="*/ 1615257 w 12187339"/>
                <a:gd name="connsiteY4448" fmla="*/ 6117384 h 6851196"/>
                <a:gd name="connsiteX4449" fmla="*/ 1839089 w 12187339"/>
                <a:gd name="connsiteY4449" fmla="*/ 6117384 h 6851196"/>
                <a:gd name="connsiteX4450" fmla="*/ 1839089 w 12187339"/>
                <a:gd name="connsiteY4450" fmla="*/ 6353876 h 6851196"/>
                <a:gd name="connsiteX4451" fmla="*/ 1615000 w 12187339"/>
                <a:gd name="connsiteY4451" fmla="*/ 6353876 h 6851196"/>
                <a:gd name="connsiteX4452" fmla="*/ 1845748 w 12187339"/>
                <a:gd name="connsiteY4452" fmla="*/ 6117384 h 6851196"/>
                <a:gd name="connsiteX4453" fmla="*/ 2069580 w 12187339"/>
                <a:gd name="connsiteY4453" fmla="*/ 6117384 h 6851196"/>
                <a:gd name="connsiteX4454" fmla="*/ 2069580 w 12187339"/>
                <a:gd name="connsiteY4454" fmla="*/ 6353876 h 6851196"/>
                <a:gd name="connsiteX4455" fmla="*/ 1845491 w 12187339"/>
                <a:gd name="connsiteY4455" fmla="*/ 6353876 h 6851196"/>
                <a:gd name="connsiteX4456" fmla="*/ 2076239 w 12187339"/>
                <a:gd name="connsiteY4456" fmla="*/ 6117384 h 6851196"/>
                <a:gd name="connsiteX4457" fmla="*/ 2298791 w 12187339"/>
                <a:gd name="connsiteY4457" fmla="*/ 6117384 h 6851196"/>
                <a:gd name="connsiteX4458" fmla="*/ 2298791 w 12187339"/>
                <a:gd name="connsiteY4458" fmla="*/ 6353876 h 6851196"/>
                <a:gd name="connsiteX4459" fmla="*/ 2075982 w 12187339"/>
                <a:gd name="connsiteY4459" fmla="*/ 6353876 h 6851196"/>
                <a:gd name="connsiteX4460" fmla="*/ 2305193 w 12187339"/>
                <a:gd name="connsiteY4460" fmla="*/ 6117384 h 6851196"/>
                <a:gd name="connsiteX4461" fmla="*/ 2529282 w 12187339"/>
                <a:gd name="connsiteY4461" fmla="*/ 6117384 h 6851196"/>
                <a:gd name="connsiteX4462" fmla="*/ 2529282 w 12187339"/>
                <a:gd name="connsiteY4462" fmla="*/ 6353876 h 6851196"/>
                <a:gd name="connsiteX4463" fmla="*/ 2305193 w 12187339"/>
                <a:gd name="connsiteY4463" fmla="*/ 6353876 h 6851196"/>
                <a:gd name="connsiteX4464" fmla="*/ 2535684 w 12187339"/>
                <a:gd name="connsiteY4464" fmla="*/ 6117384 h 6851196"/>
                <a:gd name="connsiteX4465" fmla="*/ 2759773 w 12187339"/>
                <a:gd name="connsiteY4465" fmla="*/ 6117384 h 6851196"/>
                <a:gd name="connsiteX4466" fmla="*/ 2759773 w 12187339"/>
                <a:gd name="connsiteY4466" fmla="*/ 6353876 h 6851196"/>
                <a:gd name="connsiteX4467" fmla="*/ 2535684 w 12187339"/>
                <a:gd name="connsiteY4467" fmla="*/ 6353876 h 6851196"/>
                <a:gd name="connsiteX4468" fmla="*/ 2766175 w 12187339"/>
                <a:gd name="connsiteY4468" fmla="*/ 6117384 h 6851196"/>
                <a:gd name="connsiteX4469" fmla="*/ 2990264 w 12187339"/>
                <a:gd name="connsiteY4469" fmla="*/ 6117384 h 6851196"/>
                <a:gd name="connsiteX4470" fmla="*/ 2990264 w 12187339"/>
                <a:gd name="connsiteY4470" fmla="*/ 6353876 h 6851196"/>
                <a:gd name="connsiteX4471" fmla="*/ 2766175 w 12187339"/>
                <a:gd name="connsiteY4471" fmla="*/ 6353876 h 6851196"/>
                <a:gd name="connsiteX4472" fmla="*/ 2996666 w 12187339"/>
                <a:gd name="connsiteY4472" fmla="*/ 6117384 h 6851196"/>
                <a:gd name="connsiteX4473" fmla="*/ 3219218 w 12187339"/>
                <a:gd name="connsiteY4473" fmla="*/ 6117384 h 6851196"/>
                <a:gd name="connsiteX4474" fmla="*/ 3219218 w 12187339"/>
                <a:gd name="connsiteY4474" fmla="*/ 6353876 h 6851196"/>
                <a:gd name="connsiteX4475" fmla="*/ 2996666 w 12187339"/>
                <a:gd name="connsiteY4475" fmla="*/ 6353876 h 6851196"/>
                <a:gd name="connsiteX4476" fmla="*/ 3225621 w 12187339"/>
                <a:gd name="connsiteY4476" fmla="*/ 6117384 h 6851196"/>
                <a:gd name="connsiteX4477" fmla="*/ 3449709 w 12187339"/>
                <a:gd name="connsiteY4477" fmla="*/ 6117384 h 6851196"/>
                <a:gd name="connsiteX4478" fmla="*/ 3449709 w 12187339"/>
                <a:gd name="connsiteY4478" fmla="*/ 6353876 h 6851196"/>
                <a:gd name="connsiteX4479" fmla="*/ 3225621 w 12187339"/>
                <a:gd name="connsiteY4479" fmla="*/ 6353876 h 6851196"/>
                <a:gd name="connsiteX4480" fmla="*/ 3456112 w 12187339"/>
                <a:gd name="connsiteY4480" fmla="*/ 6117384 h 6851196"/>
                <a:gd name="connsiteX4481" fmla="*/ 3680200 w 12187339"/>
                <a:gd name="connsiteY4481" fmla="*/ 6117384 h 6851196"/>
                <a:gd name="connsiteX4482" fmla="*/ 3680200 w 12187339"/>
                <a:gd name="connsiteY4482" fmla="*/ 6353876 h 6851196"/>
                <a:gd name="connsiteX4483" fmla="*/ 3456112 w 12187339"/>
                <a:gd name="connsiteY4483" fmla="*/ 6353876 h 6851196"/>
                <a:gd name="connsiteX4484" fmla="*/ 3686603 w 12187339"/>
                <a:gd name="connsiteY4484" fmla="*/ 6117384 h 6851196"/>
                <a:gd name="connsiteX4485" fmla="*/ 3910691 w 12187339"/>
                <a:gd name="connsiteY4485" fmla="*/ 6117384 h 6851196"/>
                <a:gd name="connsiteX4486" fmla="*/ 3910691 w 12187339"/>
                <a:gd name="connsiteY4486" fmla="*/ 6353876 h 6851196"/>
                <a:gd name="connsiteX4487" fmla="*/ 3686603 w 12187339"/>
                <a:gd name="connsiteY4487" fmla="*/ 6353876 h 6851196"/>
                <a:gd name="connsiteX4488" fmla="*/ 3917094 w 12187339"/>
                <a:gd name="connsiteY4488" fmla="*/ 6117384 h 6851196"/>
                <a:gd name="connsiteX4489" fmla="*/ 4139644 w 12187339"/>
                <a:gd name="connsiteY4489" fmla="*/ 6117384 h 6851196"/>
                <a:gd name="connsiteX4490" fmla="*/ 4139644 w 12187339"/>
                <a:gd name="connsiteY4490" fmla="*/ 6353876 h 6851196"/>
                <a:gd name="connsiteX4491" fmla="*/ 3917094 w 12187339"/>
                <a:gd name="connsiteY4491" fmla="*/ 6353876 h 6851196"/>
                <a:gd name="connsiteX4492" fmla="*/ 4146047 w 12187339"/>
                <a:gd name="connsiteY4492" fmla="*/ 6117384 h 6851196"/>
                <a:gd name="connsiteX4493" fmla="*/ 4370135 w 12187339"/>
                <a:gd name="connsiteY4493" fmla="*/ 6117384 h 6851196"/>
                <a:gd name="connsiteX4494" fmla="*/ 4370135 w 12187339"/>
                <a:gd name="connsiteY4494" fmla="*/ 6353876 h 6851196"/>
                <a:gd name="connsiteX4495" fmla="*/ 4146047 w 12187339"/>
                <a:gd name="connsiteY4495" fmla="*/ 6353876 h 6851196"/>
                <a:gd name="connsiteX4496" fmla="*/ 4376538 w 12187339"/>
                <a:gd name="connsiteY4496" fmla="*/ 6117384 h 6851196"/>
                <a:gd name="connsiteX4497" fmla="*/ 4600626 w 12187339"/>
                <a:gd name="connsiteY4497" fmla="*/ 6117384 h 6851196"/>
                <a:gd name="connsiteX4498" fmla="*/ 4600626 w 12187339"/>
                <a:gd name="connsiteY4498" fmla="*/ 6353876 h 6851196"/>
                <a:gd name="connsiteX4499" fmla="*/ 4376538 w 12187339"/>
                <a:gd name="connsiteY4499" fmla="*/ 6353876 h 6851196"/>
                <a:gd name="connsiteX4500" fmla="*/ 4607029 w 12187339"/>
                <a:gd name="connsiteY4500" fmla="*/ 6117384 h 6851196"/>
                <a:gd name="connsiteX4501" fmla="*/ 4829582 w 12187339"/>
                <a:gd name="connsiteY4501" fmla="*/ 6117384 h 6851196"/>
                <a:gd name="connsiteX4502" fmla="*/ 4829582 w 12187339"/>
                <a:gd name="connsiteY4502" fmla="*/ 6353876 h 6851196"/>
                <a:gd name="connsiteX4503" fmla="*/ 4607029 w 12187339"/>
                <a:gd name="connsiteY4503" fmla="*/ 6353876 h 6851196"/>
                <a:gd name="connsiteX4504" fmla="*/ 4835985 w 12187339"/>
                <a:gd name="connsiteY4504" fmla="*/ 6117384 h 6851196"/>
                <a:gd name="connsiteX4505" fmla="*/ 5060073 w 12187339"/>
                <a:gd name="connsiteY4505" fmla="*/ 6117384 h 6851196"/>
                <a:gd name="connsiteX4506" fmla="*/ 5060073 w 12187339"/>
                <a:gd name="connsiteY4506" fmla="*/ 6353876 h 6851196"/>
                <a:gd name="connsiteX4507" fmla="*/ 4835472 w 12187339"/>
                <a:gd name="connsiteY4507" fmla="*/ 6353876 h 6851196"/>
                <a:gd name="connsiteX4508" fmla="*/ 5066476 w 12187339"/>
                <a:gd name="connsiteY4508" fmla="*/ 6117384 h 6851196"/>
                <a:gd name="connsiteX4509" fmla="*/ 5290564 w 12187339"/>
                <a:gd name="connsiteY4509" fmla="*/ 6117384 h 6851196"/>
                <a:gd name="connsiteX4510" fmla="*/ 5290564 w 12187339"/>
                <a:gd name="connsiteY4510" fmla="*/ 6353876 h 6851196"/>
                <a:gd name="connsiteX4511" fmla="*/ 5065963 w 12187339"/>
                <a:gd name="connsiteY4511" fmla="*/ 6353876 h 6851196"/>
                <a:gd name="connsiteX4512" fmla="*/ 5296967 w 12187339"/>
                <a:gd name="connsiteY4512" fmla="*/ 6117384 h 6851196"/>
                <a:gd name="connsiteX4513" fmla="*/ 5521055 w 12187339"/>
                <a:gd name="connsiteY4513" fmla="*/ 6117384 h 6851196"/>
                <a:gd name="connsiteX4514" fmla="*/ 5521055 w 12187339"/>
                <a:gd name="connsiteY4514" fmla="*/ 6353876 h 6851196"/>
                <a:gd name="connsiteX4515" fmla="*/ 5296454 w 12187339"/>
                <a:gd name="connsiteY4515" fmla="*/ 6353876 h 6851196"/>
                <a:gd name="connsiteX4516" fmla="*/ 5527458 w 12187339"/>
                <a:gd name="connsiteY4516" fmla="*/ 6117384 h 6851196"/>
                <a:gd name="connsiteX4517" fmla="*/ 5750008 w 12187339"/>
                <a:gd name="connsiteY4517" fmla="*/ 6117384 h 6851196"/>
                <a:gd name="connsiteX4518" fmla="*/ 5750008 w 12187339"/>
                <a:gd name="connsiteY4518" fmla="*/ 6353876 h 6851196"/>
                <a:gd name="connsiteX4519" fmla="*/ 5526945 w 12187339"/>
                <a:gd name="connsiteY4519" fmla="*/ 6353876 h 6851196"/>
                <a:gd name="connsiteX4520" fmla="*/ 5756411 w 12187339"/>
                <a:gd name="connsiteY4520" fmla="*/ 6117384 h 6851196"/>
                <a:gd name="connsiteX4521" fmla="*/ 5980499 w 12187339"/>
                <a:gd name="connsiteY4521" fmla="*/ 6117384 h 6851196"/>
                <a:gd name="connsiteX4522" fmla="*/ 5980499 w 12187339"/>
                <a:gd name="connsiteY4522" fmla="*/ 6353876 h 6851196"/>
                <a:gd name="connsiteX4523" fmla="*/ 5756411 w 12187339"/>
                <a:gd name="connsiteY4523" fmla="*/ 6353876 h 6851196"/>
                <a:gd name="connsiteX4524" fmla="*/ 5986902 w 12187339"/>
                <a:gd name="connsiteY4524" fmla="*/ 6117384 h 6851196"/>
                <a:gd name="connsiteX4525" fmla="*/ 6210990 w 12187339"/>
                <a:gd name="connsiteY4525" fmla="*/ 6117384 h 6851196"/>
                <a:gd name="connsiteX4526" fmla="*/ 6210990 w 12187339"/>
                <a:gd name="connsiteY4526" fmla="*/ 6353876 h 6851196"/>
                <a:gd name="connsiteX4527" fmla="*/ 5986902 w 12187339"/>
                <a:gd name="connsiteY4527" fmla="*/ 6353876 h 6851196"/>
                <a:gd name="connsiteX4528" fmla="*/ 6217393 w 12187339"/>
                <a:gd name="connsiteY4528" fmla="*/ 6117384 h 6851196"/>
                <a:gd name="connsiteX4529" fmla="*/ 6439946 w 12187339"/>
                <a:gd name="connsiteY4529" fmla="*/ 6117384 h 6851196"/>
                <a:gd name="connsiteX4530" fmla="*/ 6439946 w 12187339"/>
                <a:gd name="connsiteY4530" fmla="*/ 6353876 h 6851196"/>
                <a:gd name="connsiteX4531" fmla="*/ 6217136 w 12187339"/>
                <a:gd name="connsiteY4531" fmla="*/ 6353876 h 6851196"/>
                <a:gd name="connsiteX4532" fmla="*/ 6446349 w 12187339"/>
                <a:gd name="connsiteY4532" fmla="*/ 6117384 h 6851196"/>
                <a:gd name="connsiteX4533" fmla="*/ 6656863 w 12187339"/>
                <a:gd name="connsiteY4533" fmla="*/ 6117384 h 6851196"/>
                <a:gd name="connsiteX4534" fmla="*/ 6656863 w 12187339"/>
                <a:gd name="connsiteY4534" fmla="*/ 6353876 h 6851196"/>
                <a:gd name="connsiteX4535" fmla="*/ 6446349 w 12187339"/>
                <a:gd name="connsiteY4535" fmla="*/ 6353876 h 6851196"/>
                <a:gd name="connsiteX4536" fmla="*/ 6663265 w 12187339"/>
                <a:gd name="connsiteY4536" fmla="*/ 6117384 h 6851196"/>
                <a:gd name="connsiteX4537" fmla="*/ 6887354 w 12187339"/>
                <a:gd name="connsiteY4537" fmla="*/ 6117384 h 6851196"/>
                <a:gd name="connsiteX4538" fmla="*/ 6887354 w 12187339"/>
                <a:gd name="connsiteY4538" fmla="*/ 6353876 h 6851196"/>
                <a:gd name="connsiteX4539" fmla="*/ 6663265 w 12187339"/>
                <a:gd name="connsiteY4539" fmla="*/ 6353876 h 6851196"/>
                <a:gd name="connsiteX4540" fmla="*/ 6893756 w 12187339"/>
                <a:gd name="connsiteY4540" fmla="*/ 6117384 h 6851196"/>
                <a:gd name="connsiteX4541" fmla="*/ 7117845 w 12187339"/>
                <a:gd name="connsiteY4541" fmla="*/ 6117384 h 6851196"/>
                <a:gd name="connsiteX4542" fmla="*/ 7117845 w 12187339"/>
                <a:gd name="connsiteY4542" fmla="*/ 6353876 h 6851196"/>
                <a:gd name="connsiteX4543" fmla="*/ 6893756 w 12187339"/>
                <a:gd name="connsiteY4543" fmla="*/ 6353876 h 6851196"/>
                <a:gd name="connsiteX4544" fmla="*/ 7124247 w 12187339"/>
                <a:gd name="connsiteY4544" fmla="*/ 6117384 h 6851196"/>
                <a:gd name="connsiteX4545" fmla="*/ 7346801 w 12187339"/>
                <a:gd name="connsiteY4545" fmla="*/ 6117384 h 6851196"/>
                <a:gd name="connsiteX4546" fmla="*/ 7346801 w 12187339"/>
                <a:gd name="connsiteY4546" fmla="*/ 6353876 h 6851196"/>
                <a:gd name="connsiteX4547" fmla="*/ 7124247 w 12187339"/>
                <a:gd name="connsiteY4547" fmla="*/ 6353876 h 6851196"/>
                <a:gd name="connsiteX4548" fmla="*/ 7353204 w 12187339"/>
                <a:gd name="connsiteY4548" fmla="*/ 6117384 h 6851196"/>
                <a:gd name="connsiteX4549" fmla="*/ 7577292 w 12187339"/>
                <a:gd name="connsiteY4549" fmla="*/ 6117384 h 6851196"/>
                <a:gd name="connsiteX4550" fmla="*/ 7577292 w 12187339"/>
                <a:gd name="connsiteY4550" fmla="*/ 6353876 h 6851196"/>
                <a:gd name="connsiteX4551" fmla="*/ 7353204 w 12187339"/>
                <a:gd name="connsiteY4551" fmla="*/ 6353876 h 6851196"/>
                <a:gd name="connsiteX4552" fmla="*/ 7583695 w 12187339"/>
                <a:gd name="connsiteY4552" fmla="*/ 6117384 h 6851196"/>
                <a:gd name="connsiteX4553" fmla="*/ 7807783 w 12187339"/>
                <a:gd name="connsiteY4553" fmla="*/ 6117384 h 6851196"/>
                <a:gd name="connsiteX4554" fmla="*/ 7807783 w 12187339"/>
                <a:gd name="connsiteY4554" fmla="*/ 6353876 h 6851196"/>
                <a:gd name="connsiteX4555" fmla="*/ 7583695 w 12187339"/>
                <a:gd name="connsiteY4555" fmla="*/ 6353876 h 6851196"/>
                <a:gd name="connsiteX4556" fmla="*/ 7814186 w 12187339"/>
                <a:gd name="connsiteY4556" fmla="*/ 6117384 h 6851196"/>
                <a:gd name="connsiteX4557" fmla="*/ 8038274 w 12187339"/>
                <a:gd name="connsiteY4557" fmla="*/ 6117384 h 6851196"/>
                <a:gd name="connsiteX4558" fmla="*/ 8038274 w 12187339"/>
                <a:gd name="connsiteY4558" fmla="*/ 6353876 h 6851196"/>
                <a:gd name="connsiteX4559" fmla="*/ 7814186 w 12187339"/>
                <a:gd name="connsiteY4559" fmla="*/ 6353876 h 6851196"/>
                <a:gd name="connsiteX4560" fmla="*/ 8044677 w 12187339"/>
                <a:gd name="connsiteY4560" fmla="*/ 6117384 h 6851196"/>
                <a:gd name="connsiteX4561" fmla="*/ 8267227 w 12187339"/>
                <a:gd name="connsiteY4561" fmla="*/ 6117384 h 6851196"/>
                <a:gd name="connsiteX4562" fmla="*/ 8267227 w 12187339"/>
                <a:gd name="connsiteY4562" fmla="*/ 6353876 h 6851196"/>
                <a:gd name="connsiteX4563" fmla="*/ 8044420 w 12187339"/>
                <a:gd name="connsiteY4563" fmla="*/ 6353876 h 6851196"/>
                <a:gd name="connsiteX4564" fmla="*/ 8273629 w 12187339"/>
                <a:gd name="connsiteY4564" fmla="*/ 6117384 h 6851196"/>
                <a:gd name="connsiteX4565" fmla="*/ 8497718 w 12187339"/>
                <a:gd name="connsiteY4565" fmla="*/ 6117384 h 6851196"/>
                <a:gd name="connsiteX4566" fmla="*/ 8497718 w 12187339"/>
                <a:gd name="connsiteY4566" fmla="*/ 6353876 h 6851196"/>
                <a:gd name="connsiteX4567" fmla="*/ 8273629 w 12187339"/>
                <a:gd name="connsiteY4567" fmla="*/ 6353876 h 6851196"/>
                <a:gd name="connsiteX4568" fmla="*/ 8504120 w 12187339"/>
                <a:gd name="connsiteY4568" fmla="*/ 6117384 h 6851196"/>
                <a:gd name="connsiteX4569" fmla="*/ 8728209 w 12187339"/>
                <a:gd name="connsiteY4569" fmla="*/ 6117384 h 6851196"/>
                <a:gd name="connsiteX4570" fmla="*/ 8728209 w 12187339"/>
                <a:gd name="connsiteY4570" fmla="*/ 6353876 h 6851196"/>
                <a:gd name="connsiteX4571" fmla="*/ 8504120 w 12187339"/>
                <a:gd name="connsiteY4571" fmla="*/ 6353876 h 6851196"/>
                <a:gd name="connsiteX4572" fmla="*/ 8734611 w 12187339"/>
                <a:gd name="connsiteY4572" fmla="*/ 6117384 h 6851196"/>
                <a:gd name="connsiteX4573" fmla="*/ 8957162 w 12187339"/>
                <a:gd name="connsiteY4573" fmla="*/ 6117384 h 6851196"/>
                <a:gd name="connsiteX4574" fmla="*/ 8957162 w 12187339"/>
                <a:gd name="connsiteY4574" fmla="*/ 6353876 h 6851196"/>
                <a:gd name="connsiteX4575" fmla="*/ 8734611 w 12187339"/>
                <a:gd name="connsiteY4575" fmla="*/ 6353876 h 6851196"/>
                <a:gd name="connsiteX4576" fmla="*/ 8963564 w 12187339"/>
                <a:gd name="connsiteY4576" fmla="*/ 6117384 h 6851196"/>
                <a:gd name="connsiteX4577" fmla="*/ 9187653 w 12187339"/>
                <a:gd name="connsiteY4577" fmla="*/ 6117384 h 6851196"/>
                <a:gd name="connsiteX4578" fmla="*/ 9187653 w 12187339"/>
                <a:gd name="connsiteY4578" fmla="*/ 6353876 h 6851196"/>
                <a:gd name="connsiteX4579" fmla="*/ 8963564 w 12187339"/>
                <a:gd name="connsiteY4579" fmla="*/ 6353876 h 6851196"/>
                <a:gd name="connsiteX4580" fmla="*/ 9194055 w 12187339"/>
                <a:gd name="connsiteY4580" fmla="*/ 6117384 h 6851196"/>
                <a:gd name="connsiteX4581" fmla="*/ 9418144 w 12187339"/>
                <a:gd name="connsiteY4581" fmla="*/ 6117384 h 6851196"/>
                <a:gd name="connsiteX4582" fmla="*/ 9418144 w 12187339"/>
                <a:gd name="connsiteY4582" fmla="*/ 6353876 h 6851196"/>
                <a:gd name="connsiteX4583" fmla="*/ 9194055 w 12187339"/>
                <a:gd name="connsiteY4583" fmla="*/ 6353876 h 6851196"/>
                <a:gd name="connsiteX4584" fmla="*/ 9424546 w 12187339"/>
                <a:gd name="connsiteY4584" fmla="*/ 6117384 h 6851196"/>
                <a:gd name="connsiteX4585" fmla="*/ 9648635 w 12187339"/>
                <a:gd name="connsiteY4585" fmla="*/ 6117384 h 6851196"/>
                <a:gd name="connsiteX4586" fmla="*/ 9648635 w 12187339"/>
                <a:gd name="connsiteY4586" fmla="*/ 6353876 h 6851196"/>
                <a:gd name="connsiteX4587" fmla="*/ 9424546 w 12187339"/>
                <a:gd name="connsiteY4587" fmla="*/ 6353876 h 6851196"/>
                <a:gd name="connsiteX4588" fmla="*/ 9655037 w 12187339"/>
                <a:gd name="connsiteY4588" fmla="*/ 6117384 h 6851196"/>
                <a:gd name="connsiteX4589" fmla="*/ 9877591 w 12187339"/>
                <a:gd name="connsiteY4589" fmla="*/ 6117384 h 6851196"/>
                <a:gd name="connsiteX4590" fmla="*/ 9877591 w 12187339"/>
                <a:gd name="connsiteY4590" fmla="*/ 6353876 h 6851196"/>
                <a:gd name="connsiteX4591" fmla="*/ 9655037 w 12187339"/>
                <a:gd name="connsiteY4591" fmla="*/ 6353876 h 6851196"/>
                <a:gd name="connsiteX4592" fmla="*/ 9883993 w 12187339"/>
                <a:gd name="connsiteY4592" fmla="*/ 6117384 h 6851196"/>
                <a:gd name="connsiteX4593" fmla="*/ 10108082 w 12187339"/>
                <a:gd name="connsiteY4593" fmla="*/ 6117384 h 6851196"/>
                <a:gd name="connsiteX4594" fmla="*/ 10108082 w 12187339"/>
                <a:gd name="connsiteY4594" fmla="*/ 6353876 h 6851196"/>
                <a:gd name="connsiteX4595" fmla="*/ 9883993 w 12187339"/>
                <a:gd name="connsiteY4595" fmla="*/ 6353876 h 6851196"/>
                <a:gd name="connsiteX4596" fmla="*/ 10114484 w 12187339"/>
                <a:gd name="connsiteY4596" fmla="*/ 6117384 h 6851196"/>
                <a:gd name="connsiteX4597" fmla="*/ 10338573 w 12187339"/>
                <a:gd name="connsiteY4597" fmla="*/ 6117384 h 6851196"/>
                <a:gd name="connsiteX4598" fmla="*/ 10338573 w 12187339"/>
                <a:gd name="connsiteY4598" fmla="*/ 6353876 h 6851196"/>
                <a:gd name="connsiteX4599" fmla="*/ 10114484 w 12187339"/>
                <a:gd name="connsiteY4599" fmla="*/ 6353876 h 6851196"/>
                <a:gd name="connsiteX4600" fmla="*/ 10344975 w 12187339"/>
                <a:gd name="connsiteY4600" fmla="*/ 6117384 h 6851196"/>
                <a:gd name="connsiteX4601" fmla="*/ 10569064 w 12187339"/>
                <a:gd name="connsiteY4601" fmla="*/ 6117384 h 6851196"/>
                <a:gd name="connsiteX4602" fmla="*/ 10569064 w 12187339"/>
                <a:gd name="connsiteY4602" fmla="*/ 6353876 h 6851196"/>
                <a:gd name="connsiteX4603" fmla="*/ 10344975 w 12187339"/>
                <a:gd name="connsiteY4603" fmla="*/ 6353876 h 6851196"/>
                <a:gd name="connsiteX4604" fmla="*/ 10575466 w 12187339"/>
                <a:gd name="connsiteY4604" fmla="*/ 6117384 h 6851196"/>
                <a:gd name="connsiteX4605" fmla="*/ 10798016 w 12187339"/>
                <a:gd name="connsiteY4605" fmla="*/ 6117384 h 6851196"/>
                <a:gd name="connsiteX4606" fmla="*/ 10798016 w 12187339"/>
                <a:gd name="connsiteY4606" fmla="*/ 6353876 h 6851196"/>
                <a:gd name="connsiteX4607" fmla="*/ 10575466 w 12187339"/>
                <a:gd name="connsiteY4607" fmla="*/ 6353876 h 6851196"/>
                <a:gd name="connsiteX4608" fmla="*/ 10804419 w 12187339"/>
                <a:gd name="connsiteY4608" fmla="*/ 6117384 h 6851196"/>
                <a:gd name="connsiteX4609" fmla="*/ 11028507 w 12187339"/>
                <a:gd name="connsiteY4609" fmla="*/ 6117384 h 6851196"/>
                <a:gd name="connsiteX4610" fmla="*/ 11028507 w 12187339"/>
                <a:gd name="connsiteY4610" fmla="*/ 6353876 h 6851196"/>
                <a:gd name="connsiteX4611" fmla="*/ 10804419 w 12187339"/>
                <a:gd name="connsiteY4611" fmla="*/ 6353876 h 6851196"/>
                <a:gd name="connsiteX4612" fmla="*/ 11034910 w 12187339"/>
                <a:gd name="connsiteY4612" fmla="*/ 6117384 h 6851196"/>
                <a:gd name="connsiteX4613" fmla="*/ 11258998 w 12187339"/>
                <a:gd name="connsiteY4613" fmla="*/ 6117384 h 6851196"/>
                <a:gd name="connsiteX4614" fmla="*/ 11258998 w 12187339"/>
                <a:gd name="connsiteY4614" fmla="*/ 6353876 h 6851196"/>
                <a:gd name="connsiteX4615" fmla="*/ 11034910 w 12187339"/>
                <a:gd name="connsiteY4615" fmla="*/ 6353876 h 6851196"/>
                <a:gd name="connsiteX4616" fmla="*/ 11265401 w 12187339"/>
                <a:gd name="connsiteY4616" fmla="*/ 6117384 h 6851196"/>
                <a:gd name="connsiteX4617" fmla="*/ 11487954 w 12187339"/>
                <a:gd name="connsiteY4617" fmla="*/ 6117384 h 6851196"/>
                <a:gd name="connsiteX4618" fmla="*/ 11487954 w 12187339"/>
                <a:gd name="connsiteY4618" fmla="*/ 6353876 h 6851196"/>
                <a:gd name="connsiteX4619" fmla="*/ 11265401 w 12187339"/>
                <a:gd name="connsiteY4619" fmla="*/ 6353876 h 6851196"/>
                <a:gd name="connsiteX4620" fmla="*/ 11494357 w 12187339"/>
                <a:gd name="connsiteY4620" fmla="*/ 6117384 h 6851196"/>
                <a:gd name="connsiteX4621" fmla="*/ 11718445 w 12187339"/>
                <a:gd name="connsiteY4621" fmla="*/ 6117384 h 6851196"/>
                <a:gd name="connsiteX4622" fmla="*/ 11718445 w 12187339"/>
                <a:gd name="connsiteY4622" fmla="*/ 6353876 h 6851196"/>
                <a:gd name="connsiteX4623" fmla="*/ 11494101 w 12187339"/>
                <a:gd name="connsiteY4623" fmla="*/ 6353876 h 6851196"/>
                <a:gd name="connsiteX4624" fmla="*/ 11494357 w 12187339"/>
                <a:gd name="connsiteY4624" fmla="*/ 6110580 h 6851196"/>
                <a:gd name="connsiteX4625" fmla="*/ 11494357 w 12187339"/>
                <a:gd name="connsiteY4625" fmla="*/ 5872455 h 6851196"/>
                <a:gd name="connsiteX4626" fmla="*/ 11718445 w 12187339"/>
                <a:gd name="connsiteY4626" fmla="*/ 5872455 h 6851196"/>
                <a:gd name="connsiteX4627" fmla="*/ 11718445 w 12187339"/>
                <a:gd name="connsiteY4627" fmla="*/ 6110580 h 6851196"/>
                <a:gd name="connsiteX4628" fmla="*/ 11494357 w 12187339"/>
                <a:gd name="connsiteY4628" fmla="*/ 5865652 h 6851196"/>
                <a:gd name="connsiteX4629" fmla="*/ 11494357 w 12187339"/>
                <a:gd name="connsiteY4629" fmla="*/ 5627527 h 6851196"/>
                <a:gd name="connsiteX4630" fmla="*/ 11718445 w 12187339"/>
                <a:gd name="connsiteY4630" fmla="*/ 5627527 h 6851196"/>
                <a:gd name="connsiteX4631" fmla="*/ 11718445 w 12187339"/>
                <a:gd name="connsiteY4631" fmla="*/ 5865652 h 6851196"/>
                <a:gd name="connsiteX4632" fmla="*/ 11494357 w 12187339"/>
                <a:gd name="connsiteY4632" fmla="*/ 5620723 h 6851196"/>
                <a:gd name="connsiteX4633" fmla="*/ 11494357 w 12187339"/>
                <a:gd name="connsiteY4633" fmla="*/ 5382598 h 6851196"/>
                <a:gd name="connsiteX4634" fmla="*/ 11718445 w 12187339"/>
                <a:gd name="connsiteY4634" fmla="*/ 5382598 h 6851196"/>
                <a:gd name="connsiteX4635" fmla="*/ 11718445 w 12187339"/>
                <a:gd name="connsiteY4635" fmla="*/ 5620723 h 6851196"/>
                <a:gd name="connsiteX4636" fmla="*/ 11494357 w 12187339"/>
                <a:gd name="connsiteY4636" fmla="*/ 5375795 h 6851196"/>
                <a:gd name="connsiteX4637" fmla="*/ 11494357 w 12187339"/>
                <a:gd name="connsiteY4637" fmla="*/ 5139302 h 6851196"/>
                <a:gd name="connsiteX4638" fmla="*/ 11718445 w 12187339"/>
                <a:gd name="connsiteY4638" fmla="*/ 5139302 h 6851196"/>
                <a:gd name="connsiteX4639" fmla="*/ 11718445 w 12187339"/>
                <a:gd name="connsiteY4639" fmla="*/ 5375795 h 6851196"/>
                <a:gd name="connsiteX4640" fmla="*/ 11494357 w 12187339"/>
                <a:gd name="connsiteY4640" fmla="*/ 5132499 h 6851196"/>
                <a:gd name="connsiteX4641" fmla="*/ 11494357 w 12187339"/>
                <a:gd name="connsiteY4641" fmla="*/ 4894374 h 6851196"/>
                <a:gd name="connsiteX4642" fmla="*/ 11718445 w 12187339"/>
                <a:gd name="connsiteY4642" fmla="*/ 4894374 h 6851196"/>
                <a:gd name="connsiteX4643" fmla="*/ 11718445 w 12187339"/>
                <a:gd name="connsiteY4643" fmla="*/ 5132090 h 6851196"/>
                <a:gd name="connsiteX4644" fmla="*/ 11494357 w 12187339"/>
                <a:gd name="connsiteY4644" fmla="*/ 4887570 h 6851196"/>
                <a:gd name="connsiteX4645" fmla="*/ 11494357 w 12187339"/>
                <a:gd name="connsiteY4645" fmla="*/ 4649445 h 6851196"/>
                <a:gd name="connsiteX4646" fmla="*/ 11718445 w 12187339"/>
                <a:gd name="connsiteY4646" fmla="*/ 4649445 h 6851196"/>
                <a:gd name="connsiteX4647" fmla="*/ 11718445 w 12187339"/>
                <a:gd name="connsiteY4647" fmla="*/ 4887162 h 6851196"/>
                <a:gd name="connsiteX4648" fmla="*/ 11494357 w 12187339"/>
                <a:gd name="connsiteY4648" fmla="*/ 4642642 h 6851196"/>
                <a:gd name="connsiteX4649" fmla="*/ 11494357 w 12187339"/>
                <a:gd name="connsiteY4649" fmla="*/ 4406149 h 6851196"/>
                <a:gd name="connsiteX4650" fmla="*/ 11718445 w 12187339"/>
                <a:gd name="connsiteY4650" fmla="*/ 4406149 h 6851196"/>
                <a:gd name="connsiteX4651" fmla="*/ 11718445 w 12187339"/>
                <a:gd name="connsiteY4651" fmla="*/ 4642233 h 6851196"/>
                <a:gd name="connsiteX4652" fmla="*/ 11494357 w 12187339"/>
                <a:gd name="connsiteY4652" fmla="*/ 4399346 h 6851196"/>
                <a:gd name="connsiteX4653" fmla="*/ 11494357 w 12187339"/>
                <a:gd name="connsiteY4653" fmla="*/ 4161221 h 6851196"/>
                <a:gd name="connsiteX4654" fmla="*/ 11718445 w 12187339"/>
                <a:gd name="connsiteY4654" fmla="*/ 4161221 h 6851196"/>
                <a:gd name="connsiteX4655" fmla="*/ 11718445 w 12187339"/>
                <a:gd name="connsiteY4655" fmla="*/ 4399346 h 6851196"/>
                <a:gd name="connsiteX4656" fmla="*/ 11494357 w 12187339"/>
                <a:gd name="connsiteY4656" fmla="*/ 4154417 h 6851196"/>
                <a:gd name="connsiteX4657" fmla="*/ 11494357 w 12187339"/>
                <a:gd name="connsiteY4657" fmla="*/ 3916292 h 6851196"/>
                <a:gd name="connsiteX4658" fmla="*/ 11718445 w 12187339"/>
                <a:gd name="connsiteY4658" fmla="*/ 3916292 h 6851196"/>
                <a:gd name="connsiteX4659" fmla="*/ 11718445 w 12187339"/>
                <a:gd name="connsiteY4659" fmla="*/ 4154417 h 6851196"/>
                <a:gd name="connsiteX4660" fmla="*/ 11494357 w 12187339"/>
                <a:gd name="connsiteY4660" fmla="*/ 3909489 h 6851196"/>
                <a:gd name="connsiteX4661" fmla="*/ 11494357 w 12187339"/>
                <a:gd name="connsiteY4661" fmla="*/ 3671364 h 6851196"/>
                <a:gd name="connsiteX4662" fmla="*/ 11718445 w 12187339"/>
                <a:gd name="connsiteY4662" fmla="*/ 3671364 h 6851196"/>
                <a:gd name="connsiteX4663" fmla="*/ 11718445 w 12187339"/>
                <a:gd name="connsiteY4663" fmla="*/ 3909489 h 6851196"/>
                <a:gd name="connsiteX4664" fmla="*/ 11494357 w 12187339"/>
                <a:gd name="connsiteY4664" fmla="*/ 3664560 h 6851196"/>
                <a:gd name="connsiteX4665" fmla="*/ 11494357 w 12187339"/>
                <a:gd name="connsiteY4665" fmla="*/ 3428068 h 6851196"/>
                <a:gd name="connsiteX4666" fmla="*/ 11718445 w 12187339"/>
                <a:gd name="connsiteY4666" fmla="*/ 3428068 h 6851196"/>
                <a:gd name="connsiteX4667" fmla="*/ 11718445 w 12187339"/>
                <a:gd name="connsiteY4667" fmla="*/ 3664560 h 6851196"/>
                <a:gd name="connsiteX4668" fmla="*/ 11494357 w 12187339"/>
                <a:gd name="connsiteY4668" fmla="*/ 3421264 h 6851196"/>
                <a:gd name="connsiteX4669" fmla="*/ 11494357 w 12187339"/>
                <a:gd name="connsiteY4669" fmla="*/ 3183139 h 6851196"/>
                <a:gd name="connsiteX4670" fmla="*/ 11718445 w 12187339"/>
                <a:gd name="connsiteY4670" fmla="*/ 3183139 h 6851196"/>
                <a:gd name="connsiteX4671" fmla="*/ 11718445 w 12187339"/>
                <a:gd name="connsiteY4671" fmla="*/ 3421264 h 6851196"/>
                <a:gd name="connsiteX4672" fmla="*/ 11494357 w 12187339"/>
                <a:gd name="connsiteY4672" fmla="*/ 3176336 h 6851196"/>
                <a:gd name="connsiteX4673" fmla="*/ 11494357 w 12187339"/>
                <a:gd name="connsiteY4673" fmla="*/ 2938211 h 6851196"/>
                <a:gd name="connsiteX4674" fmla="*/ 11718445 w 12187339"/>
                <a:gd name="connsiteY4674" fmla="*/ 2938211 h 6851196"/>
                <a:gd name="connsiteX4675" fmla="*/ 11718445 w 12187339"/>
                <a:gd name="connsiteY4675" fmla="*/ 3176336 h 6851196"/>
                <a:gd name="connsiteX4676" fmla="*/ 11494357 w 12187339"/>
                <a:gd name="connsiteY4676" fmla="*/ 2931407 h 6851196"/>
                <a:gd name="connsiteX4677" fmla="*/ 11494357 w 12187339"/>
                <a:gd name="connsiteY4677" fmla="*/ 2693282 h 6851196"/>
                <a:gd name="connsiteX4678" fmla="*/ 11718445 w 12187339"/>
                <a:gd name="connsiteY4678" fmla="*/ 2693282 h 6851196"/>
                <a:gd name="connsiteX4679" fmla="*/ 11718445 w 12187339"/>
                <a:gd name="connsiteY4679" fmla="*/ 2931407 h 6851196"/>
                <a:gd name="connsiteX4680" fmla="*/ 11494357 w 12187339"/>
                <a:gd name="connsiteY4680" fmla="*/ 2686479 h 6851196"/>
                <a:gd name="connsiteX4681" fmla="*/ 11494357 w 12187339"/>
                <a:gd name="connsiteY4681" fmla="*/ 2449986 h 6851196"/>
                <a:gd name="connsiteX4682" fmla="*/ 11718445 w 12187339"/>
                <a:gd name="connsiteY4682" fmla="*/ 2449986 h 6851196"/>
                <a:gd name="connsiteX4683" fmla="*/ 11718445 w 12187339"/>
                <a:gd name="connsiteY4683" fmla="*/ 2686479 h 6851196"/>
                <a:gd name="connsiteX4684" fmla="*/ 11494357 w 12187339"/>
                <a:gd name="connsiteY4684" fmla="*/ 2443183 h 6851196"/>
                <a:gd name="connsiteX4685" fmla="*/ 11494357 w 12187339"/>
                <a:gd name="connsiteY4685" fmla="*/ 2205058 h 6851196"/>
                <a:gd name="connsiteX4686" fmla="*/ 11718445 w 12187339"/>
                <a:gd name="connsiteY4686" fmla="*/ 2205058 h 6851196"/>
                <a:gd name="connsiteX4687" fmla="*/ 11718445 w 12187339"/>
                <a:gd name="connsiteY4687" fmla="*/ 2443183 h 6851196"/>
                <a:gd name="connsiteX4688" fmla="*/ 11494357 w 12187339"/>
                <a:gd name="connsiteY4688" fmla="*/ 2198254 h 6851196"/>
                <a:gd name="connsiteX4689" fmla="*/ 11494357 w 12187339"/>
                <a:gd name="connsiteY4689" fmla="*/ 1960129 h 6851196"/>
                <a:gd name="connsiteX4690" fmla="*/ 11718445 w 12187339"/>
                <a:gd name="connsiteY4690" fmla="*/ 1960129 h 6851196"/>
                <a:gd name="connsiteX4691" fmla="*/ 11718445 w 12187339"/>
                <a:gd name="connsiteY4691" fmla="*/ 2198254 h 6851196"/>
                <a:gd name="connsiteX4692" fmla="*/ 11494357 w 12187339"/>
                <a:gd name="connsiteY4692" fmla="*/ 1953326 h 6851196"/>
                <a:gd name="connsiteX4693" fmla="*/ 11494357 w 12187339"/>
                <a:gd name="connsiteY4693" fmla="*/ 1716697 h 6851196"/>
                <a:gd name="connsiteX4694" fmla="*/ 11718445 w 12187339"/>
                <a:gd name="connsiteY4694" fmla="*/ 1716697 h 6851196"/>
                <a:gd name="connsiteX4695" fmla="*/ 11718445 w 12187339"/>
                <a:gd name="connsiteY4695" fmla="*/ 1953189 h 6851196"/>
                <a:gd name="connsiteX4696" fmla="*/ 11494357 w 12187339"/>
                <a:gd name="connsiteY4696" fmla="*/ 1710030 h 6851196"/>
                <a:gd name="connsiteX4697" fmla="*/ 11494357 w 12187339"/>
                <a:gd name="connsiteY4697" fmla="*/ 1471769 h 6851196"/>
                <a:gd name="connsiteX4698" fmla="*/ 11718445 w 12187339"/>
                <a:gd name="connsiteY4698" fmla="*/ 1471769 h 6851196"/>
                <a:gd name="connsiteX4699" fmla="*/ 11718445 w 12187339"/>
                <a:gd name="connsiteY4699" fmla="*/ 1709894 h 6851196"/>
                <a:gd name="connsiteX4700" fmla="*/ 11494357 w 12187339"/>
                <a:gd name="connsiteY4700" fmla="*/ 1465101 h 6851196"/>
                <a:gd name="connsiteX4701" fmla="*/ 11494357 w 12187339"/>
                <a:gd name="connsiteY4701" fmla="*/ 1226840 h 6851196"/>
                <a:gd name="connsiteX4702" fmla="*/ 11718445 w 12187339"/>
                <a:gd name="connsiteY4702" fmla="*/ 1226840 h 6851196"/>
                <a:gd name="connsiteX4703" fmla="*/ 11718445 w 12187339"/>
                <a:gd name="connsiteY4703" fmla="*/ 1464965 h 6851196"/>
                <a:gd name="connsiteX4704" fmla="*/ 11494357 w 12187339"/>
                <a:gd name="connsiteY4704" fmla="*/ 1220173 h 6851196"/>
                <a:gd name="connsiteX4705" fmla="*/ 11494357 w 12187339"/>
                <a:gd name="connsiteY4705" fmla="*/ 981911 h 6851196"/>
                <a:gd name="connsiteX4706" fmla="*/ 11718445 w 12187339"/>
                <a:gd name="connsiteY4706" fmla="*/ 981911 h 6851196"/>
                <a:gd name="connsiteX4707" fmla="*/ 11718445 w 12187339"/>
                <a:gd name="connsiteY4707" fmla="*/ 1220036 h 6851196"/>
                <a:gd name="connsiteX4708" fmla="*/ 11494357 w 12187339"/>
                <a:gd name="connsiteY4708" fmla="*/ 975244 h 6851196"/>
                <a:gd name="connsiteX4709" fmla="*/ 11494357 w 12187339"/>
                <a:gd name="connsiteY4709" fmla="*/ 738752 h 6851196"/>
                <a:gd name="connsiteX4710" fmla="*/ 11718445 w 12187339"/>
                <a:gd name="connsiteY4710" fmla="*/ 738752 h 6851196"/>
                <a:gd name="connsiteX4711" fmla="*/ 11718445 w 12187339"/>
                <a:gd name="connsiteY4711" fmla="*/ 975244 h 6851196"/>
                <a:gd name="connsiteX4712" fmla="*/ 11494357 w 12187339"/>
                <a:gd name="connsiteY4712" fmla="*/ 731948 h 6851196"/>
                <a:gd name="connsiteX4713" fmla="*/ 11494357 w 12187339"/>
                <a:gd name="connsiteY4713" fmla="*/ 493823 h 6851196"/>
                <a:gd name="connsiteX4714" fmla="*/ 11718445 w 12187339"/>
                <a:gd name="connsiteY4714" fmla="*/ 493823 h 6851196"/>
                <a:gd name="connsiteX4715" fmla="*/ 11718445 w 12187339"/>
                <a:gd name="connsiteY4715" fmla="*/ 731948 h 6851196"/>
                <a:gd name="connsiteX4716" fmla="*/ 11494357 w 12187339"/>
                <a:gd name="connsiteY4716" fmla="*/ 487020 h 6851196"/>
                <a:gd name="connsiteX4717" fmla="*/ 11494357 w 12187339"/>
                <a:gd name="connsiteY4717" fmla="*/ 248895 h 6851196"/>
                <a:gd name="connsiteX4718" fmla="*/ 11718445 w 12187339"/>
                <a:gd name="connsiteY4718" fmla="*/ 248895 h 6851196"/>
                <a:gd name="connsiteX4719" fmla="*/ 11718445 w 12187339"/>
                <a:gd name="connsiteY4719" fmla="*/ 487020 h 6851196"/>
                <a:gd name="connsiteX4720" fmla="*/ 11487954 w 12187339"/>
                <a:gd name="connsiteY4720" fmla="*/ 487020 h 6851196"/>
                <a:gd name="connsiteX4721" fmla="*/ 11265401 w 12187339"/>
                <a:gd name="connsiteY4721" fmla="*/ 487020 h 6851196"/>
                <a:gd name="connsiteX4722" fmla="*/ 11265401 w 12187339"/>
                <a:gd name="connsiteY4722" fmla="*/ 248895 h 6851196"/>
                <a:gd name="connsiteX4723" fmla="*/ 11487954 w 12187339"/>
                <a:gd name="connsiteY4723" fmla="*/ 248895 h 6851196"/>
                <a:gd name="connsiteX4724" fmla="*/ 11258998 w 12187339"/>
                <a:gd name="connsiteY4724" fmla="*/ 487020 h 6851196"/>
                <a:gd name="connsiteX4725" fmla="*/ 11034910 w 12187339"/>
                <a:gd name="connsiteY4725" fmla="*/ 487020 h 6851196"/>
                <a:gd name="connsiteX4726" fmla="*/ 11034910 w 12187339"/>
                <a:gd name="connsiteY4726" fmla="*/ 248895 h 6851196"/>
                <a:gd name="connsiteX4727" fmla="*/ 11258998 w 12187339"/>
                <a:gd name="connsiteY4727" fmla="*/ 248895 h 6851196"/>
                <a:gd name="connsiteX4728" fmla="*/ 11028507 w 12187339"/>
                <a:gd name="connsiteY4728" fmla="*/ 487020 h 6851196"/>
                <a:gd name="connsiteX4729" fmla="*/ 10804419 w 12187339"/>
                <a:gd name="connsiteY4729" fmla="*/ 487020 h 6851196"/>
                <a:gd name="connsiteX4730" fmla="*/ 10804419 w 12187339"/>
                <a:gd name="connsiteY4730" fmla="*/ 248895 h 6851196"/>
                <a:gd name="connsiteX4731" fmla="*/ 11028507 w 12187339"/>
                <a:gd name="connsiteY4731" fmla="*/ 248895 h 6851196"/>
                <a:gd name="connsiteX4732" fmla="*/ 10798016 w 12187339"/>
                <a:gd name="connsiteY4732" fmla="*/ 487020 h 6851196"/>
                <a:gd name="connsiteX4733" fmla="*/ 10575466 w 12187339"/>
                <a:gd name="connsiteY4733" fmla="*/ 487020 h 6851196"/>
                <a:gd name="connsiteX4734" fmla="*/ 10575466 w 12187339"/>
                <a:gd name="connsiteY4734" fmla="*/ 248895 h 6851196"/>
                <a:gd name="connsiteX4735" fmla="*/ 10798016 w 12187339"/>
                <a:gd name="connsiteY4735" fmla="*/ 248895 h 6851196"/>
                <a:gd name="connsiteX4736" fmla="*/ 10569064 w 12187339"/>
                <a:gd name="connsiteY4736" fmla="*/ 487020 h 6851196"/>
                <a:gd name="connsiteX4737" fmla="*/ 10344975 w 12187339"/>
                <a:gd name="connsiteY4737" fmla="*/ 487020 h 6851196"/>
                <a:gd name="connsiteX4738" fmla="*/ 10344975 w 12187339"/>
                <a:gd name="connsiteY4738" fmla="*/ 248895 h 6851196"/>
                <a:gd name="connsiteX4739" fmla="*/ 10569064 w 12187339"/>
                <a:gd name="connsiteY4739" fmla="*/ 248895 h 6851196"/>
                <a:gd name="connsiteX4740" fmla="*/ 10338573 w 12187339"/>
                <a:gd name="connsiteY4740" fmla="*/ 487020 h 6851196"/>
                <a:gd name="connsiteX4741" fmla="*/ 10114484 w 12187339"/>
                <a:gd name="connsiteY4741" fmla="*/ 487020 h 6851196"/>
                <a:gd name="connsiteX4742" fmla="*/ 10114484 w 12187339"/>
                <a:gd name="connsiteY4742" fmla="*/ 248895 h 6851196"/>
                <a:gd name="connsiteX4743" fmla="*/ 10338573 w 12187339"/>
                <a:gd name="connsiteY4743" fmla="*/ 248895 h 6851196"/>
                <a:gd name="connsiteX4744" fmla="*/ 10108082 w 12187339"/>
                <a:gd name="connsiteY4744" fmla="*/ 487020 h 6851196"/>
                <a:gd name="connsiteX4745" fmla="*/ 9883993 w 12187339"/>
                <a:gd name="connsiteY4745" fmla="*/ 487020 h 6851196"/>
                <a:gd name="connsiteX4746" fmla="*/ 9883993 w 12187339"/>
                <a:gd name="connsiteY4746" fmla="*/ 248895 h 6851196"/>
                <a:gd name="connsiteX4747" fmla="*/ 10108082 w 12187339"/>
                <a:gd name="connsiteY4747" fmla="*/ 248895 h 6851196"/>
                <a:gd name="connsiteX4748" fmla="*/ 9877591 w 12187339"/>
                <a:gd name="connsiteY4748" fmla="*/ 487020 h 6851196"/>
                <a:gd name="connsiteX4749" fmla="*/ 9655037 w 12187339"/>
                <a:gd name="connsiteY4749" fmla="*/ 487020 h 6851196"/>
                <a:gd name="connsiteX4750" fmla="*/ 9655037 w 12187339"/>
                <a:gd name="connsiteY4750" fmla="*/ 248895 h 6851196"/>
                <a:gd name="connsiteX4751" fmla="*/ 9877591 w 12187339"/>
                <a:gd name="connsiteY4751" fmla="*/ 248895 h 6851196"/>
                <a:gd name="connsiteX4752" fmla="*/ 9648635 w 12187339"/>
                <a:gd name="connsiteY4752" fmla="*/ 487020 h 6851196"/>
                <a:gd name="connsiteX4753" fmla="*/ 9424546 w 12187339"/>
                <a:gd name="connsiteY4753" fmla="*/ 487020 h 6851196"/>
                <a:gd name="connsiteX4754" fmla="*/ 9424546 w 12187339"/>
                <a:gd name="connsiteY4754" fmla="*/ 248895 h 6851196"/>
                <a:gd name="connsiteX4755" fmla="*/ 9648635 w 12187339"/>
                <a:gd name="connsiteY4755" fmla="*/ 248895 h 6851196"/>
                <a:gd name="connsiteX4756" fmla="*/ 9418144 w 12187339"/>
                <a:gd name="connsiteY4756" fmla="*/ 487020 h 6851196"/>
                <a:gd name="connsiteX4757" fmla="*/ 9194055 w 12187339"/>
                <a:gd name="connsiteY4757" fmla="*/ 487020 h 6851196"/>
                <a:gd name="connsiteX4758" fmla="*/ 9194055 w 12187339"/>
                <a:gd name="connsiteY4758" fmla="*/ 248895 h 6851196"/>
                <a:gd name="connsiteX4759" fmla="*/ 9418144 w 12187339"/>
                <a:gd name="connsiteY4759" fmla="*/ 248895 h 6851196"/>
                <a:gd name="connsiteX4760" fmla="*/ 9187653 w 12187339"/>
                <a:gd name="connsiteY4760" fmla="*/ 487020 h 6851196"/>
                <a:gd name="connsiteX4761" fmla="*/ 8963564 w 12187339"/>
                <a:gd name="connsiteY4761" fmla="*/ 487020 h 6851196"/>
                <a:gd name="connsiteX4762" fmla="*/ 8963564 w 12187339"/>
                <a:gd name="connsiteY4762" fmla="*/ 248895 h 6851196"/>
                <a:gd name="connsiteX4763" fmla="*/ 9187653 w 12187339"/>
                <a:gd name="connsiteY4763" fmla="*/ 248895 h 6851196"/>
                <a:gd name="connsiteX4764" fmla="*/ 8957162 w 12187339"/>
                <a:gd name="connsiteY4764" fmla="*/ 487020 h 6851196"/>
                <a:gd name="connsiteX4765" fmla="*/ 8734611 w 12187339"/>
                <a:gd name="connsiteY4765" fmla="*/ 487020 h 6851196"/>
                <a:gd name="connsiteX4766" fmla="*/ 8734611 w 12187339"/>
                <a:gd name="connsiteY4766" fmla="*/ 248895 h 6851196"/>
                <a:gd name="connsiteX4767" fmla="*/ 8957162 w 12187339"/>
                <a:gd name="connsiteY4767" fmla="*/ 248895 h 6851196"/>
                <a:gd name="connsiteX4768" fmla="*/ 8728209 w 12187339"/>
                <a:gd name="connsiteY4768" fmla="*/ 487020 h 6851196"/>
                <a:gd name="connsiteX4769" fmla="*/ 8504120 w 12187339"/>
                <a:gd name="connsiteY4769" fmla="*/ 487020 h 6851196"/>
                <a:gd name="connsiteX4770" fmla="*/ 8504120 w 12187339"/>
                <a:gd name="connsiteY4770" fmla="*/ 248895 h 6851196"/>
                <a:gd name="connsiteX4771" fmla="*/ 8728209 w 12187339"/>
                <a:gd name="connsiteY4771" fmla="*/ 248895 h 6851196"/>
                <a:gd name="connsiteX4772" fmla="*/ 8497718 w 12187339"/>
                <a:gd name="connsiteY4772" fmla="*/ 487020 h 6851196"/>
                <a:gd name="connsiteX4773" fmla="*/ 8273629 w 12187339"/>
                <a:gd name="connsiteY4773" fmla="*/ 487020 h 6851196"/>
                <a:gd name="connsiteX4774" fmla="*/ 8273629 w 12187339"/>
                <a:gd name="connsiteY4774" fmla="*/ 248895 h 6851196"/>
                <a:gd name="connsiteX4775" fmla="*/ 8497718 w 12187339"/>
                <a:gd name="connsiteY4775" fmla="*/ 248895 h 6851196"/>
                <a:gd name="connsiteX4776" fmla="*/ 8267227 w 12187339"/>
                <a:gd name="connsiteY4776" fmla="*/ 487020 h 6851196"/>
                <a:gd name="connsiteX4777" fmla="*/ 8044420 w 12187339"/>
                <a:gd name="connsiteY4777" fmla="*/ 487020 h 6851196"/>
                <a:gd name="connsiteX4778" fmla="*/ 8044420 w 12187339"/>
                <a:gd name="connsiteY4778" fmla="*/ 248895 h 6851196"/>
                <a:gd name="connsiteX4779" fmla="*/ 8267227 w 12187339"/>
                <a:gd name="connsiteY4779" fmla="*/ 248895 h 6851196"/>
                <a:gd name="connsiteX4780" fmla="*/ 8038274 w 12187339"/>
                <a:gd name="connsiteY4780" fmla="*/ 487020 h 6851196"/>
                <a:gd name="connsiteX4781" fmla="*/ 7814186 w 12187339"/>
                <a:gd name="connsiteY4781" fmla="*/ 487020 h 6851196"/>
                <a:gd name="connsiteX4782" fmla="*/ 7814186 w 12187339"/>
                <a:gd name="connsiteY4782" fmla="*/ 248895 h 6851196"/>
                <a:gd name="connsiteX4783" fmla="*/ 8038274 w 12187339"/>
                <a:gd name="connsiteY4783" fmla="*/ 248895 h 6851196"/>
                <a:gd name="connsiteX4784" fmla="*/ 7807783 w 12187339"/>
                <a:gd name="connsiteY4784" fmla="*/ 487020 h 6851196"/>
                <a:gd name="connsiteX4785" fmla="*/ 7583695 w 12187339"/>
                <a:gd name="connsiteY4785" fmla="*/ 487020 h 6851196"/>
                <a:gd name="connsiteX4786" fmla="*/ 7583695 w 12187339"/>
                <a:gd name="connsiteY4786" fmla="*/ 248895 h 6851196"/>
                <a:gd name="connsiteX4787" fmla="*/ 7807783 w 12187339"/>
                <a:gd name="connsiteY4787" fmla="*/ 248895 h 6851196"/>
                <a:gd name="connsiteX4788" fmla="*/ 7577292 w 12187339"/>
                <a:gd name="connsiteY4788" fmla="*/ 487020 h 6851196"/>
                <a:gd name="connsiteX4789" fmla="*/ 7353204 w 12187339"/>
                <a:gd name="connsiteY4789" fmla="*/ 487020 h 6851196"/>
                <a:gd name="connsiteX4790" fmla="*/ 7353204 w 12187339"/>
                <a:gd name="connsiteY4790" fmla="*/ 248895 h 6851196"/>
                <a:gd name="connsiteX4791" fmla="*/ 7577292 w 12187339"/>
                <a:gd name="connsiteY4791" fmla="*/ 248895 h 6851196"/>
                <a:gd name="connsiteX4792" fmla="*/ 7346801 w 12187339"/>
                <a:gd name="connsiteY4792" fmla="*/ 487020 h 6851196"/>
                <a:gd name="connsiteX4793" fmla="*/ 7124247 w 12187339"/>
                <a:gd name="connsiteY4793" fmla="*/ 487020 h 6851196"/>
                <a:gd name="connsiteX4794" fmla="*/ 7124247 w 12187339"/>
                <a:gd name="connsiteY4794" fmla="*/ 248895 h 6851196"/>
                <a:gd name="connsiteX4795" fmla="*/ 7346801 w 12187339"/>
                <a:gd name="connsiteY4795" fmla="*/ 248895 h 6851196"/>
                <a:gd name="connsiteX4796" fmla="*/ 7117845 w 12187339"/>
                <a:gd name="connsiteY4796" fmla="*/ 487020 h 6851196"/>
                <a:gd name="connsiteX4797" fmla="*/ 6893756 w 12187339"/>
                <a:gd name="connsiteY4797" fmla="*/ 487020 h 6851196"/>
                <a:gd name="connsiteX4798" fmla="*/ 6893756 w 12187339"/>
                <a:gd name="connsiteY4798" fmla="*/ 248895 h 6851196"/>
                <a:gd name="connsiteX4799" fmla="*/ 7117845 w 12187339"/>
                <a:gd name="connsiteY4799" fmla="*/ 248895 h 6851196"/>
                <a:gd name="connsiteX4800" fmla="*/ 6887354 w 12187339"/>
                <a:gd name="connsiteY4800" fmla="*/ 487020 h 6851196"/>
                <a:gd name="connsiteX4801" fmla="*/ 6663265 w 12187339"/>
                <a:gd name="connsiteY4801" fmla="*/ 487020 h 6851196"/>
                <a:gd name="connsiteX4802" fmla="*/ 6663265 w 12187339"/>
                <a:gd name="connsiteY4802" fmla="*/ 248895 h 6851196"/>
                <a:gd name="connsiteX4803" fmla="*/ 6887354 w 12187339"/>
                <a:gd name="connsiteY4803" fmla="*/ 248895 h 6851196"/>
                <a:gd name="connsiteX4804" fmla="*/ 6656863 w 12187339"/>
                <a:gd name="connsiteY4804" fmla="*/ 487020 h 6851196"/>
                <a:gd name="connsiteX4805" fmla="*/ 6446349 w 12187339"/>
                <a:gd name="connsiteY4805" fmla="*/ 487020 h 6851196"/>
                <a:gd name="connsiteX4806" fmla="*/ 6446349 w 12187339"/>
                <a:gd name="connsiteY4806" fmla="*/ 248895 h 6851196"/>
                <a:gd name="connsiteX4807" fmla="*/ 6656863 w 12187339"/>
                <a:gd name="connsiteY4807" fmla="*/ 248895 h 6851196"/>
                <a:gd name="connsiteX4808" fmla="*/ 6439946 w 12187339"/>
                <a:gd name="connsiteY4808" fmla="*/ 487020 h 6851196"/>
                <a:gd name="connsiteX4809" fmla="*/ 6217136 w 12187339"/>
                <a:gd name="connsiteY4809" fmla="*/ 487020 h 6851196"/>
                <a:gd name="connsiteX4810" fmla="*/ 6217136 w 12187339"/>
                <a:gd name="connsiteY4810" fmla="*/ 248895 h 6851196"/>
                <a:gd name="connsiteX4811" fmla="*/ 6439690 w 12187339"/>
                <a:gd name="connsiteY4811" fmla="*/ 248895 h 6851196"/>
                <a:gd name="connsiteX4812" fmla="*/ 6210990 w 12187339"/>
                <a:gd name="connsiteY4812" fmla="*/ 487020 h 6851196"/>
                <a:gd name="connsiteX4813" fmla="*/ 5986902 w 12187339"/>
                <a:gd name="connsiteY4813" fmla="*/ 487020 h 6851196"/>
                <a:gd name="connsiteX4814" fmla="*/ 5986902 w 12187339"/>
                <a:gd name="connsiteY4814" fmla="*/ 248895 h 6851196"/>
                <a:gd name="connsiteX4815" fmla="*/ 6210990 w 12187339"/>
                <a:gd name="connsiteY4815" fmla="*/ 248895 h 6851196"/>
                <a:gd name="connsiteX4816" fmla="*/ 5980499 w 12187339"/>
                <a:gd name="connsiteY4816" fmla="*/ 487020 h 6851196"/>
                <a:gd name="connsiteX4817" fmla="*/ 5756411 w 12187339"/>
                <a:gd name="connsiteY4817" fmla="*/ 487020 h 6851196"/>
                <a:gd name="connsiteX4818" fmla="*/ 5756411 w 12187339"/>
                <a:gd name="connsiteY4818" fmla="*/ 248895 h 6851196"/>
                <a:gd name="connsiteX4819" fmla="*/ 5980499 w 12187339"/>
                <a:gd name="connsiteY4819" fmla="*/ 248895 h 6851196"/>
                <a:gd name="connsiteX4820" fmla="*/ 5750008 w 12187339"/>
                <a:gd name="connsiteY4820" fmla="*/ 487020 h 6851196"/>
                <a:gd name="connsiteX4821" fmla="*/ 5526945 w 12187339"/>
                <a:gd name="connsiteY4821" fmla="*/ 487020 h 6851196"/>
                <a:gd name="connsiteX4822" fmla="*/ 5526945 w 12187339"/>
                <a:gd name="connsiteY4822" fmla="*/ 248895 h 6851196"/>
                <a:gd name="connsiteX4823" fmla="*/ 5749495 w 12187339"/>
                <a:gd name="connsiteY4823" fmla="*/ 248895 h 6851196"/>
                <a:gd name="connsiteX4824" fmla="*/ 5521055 w 12187339"/>
                <a:gd name="connsiteY4824" fmla="*/ 487020 h 6851196"/>
                <a:gd name="connsiteX4825" fmla="*/ 5296454 w 12187339"/>
                <a:gd name="connsiteY4825" fmla="*/ 487020 h 6851196"/>
                <a:gd name="connsiteX4826" fmla="*/ 5296454 w 12187339"/>
                <a:gd name="connsiteY4826" fmla="*/ 248895 h 6851196"/>
                <a:gd name="connsiteX4827" fmla="*/ 5520542 w 12187339"/>
                <a:gd name="connsiteY4827" fmla="*/ 248895 h 6851196"/>
                <a:gd name="connsiteX4828" fmla="*/ 5290564 w 12187339"/>
                <a:gd name="connsiteY4828" fmla="*/ 487020 h 6851196"/>
                <a:gd name="connsiteX4829" fmla="*/ 5065963 w 12187339"/>
                <a:gd name="connsiteY4829" fmla="*/ 487020 h 6851196"/>
                <a:gd name="connsiteX4830" fmla="*/ 5065963 w 12187339"/>
                <a:gd name="connsiteY4830" fmla="*/ 248895 h 6851196"/>
                <a:gd name="connsiteX4831" fmla="*/ 5290051 w 12187339"/>
                <a:gd name="connsiteY4831" fmla="*/ 248895 h 6851196"/>
                <a:gd name="connsiteX4832" fmla="*/ 5060073 w 12187339"/>
                <a:gd name="connsiteY4832" fmla="*/ 487020 h 6851196"/>
                <a:gd name="connsiteX4833" fmla="*/ 4835472 w 12187339"/>
                <a:gd name="connsiteY4833" fmla="*/ 487020 h 6851196"/>
                <a:gd name="connsiteX4834" fmla="*/ 4835472 w 12187339"/>
                <a:gd name="connsiteY4834" fmla="*/ 248895 h 6851196"/>
                <a:gd name="connsiteX4835" fmla="*/ 5059560 w 12187339"/>
                <a:gd name="connsiteY4835" fmla="*/ 248895 h 6851196"/>
                <a:gd name="connsiteX4836" fmla="*/ 4829582 w 12187339"/>
                <a:gd name="connsiteY4836" fmla="*/ 487020 h 6851196"/>
                <a:gd name="connsiteX4837" fmla="*/ 4607029 w 12187339"/>
                <a:gd name="connsiteY4837" fmla="*/ 487020 h 6851196"/>
                <a:gd name="connsiteX4838" fmla="*/ 4607029 w 12187339"/>
                <a:gd name="connsiteY4838" fmla="*/ 248895 h 6851196"/>
                <a:gd name="connsiteX4839" fmla="*/ 4829582 w 12187339"/>
                <a:gd name="connsiteY4839" fmla="*/ 248895 h 6851196"/>
                <a:gd name="connsiteX4840" fmla="*/ 4600626 w 12187339"/>
                <a:gd name="connsiteY4840" fmla="*/ 487020 h 6851196"/>
                <a:gd name="connsiteX4841" fmla="*/ 4376538 w 12187339"/>
                <a:gd name="connsiteY4841" fmla="*/ 487020 h 6851196"/>
                <a:gd name="connsiteX4842" fmla="*/ 4376538 w 12187339"/>
                <a:gd name="connsiteY4842" fmla="*/ 248895 h 6851196"/>
                <a:gd name="connsiteX4843" fmla="*/ 4600626 w 12187339"/>
                <a:gd name="connsiteY4843" fmla="*/ 248895 h 6851196"/>
                <a:gd name="connsiteX4844" fmla="*/ 4370135 w 12187339"/>
                <a:gd name="connsiteY4844" fmla="*/ 487020 h 6851196"/>
                <a:gd name="connsiteX4845" fmla="*/ 4146047 w 12187339"/>
                <a:gd name="connsiteY4845" fmla="*/ 487020 h 6851196"/>
                <a:gd name="connsiteX4846" fmla="*/ 4146047 w 12187339"/>
                <a:gd name="connsiteY4846" fmla="*/ 248895 h 6851196"/>
                <a:gd name="connsiteX4847" fmla="*/ 4370135 w 12187339"/>
                <a:gd name="connsiteY4847" fmla="*/ 248895 h 6851196"/>
                <a:gd name="connsiteX4848" fmla="*/ 4139644 w 12187339"/>
                <a:gd name="connsiteY4848" fmla="*/ 487020 h 6851196"/>
                <a:gd name="connsiteX4849" fmla="*/ 3917094 w 12187339"/>
                <a:gd name="connsiteY4849" fmla="*/ 487020 h 6851196"/>
                <a:gd name="connsiteX4850" fmla="*/ 3917094 w 12187339"/>
                <a:gd name="connsiteY4850" fmla="*/ 248895 h 6851196"/>
                <a:gd name="connsiteX4851" fmla="*/ 4139644 w 12187339"/>
                <a:gd name="connsiteY4851" fmla="*/ 248895 h 6851196"/>
                <a:gd name="connsiteX4852" fmla="*/ 3910691 w 12187339"/>
                <a:gd name="connsiteY4852" fmla="*/ 487020 h 6851196"/>
                <a:gd name="connsiteX4853" fmla="*/ 3686603 w 12187339"/>
                <a:gd name="connsiteY4853" fmla="*/ 487020 h 6851196"/>
                <a:gd name="connsiteX4854" fmla="*/ 3686603 w 12187339"/>
                <a:gd name="connsiteY4854" fmla="*/ 248895 h 6851196"/>
                <a:gd name="connsiteX4855" fmla="*/ 3910691 w 12187339"/>
                <a:gd name="connsiteY4855" fmla="*/ 248895 h 6851196"/>
                <a:gd name="connsiteX4856" fmla="*/ 3680200 w 12187339"/>
                <a:gd name="connsiteY4856" fmla="*/ 487020 h 6851196"/>
                <a:gd name="connsiteX4857" fmla="*/ 3456112 w 12187339"/>
                <a:gd name="connsiteY4857" fmla="*/ 487020 h 6851196"/>
                <a:gd name="connsiteX4858" fmla="*/ 3456112 w 12187339"/>
                <a:gd name="connsiteY4858" fmla="*/ 248895 h 6851196"/>
                <a:gd name="connsiteX4859" fmla="*/ 3680200 w 12187339"/>
                <a:gd name="connsiteY4859" fmla="*/ 248895 h 6851196"/>
                <a:gd name="connsiteX4860" fmla="*/ 3449709 w 12187339"/>
                <a:gd name="connsiteY4860" fmla="*/ 487020 h 6851196"/>
                <a:gd name="connsiteX4861" fmla="*/ 3225621 w 12187339"/>
                <a:gd name="connsiteY4861" fmla="*/ 487020 h 6851196"/>
                <a:gd name="connsiteX4862" fmla="*/ 3225621 w 12187339"/>
                <a:gd name="connsiteY4862" fmla="*/ 248895 h 6851196"/>
                <a:gd name="connsiteX4863" fmla="*/ 3449709 w 12187339"/>
                <a:gd name="connsiteY4863" fmla="*/ 248895 h 6851196"/>
                <a:gd name="connsiteX4864" fmla="*/ 3219218 w 12187339"/>
                <a:gd name="connsiteY4864" fmla="*/ 487020 h 6851196"/>
                <a:gd name="connsiteX4865" fmla="*/ 2996666 w 12187339"/>
                <a:gd name="connsiteY4865" fmla="*/ 487020 h 6851196"/>
                <a:gd name="connsiteX4866" fmla="*/ 2996666 w 12187339"/>
                <a:gd name="connsiteY4866" fmla="*/ 248895 h 6851196"/>
                <a:gd name="connsiteX4867" fmla="*/ 3219218 w 12187339"/>
                <a:gd name="connsiteY4867" fmla="*/ 248895 h 6851196"/>
                <a:gd name="connsiteX4868" fmla="*/ 2990264 w 12187339"/>
                <a:gd name="connsiteY4868" fmla="*/ 487020 h 6851196"/>
                <a:gd name="connsiteX4869" fmla="*/ 2766175 w 12187339"/>
                <a:gd name="connsiteY4869" fmla="*/ 487020 h 6851196"/>
                <a:gd name="connsiteX4870" fmla="*/ 2766175 w 12187339"/>
                <a:gd name="connsiteY4870" fmla="*/ 248895 h 6851196"/>
                <a:gd name="connsiteX4871" fmla="*/ 2990264 w 12187339"/>
                <a:gd name="connsiteY4871" fmla="*/ 248895 h 6851196"/>
                <a:gd name="connsiteX4872" fmla="*/ 2759773 w 12187339"/>
                <a:gd name="connsiteY4872" fmla="*/ 487020 h 6851196"/>
                <a:gd name="connsiteX4873" fmla="*/ 2535684 w 12187339"/>
                <a:gd name="connsiteY4873" fmla="*/ 487020 h 6851196"/>
                <a:gd name="connsiteX4874" fmla="*/ 2535684 w 12187339"/>
                <a:gd name="connsiteY4874" fmla="*/ 248895 h 6851196"/>
                <a:gd name="connsiteX4875" fmla="*/ 2759773 w 12187339"/>
                <a:gd name="connsiteY4875" fmla="*/ 248895 h 6851196"/>
                <a:gd name="connsiteX4876" fmla="*/ 2529282 w 12187339"/>
                <a:gd name="connsiteY4876" fmla="*/ 487020 h 6851196"/>
                <a:gd name="connsiteX4877" fmla="*/ 2305193 w 12187339"/>
                <a:gd name="connsiteY4877" fmla="*/ 487020 h 6851196"/>
                <a:gd name="connsiteX4878" fmla="*/ 2305193 w 12187339"/>
                <a:gd name="connsiteY4878" fmla="*/ 248895 h 6851196"/>
                <a:gd name="connsiteX4879" fmla="*/ 2529282 w 12187339"/>
                <a:gd name="connsiteY4879" fmla="*/ 248895 h 6851196"/>
                <a:gd name="connsiteX4880" fmla="*/ 2298791 w 12187339"/>
                <a:gd name="connsiteY4880" fmla="*/ 487020 h 6851196"/>
                <a:gd name="connsiteX4881" fmla="*/ 2075982 w 12187339"/>
                <a:gd name="connsiteY4881" fmla="*/ 487020 h 6851196"/>
                <a:gd name="connsiteX4882" fmla="*/ 2075982 w 12187339"/>
                <a:gd name="connsiteY4882" fmla="*/ 248895 h 6851196"/>
                <a:gd name="connsiteX4883" fmla="*/ 2298534 w 12187339"/>
                <a:gd name="connsiteY4883" fmla="*/ 248895 h 6851196"/>
                <a:gd name="connsiteX4884" fmla="*/ 2069836 w 12187339"/>
                <a:gd name="connsiteY4884" fmla="*/ 487020 h 6851196"/>
                <a:gd name="connsiteX4885" fmla="*/ 1845748 w 12187339"/>
                <a:gd name="connsiteY4885" fmla="*/ 487020 h 6851196"/>
                <a:gd name="connsiteX4886" fmla="*/ 1845748 w 12187339"/>
                <a:gd name="connsiteY4886" fmla="*/ 248895 h 6851196"/>
                <a:gd name="connsiteX4887" fmla="*/ 2069580 w 12187339"/>
                <a:gd name="connsiteY4887" fmla="*/ 248895 h 6851196"/>
                <a:gd name="connsiteX4888" fmla="*/ 1839345 w 12187339"/>
                <a:gd name="connsiteY4888" fmla="*/ 487020 h 6851196"/>
                <a:gd name="connsiteX4889" fmla="*/ 1615257 w 12187339"/>
                <a:gd name="connsiteY4889" fmla="*/ 487020 h 6851196"/>
                <a:gd name="connsiteX4890" fmla="*/ 1615257 w 12187339"/>
                <a:gd name="connsiteY4890" fmla="*/ 248895 h 6851196"/>
                <a:gd name="connsiteX4891" fmla="*/ 1839089 w 12187339"/>
                <a:gd name="connsiteY4891" fmla="*/ 248895 h 6851196"/>
                <a:gd name="connsiteX4892" fmla="*/ 1608854 w 12187339"/>
                <a:gd name="connsiteY4892" fmla="*/ 487020 h 6851196"/>
                <a:gd name="connsiteX4893" fmla="*/ 1386302 w 12187339"/>
                <a:gd name="connsiteY4893" fmla="*/ 487020 h 6851196"/>
                <a:gd name="connsiteX4894" fmla="*/ 1386302 w 12187339"/>
                <a:gd name="connsiteY4894" fmla="*/ 248895 h 6851196"/>
                <a:gd name="connsiteX4895" fmla="*/ 1608598 w 12187339"/>
                <a:gd name="connsiteY4895" fmla="*/ 248895 h 6851196"/>
                <a:gd name="connsiteX4896" fmla="*/ 1379900 w 12187339"/>
                <a:gd name="connsiteY4896" fmla="*/ 487020 h 6851196"/>
                <a:gd name="connsiteX4897" fmla="*/ 1155811 w 12187339"/>
                <a:gd name="connsiteY4897" fmla="*/ 487020 h 6851196"/>
                <a:gd name="connsiteX4898" fmla="*/ 1155811 w 12187339"/>
                <a:gd name="connsiteY4898" fmla="*/ 248895 h 6851196"/>
                <a:gd name="connsiteX4899" fmla="*/ 1379900 w 12187339"/>
                <a:gd name="connsiteY4899" fmla="*/ 248895 h 6851196"/>
                <a:gd name="connsiteX4900" fmla="*/ 1149409 w 12187339"/>
                <a:gd name="connsiteY4900" fmla="*/ 487020 h 6851196"/>
                <a:gd name="connsiteX4901" fmla="*/ 925320 w 12187339"/>
                <a:gd name="connsiteY4901" fmla="*/ 487020 h 6851196"/>
                <a:gd name="connsiteX4902" fmla="*/ 925320 w 12187339"/>
                <a:gd name="connsiteY4902" fmla="*/ 248895 h 6851196"/>
                <a:gd name="connsiteX4903" fmla="*/ 1149409 w 12187339"/>
                <a:gd name="connsiteY4903" fmla="*/ 248895 h 6851196"/>
                <a:gd name="connsiteX4904" fmla="*/ 918918 w 12187339"/>
                <a:gd name="connsiteY4904" fmla="*/ 487020 h 6851196"/>
                <a:gd name="connsiteX4905" fmla="*/ 694829 w 12187339"/>
                <a:gd name="connsiteY4905" fmla="*/ 487020 h 6851196"/>
                <a:gd name="connsiteX4906" fmla="*/ 694829 w 12187339"/>
                <a:gd name="connsiteY4906" fmla="*/ 248895 h 6851196"/>
                <a:gd name="connsiteX4907" fmla="*/ 918918 w 12187339"/>
                <a:gd name="connsiteY4907" fmla="*/ 248895 h 6851196"/>
                <a:gd name="connsiteX4908" fmla="*/ 688427 w 12187339"/>
                <a:gd name="connsiteY4908" fmla="*/ 487020 h 6851196"/>
                <a:gd name="connsiteX4909" fmla="*/ 465875 w 12187339"/>
                <a:gd name="connsiteY4909" fmla="*/ 487020 h 6851196"/>
                <a:gd name="connsiteX4910" fmla="*/ 465875 w 12187339"/>
                <a:gd name="connsiteY4910" fmla="*/ 248895 h 6851196"/>
                <a:gd name="connsiteX4911" fmla="*/ 688427 w 12187339"/>
                <a:gd name="connsiteY4911" fmla="*/ 248895 h 6851196"/>
                <a:gd name="connsiteX4912" fmla="*/ 459472 w 12187339"/>
                <a:gd name="connsiteY4912" fmla="*/ 487020 h 6851196"/>
                <a:gd name="connsiteX4913" fmla="*/ 235384 w 12187339"/>
                <a:gd name="connsiteY4913" fmla="*/ 487020 h 6851196"/>
                <a:gd name="connsiteX4914" fmla="*/ 235384 w 12187339"/>
                <a:gd name="connsiteY4914" fmla="*/ 248895 h 6851196"/>
                <a:gd name="connsiteX4915" fmla="*/ 459472 w 12187339"/>
                <a:gd name="connsiteY4915" fmla="*/ 248895 h 6851196"/>
                <a:gd name="connsiteX4916" fmla="*/ 459472 w 12187339"/>
                <a:gd name="connsiteY4916" fmla="*/ 493823 h 6851196"/>
                <a:gd name="connsiteX4917" fmla="*/ 459472 w 12187339"/>
                <a:gd name="connsiteY4917" fmla="*/ 731948 h 6851196"/>
                <a:gd name="connsiteX4918" fmla="*/ 235384 w 12187339"/>
                <a:gd name="connsiteY4918" fmla="*/ 731948 h 6851196"/>
                <a:gd name="connsiteX4919" fmla="*/ 235384 w 12187339"/>
                <a:gd name="connsiteY4919" fmla="*/ 493823 h 6851196"/>
                <a:gd name="connsiteX4920" fmla="*/ 459472 w 12187339"/>
                <a:gd name="connsiteY4920" fmla="*/ 738752 h 6851196"/>
                <a:gd name="connsiteX4921" fmla="*/ 459472 w 12187339"/>
                <a:gd name="connsiteY4921" fmla="*/ 975244 h 6851196"/>
                <a:gd name="connsiteX4922" fmla="*/ 235384 w 12187339"/>
                <a:gd name="connsiteY4922" fmla="*/ 975244 h 6851196"/>
                <a:gd name="connsiteX4923" fmla="*/ 235384 w 12187339"/>
                <a:gd name="connsiteY4923" fmla="*/ 738752 h 6851196"/>
                <a:gd name="connsiteX4924" fmla="*/ 459472 w 12187339"/>
                <a:gd name="connsiteY4924" fmla="*/ 982048 h 6851196"/>
                <a:gd name="connsiteX4925" fmla="*/ 459472 w 12187339"/>
                <a:gd name="connsiteY4925" fmla="*/ 1220173 h 6851196"/>
                <a:gd name="connsiteX4926" fmla="*/ 235384 w 12187339"/>
                <a:gd name="connsiteY4926" fmla="*/ 1220173 h 6851196"/>
                <a:gd name="connsiteX4927" fmla="*/ 235384 w 12187339"/>
                <a:gd name="connsiteY4927" fmla="*/ 981911 h 6851196"/>
                <a:gd name="connsiteX4928" fmla="*/ 459472 w 12187339"/>
                <a:gd name="connsiteY4928" fmla="*/ 1226976 h 6851196"/>
                <a:gd name="connsiteX4929" fmla="*/ 459472 w 12187339"/>
                <a:gd name="connsiteY4929" fmla="*/ 1465101 h 6851196"/>
                <a:gd name="connsiteX4930" fmla="*/ 235384 w 12187339"/>
                <a:gd name="connsiteY4930" fmla="*/ 1465101 h 6851196"/>
                <a:gd name="connsiteX4931" fmla="*/ 235384 w 12187339"/>
                <a:gd name="connsiteY4931" fmla="*/ 1226840 h 6851196"/>
                <a:gd name="connsiteX4932" fmla="*/ 459472 w 12187339"/>
                <a:gd name="connsiteY4932" fmla="*/ 1471905 h 6851196"/>
                <a:gd name="connsiteX4933" fmla="*/ 459472 w 12187339"/>
                <a:gd name="connsiteY4933" fmla="*/ 1710030 h 6851196"/>
                <a:gd name="connsiteX4934" fmla="*/ 235384 w 12187339"/>
                <a:gd name="connsiteY4934" fmla="*/ 1710030 h 6851196"/>
                <a:gd name="connsiteX4935" fmla="*/ 235384 w 12187339"/>
                <a:gd name="connsiteY4935" fmla="*/ 1471769 h 6851196"/>
                <a:gd name="connsiteX4936" fmla="*/ 459472 w 12187339"/>
                <a:gd name="connsiteY4936" fmla="*/ 1716833 h 6851196"/>
                <a:gd name="connsiteX4937" fmla="*/ 459472 w 12187339"/>
                <a:gd name="connsiteY4937" fmla="*/ 1953326 h 6851196"/>
                <a:gd name="connsiteX4938" fmla="*/ 235384 w 12187339"/>
                <a:gd name="connsiteY4938" fmla="*/ 1953326 h 6851196"/>
                <a:gd name="connsiteX4939" fmla="*/ 235384 w 12187339"/>
                <a:gd name="connsiteY4939" fmla="*/ 1716697 h 6851196"/>
                <a:gd name="connsiteX4940" fmla="*/ 459472 w 12187339"/>
                <a:gd name="connsiteY4940" fmla="*/ 1960129 h 6851196"/>
                <a:gd name="connsiteX4941" fmla="*/ 459472 w 12187339"/>
                <a:gd name="connsiteY4941" fmla="*/ 2198254 h 6851196"/>
                <a:gd name="connsiteX4942" fmla="*/ 235384 w 12187339"/>
                <a:gd name="connsiteY4942" fmla="*/ 2198254 h 6851196"/>
                <a:gd name="connsiteX4943" fmla="*/ 235384 w 12187339"/>
                <a:gd name="connsiteY4943" fmla="*/ 1960129 h 6851196"/>
                <a:gd name="connsiteX4944" fmla="*/ 459472 w 12187339"/>
                <a:gd name="connsiteY4944" fmla="*/ 2205058 h 6851196"/>
                <a:gd name="connsiteX4945" fmla="*/ 459472 w 12187339"/>
                <a:gd name="connsiteY4945" fmla="*/ 2443183 h 6851196"/>
                <a:gd name="connsiteX4946" fmla="*/ 235384 w 12187339"/>
                <a:gd name="connsiteY4946" fmla="*/ 2443183 h 6851196"/>
                <a:gd name="connsiteX4947" fmla="*/ 235384 w 12187339"/>
                <a:gd name="connsiteY4947" fmla="*/ 2205058 h 6851196"/>
                <a:gd name="connsiteX4948" fmla="*/ 459472 w 12187339"/>
                <a:gd name="connsiteY4948" fmla="*/ 2449986 h 6851196"/>
                <a:gd name="connsiteX4949" fmla="*/ 459472 w 12187339"/>
                <a:gd name="connsiteY4949" fmla="*/ 2686479 h 6851196"/>
                <a:gd name="connsiteX4950" fmla="*/ 235384 w 12187339"/>
                <a:gd name="connsiteY4950" fmla="*/ 2686479 h 6851196"/>
                <a:gd name="connsiteX4951" fmla="*/ 235384 w 12187339"/>
                <a:gd name="connsiteY4951" fmla="*/ 2449986 h 6851196"/>
                <a:gd name="connsiteX4952" fmla="*/ 459472 w 12187339"/>
                <a:gd name="connsiteY4952" fmla="*/ 2693282 h 6851196"/>
                <a:gd name="connsiteX4953" fmla="*/ 459472 w 12187339"/>
                <a:gd name="connsiteY4953" fmla="*/ 2931407 h 6851196"/>
                <a:gd name="connsiteX4954" fmla="*/ 235384 w 12187339"/>
                <a:gd name="connsiteY4954" fmla="*/ 2931407 h 6851196"/>
                <a:gd name="connsiteX4955" fmla="*/ 235384 w 12187339"/>
                <a:gd name="connsiteY4955" fmla="*/ 2693282 h 6851196"/>
                <a:gd name="connsiteX4956" fmla="*/ 459472 w 12187339"/>
                <a:gd name="connsiteY4956" fmla="*/ 2938211 h 6851196"/>
                <a:gd name="connsiteX4957" fmla="*/ 459472 w 12187339"/>
                <a:gd name="connsiteY4957" fmla="*/ 3176336 h 6851196"/>
                <a:gd name="connsiteX4958" fmla="*/ 235384 w 12187339"/>
                <a:gd name="connsiteY4958" fmla="*/ 3176336 h 6851196"/>
                <a:gd name="connsiteX4959" fmla="*/ 235384 w 12187339"/>
                <a:gd name="connsiteY4959" fmla="*/ 2938211 h 6851196"/>
                <a:gd name="connsiteX4960" fmla="*/ 459472 w 12187339"/>
                <a:gd name="connsiteY4960" fmla="*/ 3183139 h 6851196"/>
                <a:gd name="connsiteX4961" fmla="*/ 459472 w 12187339"/>
                <a:gd name="connsiteY4961" fmla="*/ 3421264 h 6851196"/>
                <a:gd name="connsiteX4962" fmla="*/ 235384 w 12187339"/>
                <a:gd name="connsiteY4962" fmla="*/ 3421264 h 6851196"/>
                <a:gd name="connsiteX4963" fmla="*/ 235384 w 12187339"/>
                <a:gd name="connsiteY4963" fmla="*/ 3183139 h 6851196"/>
                <a:gd name="connsiteX4964" fmla="*/ 459472 w 12187339"/>
                <a:gd name="connsiteY4964" fmla="*/ 3428068 h 6851196"/>
                <a:gd name="connsiteX4965" fmla="*/ 459472 w 12187339"/>
                <a:gd name="connsiteY4965" fmla="*/ 3664560 h 6851196"/>
                <a:gd name="connsiteX4966" fmla="*/ 235384 w 12187339"/>
                <a:gd name="connsiteY4966" fmla="*/ 3664560 h 6851196"/>
                <a:gd name="connsiteX4967" fmla="*/ 235384 w 12187339"/>
                <a:gd name="connsiteY4967" fmla="*/ 3428068 h 6851196"/>
                <a:gd name="connsiteX4968" fmla="*/ 459472 w 12187339"/>
                <a:gd name="connsiteY4968" fmla="*/ 3671364 h 6851196"/>
                <a:gd name="connsiteX4969" fmla="*/ 459472 w 12187339"/>
                <a:gd name="connsiteY4969" fmla="*/ 3909489 h 6851196"/>
                <a:gd name="connsiteX4970" fmla="*/ 235384 w 12187339"/>
                <a:gd name="connsiteY4970" fmla="*/ 3909489 h 6851196"/>
                <a:gd name="connsiteX4971" fmla="*/ 235384 w 12187339"/>
                <a:gd name="connsiteY4971" fmla="*/ 3671364 h 6851196"/>
                <a:gd name="connsiteX4972" fmla="*/ 459472 w 12187339"/>
                <a:gd name="connsiteY4972" fmla="*/ 3916292 h 6851196"/>
                <a:gd name="connsiteX4973" fmla="*/ 459472 w 12187339"/>
                <a:gd name="connsiteY4973" fmla="*/ 4154417 h 6851196"/>
                <a:gd name="connsiteX4974" fmla="*/ 235384 w 12187339"/>
                <a:gd name="connsiteY4974" fmla="*/ 4154417 h 6851196"/>
                <a:gd name="connsiteX4975" fmla="*/ 235384 w 12187339"/>
                <a:gd name="connsiteY4975" fmla="*/ 3916292 h 6851196"/>
                <a:gd name="connsiteX4976" fmla="*/ 459472 w 12187339"/>
                <a:gd name="connsiteY4976" fmla="*/ 4161221 h 6851196"/>
                <a:gd name="connsiteX4977" fmla="*/ 459472 w 12187339"/>
                <a:gd name="connsiteY4977" fmla="*/ 4399346 h 6851196"/>
                <a:gd name="connsiteX4978" fmla="*/ 235384 w 12187339"/>
                <a:gd name="connsiteY4978" fmla="*/ 4399346 h 6851196"/>
                <a:gd name="connsiteX4979" fmla="*/ 235384 w 12187339"/>
                <a:gd name="connsiteY4979" fmla="*/ 4161221 h 6851196"/>
                <a:gd name="connsiteX4980" fmla="*/ 459472 w 12187339"/>
                <a:gd name="connsiteY4980" fmla="*/ 4406149 h 6851196"/>
                <a:gd name="connsiteX4981" fmla="*/ 459472 w 12187339"/>
                <a:gd name="connsiteY4981" fmla="*/ 4642233 h 6851196"/>
                <a:gd name="connsiteX4982" fmla="*/ 235384 w 12187339"/>
                <a:gd name="connsiteY4982" fmla="*/ 4642233 h 6851196"/>
                <a:gd name="connsiteX4983" fmla="*/ 235384 w 12187339"/>
                <a:gd name="connsiteY4983" fmla="*/ 4405741 h 6851196"/>
                <a:gd name="connsiteX4984" fmla="*/ 459472 w 12187339"/>
                <a:gd name="connsiteY4984" fmla="*/ 4649445 h 6851196"/>
                <a:gd name="connsiteX4985" fmla="*/ 459472 w 12187339"/>
                <a:gd name="connsiteY4985" fmla="*/ 4887162 h 6851196"/>
                <a:gd name="connsiteX4986" fmla="*/ 235384 w 12187339"/>
                <a:gd name="connsiteY4986" fmla="*/ 4887162 h 6851196"/>
                <a:gd name="connsiteX4987" fmla="*/ 235384 w 12187339"/>
                <a:gd name="connsiteY4987" fmla="*/ 4649037 h 6851196"/>
                <a:gd name="connsiteX4988" fmla="*/ 459472 w 12187339"/>
                <a:gd name="connsiteY4988" fmla="*/ 4894374 h 6851196"/>
                <a:gd name="connsiteX4989" fmla="*/ 459472 w 12187339"/>
                <a:gd name="connsiteY4989" fmla="*/ 5132090 h 6851196"/>
                <a:gd name="connsiteX4990" fmla="*/ 235384 w 12187339"/>
                <a:gd name="connsiteY4990" fmla="*/ 5132090 h 6851196"/>
                <a:gd name="connsiteX4991" fmla="*/ 235384 w 12187339"/>
                <a:gd name="connsiteY4991" fmla="*/ 4893965 h 6851196"/>
                <a:gd name="connsiteX4992" fmla="*/ 459472 w 12187339"/>
                <a:gd name="connsiteY4992" fmla="*/ 5139302 h 6851196"/>
                <a:gd name="connsiteX4993" fmla="*/ 459472 w 12187339"/>
                <a:gd name="connsiteY4993" fmla="*/ 5375795 h 6851196"/>
                <a:gd name="connsiteX4994" fmla="*/ 235384 w 12187339"/>
                <a:gd name="connsiteY4994" fmla="*/ 5375795 h 6851196"/>
                <a:gd name="connsiteX4995" fmla="*/ 235384 w 12187339"/>
                <a:gd name="connsiteY4995" fmla="*/ 5139302 h 6851196"/>
                <a:gd name="connsiteX4996" fmla="*/ 459472 w 12187339"/>
                <a:gd name="connsiteY4996" fmla="*/ 5382598 h 6851196"/>
                <a:gd name="connsiteX4997" fmla="*/ 459472 w 12187339"/>
                <a:gd name="connsiteY4997" fmla="*/ 5620723 h 6851196"/>
                <a:gd name="connsiteX4998" fmla="*/ 235384 w 12187339"/>
                <a:gd name="connsiteY4998" fmla="*/ 5620723 h 6851196"/>
                <a:gd name="connsiteX4999" fmla="*/ 235384 w 12187339"/>
                <a:gd name="connsiteY4999" fmla="*/ 5382598 h 6851196"/>
                <a:gd name="connsiteX5000" fmla="*/ 459472 w 12187339"/>
                <a:gd name="connsiteY5000" fmla="*/ 5627527 h 6851196"/>
                <a:gd name="connsiteX5001" fmla="*/ 459472 w 12187339"/>
                <a:gd name="connsiteY5001" fmla="*/ 5865652 h 6851196"/>
                <a:gd name="connsiteX5002" fmla="*/ 235384 w 12187339"/>
                <a:gd name="connsiteY5002" fmla="*/ 5865652 h 6851196"/>
                <a:gd name="connsiteX5003" fmla="*/ 235384 w 12187339"/>
                <a:gd name="connsiteY5003" fmla="*/ 5627527 h 6851196"/>
                <a:gd name="connsiteX5004" fmla="*/ 459472 w 12187339"/>
                <a:gd name="connsiteY5004" fmla="*/ 5872455 h 6851196"/>
                <a:gd name="connsiteX5005" fmla="*/ 459472 w 12187339"/>
                <a:gd name="connsiteY5005" fmla="*/ 6110580 h 6851196"/>
                <a:gd name="connsiteX5006" fmla="*/ 235384 w 12187339"/>
                <a:gd name="connsiteY5006" fmla="*/ 6110580 h 6851196"/>
                <a:gd name="connsiteX5007" fmla="*/ 235384 w 12187339"/>
                <a:gd name="connsiteY5007" fmla="*/ 5872455 h 6851196"/>
                <a:gd name="connsiteX5008" fmla="*/ 459472 w 12187339"/>
                <a:gd name="connsiteY5008" fmla="*/ 6117384 h 6851196"/>
                <a:gd name="connsiteX5009" fmla="*/ 459472 w 12187339"/>
                <a:gd name="connsiteY5009" fmla="*/ 6353876 h 6851196"/>
                <a:gd name="connsiteX5010" fmla="*/ 235384 w 12187339"/>
                <a:gd name="connsiteY5010" fmla="*/ 6353876 h 6851196"/>
                <a:gd name="connsiteX5011" fmla="*/ 235384 w 12187339"/>
                <a:gd name="connsiteY5011" fmla="*/ 6117384 h 6851196"/>
                <a:gd name="connsiteX5012" fmla="*/ 459472 w 12187339"/>
                <a:gd name="connsiteY5012" fmla="*/ 6360680 h 6851196"/>
                <a:gd name="connsiteX5013" fmla="*/ 459472 w 12187339"/>
                <a:gd name="connsiteY5013" fmla="*/ 6598805 h 6851196"/>
                <a:gd name="connsiteX5014" fmla="*/ 235384 w 12187339"/>
                <a:gd name="connsiteY5014" fmla="*/ 6598805 h 6851196"/>
                <a:gd name="connsiteX5015" fmla="*/ 235384 w 12187339"/>
                <a:gd name="connsiteY5015" fmla="*/ 6360680 h 6851196"/>
                <a:gd name="connsiteX5016" fmla="*/ 465875 w 12187339"/>
                <a:gd name="connsiteY5016" fmla="*/ 6360680 h 6851196"/>
                <a:gd name="connsiteX5017" fmla="*/ 688427 w 12187339"/>
                <a:gd name="connsiteY5017" fmla="*/ 6360680 h 6851196"/>
                <a:gd name="connsiteX5018" fmla="*/ 688427 w 12187339"/>
                <a:gd name="connsiteY5018" fmla="*/ 6598805 h 6851196"/>
                <a:gd name="connsiteX5019" fmla="*/ 465875 w 12187339"/>
                <a:gd name="connsiteY5019" fmla="*/ 6598805 h 6851196"/>
                <a:gd name="connsiteX5020" fmla="*/ 694829 w 12187339"/>
                <a:gd name="connsiteY5020" fmla="*/ 6360680 h 6851196"/>
                <a:gd name="connsiteX5021" fmla="*/ 918918 w 12187339"/>
                <a:gd name="connsiteY5021" fmla="*/ 6360680 h 6851196"/>
                <a:gd name="connsiteX5022" fmla="*/ 918918 w 12187339"/>
                <a:gd name="connsiteY5022" fmla="*/ 6598805 h 6851196"/>
                <a:gd name="connsiteX5023" fmla="*/ 694829 w 12187339"/>
                <a:gd name="connsiteY5023" fmla="*/ 6598805 h 6851196"/>
                <a:gd name="connsiteX5024" fmla="*/ 925320 w 12187339"/>
                <a:gd name="connsiteY5024" fmla="*/ 6360680 h 6851196"/>
                <a:gd name="connsiteX5025" fmla="*/ 1149409 w 12187339"/>
                <a:gd name="connsiteY5025" fmla="*/ 6360680 h 6851196"/>
                <a:gd name="connsiteX5026" fmla="*/ 1149409 w 12187339"/>
                <a:gd name="connsiteY5026" fmla="*/ 6598805 h 6851196"/>
                <a:gd name="connsiteX5027" fmla="*/ 925320 w 12187339"/>
                <a:gd name="connsiteY5027" fmla="*/ 6598805 h 6851196"/>
                <a:gd name="connsiteX5028" fmla="*/ 1155811 w 12187339"/>
                <a:gd name="connsiteY5028" fmla="*/ 6360680 h 6851196"/>
                <a:gd name="connsiteX5029" fmla="*/ 1379900 w 12187339"/>
                <a:gd name="connsiteY5029" fmla="*/ 6360680 h 6851196"/>
                <a:gd name="connsiteX5030" fmla="*/ 1379900 w 12187339"/>
                <a:gd name="connsiteY5030" fmla="*/ 6598805 h 6851196"/>
                <a:gd name="connsiteX5031" fmla="*/ 1155811 w 12187339"/>
                <a:gd name="connsiteY5031" fmla="*/ 6598805 h 6851196"/>
                <a:gd name="connsiteX5032" fmla="*/ 1386302 w 12187339"/>
                <a:gd name="connsiteY5032" fmla="*/ 6360680 h 6851196"/>
                <a:gd name="connsiteX5033" fmla="*/ 1608598 w 12187339"/>
                <a:gd name="connsiteY5033" fmla="*/ 6360680 h 6851196"/>
                <a:gd name="connsiteX5034" fmla="*/ 1608598 w 12187339"/>
                <a:gd name="connsiteY5034" fmla="*/ 6598805 h 6851196"/>
                <a:gd name="connsiteX5035" fmla="*/ 1386046 w 12187339"/>
                <a:gd name="connsiteY5035" fmla="*/ 6598805 h 6851196"/>
                <a:gd name="connsiteX5036" fmla="*/ 1615257 w 12187339"/>
                <a:gd name="connsiteY5036" fmla="*/ 6360680 h 6851196"/>
                <a:gd name="connsiteX5037" fmla="*/ 1839089 w 12187339"/>
                <a:gd name="connsiteY5037" fmla="*/ 6360680 h 6851196"/>
                <a:gd name="connsiteX5038" fmla="*/ 1839089 w 12187339"/>
                <a:gd name="connsiteY5038" fmla="*/ 6598805 h 6851196"/>
                <a:gd name="connsiteX5039" fmla="*/ 1615000 w 12187339"/>
                <a:gd name="connsiteY5039" fmla="*/ 6598805 h 6851196"/>
                <a:gd name="connsiteX5040" fmla="*/ 1845748 w 12187339"/>
                <a:gd name="connsiteY5040" fmla="*/ 6360680 h 6851196"/>
                <a:gd name="connsiteX5041" fmla="*/ 2069580 w 12187339"/>
                <a:gd name="connsiteY5041" fmla="*/ 6360680 h 6851196"/>
                <a:gd name="connsiteX5042" fmla="*/ 2069580 w 12187339"/>
                <a:gd name="connsiteY5042" fmla="*/ 6598805 h 6851196"/>
                <a:gd name="connsiteX5043" fmla="*/ 1845491 w 12187339"/>
                <a:gd name="connsiteY5043" fmla="*/ 6598805 h 6851196"/>
                <a:gd name="connsiteX5044" fmla="*/ 2076239 w 12187339"/>
                <a:gd name="connsiteY5044" fmla="*/ 6360680 h 6851196"/>
                <a:gd name="connsiteX5045" fmla="*/ 2298791 w 12187339"/>
                <a:gd name="connsiteY5045" fmla="*/ 6360680 h 6851196"/>
                <a:gd name="connsiteX5046" fmla="*/ 2298791 w 12187339"/>
                <a:gd name="connsiteY5046" fmla="*/ 6598805 h 6851196"/>
                <a:gd name="connsiteX5047" fmla="*/ 2075982 w 12187339"/>
                <a:gd name="connsiteY5047" fmla="*/ 6598805 h 6851196"/>
                <a:gd name="connsiteX5048" fmla="*/ 2305193 w 12187339"/>
                <a:gd name="connsiteY5048" fmla="*/ 6360680 h 6851196"/>
                <a:gd name="connsiteX5049" fmla="*/ 2529282 w 12187339"/>
                <a:gd name="connsiteY5049" fmla="*/ 6360680 h 6851196"/>
                <a:gd name="connsiteX5050" fmla="*/ 2529282 w 12187339"/>
                <a:gd name="connsiteY5050" fmla="*/ 6598805 h 6851196"/>
                <a:gd name="connsiteX5051" fmla="*/ 2305193 w 12187339"/>
                <a:gd name="connsiteY5051" fmla="*/ 6598805 h 6851196"/>
                <a:gd name="connsiteX5052" fmla="*/ 2535684 w 12187339"/>
                <a:gd name="connsiteY5052" fmla="*/ 6360680 h 6851196"/>
                <a:gd name="connsiteX5053" fmla="*/ 2759773 w 12187339"/>
                <a:gd name="connsiteY5053" fmla="*/ 6360680 h 6851196"/>
                <a:gd name="connsiteX5054" fmla="*/ 2759773 w 12187339"/>
                <a:gd name="connsiteY5054" fmla="*/ 6598805 h 6851196"/>
                <a:gd name="connsiteX5055" fmla="*/ 2535684 w 12187339"/>
                <a:gd name="connsiteY5055" fmla="*/ 6598805 h 6851196"/>
                <a:gd name="connsiteX5056" fmla="*/ 2766175 w 12187339"/>
                <a:gd name="connsiteY5056" fmla="*/ 6360680 h 6851196"/>
                <a:gd name="connsiteX5057" fmla="*/ 2990264 w 12187339"/>
                <a:gd name="connsiteY5057" fmla="*/ 6360680 h 6851196"/>
                <a:gd name="connsiteX5058" fmla="*/ 2990264 w 12187339"/>
                <a:gd name="connsiteY5058" fmla="*/ 6598805 h 6851196"/>
                <a:gd name="connsiteX5059" fmla="*/ 2766175 w 12187339"/>
                <a:gd name="connsiteY5059" fmla="*/ 6598805 h 6851196"/>
                <a:gd name="connsiteX5060" fmla="*/ 2996666 w 12187339"/>
                <a:gd name="connsiteY5060" fmla="*/ 6360680 h 6851196"/>
                <a:gd name="connsiteX5061" fmla="*/ 3219218 w 12187339"/>
                <a:gd name="connsiteY5061" fmla="*/ 6360680 h 6851196"/>
                <a:gd name="connsiteX5062" fmla="*/ 3219218 w 12187339"/>
                <a:gd name="connsiteY5062" fmla="*/ 6598805 h 6851196"/>
                <a:gd name="connsiteX5063" fmla="*/ 2996666 w 12187339"/>
                <a:gd name="connsiteY5063" fmla="*/ 6598805 h 6851196"/>
                <a:gd name="connsiteX5064" fmla="*/ 3225621 w 12187339"/>
                <a:gd name="connsiteY5064" fmla="*/ 6360680 h 6851196"/>
                <a:gd name="connsiteX5065" fmla="*/ 3449709 w 12187339"/>
                <a:gd name="connsiteY5065" fmla="*/ 6360680 h 6851196"/>
                <a:gd name="connsiteX5066" fmla="*/ 3449709 w 12187339"/>
                <a:gd name="connsiteY5066" fmla="*/ 6598805 h 6851196"/>
                <a:gd name="connsiteX5067" fmla="*/ 3225621 w 12187339"/>
                <a:gd name="connsiteY5067" fmla="*/ 6598805 h 6851196"/>
                <a:gd name="connsiteX5068" fmla="*/ 3456112 w 12187339"/>
                <a:gd name="connsiteY5068" fmla="*/ 6360680 h 6851196"/>
                <a:gd name="connsiteX5069" fmla="*/ 3680200 w 12187339"/>
                <a:gd name="connsiteY5069" fmla="*/ 6360680 h 6851196"/>
                <a:gd name="connsiteX5070" fmla="*/ 3680200 w 12187339"/>
                <a:gd name="connsiteY5070" fmla="*/ 6598805 h 6851196"/>
                <a:gd name="connsiteX5071" fmla="*/ 3456112 w 12187339"/>
                <a:gd name="connsiteY5071" fmla="*/ 6598805 h 6851196"/>
                <a:gd name="connsiteX5072" fmla="*/ 3686603 w 12187339"/>
                <a:gd name="connsiteY5072" fmla="*/ 6360680 h 6851196"/>
                <a:gd name="connsiteX5073" fmla="*/ 3910691 w 12187339"/>
                <a:gd name="connsiteY5073" fmla="*/ 6360680 h 6851196"/>
                <a:gd name="connsiteX5074" fmla="*/ 3910691 w 12187339"/>
                <a:gd name="connsiteY5074" fmla="*/ 6598805 h 6851196"/>
                <a:gd name="connsiteX5075" fmla="*/ 3686603 w 12187339"/>
                <a:gd name="connsiteY5075" fmla="*/ 6598805 h 6851196"/>
                <a:gd name="connsiteX5076" fmla="*/ 3917094 w 12187339"/>
                <a:gd name="connsiteY5076" fmla="*/ 6360680 h 6851196"/>
                <a:gd name="connsiteX5077" fmla="*/ 4139644 w 12187339"/>
                <a:gd name="connsiteY5077" fmla="*/ 6360680 h 6851196"/>
                <a:gd name="connsiteX5078" fmla="*/ 4139644 w 12187339"/>
                <a:gd name="connsiteY5078" fmla="*/ 6598805 h 6851196"/>
                <a:gd name="connsiteX5079" fmla="*/ 3917094 w 12187339"/>
                <a:gd name="connsiteY5079" fmla="*/ 6598805 h 6851196"/>
                <a:gd name="connsiteX5080" fmla="*/ 4146047 w 12187339"/>
                <a:gd name="connsiteY5080" fmla="*/ 6360680 h 6851196"/>
                <a:gd name="connsiteX5081" fmla="*/ 4370135 w 12187339"/>
                <a:gd name="connsiteY5081" fmla="*/ 6360680 h 6851196"/>
                <a:gd name="connsiteX5082" fmla="*/ 4370135 w 12187339"/>
                <a:gd name="connsiteY5082" fmla="*/ 6598805 h 6851196"/>
                <a:gd name="connsiteX5083" fmla="*/ 4146047 w 12187339"/>
                <a:gd name="connsiteY5083" fmla="*/ 6598805 h 6851196"/>
                <a:gd name="connsiteX5084" fmla="*/ 4376538 w 12187339"/>
                <a:gd name="connsiteY5084" fmla="*/ 6360680 h 6851196"/>
                <a:gd name="connsiteX5085" fmla="*/ 4600626 w 12187339"/>
                <a:gd name="connsiteY5085" fmla="*/ 6360680 h 6851196"/>
                <a:gd name="connsiteX5086" fmla="*/ 4600626 w 12187339"/>
                <a:gd name="connsiteY5086" fmla="*/ 6598805 h 6851196"/>
                <a:gd name="connsiteX5087" fmla="*/ 4376538 w 12187339"/>
                <a:gd name="connsiteY5087" fmla="*/ 6598805 h 6851196"/>
                <a:gd name="connsiteX5088" fmla="*/ 4607029 w 12187339"/>
                <a:gd name="connsiteY5088" fmla="*/ 6360680 h 6851196"/>
                <a:gd name="connsiteX5089" fmla="*/ 4829582 w 12187339"/>
                <a:gd name="connsiteY5089" fmla="*/ 6360680 h 6851196"/>
                <a:gd name="connsiteX5090" fmla="*/ 4829582 w 12187339"/>
                <a:gd name="connsiteY5090" fmla="*/ 6598805 h 6851196"/>
                <a:gd name="connsiteX5091" fmla="*/ 4607029 w 12187339"/>
                <a:gd name="connsiteY5091" fmla="*/ 6598805 h 6851196"/>
                <a:gd name="connsiteX5092" fmla="*/ 4835985 w 12187339"/>
                <a:gd name="connsiteY5092" fmla="*/ 6360680 h 6851196"/>
                <a:gd name="connsiteX5093" fmla="*/ 5060073 w 12187339"/>
                <a:gd name="connsiteY5093" fmla="*/ 6360680 h 6851196"/>
                <a:gd name="connsiteX5094" fmla="*/ 5060073 w 12187339"/>
                <a:gd name="connsiteY5094" fmla="*/ 6598805 h 6851196"/>
                <a:gd name="connsiteX5095" fmla="*/ 4835472 w 12187339"/>
                <a:gd name="connsiteY5095" fmla="*/ 6598805 h 6851196"/>
                <a:gd name="connsiteX5096" fmla="*/ 5066476 w 12187339"/>
                <a:gd name="connsiteY5096" fmla="*/ 6360680 h 6851196"/>
                <a:gd name="connsiteX5097" fmla="*/ 5290564 w 12187339"/>
                <a:gd name="connsiteY5097" fmla="*/ 6360680 h 6851196"/>
                <a:gd name="connsiteX5098" fmla="*/ 5290564 w 12187339"/>
                <a:gd name="connsiteY5098" fmla="*/ 6598805 h 6851196"/>
                <a:gd name="connsiteX5099" fmla="*/ 5065963 w 12187339"/>
                <a:gd name="connsiteY5099" fmla="*/ 6598805 h 6851196"/>
                <a:gd name="connsiteX5100" fmla="*/ 5296967 w 12187339"/>
                <a:gd name="connsiteY5100" fmla="*/ 6360680 h 6851196"/>
                <a:gd name="connsiteX5101" fmla="*/ 5521055 w 12187339"/>
                <a:gd name="connsiteY5101" fmla="*/ 6360680 h 6851196"/>
                <a:gd name="connsiteX5102" fmla="*/ 5521055 w 12187339"/>
                <a:gd name="connsiteY5102" fmla="*/ 6598805 h 6851196"/>
                <a:gd name="connsiteX5103" fmla="*/ 5296454 w 12187339"/>
                <a:gd name="connsiteY5103" fmla="*/ 6598805 h 6851196"/>
                <a:gd name="connsiteX5104" fmla="*/ 5527458 w 12187339"/>
                <a:gd name="connsiteY5104" fmla="*/ 6360680 h 6851196"/>
                <a:gd name="connsiteX5105" fmla="*/ 5750008 w 12187339"/>
                <a:gd name="connsiteY5105" fmla="*/ 6360680 h 6851196"/>
                <a:gd name="connsiteX5106" fmla="*/ 5750008 w 12187339"/>
                <a:gd name="connsiteY5106" fmla="*/ 6598805 h 6851196"/>
                <a:gd name="connsiteX5107" fmla="*/ 5526945 w 12187339"/>
                <a:gd name="connsiteY5107" fmla="*/ 6598805 h 6851196"/>
                <a:gd name="connsiteX5108" fmla="*/ 5756411 w 12187339"/>
                <a:gd name="connsiteY5108" fmla="*/ 6360680 h 6851196"/>
                <a:gd name="connsiteX5109" fmla="*/ 5980499 w 12187339"/>
                <a:gd name="connsiteY5109" fmla="*/ 6360680 h 6851196"/>
                <a:gd name="connsiteX5110" fmla="*/ 5980499 w 12187339"/>
                <a:gd name="connsiteY5110" fmla="*/ 6598805 h 6851196"/>
                <a:gd name="connsiteX5111" fmla="*/ 5756411 w 12187339"/>
                <a:gd name="connsiteY5111" fmla="*/ 6598805 h 6851196"/>
                <a:gd name="connsiteX5112" fmla="*/ 5986902 w 12187339"/>
                <a:gd name="connsiteY5112" fmla="*/ 6360680 h 6851196"/>
                <a:gd name="connsiteX5113" fmla="*/ 6210990 w 12187339"/>
                <a:gd name="connsiteY5113" fmla="*/ 6360680 h 6851196"/>
                <a:gd name="connsiteX5114" fmla="*/ 6210990 w 12187339"/>
                <a:gd name="connsiteY5114" fmla="*/ 6598805 h 6851196"/>
                <a:gd name="connsiteX5115" fmla="*/ 5986902 w 12187339"/>
                <a:gd name="connsiteY5115" fmla="*/ 6598805 h 6851196"/>
                <a:gd name="connsiteX5116" fmla="*/ 6217393 w 12187339"/>
                <a:gd name="connsiteY5116" fmla="*/ 6360680 h 6851196"/>
                <a:gd name="connsiteX5117" fmla="*/ 6439946 w 12187339"/>
                <a:gd name="connsiteY5117" fmla="*/ 6360680 h 6851196"/>
                <a:gd name="connsiteX5118" fmla="*/ 6439946 w 12187339"/>
                <a:gd name="connsiteY5118" fmla="*/ 6598805 h 6851196"/>
                <a:gd name="connsiteX5119" fmla="*/ 6217136 w 12187339"/>
                <a:gd name="connsiteY5119" fmla="*/ 6598805 h 6851196"/>
                <a:gd name="connsiteX5120" fmla="*/ 6446349 w 12187339"/>
                <a:gd name="connsiteY5120" fmla="*/ 6360680 h 6851196"/>
                <a:gd name="connsiteX5121" fmla="*/ 6656863 w 12187339"/>
                <a:gd name="connsiteY5121" fmla="*/ 6360680 h 6851196"/>
                <a:gd name="connsiteX5122" fmla="*/ 6656863 w 12187339"/>
                <a:gd name="connsiteY5122" fmla="*/ 6598805 h 6851196"/>
                <a:gd name="connsiteX5123" fmla="*/ 6446349 w 12187339"/>
                <a:gd name="connsiteY5123" fmla="*/ 6598805 h 6851196"/>
                <a:gd name="connsiteX5124" fmla="*/ 6663265 w 12187339"/>
                <a:gd name="connsiteY5124" fmla="*/ 6360680 h 6851196"/>
                <a:gd name="connsiteX5125" fmla="*/ 6887354 w 12187339"/>
                <a:gd name="connsiteY5125" fmla="*/ 6360680 h 6851196"/>
                <a:gd name="connsiteX5126" fmla="*/ 6887354 w 12187339"/>
                <a:gd name="connsiteY5126" fmla="*/ 6598805 h 6851196"/>
                <a:gd name="connsiteX5127" fmla="*/ 6663265 w 12187339"/>
                <a:gd name="connsiteY5127" fmla="*/ 6598805 h 6851196"/>
                <a:gd name="connsiteX5128" fmla="*/ 6893756 w 12187339"/>
                <a:gd name="connsiteY5128" fmla="*/ 6360680 h 6851196"/>
                <a:gd name="connsiteX5129" fmla="*/ 7117845 w 12187339"/>
                <a:gd name="connsiteY5129" fmla="*/ 6360680 h 6851196"/>
                <a:gd name="connsiteX5130" fmla="*/ 7117845 w 12187339"/>
                <a:gd name="connsiteY5130" fmla="*/ 6598805 h 6851196"/>
                <a:gd name="connsiteX5131" fmla="*/ 6893756 w 12187339"/>
                <a:gd name="connsiteY5131" fmla="*/ 6598805 h 6851196"/>
                <a:gd name="connsiteX5132" fmla="*/ 7124247 w 12187339"/>
                <a:gd name="connsiteY5132" fmla="*/ 6360680 h 6851196"/>
                <a:gd name="connsiteX5133" fmla="*/ 7346801 w 12187339"/>
                <a:gd name="connsiteY5133" fmla="*/ 6360680 h 6851196"/>
                <a:gd name="connsiteX5134" fmla="*/ 7346801 w 12187339"/>
                <a:gd name="connsiteY5134" fmla="*/ 6598805 h 6851196"/>
                <a:gd name="connsiteX5135" fmla="*/ 7124247 w 12187339"/>
                <a:gd name="connsiteY5135" fmla="*/ 6598805 h 6851196"/>
                <a:gd name="connsiteX5136" fmla="*/ 7353204 w 12187339"/>
                <a:gd name="connsiteY5136" fmla="*/ 6360680 h 6851196"/>
                <a:gd name="connsiteX5137" fmla="*/ 7577292 w 12187339"/>
                <a:gd name="connsiteY5137" fmla="*/ 6360680 h 6851196"/>
                <a:gd name="connsiteX5138" fmla="*/ 7577292 w 12187339"/>
                <a:gd name="connsiteY5138" fmla="*/ 6598805 h 6851196"/>
                <a:gd name="connsiteX5139" fmla="*/ 7353204 w 12187339"/>
                <a:gd name="connsiteY5139" fmla="*/ 6598805 h 6851196"/>
                <a:gd name="connsiteX5140" fmla="*/ 7583695 w 12187339"/>
                <a:gd name="connsiteY5140" fmla="*/ 6360680 h 6851196"/>
                <a:gd name="connsiteX5141" fmla="*/ 7807783 w 12187339"/>
                <a:gd name="connsiteY5141" fmla="*/ 6360680 h 6851196"/>
                <a:gd name="connsiteX5142" fmla="*/ 7807783 w 12187339"/>
                <a:gd name="connsiteY5142" fmla="*/ 6598805 h 6851196"/>
                <a:gd name="connsiteX5143" fmla="*/ 7583695 w 12187339"/>
                <a:gd name="connsiteY5143" fmla="*/ 6598805 h 6851196"/>
                <a:gd name="connsiteX5144" fmla="*/ 7814186 w 12187339"/>
                <a:gd name="connsiteY5144" fmla="*/ 6360680 h 6851196"/>
                <a:gd name="connsiteX5145" fmla="*/ 8038274 w 12187339"/>
                <a:gd name="connsiteY5145" fmla="*/ 6360680 h 6851196"/>
                <a:gd name="connsiteX5146" fmla="*/ 8038274 w 12187339"/>
                <a:gd name="connsiteY5146" fmla="*/ 6598805 h 6851196"/>
                <a:gd name="connsiteX5147" fmla="*/ 7814186 w 12187339"/>
                <a:gd name="connsiteY5147" fmla="*/ 6598805 h 6851196"/>
                <a:gd name="connsiteX5148" fmla="*/ 8044677 w 12187339"/>
                <a:gd name="connsiteY5148" fmla="*/ 6360680 h 6851196"/>
                <a:gd name="connsiteX5149" fmla="*/ 8267227 w 12187339"/>
                <a:gd name="connsiteY5149" fmla="*/ 6360680 h 6851196"/>
                <a:gd name="connsiteX5150" fmla="*/ 8267227 w 12187339"/>
                <a:gd name="connsiteY5150" fmla="*/ 6598805 h 6851196"/>
                <a:gd name="connsiteX5151" fmla="*/ 8044420 w 12187339"/>
                <a:gd name="connsiteY5151" fmla="*/ 6598805 h 6851196"/>
                <a:gd name="connsiteX5152" fmla="*/ 8273629 w 12187339"/>
                <a:gd name="connsiteY5152" fmla="*/ 6360680 h 6851196"/>
                <a:gd name="connsiteX5153" fmla="*/ 8497718 w 12187339"/>
                <a:gd name="connsiteY5153" fmla="*/ 6360680 h 6851196"/>
                <a:gd name="connsiteX5154" fmla="*/ 8497718 w 12187339"/>
                <a:gd name="connsiteY5154" fmla="*/ 6598805 h 6851196"/>
                <a:gd name="connsiteX5155" fmla="*/ 8273629 w 12187339"/>
                <a:gd name="connsiteY5155" fmla="*/ 6598805 h 6851196"/>
                <a:gd name="connsiteX5156" fmla="*/ 8504120 w 12187339"/>
                <a:gd name="connsiteY5156" fmla="*/ 6360680 h 6851196"/>
                <a:gd name="connsiteX5157" fmla="*/ 8728209 w 12187339"/>
                <a:gd name="connsiteY5157" fmla="*/ 6360680 h 6851196"/>
                <a:gd name="connsiteX5158" fmla="*/ 8728209 w 12187339"/>
                <a:gd name="connsiteY5158" fmla="*/ 6598805 h 6851196"/>
                <a:gd name="connsiteX5159" fmla="*/ 8504120 w 12187339"/>
                <a:gd name="connsiteY5159" fmla="*/ 6598805 h 6851196"/>
                <a:gd name="connsiteX5160" fmla="*/ 8734611 w 12187339"/>
                <a:gd name="connsiteY5160" fmla="*/ 6360680 h 6851196"/>
                <a:gd name="connsiteX5161" fmla="*/ 8957162 w 12187339"/>
                <a:gd name="connsiteY5161" fmla="*/ 6360680 h 6851196"/>
                <a:gd name="connsiteX5162" fmla="*/ 8957162 w 12187339"/>
                <a:gd name="connsiteY5162" fmla="*/ 6598805 h 6851196"/>
                <a:gd name="connsiteX5163" fmla="*/ 8734611 w 12187339"/>
                <a:gd name="connsiteY5163" fmla="*/ 6598805 h 6851196"/>
                <a:gd name="connsiteX5164" fmla="*/ 8963564 w 12187339"/>
                <a:gd name="connsiteY5164" fmla="*/ 6360680 h 6851196"/>
                <a:gd name="connsiteX5165" fmla="*/ 9187653 w 12187339"/>
                <a:gd name="connsiteY5165" fmla="*/ 6360680 h 6851196"/>
                <a:gd name="connsiteX5166" fmla="*/ 9187653 w 12187339"/>
                <a:gd name="connsiteY5166" fmla="*/ 6598805 h 6851196"/>
                <a:gd name="connsiteX5167" fmla="*/ 8963564 w 12187339"/>
                <a:gd name="connsiteY5167" fmla="*/ 6598805 h 6851196"/>
                <a:gd name="connsiteX5168" fmla="*/ 9194055 w 12187339"/>
                <a:gd name="connsiteY5168" fmla="*/ 6360680 h 6851196"/>
                <a:gd name="connsiteX5169" fmla="*/ 9418144 w 12187339"/>
                <a:gd name="connsiteY5169" fmla="*/ 6360680 h 6851196"/>
                <a:gd name="connsiteX5170" fmla="*/ 9418144 w 12187339"/>
                <a:gd name="connsiteY5170" fmla="*/ 6598805 h 6851196"/>
                <a:gd name="connsiteX5171" fmla="*/ 9194055 w 12187339"/>
                <a:gd name="connsiteY5171" fmla="*/ 6598805 h 6851196"/>
                <a:gd name="connsiteX5172" fmla="*/ 9424546 w 12187339"/>
                <a:gd name="connsiteY5172" fmla="*/ 6360680 h 6851196"/>
                <a:gd name="connsiteX5173" fmla="*/ 9648635 w 12187339"/>
                <a:gd name="connsiteY5173" fmla="*/ 6360680 h 6851196"/>
                <a:gd name="connsiteX5174" fmla="*/ 9648635 w 12187339"/>
                <a:gd name="connsiteY5174" fmla="*/ 6598805 h 6851196"/>
                <a:gd name="connsiteX5175" fmla="*/ 9424546 w 12187339"/>
                <a:gd name="connsiteY5175" fmla="*/ 6598805 h 6851196"/>
                <a:gd name="connsiteX5176" fmla="*/ 9655037 w 12187339"/>
                <a:gd name="connsiteY5176" fmla="*/ 6360680 h 6851196"/>
                <a:gd name="connsiteX5177" fmla="*/ 9877591 w 12187339"/>
                <a:gd name="connsiteY5177" fmla="*/ 6360680 h 6851196"/>
                <a:gd name="connsiteX5178" fmla="*/ 9877591 w 12187339"/>
                <a:gd name="connsiteY5178" fmla="*/ 6598805 h 6851196"/>
                <a:gd name="connsiteX5179" fmla="*/ 9655037 w 12187339"/>
                <a:gd name="connsiteY5179" fmla="*/ 6598805 h 6851196"/>
                <a:gd name="connsiteX5180" fmla="*/ 9883993 w 12187339"/>
                <a:gd name="connsiteY5180" fmla="*/ 6360680 h 6851196"/>
                <a:gd name="connsiteX5181" fmla="*/ 10108082 w 12187339"/>
                <a:gd name="connsiteY5181" fmla="*/ 6360680 h 6851196"/>
                <a:gd name="connsiteX5182" fmla="*/ 10108082 w 12187339"/>
                <a:gd name="connsiteY5182" fmla="*/ 6598805 h 6851196"/>
                <a:gd name="connsiteX5183" fmla="*/ 9883993 w 12187339"/>
                <a:gd name="connsiteY5183" fmla="*/ 6598805 h 6851196"/>
                <a:gd name="connsiteX5184" fmla="*/ 10114484 w 12187339"/>
                <a:gd name="connsiteY5184" fmla="*/ 6360680 h 6851196"/>
                <a:gd name="connsiteX5185" fmla="*/ 10338573 w 12187339"/>
                <a:gd name="connsiteY5185" fmla="*/ 6360680 h 6851196"/>
                <a:gd name="connsiteX5186" fmla="*/ 10338573 w 12187339"/>
                <a:gd name="connsiteY5186" fmla="*/ 6598805 h 6851196"/>
                <a:gd name="connsiteX5187" fmla="*/ 10114484 w 12187339"/>
                <a:gd name="connsiteY5187" fmla="*/ 6598805 h 6851196"/>
                <a:gd name="connsiteX5188" fmla="*/ 10344975 w 12187339"/>
                <a:gd name="connsiteY5188" fmla="*/ 6360680 h 6851196"/>
                <a:gd name="connsiteX5189" fmla="*/ 10569064 w 12187339"/>
                <a:gd name="connsiteY5189" fmla="*/ 6360680 h 6851196"/>
                <a:gd name="connsiteX5190" fmla="*/ 10569064 w 12187339"/>
                <a:gd name="connsiteY5190" fmla="*/ 6598805 h 6851196"/>
                <a:gd name="connsiteX5191" fmla="*/ 10344975 w 12187339"/>
                <a:gd name="connsiteY5191" fmla="*/ 6598805 h 6851196"/>
                <a:gd name="connsiteX5192" fmla="*/ 10575466 w 12187339"/>
                <a:gd name="connsiteY5192" fmla="*/ 6360680 h 6851196"/>
                <a:gd name="connsiteX5193" fmla="*/ 10798016 w 12187339"/>
                <a:gd name="connsiteY5193" fmla="*/ 6360680 h 6851196"/>
                <a:gd name="connsiteX5194" fmla="*/ 10798016 w 12187339"/>
                <a:gd name="connsiteY5194" fmla="*/ 6598805 h 6851196"/>
                <a:gd name="connsiteX5195" fmla="*/ 10575466 w 12187339"/>
                <a:gd name="connsiteY5195" fmla="*/ 6598805 h 6851196"/>
                <a:gd name="connsiteX5196" fmla="*/ 10804419 w 12187339"/>
                <a:gd name="connsiteY5196" fmla="*/ 6360680 h 6851196"/>
                <a:gd name="connsiteX5197" fmla="*/ 11028507 w 12187339"/>
                <a:gd name="connsiteY5197" fmla="*/ 6360680 h 6851196"/>
                <a:gd name="connsiteX5198" fmla="*/ 11028507 w 12187339"/>
                <a:gd name="connsiteY5198" fmla="*/ 6598805 h 6851196"/>
                <a:gd name="connsiteX5199" fmla="*/ 10804419 w 12187339"/>
                <a:gd name="connsiteY5199" fmla="*/ 6598805 h 6851196"/>
                <a:gd name="connsiteX5200" fmla="*/ 11034910 w 12187339"/>
                <a:gd name="connsiteY5200" fmla="*/ 6360680 h 6851196"/>
                <a:gd name="connsiteX5201" fmla="*/ 11258998 w 12187339"/>
                <a:gd name="connsiteY5201" fmla="*/ 6360680 h 6851196"/>
                <a:gd name="connsiteX5202" fmla="*/ 11258998 w 12187339"/>
                <a:gd name="connsiteY5202" fmla="*/ 6598805 h 6851196"/>
                <a:gd name="connsiteX5203" fmla="*/ 11034910 w 12187339"/>
                <a:gd name="connsiteY5203" fmla="*/ 6598805 h 6851196"/>
                <a:gd name="connsiteX5204" fmla="*/ 11265401 w 12187339"/>
                <a:gd name="connsiteY5204" fmla="*/ 6360680 h 6851196"/>
                <a:gd name="connsiteX5205" fmla="*/ 11487954 w 12187339"/>
                <a:gd name="connsiteY5205" fmla="*/ 6360680 h 6851196"/>
                <a:gd name="connsiteX5206" fmla="*/ 11487954 w 12187339"/>
                <a:gd name="connsiteY5206" fmla="*/ 6598805 h 6851196"/>
                <a:gd name="connsiteX5207" fmla="*/ 11265401 w 12187339"/>
                <a:gd name="connsiteY5207" fmla="*/ 6598805 h 6851196"/>
                <a:gd name="connsiteX5208" fmla="*/ 11494357 w 12187339"/>
                <a:gd name="connsiteY5208" fmla="*/ 6360680 h 6851196"/>
                <a:gd name="connsiteX5209" fmla="*/ 11718445 w 12187339"/>
                <a:gd name="connsiteY5209" fmla="*/ 6360680 h 6851196"/>
                <a:gd name="connsiteX5210" fmla="*/ 11718445 w 12187339"/>
                <a:gd name="connsiteY5210" fmla="*/ 6598805 h 6851196"/>
                <a:gd name="connsiteX5211" fmla="*/ 11494101 w 12187339"/>
                <a:gd name="connsiteY5211" fmla="*/ 6598805 h 6851196"/>
                <a:gd name="connsiteX5212" fmla="*/ 11724848 w 12187339"/>
                <a:gd name="connsiteY5212" fmla="*/ 6360680 h 6851196"/>
                <a:gd name="connsiteX5213" fmla="*/ 11948936 w 12187339"/>
                <a:gd name="connsiteY5213" fmla="*/ 6360680 h 6851196"/>
                <a:gd name="connsiteX5214" fmla="*/ 11948936 w 12187339"/>
                <a:gd name="connsiteY5214" fmla="*/ 6598805 h 6851196"/>
                <a:gd name="connsiteX5215" fmla="*/ 11724592 w 12187339"/>
                <a:gd name="connsiteY5215" fmla="*/ 6598805 h 6851196"/>
                <a:gd name="connsiteX5216" fmla="*/ 11724848 w 12187339"/>
                <a:gd name="connsiteY5216" fmla="*/ 6353876 h 6851196"/>
                <a:gd name="connsiteX5217" fmla="*/ 11724848 w 12187339"/>
                <a:gd name="connsiteY5217" fmla="*/ 6117384 h 6851196"/>
                <a:gd name="connsiteX5218" fmla="*/ 11948936 w 12187339"/>
                <a:gd name="connsiteY5218" fmla="*/ 6117384 h 6851196"/>
                <a:gd name="connsiteX5219" fmla="*/ 11948936 w 12187339"/>
                <a:gd name="connsiteY5219" fmla="*/ 6353876 h 6851196"/>
                <a:gd name="connsiteX5220" fmla="*/ 11724848 w 12187339"/>
                <a:gd name="connsiteY5220" fmla="*/ 6110580 h 6851196"/>
                <a:gd name="connsiteX5221" fmla="*/ 11724848 w 12187339"/>
                <a:gd name="connsiteY5221" fmla="*/ 5872455 h 6851196"/>
                <a:gd name="connsiteX5222" fmla="*/ 11948936 w 12187339"/>
                <a:gd name="connsiteY5222" fmla="*/ 5872455 h 6851196"/>
                <a:gd name="connsiteX5223" fmla="*/ 11948936 w 12187339"/>
                <a:gd name="connsiteY5223" fmla="*/ 6110580 h 6851196"/>
                <a:gd name="connsiteX5224" fmla="*/ 11724848 w 12187339"/>
                <a:gd name="connsiteY5224" fmla="*/ 5865652 h 6851196"/>
                <a:gd name="connsiteX5225" fmla="*/ 11724848 w 12187339"/>
                <a:gd name="connsiteY5225" fmla="*/ 5627527 h 6851196"/>
                <a:gd name="connsiteX5226" fmla="*/ 11948936 w 12187339"/>
                <a:gd name="connsiteY5226" fmla="*/ 5627527 h 6851196"/>
                <a:gd name="connsiteX5227" fmla="*/ 11948936 w 12187339"/>
                <a:gd name="connsiteY5227" fmla="*/ 5865652 h 6851196"/>
                <a:gd name="connsiteX5228" fmla="*/ 11724848 w 12187339"/>
                <a:gd name="connsiteY5228" fmla="*/ 5620723 h 6851196"/>
                <a:gd name="connsiteX5229" fmla="*/ 11724848 w 12187339"/>
                <a:gd name="connsiteY5229" fmla="*/ 5382598 h 6851196"/>
                <a:gd name="connsiteX5230" fmla="*/ 11948936 w 12187339"/>
                <a:gd name="connsiteY5230" fmla="*/ 5382598 h 6851196"/>
                <a:gd name="connsiteX5231" fmla="*/ 11948936 w 12187339"/>
                <a:gd name="connsiteY5231" fmla="*/ 5620723 h 6851196"/>
                <a:gd name="connsiteX5232" fmla="*/ 11724848 w 12187339"/>
                <a:gd name="connsiteY5232" fmla="*/ 5375795 h 6851196"/>
                <a:gd name="connsiteX5233" fmla="*/ 11724848 w 12187339"/>
                <a:gd name="connsiteY5233" fmla="*/ 5139302 h 6851196"/>
                <a:gd name="connsiteX5234" fmla="*/ 11948936 w 12187339"/>
                <a:gd name="connsiteY5234" fmla="*/ 5139302 h 6851196"/>
                <a:gd name="connsiteX5235" fmla="*/ 11948936 w 12187339"/>
                <a:gd name="connsiteY5235" fmla="*/ 5375795 h 6851196"/>
                <a:gd name="connsiteX5236" fmla="*/ 11724848 w 12187339"/>
                <a:gd name="connsiteY5236" fmla="*/ 5132499 h 6851196"/>
                <a:gd name="connsiteX5237" fmla="*/ 11724848 w 12187339"/>
                <a:gd name="connsiteY5237" fmla="*/ 4894374 h 6851196"/>
                <a:gd name="connsiteX5238" fmla="*/ 11948936 w 12187339"/>
                <a:gd name="connsiteY5238" fmla="*/ 4894374 h 6851196"/>
                <a:gd name="connsiteX5239" fmla="*/ 11948936 w 12187339"/>
                <a:gd name="connsiteY5239" fmla="*/ 5132090 h 6851196"/>
                <a:gd name="connsiteX5240" fmla="*/ 11724848 w 12187339"/>
                <a:gd name="connsiteY5240" fmla="*/ 4887570 h 6851196"/>
                <a:gd name="connsiteX5241" fmla="*/ 11724848 w 12187339"/>
                <a:gd name="connsiteY5241" fmla="*/ 4649445 h 6851196"/>
                <a:gd name="connsiteX5242" fmla="*/ 11948936 w 12187339"/>
                <a:gd name="connsiteY5242" fmla="*/ 4649445 h 6851196"/>
                <a:gd name="connsiteX5243" fmla="*/ 11948936 w 12187339"/>
                <a:gd name="connsiteY5243" fmla="*/ 4887162 h 6851196"/>
                <a:gd name="connsiteX5244" fmla="*/ 11724848 w 12187339"/>
                <a:gd name="connsiteY5244" fmla="*/ 4642642 h 6851196"/>
                <a:gd name="connsiteX5245" fmla="*/ 11724848 w 12187339"/>
                <a:gd name="connsiteY5245" fmla="*/ 4406149 h 6851196"/>
                <a:gd name="connsiteX5246" fmla="*/ 11948936 w 12187339"/>
                <a:gd name="connsiteY5246" fmla="*/ 4406149 h 6851196"/>
                <a:gd name="connsiteX5247" fmla="*/ 11948936 w 12187339"/>
                <a:gd name="connsiteY5247" fmla="*/ 4642233 h 6851196"/>
                <a:gd name="connsiteX5248" fmla="*/ 11724848 w 12187339"/>
                <a:gd name="connsiteY5248" fmla="*/ 4399346 h 6851196"/>
                <a:gd name="connsiteX5249" fmla="*/ 11724848 w 12187339"/>
                <a:gd name="connsiteY5249" fmla="*/ 4161221 h 6851196"/>
                <a:gd name="connsiteX5250" fmla="*/ 11948936 w 12187339"/>
                <a:gd name="connsiteY5250" fmla="*/ 4161221 h 6851196"/>
                <a:gd name="connsiteX5251" fmla="*/ 11948936 w 12187339"/>
                <a:gd name="connsiteY5251" fmla="*/ 4399346 h 6851196"/>
                <a:gd name="connsiteX5252" fmla="*/ 11724848 w 12187339"/>
                <a:gd name="connsiteY5252" fmla="*/ 4154417 h 6851196"/>
                <a:gd name="connsiteX5253" fmla="*/ 11724848 w 12187339"/>
                <a:gd name="connsiteY5253" fmla="*/ 3916292 h 6851196"/>
                <a:gd name="connsiteX5254" fmla="*/ 11948936 w 12187339"/>
                <a:gd name="connsiteY5254" fmla="*/ 3916292 h 6851196"/>
                <a:gd name="connsiteX5255" fmla="*/ 11948936 w 12187339"/>
                <a:gd name="connsiteY5255" fmla="*/ 4154417 h 6851196"/>
                <a:gd name="connsiteX5256" fmla="*/ 11724848 w 12187339"/>
                <a:gd name="connsiteY5256" fmla="*/ 3909489 h 6851196"/>
                <a:gd name="connsiteX5257" fmla="*/ 11724848 w 12187339"/>
                <a:gd name="connsiteY5257" fmla="*/ 3671364 h 6851196"/>
                <a:gd name="connsiteX5258" fmla="*/ 11948936 w 12187339"/>
                <a:gd name="connsiteY5258" fmla="*/ 3671364 h 6851196"/>
                <a:gd name="connsiteX5259" fmla="*/ 11948936 w 12187339"/>
                <a:gd name="connsiteY5259" fmla="*/ 3909489 h 6851196"/>
                <a:gd name="connsiteX5260" fmla="*/ 11724848 w 12187339"/>
                <a:gd name="connsiteY5260" fmla="*/ 3664560 h 6851196"/>
                <a:gd name="connsiteX5261" fmla="*/ 11724848 w 12187339"/>
                <a:gd name="connsiteY5261" fmla="*/ 3428068 h 6851196"/>
                <a:gd name="connsiteX5262" fmla="*/ 11948936 w 12187339"/>
                <a:gd name="connsiteY5262" fmla="*/ 3428068 h 6851196"/>
                <a:gd name="connsiteX5263" fmla="*/ 11948936 w 12187339"/>
                <a:gd name="connsiteY5263" fmla="*/ 3664560 h 6851196"/>
                <a:gd name="connsiteX5264" fmla="*/ 11724848 w 12187339"/>
                <a:gd name="connsiteY5264" fmla="*/ 3421264 h 6851196"/>
                <a:gd name="connsiteX5265" fmla="*/ 11724848 w 12187339"/>
                <a:gd name="connsiteY5265" fmla="*/ 3183139 h 6851196"/>
                <a:gd name="connsiteX5266" fmla="*/ 11948936 w 12187339"/>
                <a:gd name="connsiteY5266" fmla="*/ 3183139 h 6851196"/>
                <a:gd name="connsiteX5267" fmla="*/ 11948936 w 12187339"/>
                <a:gd name="connsiteY5267" fmla="*/ 3421264 h 6851196"/>
                <a:gd name="connsiteX5268" fmla="*/ 11724848 w 12187339"/>
                <a:gd name="connsiteY5268" fmla="*/ 3176336 h 6851196"/>
                <a:gd name="connsiteX5269" fmla="*/ 11724848 w 12187339"/>
                <a:gd name="connsiteY5269" fmla="*/ 2938211 h 6851196"/>
                <a:gd name="connsiteX5270" fmla="*/ 11948936 w 12187339"/>
                <a:gd name="connsiteY5270" fmla="*/ 2938211 h 6851196"/>
                <a:gd name="connsiteX5271" fmla="*/ 11948936 w 12187339"/>
                <a:gd name="connsiteY5271" fmla="*/ 3176336 h 6851196"/>
                <a:gd name="connsiteX5272" fmla="*/ 11724848 w 12187339"/>
                <a:gd name="connsiteY5272" fmla="*/ 2931407 h 6851196"/>
                <a:gd name="connsiteX5273" fmla="*/ 11724848 w 12187339"/>
                <a:gd name="connsiteY5273" fmla="*/ 2693282 h 6851196"/>
                <a:gd name="connsiteX5274" fmla="*/ 11948936 w 12187339"/>
                <a:gd name="connsiteY5274" fmla="*/ 2693282 h 6851196"/>
                <a:gd name="connsiteX5275" fmla="*/ 11948936 w 12187339"/>
                <a:gd name="connsiteY5275" fmla="*/ 2931407 h 6851196"/>
                <a:gd name="connsiteX5276" fmla="*/ 11724848 w 12187339"/>
                <a:gd name="connsiteY5276" fmla="*/ 2686479 h 6851196"/>
                <a:gd name="connsiteX5277" fmla="*/ 11724848 w 12187339"/>
                <a:gd name="connsiteY5277" fmla="*/ 2449986 h 6851196"/>
                <a:gd name="connsiteX5278" fmla="*/ 11948936 w 12187339"/>
                <a:gd name="connsiteY5278" fmla="*/ 2449986 h 6851196"/>
                <a:gd name="connsiteX5279" fmla="*/ 11948936 w 12187339"/>
                <a:gd name="connsiteY5279" fmla="*/ 2686479 h 6851196"/>
                <a:gd name="connsiteX5280" fmla="*/ 11724848 w 12187339"/>
                <a:gd name="connsiteY5280" fmla="*/ 2443183 h 6851196"/>
                <a:gd name="connsiteX5281" fmla="*/ 11724848 w 12187339"/>
                <a:gd name="connsiteY5281" fmla="*/ 2205058 h 6851196"/>
                <a:gd name="connsiteX5282" fmla="*/ 11948936 w 12187339"/>
                <a:gd name="connsiteY5282" fmla="*/ 2205058 h 6851196"/>
                <a:gd name="connsiteX5283" fmla="*/ 11948936 w 12187339"/>
                <a:gd name="connsiteY5283" fmla="*/ 2443183 h 6851196"/>
                <a:gd name="connsiteX5284" fmla="*/ 11724848 w 12187339"/>
                <a:gd name="connsiteY5284" fmla="*/ 2198254 h 6851196"/>
                <a:gd name="connsiteX5285" fmla="*/ 11724848 w 12187339"/>
                <a:gd name="connsiteY5285" fmla="*/ 1960129 h 6851196"/>
                <a:gd name="connsiteX5286" fmla="*/ 11948936 w 12187339"/>
                <a:gd name="connsiteY5286" fmla="*/ 1960129 h 6851196"/>
                <a:gd name="connsiteX5287" fmla="*/ 11948936 w 12187339"/>
                <a:gd name="connsiteY5287" fmla="*/ 2198254 h 6851196"/>
                <a:gd name="connsiteX5288" fmla="*/ 11724848 w 12187339"/>
                <a:gd name="connsiteY5288" fmla="*/ 1953326 h 6851196"/>
                <a:gd name="connsiteX5289" fmla="*/ 11724848 w 12187339"/>
                <a:gd name="connsiteY5289" fmla="*/ 1716697 h 6851196"/>
                <a:gd name="connsiteX5290" fmla="*/ 11948936 w 12187339"/>
                <a:gd name="connsiteY5290" fmla="*/ 1716697 h 6851196"/>
                <a:gd name="connsiteX5291" fmla="*/ 11948936 w 12187339"/>
                <a:gd name="connsiteY5291" fmla="*/ 1953189 h 6851196"/>
                <a:gd name="connsiteX5292" fmla="*/ 11724848 w 12187339"/>
                <a:gd name="connsiteY5292" fmla="*/ 1710030 h 6851196"/>
                <a:gd name="connsiteX5293" fmla="*/ 11724848 w 12187339"/>
                <a:gd name="connsiteY5293" fmla="*/ 1471769 h 6851196"/>
                <a:gd name="connsiteX5294" fmla="*/ 11948936 w 12187339"/>
                <a:gd name="connsiteY5294" fmla="*/ 1471769 h 6851196"/>
                <a:gd name="connsiteX5295" fmla="*/ 11948936 w 12187339"/>
                <a:gd name="connsiteY5295" fmla="*/ 1709894 h 6851196"/>
                <a:gd name="connsiteX5296" fmla="*/ 11724848 w 12187339"/>
                <a:gd name="connsiteY5296" fmla="*/ 1465101 h 6851196"/>
                <a:gd name="connsiteX5297" fmla="*/ 11724848 w 12187339"/>
                <a:gd name="connsiteY5297" fmla="*/ 1226840 h 6851196"/>
                <a:gd name="connsiteX5298" fmla="*/ 11948936 w 12187339"/>
                <a:gd name="connsiteY5298" fmla="*/ 1226840 h 6851196"/>
                <a:gd name="connsiteX5299" fmla="*/ 11948936 w 12187339"/>
                <a:gd name="connsiteY5299" fmla="*/ 1464965 h 6851196"/>
                <a:gd name="connsiteX5300" fmla="*/ 11724848 w 12187339"/>
                <a:gd name="connsiteY5300" fmla="*/ 1220173 h 6851196"/>
                <a:gd name="connsiteX5301" fmla="*/ 11724848 w 12187339"/>
                <a:gd name="connsiteY5301" fmla="*/ 981911 h 6851196"/>
                <a:gd name="connsiteX5302" fmla="*/ 11948936 w 12187339"/>
                <a:gd name="connsiteY5302" fmla="*/ 981911 h 6851196"/>
                <a:gd name="connsiteX5303" fmla="*/ 11948936 w 12187339"/>
                <a:gd name="connsiteY5303" fmla="*/ 1220036 h 6851196"/>
                <a:gd name="connsiteX5304" fmla="*/ 11724848 w 12187339"/>
                <a:gd name="connsiteY5304" fmla="*/ 975244 h 6851196"/>
                <a:gd name="connsiteX5305" fmla="*/ 11724848 w 12187339"/>
                <a:gd name="connsiteY5305" fmla="*/ 738752 h 6851196"/>
                <a:gd name="connsiteX5306" fmla="*/ 11948936 w 12187339"/>
                <a:gd name="connsiteY5306" fmla="*/ 738752 h 6851196"/>
                <a:gd name="connsiteX5307" fmla="*/ 11948936 w 12187339"/>
                <a:gd name="connsiteY5307" fmla="*/ 975244 h 6851196"/>
                <a:gd name="connsiteX5308" fmla="*/ 11724848 w 12187339"/>
                <a:gd name="connsiteY5308" fmla="*/ 731948 h 6851196"/>
                <a:gd name="connsiteX5309" fmla="*/ 11724848 w 12187339"/>
                <a:gd name="connsiteY5309" fmla="*/ 493823 h 6851196"/>
                <a:gd name="connsiteX5310" fmla="*/ 11948936 w 12187339"/>
                <a:gd name="connsiteY5310" fmla="*/ 493823 h 6851196"/>
                <a:gd name="connsiteX5311" fmla="*/ 11948936 w 12187339"/>
                <a:gd name="connsiteY5311" fmla="*/ 731948 h 6851196"/>
                <a:gd name="connsiteX5312" fmla="*/ 11724848 w 12187339"/>
                <a:gd name="connsiteY5312" fmla="*/ 487020 h 6851196"/>
                <a:gd name="connsiteX5313" fmla="*/ 11724848 w 12187339"/>
                <a:gd name="connsiteY5313" fmla="*/ 248895 h 6851196"/>
                <a:gd name="connsiteX5314" fmla="*/ 11948936 w 12187339"/>
                <a:gd name="connsiteY5314" fmla="*/ 248895 h 6851196"/>
                <a:gd name="connsiteX5315" fmla="*/ 11948936 w 12187339"/>
                <a:gd name="connsiteY5315" fmla="*/ 487020 h 6851196"/>
                <a:gd name="connsiteX5316" fmla="*/ 11724848 w 12187339"/>
                <a:gd name="connsiteY5316" fmla="*/ 242091 h 6851196"/>
                <a:gd name="connsiteX5317" fmla="*/ 11724848 w 12187339"/>
                <a:gd name="connsiteY5317" fmla="*/ 5599 h 6851196"/>
                <a:gd name="connsiteX5318" fmla="*/ 11948936 w 12187339"/>
                <a:gd name="connsiteY5318" fmla="*/ 5599 h 6851196"/>
                <a:gd name="connsiteX5319" fmla="*/ 11948936 w 12187339"/>
                <a:gd name="connsiteY5319" fmla="*/ 242091 h 6851196"/>
                <a:gd name="connsiteX5320" fmla="*/ 11718445 w 12187339"/>
                <a:gd name="connsiteY5320" fmla="*/ 242091 h 6851196"/>
                <a:gd name="connsiteX5321" fmla="*/ 11494101 w 12187339"/>
                <a:gd name="connsiteY5321" fmla="*/ 242091 h 6851196"/>
                <a:gd name="connsiteX5322" fmla="*/ 11494101 w 12187339"/>
                <a:gd name="connsiteY5322" fmla="*/ 5599 h 6851196"/>
                <a:gd name="connsiteX5323" fmla="*/ 11718189 w 12187339"/>
                <a:gd name="connsiteY5323" fmla="*/ 5599 h 6851196"/>
                <a:gd name="connsiteX5324" fmla="*/ 11487954 w 12187339"/>
                <a:gd name="connsiteY5324" fmla="*/ 242091 h 6851196"/>
                <a:gd name="connsiteX5325" fmla="*/ 11265401 w 12187339"/>
                <a:gd name="connsiteY5325" fmla="*/ 242091 h 6851196"/>
                <a:gd name="connsiteX5326" fmla="*/ 11265401 w 12187339"/>
                <a:gd name="connsiteY5326" fmla="*/ 5599 h 6851196"/>
                <a:gd name="connsiteX5327" fmla="*/ 11487954 w 12187339"/>
                <a:gd name="connsiteY5327" fmla="*/ 5599 h 6851196"/>
                <a:gd name="connsiteX5328" fmla="*/ 11258998 w 12187339"/>
                <a:gd name="connsiteY5328" fmla="*/ 242091 h 6851196"/>
                <a:gd name="connsiteX5329" fmla="*/ 11034910 w 12187339"/>
                <a:gd name="connsiteY5329" fmla="*/ 242091 h 6851196"/>
                <a:gd name="connsiteX5330" fmla="*/ 11034910 w 12187339"/>
                <a:gd name="connsiteY5330" fmla="*/ 5599 h 6851196"/>
                <a:gd name="connsiteX5331" fmla="*/ 11258998 w 12187339"/>
                <a:gd name="connsiteY5331" fmla="*/ 5599 h 6851196"/>
                <a:gd name="connsiteX5332" fmla="*/ 11028507 w 12187339"/>
                <a:gd name="connsiteY5332" fmla="*/ 242091 h 6851196"/>
                <a:gd name="connsiteX5333" fmla="*/ 10804419 w 12187339"/>
                <a:gd name="connsiteY5333" fmla="*/ 242091 h 6851196"/>
                <a:gd name="connsiteX5334" fmla="*/ 10804419 w 12187339"/>
                <a:gd name="connsiteY5334" fmla="*/ 5599 h 6851196"/>
                <a:gd name="connsiteX5335" fmla="*/ 11028507 w 12187339"/>
                <a:gd name="connsiteY5335" fmla="*/ 5599 h 6851196"/>
                <a:gd name="connsiteX5336" fmla="*/ 10798016 w 12187339"/>
                <a:gd name="connsiteY5336" fmla="*/ 242091 h 6851196"/>
                <a:gd name="connsiteX5337" fmla="*/ 10575466 w 12187339"/>
                <a:gd name="connsiteY5337" fmla="*/ 242091 h 6851196"/>
                <a:gd name="connsiteX5338" fmla="*/ 10575466 w 12187339"/>
                <a:gd name="connsiteY5338" fmla="*/ 5599 h 6851196"/>
                <a:gd name="connsiteX5339" fmla="*/ 10798016 w 12187339"/>
                <a:gd name="connsiteY5339" fmla="*/ 5599 h 6851196"/>
                <a:gd name="connsiteX5340" fmla="*/ 10569064 w 12187339"/>
                <a:gd name="connsiteY5340" fmla="*/ 242091 h 6851196"/>
                <a:gd name="connsiteX5341" fmla="*/ 10344975 w 12187339"/>
                <a:gd name="connsiteY5341" fmla="*/ 242091 h 6851196"/>
                <a:gd name="connsiteX5342" fmla="*/ 10344975 w 12187339"/>
                <a:gd name="connsiteY5342" fmla="*/ 5599 h 6851196"/>
                <a:gd name="connsiteX5343" fmla="*/ 10569064 w 12187339"/>
                <a:gd name="connsiteY5343" fmla="*/ 5599 h 6851196"/>
                <a:gd name="connsiteX5344" fmla="*/ 10338573 w 12187339"/>
                <a:gd name="connsiteY5344" fmla="*/ 242091 h 6851196"/>
                <a:gd name="connsiteX5345" fmla="*/ 10114484 w 12187339"/>
                <a:gd name="connsiteY5345" fmla="*/ 242091 h 6851196"/>
                <a:gd name="connsiteX5346" fmla="*/ 10114484 w 12187339"/>
                <a:gd name="connsiteY5346" fmla="*/ 5599 h 6851196"/>
                <a:gd name="connsiteX5347" fmla="*/ 10338573 w 12187339"/>
                <a:gd name="connsiteY5347" fmla="*/ 5599 h 6851196"/>
                <a:gd name="connsiteX5348" fmla="*/ 10108082 w 12187339"/>
                <a:gd name="connsiteY5348" fmla="*/ 242091 h 6851196"/>
                <a:gd name="connsiteX5349" fmla="*/ 9883993 w 12187339"/>
                <a:gd name="connsiteY5349" fmla="*/ 242091 h 6851196"/>
                <a:gd name="connsiteX5350" fmla="*/ 9883993 w 12187339"/>
                <a:gd name="connsiteY5350" fmla="*/ 5599 h 6851196"/>
                <a:gd name="connsiteX5351" fmla="*/ 10108082 w 12187339"/>
                <a:gd name="connsiteY5351" fmla="*/ 5599 h 6851196"/>
                <a:gd name="connsiteX5352" fmla="*/ 9877591 w 12187339"/>
                <a:gd name="connsiteY5352" fmla="*/ 242091 h 6851196"/>
                <a:gd name="connsiteX5353" fmla="*/ 9655037 w 12187339"/>
                <a:gd name="connsiteY5353" fmla="*/ 242091 h 6851196"/>
                <a:gd name="connsiteX5354" fmla="*/ 9655037 w 12187339"/>
                <a:gd name="connsiteY5354" fmla="*/ 5599 h 6851196"/>
                <a:gd name="connsiteX5355" fmla="*/ 9877591 w 12187339"/>
                <a:gd name="connsiteY5355" fmla="*/ 5599 h 6851196"/>
                <a:gd name="connsiteX5356" fmla="*/ 9648635 w 12187339"/>
                <a:gd name="connsiteY5356" fmla="*/ 242091 h 6851196"/>
                <a:gd name="connsiteX5357" fmla="*/ 9424546 w 12187339"/>
                <a:gd name="connsiteY5357" fmla="*/ 242091 h 6851196"/>
                <a:gd name="connsiteX5358" fmla="*/ 9424546 w 12187339"/>
                <a:gd name="connsiteY5358" fmla="*/ 5599 h 6851196"/>
                <a:gd name="connsiteX5359" fmla="*/ 9648635 w 12187339"/>
                <a:gd name="connsiteY5359" fmla="*/ 5599 h 6851196"/>
                <a:gd name="connsiteX5360" fmla="*/ 9418144 w 12187339"/>
                <a:gd name="connsiteY5360" fmla="*/ 242091 h 6851196"/>
                <a:gd name="connsiteX5361" fmla="*/ 9194055 w 12187339"/>
                <a:gd name="connsiteY5361" fmla="*/ 242091 h 6851196"/>
                <a:gd name="connsiteX5362" fmla="*/ 9194055 w 12187339"/>
                <a:gd name="connsiteY5362" fmla="*/ 5599 h 6851196"/>
                <a:gd name="connsiteX5363" fmla="*/ 9418144 w 12187339"/>
                <a:gd name="connsiteY5363" fmla="*/ 5599 h 6851196"/>
                <a:gd name="connsiteX5364" fmla="*/ 9187653 w 12187339"/>
                <a:gd name="connsiteY5364" fmla="*/ 242091 h 6851196"/>
                <a:gd name="connsiteX5365" fmla="*/ 8963564 w 12187339"/>
                <a:gd name="connsiteY5365" fmla="*/ 242091 h 6851196"/>
                <a:gd name="connsiteX5366" fmla="*/ 8963564 w 12187339"/>
                <a:gd name="connsiteY5366" fmla="*/ 5599 h 6851196"/>
                <a:gd name="connsiteX5367" fmla="*/ 9187653 w 12187339"/>
                <a:gd name="connsiteY5367" fmla="*/ 5599 h 6851196"/>
                <a:gd name="connsiteX5368" fmla="*/ 8957162 w 12187339"/>
                <a:gd name="connsiteY5368" fmla="*/ 242091 h 6851196"/>
                <a:gd name="connsiteX5369" fmla="*/ 8734611 w 12187339"/>
                <a:gd name="connsiteY5369" fmla="*/ 242091 h 6851196"/>
                <a:gd name="connsiteX5370" fmla="*/ 8734611 w 12187339"/>
                <a:gd name="connsiteY5370" fmla="*/ 5599 h 6851196"/>
                <a:gd name="connsiteX5371" fmla="*/ 8957162 w 12187339"/>
                <a:gd name="connsiteY5371" fmla="*/ 5599 h 6851196"/>
                <a:gd name="connsiteX5372" fmla="*/ 8728209 w 12187339"/>
                <a:gd name="connsiteY5372" fmla="*/ 242091 h 6851196"/>
                <a:gd name="connsiteX5373" fmla="*/ 8504120 w 12187339"/>
                <a:gd name="connsiteY5373" fmla="*/ 242091 h 6851196"/>
                <a:gd name="connsiteX5374" fmla="*/ 8504120 w 12187339"/>
                <a:gd name="connsiteY5374" fmla="*/ 5599 h 6851196"/>
                <a:gd name="connsiteX5375" fmla="*/ 8728209 w 12187339"/>
                <a:gd name="connsiteY5375" fmla="*/ 5599 h 6851196"/>
                <a:gd name="connsiteX5376" fmla="*/ 8497718 w 12187339"/>
                <a:gd name="connsiteY5376" fmla="*/ 242091 h 6851196"/>
                <a:gd name="connsiteX5377" fmla="*/ 8273629 w 12187339"/>
                <a:gd name="connsiteY5377" fmla="*/ 242091 h 6851196"/>
                <a:gd name="connsiteX5378" fmla="*/ 8273629 w 12187339"/>
                <a:gd name="connsiteY5378" fmla="*/ 5599 h 6851196"/>
                <a:gd name="connsiteX5379" fmla="*/ 8497718 w 12187339"/>
                <a:gd name="connsiteY5379" fmla="*/ 5599 h 6851196"/>
                <a:gd name="connsiteX5380" fmla="*/ 8267227 w 12187339"/>
                <a:gd name="connsiteY5380" fmla="*/ 242091 h 6851196"/>
                <a:gd name="connsiteX5381" fmla="*/ 8044420 w 12187339"/>
                <a:gd name="connsiteY5381" fmla="*/ 242091 h 6851196"/>
                <a:gd name="connsiteX5382" fmla="*/ 8044420 w 12187339"/>
                <a:gd name="connsiteY5382" fmla="*/ 5599 h 6851196"/>
                <a:gd name="connsiteX5383" fmla="*/ 8267227 w 12187339"/>
                <a:gd name="connsiteY5383" fmla="*/ 5599 h 6851196"/>
                <a:gd name="connsiteX5384" fmla="*/ 8038274 w 12187339"/>
                <a:gd name="connsiteY5384" fmla="*/ 242091 h 6851196"/>
                <a:gd name="connsiteX5385" fmla="*/ 7814186 w 12187339"/>
                <a:gd name="connsiteY5385" fmla="*/ 242091 h 6851196"/>
                <a:gd name="connsiteX5386" fmla="*/ 7814186 w 12187339"/>
                <a:gd name="connsiteY5386" fmla="*/ 5599 h 6851196"/>
                <a:gd name="connsiteX5387" fmla="*/ 8038274 w 12187339"/>
                <a:gd name="connsiteY5387" fmla="*/ 5599 h 6851196"/>
                <a:gd name="connsiteX5388" fmla="*/ 7807783 w 12187339"/>
                <a:gd name="connsiteY5388" fmla="*/ 242091 h 6851196"/>
                <a:gd name="connsiteX5389" fmla="*/ 7583695 w 12187339"/>
                <a:gd name="connsiteY5389" fmla="*/ 242091 h 6851196"/>
                <a:gd name="connsiteX5390" fmla="*/ 7583695 w 12187339"/>
                <a:gd name="connsiteY5390" fmla="*/ 5599 h 6851196"/>
                <a:gd name="connsiteX5391" fmla="*/ 7807783 w 12187339"/>
                <a:gd name="connsiteY5391" fmla="*/ 5599 h 6851196"/>
                <a:gd name="connsiteX5392" fmla="*/ 7577292 w 12187339"/>
                <a:gd name="connsiteY5392" fmla="*/ 242091 h 6851196"/>
                <a:gd name="connsiteX5393" fmla="*/ 7353204 w 12187339"/>
                <a:gd name="connsiteY5393" fmla="*/ 242091 h 6851196"/>
                <a:gd name="connsiteX5394" fmla="*/ 7353204 w 12187339"/>
                <a:gd name="connsiteY5394" fmla="*/ 5599 h 6851196"/>
                <a:gd name="connsiteX5395" fmla="*/ 7577292 w 12187339"/>
                <a:gd name="connsiteY5395" fmla="*/ 5599 h 6851196"/>
                <a:gd name="connsiteX5396" fmla="*/ 7346801 w 12187339"/>
                <a:gd name="connsiteY5396" fmla="*/ 242091 h 6851196"/>
                <a:gd name="connsiteX5397" fmla="*/ 7124247 w 12187339"/>
                <a:gd name="connsiteY5397" fmla="*/ 242091 h 6851196"/>
                <a:gd name="connsiteX5398" fmla="*/ 7124247 w 12187339"/>
                <a:gd name="connsiteY5398" fmla="*/ 5599 h 6851196"/>
                <a:gd name="connsiteX5399" fmla="*/ 7346801 w 12187339"/>
                <a:gd name="connsiteY5399" fmla="*/ 5599 h 6851196"/>
                <a:gd name="connsiteX5400" fmla="*/ 7117845 w 12187339"/>
                <a:gd name="connsiteY5400" fmla="*/ 242091 h 6851196"/>
                <a:gd name="connsiteX5401" fmla="*/ 6893756 w 12187339"/>
                <a:gd name="connsiteY5401" fmla="*/ 242091 h 6851196"/>
                <a:gd name="connsiteX5402" fmla="*/ 6893756 w 12187339"/>
                <a:gd name="connsiteY5402" fmla="*/ 5599 h 6851196"/>
                <a:gd name="connsiteX5403" fmla="*/ 7117845 w 12187339"/>
                <a:gd name="connsiteY5403" fmla="*/ 5599 h 6851196"/>
                <a:gd name="connsiteX5404" fmla="*/ 6887354 w 12187339"/>
                <a:gd name="connsiteY5404" fmla="*/ 242091 h 6851196"/>
                <a:gd name="connsiteX5405" fmla="*/ 6663265 w 12187339"/>
                <a:gd name="connsiteY5405" fmla="*/ 242091 h 6851196"/>
                <a:gd name="connsiteX5406" fmla="*/ 6663265 w 12187339"/>
                <a:gd name="connsiteY5406" fmla="*/ 5599 h 6851196"/>
                <a:gd name="connsiteX5407" fmla="*/ 6887354 w 12187339"/>
                <a:gd name="connsiteY5407" fmla="*/ 5599 h 6851196"/>
                <a:gd name="connsiteX5408" fmla="*/ 6656863 w 12187339"/>
                <a:gd name="connsiteY5408" fmla="*/ 242091 h 6851196"/>
                <a:gd name="connsiteX5409" fmla="*/ 6446349 w 12187339"/>
                <a:gd name="connsiteY5409" fmla="*/ 242091 h 6851196"/>
                <a:gd name="connsiteX5410" fmla="*/ 6446349 w 12187339"/>
                <a:gd name="connsiteY5410" fmla="*/ 5599 h 6851196"/>
                <a:gd name="connsiteX5411" fmla="*/ 6656863 w 12187339"/>
                <a:gd name="connsiteY5411" fmla="*/ 5599 h 6851196"/>
                <a:gd name="connsiteX5412" fmla="*/ 6439946 w 12187339"/>
                <a:gd name="connsiteY5412" fmla="*/ 242091 h 6851196"/>
                <a:gd name="connsiteX5413" fmla="*/ 6217136 w 12187339"/>
                <a:gd name="connsiteY5413" fmla="*/ 242091 h 6851196"/>
                <a:gd name="connsiteX5414" fmla="*/ 6217136 w 12187339"/>
                <a:gd name="connsiteY5414" fmla="*/ 5599 h 6851196"/>
                <a:gd name="connsiteX5415" fmla="*/ 6439690 w 12187339"/>
                <a:gd name="connsiteY5415" fmla="*/ 5599 h 6851196"/>
                <a:gd name="connsiteX5416" fmla="*/ 6210990 w 12187339"/>
                <a:gd name="connsiteY5416" fmla="*/ 242091 h 6851196"/>
                <a:gd name="connsiteX5417" fmla="*/ 5986902 w 12187339"/>
                <a:gd name="connsiteY5417" fmla="*/ 242091 h 6851196"/>
                <a:gd name="connsiteX5418" fmla="*/ 5986902 w 12187339"/>
                <a:gd name="connsiteY5418" fmla="*/ 5599 h 6851196"/>
                <a:gd name="connsiteX5419" fmla="*/ 6210990 w 12187339"/>
                <a:gd name="connsiteY5419" fmla="*/ 5599 h 6851196"/>
                <a:gd name="connsiteX5420" fmla="*/ 5980499 w 12187339"/>
                <a:gd name="connsiteY5420" fmla="*/ 242091 h 6851196"/>
                <a:gd name="connsiteX5421" fmla="*/ 5756411 w 12187339"/>
                <a:gd name="connsiteY5421" fmla="*/ 242091 h 6851196"/>
                <a:gd name="connsiteX5422" fmla="*/ 5756411 w 12187339"/>
                <a:gd name="connsiteY5422" fmla="*/ 5599 h 6851196"/>
                <a:gd name="connsiteX5423" fmla="*/ 5980499 w 12187339"/>
                <a:gd name="connsiteY5423" fmla="*/ 5599 h 6851196"/>
                <a:gd name="connsiteX5424" fmla="*/ 5750008 w 12187339"/>
                <a:gd name="connsiteY5424" fmla="*/ 242091 h 6851196"/>
                <a:gd name="connsiteX5425" fmla="*/ 5526945 w 12187339"/>
                <a:gd name="connsiteY5425" fmla="*/ 242091 h 6851196"/>
                <a:gd name="connsiteX5426" fmla="*/ 5526945 w 12187339"/>
                <a:gd name="connsiteY5426" fmla="*/ 5599 h 6851196"/>
                <a:gd name="connsiteX5427" fmla="*/ 5749495 w 12187339"/>
                <a:gd name="connsiteY5427" fmla="*/ 5599 h 6851196"/>
                <a:gd name="connsiteX5428" fmla="*/ 5521055 w 12187339"/>
                <a:gd name="connsiteY5428" fmla="*/ 242091 h 6851196"/>
                <a:gd name="connsiteX5429" fmla="*/ 5296454 w 12187339"/>
                <a:gd name="connsiteY5429" fmla="*/ 242091 h 6851196"/>
                <a:gd name="connsiteX5430" fmla="*/ 5296454 w 12187339"/>
                <a:gd name="connsiteY5430" fmla="*/ 5599 h 6851196"/>
                <a:gd name="connsiteX5431" fmla="*/ 5520542 w 12187339"/>
                <a:gd name="connsiteY5431" fmla="*/ 5599 h 6851196"/>
                <a:gd name="connsiteX5432" fmla="*/ 5290564 w 12187339"/>
                <a:gd name="connsiteY5432" fmla="*/ 242091 h 6851196"/>
                <a:gd name="connsiteX5433" fmla="*/ 5065963 w 12187339"/>
                <a:gd name="connsiteY5433" fmla="*/ 242091 h 6851196"/>
                <a:gd name="connsiteX5434" fmla="*/ 5065963 w 12187339"/>
                <a:gd name="connsiteY5434" fmla="*/ 5599 h 6851196"/>
                <a:gd name="connsiteX5435" fmla="*/ 5290051 w 12187339"/>
                <a:gd name="connsiteY5435" fmla="*/ 5599 h 6851196"/>
                <a:gd name="connsiteX5436" fmla="*/ 5060073 w 12187339"/>
                <a:gd name="connsiteY5436" fmla="*/ 242091 h 6851196"/>
                <a:gd name="connsiteX5437" fmla="*/ 4835472 w 12187339"/>
                <a:gd name="connsiteY5437" fmla="*/ 242091 h 6851196"/>
                <a:gd name="connsiteX5438" fmla="*/ 4835472 w 12187339"/>
                <a:gd name="connsiteY5438" fmla="*/ 5599 h 6851196"/>
                <a:gd name="connsiteX5439" fmla="*/ 5059560 w 12187339"/>
                <a:gd name="connsiteY5439" fmla="*/ 5599 h 6851196"/>
                <a:gd name="connsiteX5440" fmla="*/ 4829582 w 12187339"/>
                <a:gd name="connsiteY5440" fmla="*/ 242091 h 6851196"/>
                <a:gd name="connsiteX5441" fmla="*/ 4607029 w 12187339"/>
                <a:gd name="connsiteY5441" fmla="*/ 242091 h 6851196"/>
                <a:gd name="connsiteX5442" fmla="*/ 4607029 w 12187339"/>
                <a:gd name="connsiteY5442" fmla="*/ 5599 h 6851196"/>
                <a:gd name="connsiteX5443" fmla="*/ 4829582 w 12187339"/>
                <a:gd name="connsiteY5443" fmla="*/ 5599 h 6851196"/>
                <a:gd name="connsiteX5444" fmla="*/ 4600626 w 12187339"/>
                <a:gd name="connsiteY5444" fmla="*/ 242091 h 6851196"/>
                <a:gd name="connsiteX5445" fmla="*/ 4376538 w 12187339"/>
                <a:gd name="connsiteY5445" fmla="*/ 242091 h 6851196"/>
                <a:gd name="connsiteX5446" fmla="*/ 4376538 w 12187339"/>
                <a:gd name="connsiteY5446" fmla="*/ 5599 h 6851196"/>
                <a:gd name="connsiteX5447" fmla="*/ 4600626 w 12187339"/>
                <a:gd name="connsiteY5447" fmla="*/ 5599 h 6851196"/>
                <a:gd name="connsiteX5448" fmla="*/ 4370135 w 12187339"/>
                <a:gd name="connsiteY5448" fmla="*/ 242091 h 6851196"/>
                <a:gd name="connsiteX5449" fmla="*/ 4146047 w 12187339"/>
                <a:gd name="connsiteY5449" fmla="*/ 242091 h 6851196"/>
                <a:gd name="connsiteX5450" fmla="*/ 4146047 w 12187339"/>
                <a:gd name="connsiteY5450" fmla="*/ 5599 h 6851196"/>
                <a:gd name="connsiteX5451" fmla="*/ 4370135 w 12187339"/>
                <a:gd name="connsiteY5451" fmla="*/ 5599 h 6851196"/>
                <a:gd name="connsiteX5452" fmla="*/ 4139644 w 12187339"/>
                <a:gd name="connsiteY5452" fmla="*/ 242091 h 6851196"/>
                <a:gd name="connsiteX5453" fmla="*/ 3917094 w 12187339"/>
                <a:gd name="connsiteY5453" fmla="*/ 242091 h 6851196"/>
                <a:gd name="connsiteX5454" fmla="*/ 3917094 w 12187339"/>
                <a:gd name="connsiteY5454" fmla="*/ 5599 h 6851196"/>
                <a:gd name="connsiteX5455" fmla="*/ 4139644 w 12187339"/>
                <a:gd name="connsiteY5455" fmla="*/ 5599 h 6851196"/>
                <a:gd name="connsiteX5456" fmla="*/ 3910691 w 12187339"/>
                <a:gd name="connsiteY5456" fmla="*/ 242091 h 6851196"/>
                <a:gd name="connsiteX5457" fmla="*/ 3686603 w 12187339"/>
                <a:gd name="connsiteY5457" fmla="*/ 242091 h 6851196"/>
                <a:gd name="connsiteX5458" fmla="*/ 3686603 w 12187339"/>
                <a:gd name="connsiteY5458" fmla="*/ 5599 h 6851196"/>
                <a:gd name="connsiteX5459" fmla="*/ 3910691 w 12187339"/>
                <a:gd name="connsiteY5459" fmla="*/ 5599 h 6851196"/>
                <a:gd name="connsiteX5460" fmla="*/ 3680200 w 12187339"/>
                <a:gd name="connsiteY5460" fmla="*/ 242091 h 6851196"/>
                <a:gd name="connsiteX5461" fmla="*/ 3456112 w 12187339"/>
                <a:gd name="connsiteY5461" fmla="*/ 242091 h 6851196"/>
                <a:gd name="connsiteX5462" fmla="*/ 3456112 w 12187339"/>
                <a:gd name="connsiteY5462" fmla="*/ 5599 h 6851196"/>
                <a:gd name="connsiteX5463" fmla="*/ 3680200 w 12187339"/>
                <a:gd name="connsiteY5463" fmla="*/ 5599 h 6851196"/>
                <a:gd name="connsiteX5464" fmla="*/ 3449709 w 12187339"/>
                <a:gd name="connsiteY5464" fmla="*/ 242091 h 6851196"/>
                <a:gd name="connsiteX5465" fmla="*/ 3225621 w 12187339"/>
                <a:gd name="connsiteY5465" fmla="*/ 242091 h 6851196"/>
                <a:gd name="connsiteX5466" fmla="*/ 3225621 w 12187339"/>
                <a:gd name="connsiteY5466" fmla="*/ 5599 h 6851196"/>
                <a:gd name="connsiteX5467" fmla="*/ 3449709 w 12187339"/>
                <a:gd name="connsiteY5467" fmla="*/ 5599 h 6851196"/>
                <a:gd name="connsiteX5468" fmla="*/ 3219218 w 12187339"/>
                <a:gd name="connsiteY5468" fmla="*/ 242091 h 6851196"/>
                <a:gd name="connsiteX5469" fmla="*/ 2996666 w 12187339"/>
                <a:gd name="connsiteY5469" fmla="*/ 242091 h 6851196"/>
                <a:gd name="connsiteX5470" fmla="*/ 2996666 w 12187339"/>
                <a:gd name="connsiteY5470" fmla="*/ 5599 h 6851196"/>
                <a:gd name="connsiteX5471" fmla="*/ 3219218 w 12187339"/>
                <a:gd name="connsiteY5471" fmla="*/ 5599 h 6851196"/>
                <a:gd name="connsiteX5472" fmla="*/ 2990264 w 12187339"/>
                <a:gd name="connsiteY5472" fmla="*/ 242091 h 6851196"/>
                <a:gd name="connsiteX5473" fmla="*/ 2766175 w 12187339"/>
                <a:gd name="connsiteY5473" fmla="*/ 242091 h 6851196"/>
                <a:gd name="connsiteX5474" fmla="*/ 2766175 w 12187339"/>
                <a:gd name="connsiteY5474" fmla="*/ 5599 h 6851196"/>
                <a:gd name="connsiteX5475" fmla="*/ 2990264 w 12187339"/>
                <a:gd name="connsiteY5475" fmla="*/ 5599 h 6851196"/>
                <a:gd name="connsiteX5476" fmla="*/ 2759773 w 12187339"/>
                <a:gd name="connsiteY5476" fmla="*/ 242091 h 6851196"/>
                <a:gd name="connsiteX5477" fmla="*/ 2535684 w 12187339"/>
                <a:gd name="connsiteY5477" fmla="*/ 242091 h 6851196"/>
                <a:gd name="connsiteX5478" fmla="*/ 2535684 w 12187339"/>
                <a:gd name="connsiteY5478" fmla="*/ 5599 h 6851196"/>
                <a:gd name="connsiteX5479" fmla="*/ 2759773 w 12187339"/>
                <a:gd name="connsiteY5479" fmla="*/ 5599 h 6851196"/>
                <a:gd name="connsiteX5480" fmla="*/ 2529282 w 12187339"/>
                <a:gd name="connsiteY5480" fmla="*/ 242091 h 6851196"/>
                <a:gd name="connsiteX5481" fmla="*/ 2305193 w 12187339"/>
                <a:gd name="connsiteY5481" fmla="*/ 242091 h 6851196"/>
                <a:gd name="connsiteX5482" fmla="*/ 2305193 w 12187339"/>
                <a:gd name="connsiteY5482" fmla="*/ 5599 h 6851196"/>
                <a:gd name="connsiteX5483" fmla="*/ 2529282 w 12187339"/>
                <a:gd name="connsiteY5483" fmla="*/ 5599 h 6851196"/>
                <a:gd name="connsiteX5484" fmla="*/ 2298791 w 12187339"/>
                <a:gd name="connsiteY5484" fmla="*/ 242091 h 6851196"/>
                <a:gd name="connsiteX5485" fmla="*/ 2075982 w 12187339"/>
                <a:gd name="connsiteY5485" fmla="*/ 242091 h 6851196"/>
                <a:gd name="connsiteX5486" fmla="*/ 2075982 w 12187339"/>
                <a:gd name="connsiteY5486" fmla="*/ 5599 h 6851196"/>
                <a:gd name="connsiteX5487" fmla="*/ 2298534 w 12187339"/>
                <a:gd name="connsiteY5487" fmla="*/ 5599 h 6851196"/>
                <a:gd name="connsiteX5488" fmla="*/ 2069836 w 12187339"/>
                <a:gd name="connsiteY5488" fmla="*/ 242091 h 6851196"/>
                <a:gd name="connsiteX5489" fmla="*/ 1845748 w 12187339"/>
                <a:gd name="connsiteY5489" fmla="*/ 242091 h 6851196"/>
                <a:gd name="connsiteX5490" fmla="*/ 1845748 w 12187339"/>
                <a:gd name="connsiteY5490" fmla="*/ 5599 h 6851196"/>
                <a:gd name="connsiteX5491" fmla="*/ 2069580 w 12187339"/>
                <a:gd name="connsiteY5491" fmla="*/ 5599 h 6851196"/>
                <a:gd name="connsiteX5492" fmla="*/ 1839345 w 12187339"/>
                <a:gd name="connsiteY5492" fmla="*/ 242091 h 6851196"/>
                <a:gd name="connsiteX5493" fmla="*/ 1615257 w 12187339"/>
                <a:gd name="connsiteY5493" fmla="*/ 242091 h 6851196"/>
                <a:gd name="connsiteX5494" fmla="*/ 1615257 w 12187339"/>
                <a:gd name="connsiteY5494" fmla="*/ 5599 h 6851196"/>
                <a:gd name="connsiteX5495" fmla="*/ 1839089 w 12187339"/>
                <a:gd name="connsiteY5495" fmla="*/ 5599 h 6851196"/>
                <a:gd name="connsiteX5496" fmla="*/ 1608854 w 12187339"/>
                <a:gd name="connsiteY5496" fmla="*/ 242091 h 6851196"/>
                <a:gd name="connsiteX5497" fmla="*/ 1386302 w 12187339"/>
                <a:gd name="connsiteY5497" fmla="*/ 242091 h 6851196"/>
                <a:gd name="connsiteX5498" fmla="*/ 1386302 w 12187339"/>
                <a:gd name="connsiteY5498" fmla="*/ 5599 h 6851196"/>
                <a:gd name="connsiteX5499" fmla="*/ 1608598 w 12187339"/>
                <a:gd name="connsiteY5499" fmla="*/ 5599 h 6851196"/>
                <a:gd name="connsiteX5500" fmla="*/ 1379900 w 12187339"/>
                <a:gd name="connsiteY5500" fmla="*/ 242091 h 6851196"/>
                <a:gd name="connsiteX5501" fmla="*/ 1155811 w 12187339"/>
                <a:gd name="connsiteY5501" fmla="*/ 242091 h 6851196"/>
                <a:gd name="connsiteX5502" fmla="*/ 1155811 w 12187339"/>
                <a:gd name="connsiteY5502" fmla="*/ 5599 h 6851196"/>
                <a:gd name="connsiteX5503" fmla="*/ 1379900 w 12187339"/>
                <a:gd name="connsiteY5503" fmla="*/ 5599 h 6851196"/>
                <a:gd name="connsiteX5504" fmla="*/ 1149409 w 12187339"/>
                <a:gd name="connsiteY5504" fmla="*/ 242091 h 6851196"/>
                <a:gd name="connsiteX5505" fmla="*/ 925320 w 12187339"/>
                <a:gd name="connsiteY5505" fmla="*/ 242091 h 6851196"/>
                <a:gd name="connsiteX5506" fmla="*/ 925320 w 12187339"/>
                <a:gd name="connsiteY5506" fmla="*/ 5599 h 6851196"/>
                <a:gd name="connsiteX5507" fmla="*/ 1149409 w 12187339"/>
                <a:gd name="connsiteY5507" fmla="*/ 5599 h 6851196"/>
                <a:gd name="connsiteX5508" fmla="*/ 918918 w 12187339"/>
                <a:gd name="connsiteY5508" fmla="*/ 242091 h 6851196"/>
                <a:gd name="connsiteX5509" fmla="*/ 694829 w 12187339"/>
                <a:gd name="connsiteY5509" fmla="*/ 242091 h 6851196"/>
                <a:gd name="connsiteX5510" fmla="*/ 694829 w 12187339"/>
                <a:gd name="connsiteY5510" fmla="*/ 5599 h 6851196"/>
                <a:gd name="connsiteX5511" fmla="*/ 918918 w 12187339"/>
                <a:gd name="connsiteY5511" fmla="*/ 5599 h 6851196"/>
                <a:gd name="connsiteX5512" fmla="*/ 688427 w 12187339"/>
                <a:gd name="connsiteY5512" fmla="*/ 242091 h 6851196"/>
                <a:gd name="connsiteX5513" fmla="*/ 465875 w 12187339"/>
                <a:gd name="connsiteY5513" fmla="*/ 242091 h 6851196"/>
                <a:gd name="connsiteX5514" fmla="*/ 465875 w 12187339"/>
                <a:gd name="connsiteY5514" fmla="*/ 5599 h 6851196"/>
                <a:gd name="connsiteX5515" fmla="*/ 688427 w 12187339"/>
                <a:gd name="connsiteY5515" fmla="*/ 5599 h 6851196"/>
                <a:gd name="connsiteX5516" fmla="*/ 459472 w 12187339"/>
                <a:gd name="connsiteY5516" fmla="*/ 242091 h 6851196"/>
                <a:gd name="connsiteX5517" fmla="*/ 235384 w 12187339"/>
                <a:gd name="connsiteY5517" fmla="*/ 242091 h 6851196"/>
                <a:gd name="connsiteX5518" fmla="*/ 235384 w 12187339"/>
                <a:gd name="connsiteY5518" fmla="*/ 5599 h 6851196"/>
                <a:gd name="connsiteX5519" fmla="*/ 459472 w 12187339"/>
                <a:gd name="connsiteY5519" fmla="*/ 5599 h 6851196"/>
                <a:gd name="connsiteX5520" fmla="*/ 228981 w 12187339"/>
                <a:gd name="connsiteY5520" fmla="*/ 242091 h 6851196"/>
                <a:gd name="connsiteX5521" fmla="*/ 4893 w 12187339"/>
                <a:gd name="connsiteY5521" fmla="*/ 242091 h 6851196"/>
                <a:gd name="connsiteX5522" fmla="*/ 4893 w 12187339"/>
                <a:gd name="connsiteY5522" fmla="*/ 5599 h 6851196"/>
                <a:gd name="connsiteX5523" fmla="*/ 228981 w 12187339"/>
                <a:gd name="connsiteY5523" fmla="*/ 5599 h 6851196"/>
                <a:gd name="connsiteX5524" fmla="*/ 228981 w 12187339"/>
                <a:gd name="connsiteY5524" fmla="*/ 248895 h 6851196"/>
                <a:gd name="connsiteX5525" fmla="*/ 228981 w 12187339"/>
                <a:gd name="connsiteY5525" fmla="*/ 487020 h 6851196"/>
                <a:gd name="connsiteX5526" fmla="*/ 4893 w 12187339"/>
                <a:gd name="connsiteY5526" fmla="*/ 487020 h 6851196"/>
                <a:gd name="connsiteX5527" fmla="*/ 4893 w 12187339"/>
                <a:gd name="connsiteY5527" fmla="*/ 248895 h 6851196"/>
                <a:gd name="connsiteX5528" fmla="*/ 228981 w 12187339"/>
                <a:gd name="connsiteY5528" fmla="*/ 493823 h 6851196"/>
                <a:gd name="connsiteX5529" fmla="*/ 228981 w 12187339"/>
                <a:gd name="connsiteY5529" fmla="*/ 731948 h 6851196"/>
                <a:gd name="connsiteX5530" fmla="*/ 4893 w 12187339"/>
                <a:gd name="connsiteY5530" fmla="*/ 731948 h 6851196"/>
                <a:gd name="connsiteX5531" fmla="*/ 4893 w 12187339"/>
                <a:gd name="connsiteY5531" fmla="*/ 493823 h 6851196"/>
                <a:gd name="connsiteX5532" fmla="*/ 228981 w 12187339"/>
                <a:gd name="connsiteY5532" fmla="*/ 738752 h 6851196"/>
                <a:gd name="connsiteX5533" fmla="*/ 228981 w 12187339"/>
                <a:gd name="connsiteY5533" fmla="*/ 975244 h 6851196"/>
                <a:gd name="connsiteX5534" fmla="*/ 4893 w 12187339"/>
                <a:gd name="connsiteY5534" fmla="*/ 975244 h 6851196"/>
                <a:gd name="connsiteX5535" fmla="*/ 4893 w 12187339"/>
                <a:gd name="connsiteY5535" fmla="*/ 738752 h 6851196"/>
                <a:gd name="connsiteX5536" fmla="*/ 228981 w 12187339"/>
                <a:gd name="connsiteY5536" fmla="*/ 982048 h 6851196"/>
                <a:gd name="connsiteX5537" fmla="*/ 228981 w 12187339"/>
                <a:gd name="connsiteY5537" fmla="*/ 1220173 h 6851196"/>
                <a:gd name="connsiteX5538" fmla="*/ 4893 w 12187339"/>
                <a:gd name="connsiteY5538" fmla="*/ 1220173 h 6851196"/>
                <a:gd name="connsiteX5539" fmla="*/ 4893 w 12187339"/>
                <a:gd name="connsiteY5539" fmla="*/ 981911 h 6851196"/>
                <a:gd name="connsiteX5540" fmla="*/ 228981 w 12187339"/>
                <a:gd name="connsiteY5540" fmla="*/ 1226976 h 6851196"/>
                <a:gd name="connsiteX5541" fmla="*/ 228981 w 12187339"/>
                <a:gd name="connsiteY5541" fmla="*/ 1465101 h 6851196"/>
                <a:gd name="connsiteX5542" fmla="*/ 4893 w 12187339"/>
                <a:gd name="connsiteY5542" fmla="*/ 1465101 h 6851196"/>
                <a:gd name="connsiteX5543" fmla="*/ 4893 w 12187339"/>
                <a:gd name="connsiteY5543" fmla="*/ 1226840 h 6851196"/>
                <a:gd name="connsiteX5544" fmla="*/ 228981 w 12187339"/>
                <a:gd name="connsiteY5544" fmla="*/ 1471905 h 6851196"/>
                <a:gd name="connsiteX5545" fmla="*/ 228981 w 12187339"/>
                <a:gd name="connsiteY5545" fmla="*/ 1710030 h 6851196"/>
                <a:gd name="connsiteX5546" fmla="*/ 4893 w 12187339"/>
                <a:gd name="connsiteY5546" fmla="*/ 1710030 h 6851196"/>
                <a:gd name="connsiteX5547" fmla="*/ 4893 w 12187339"/>
                <a:gd name="connsiteY5547" fmla="*/ 1471769 h 6851196"/>
                <a:gd name="connsiteX5548" fmla="*/ 228981 w 12187339"/>
                <a:gd name="connsiteY5548" fmla="*/ 1716833 h 6851196"/>
                <a:gd name="connsiteX5549" fmla="*/ 228981 w 12187339"/>
                <a:gd name="connsiteY5549" fmla="*/ 1953326 h 6851196"/>
                <a:gd name="connsiteX5550" fmla="*/ 4893 w 12187339"/>
                <a:gd name="connsiteY5550" fmla="*/ 1953326 h 6851196"/>
                <a:gd name="connsiteX5551" fmla="*/ 4893 w 12187339"/>
                <a:gd name="connsiteY5551" fmla="*/ 1716697 h 6851196"/>
                <a:gd name="connsiteX5552" fmla="*/ 228981 w 12187339"/>
                <a:gd name="connsiteY5552" fmla="*/ 1960129 h 6851196"/>
                <a:gd name="connsiteX5553" fmla="*/ 228981 w 12187339"/>
                <a:gd name="connsiteY5553" fmla="*/ 2198254 h 6851196"/>
                <a:gd name="connsiteX5554" fmla="*/ 4893 w 12187339"/>
                <a:gd name="connsiteY5554" fmla="*/ 2198254 h 6851196"/>
                <a:gd name="connsiteX5555" fmla="*/ 4893 w 12187339"/>
                <a:gd name="connsiteY5555" fmla="*/ 1960129 h 6851196"/>
                <a:gd name="connsiteX5556" fmla="*/ 228981 w 12187339"/>
                <a:gd name="connsiteY5556" fmla="*/ 2205058 h 6851196"/>
                <a:gd name="connsiteX5557" fmla="*/ 228981 w 12187339"/>
                <a:gd name="connsiteY5557" fmla="*/ 2443183 h 6851196"/>
                <a:gd name="connsiteX5558" fmla="*/ 4893 w 12187339"/>
                <a:gd name="connsiteY5558" fmla="*/ 2443183 h 6851196"/>
                <a:gd name="connsiteX5559" fmla="*/ 4893 w 12187339"/>
                <a:gd name="connsiteY5559" fmla="*/ 2205058 h 6851196"/>
                <a:gd name="connsiteX5560" fmla="*/ 228981 w 12187339"/>
                <a:gd name="connsiteY5560" fmla="*/ 2449986 h 6851196"/>
                <a:gd name="connsiteX5561" fmla="*/ 228981 w 12187339"/>
                <a:gd name="connsiteY5561" fmla="*/ 2686479 h 6851196"/>
                <a:gd name="connsiteX5562" fmla="*/ 4893 w 12187339"/>
                <a:gd name="connsiteY5562" fmla="*/ 2686479 h 6851196"/>
                <a:gd name="connsiteX5563" fmla="*/ 4893 w 12187339"/>
                <a:gd name="connsiteY5563" fmla="*/ 2449986 h 6851196"/>
                <a:gd name="connsiteX5564" fmla="*/ 228981 w 12187339"/>
                <a:gd name="connsiteY5564" fmla="*/ 2693282 h 6851196"/>
                <a:gd name="connsiteX5565" fmla="*/ 228981 w 12187339"/>
                <a:gd name="connsiteY5565" fmla="*/ 2931407 h 6851196"/>
                <a:gd name="connsiteX5566" fmla="*/ 4893 w 12187339"/>
                <a:gd name="connsiteY5566" fmla="*/ 2931407 h 6851196"/>
                <a:gd name="connsiteX5567" fmla="*/ 4893 w 12187339"/>
                <a:gd name="connsiteY5567" fmla="*/ 2693282 h 6851196"/>
                <a:gd name="connsiteX5568" fmla="*/ 228981 w 12187339"/>
                <a:gd name="connsiteY5568" fmla="*/ 2938211 h 6851196"/>
                <a:gd name="connsiteX5569" fmla="*/ 228981 w 12187339"/>
                <a:gd name="connsiteY5569" fmla="*/ 3176336 h 6851196"/>
                <a:gd name="connsiteX5570" fmla="*/ 4893 w 12187339"/>
                <a:gd name="connsiteY5570" fmla="*/ 3176336 h 6851196"/>
                <a:gd name="connsiteX5571" fmla="*/ 4893 w 12187339"/>
                <a:gd name="connsiteY5571" fmla="*/ 2938211 h 6851196"/>
                <a:gd name="connsiteX5572" fmla="*/ 228981 w 12187339"/>
                <a:gd name="connsiteY5572" fmla="*/ 3183139 h 6851196"/>
                <a:gd name="connsiteX5573" fmla="*/ 228981 w 12187339"/>
                <a:gd name="connsiteY5573" fmla="*/ 3421264 h 6851196"/>
                <a:gd name="connsiteX5574" fmla="*/ 4893 w 12187339"/>
                <a:gd name="connsiteY5574" fmla="*/ 3421264 h 6851196"/>
                <a:gd name="connsiteX5575" fmla="*/ 4893 w 12187339"/>
                <a:gd name="connsiteY5575" fmla="*/ 3183139 h 6851196"/>
                <a:gd name="connsiteX5576" fmla="*/ 228981 w 12187339"/>
                <a:gd name="connsiteY5576" fmla="*/ 3428068 h 6851196"/>
                <a:gd name="connsiteX5577" fmla="*/ 228981 w 12187339"/>
                <a:gd name="connsiteY5577" fmla="*/ 3664560 h 6851196"/>
                <a:gd name="connsiteX5578" fmla="*/ 4893 w 12187339"/>
                <a:gd name="connsiteY5578" fmla="*/ 3664560 h 6851196"/>
                <a:gd name="connsiteX5579" fmla="*/ 4893 w 12187339"/>
                <a:gd name="connsiteY5579" fmla="*/ 3428068 h 6851196"/>
                <a:gd name="connsiteX5580" fmla="*/ 228981 w 12187339"/>
                <a:gd name="connsiteY5580" fmla="*/ 3671364 h 6851196"/>
                <a:gd name="connsiteX5581" fmla="*/ 228981 w 12187339"/>
                <a:gd name="connsiteY5581" fmla="*/ 3909489 h 6851196"/>
                <a:gd name="connsiteX5582" fmla="*/ 4893 w 12187339"/>
                <a:gd name="connsiteY5582" fmla="*/ 3909489 h 6851196"/>
                <a:gd name="connsiteX5583" fmla="*/ 4893 w 12187339"/>
                <a:gd name="connsiteY5583" fmla="*/ 3671364 h 6851196"/>
                <a:gd name="connsiteX5584" fmla="*/ 228981 w 12187339"/>
                <a:gd name="connsiteY5584" fmla="*/ 3916292 h 6851196"/>
                <a:gd name="connsiteX5585" fmla="*/ 228981 w 12187339"/>
                <a:gd name="connsiteY5585" fmla="*/ 4154417 h 6851196"/>
                <a:gd name="connsiteX5586" fmla="*/ 4893 w 12187339"/>
                <a:gd name="connsiteY5586" fmla="*/ 4154417 h 6851196"/>
                <a:gd name="connsiteX5587" fmla="*/ 4893 w 12187339"/>
                <a:gd name="connsiteY5587" fmla="*/ 3916292 h 6851196"/>
                <a:gd name="connsiteX5588" fmla="*/ 228981 w 12187339"/>
                <a:gd name="connsiteY5588" fmla="*/ 4161221 h 6851196"/>
                <a:gd name="connsiteX5589" fmla="*/ 228981 w 12187339"/>
                <a:gd name="connsiteY5589" fmla="*/ 4399346 h 6851196"/>
                <a:gd name="connsiteX5590" fmla="*/ 4893 w 12187339"/>
                <a:gd name="connsiteY5590" fmla="*/ 4399346 h 6851196"/>
                <a:gd name="connsiteX5591" fmla="*/ 4893 w 12187339"/>
                <a:gd name="connsiteY5591" fmla="*/ 4161221 h 6851196"/>
                <a:gd name="connsiteX5592" fmla="*/ 228981 w 12187339"/>
                <a:gd name="connsiteY5592" fmla="*/ 4406149 h 6851196"/>
                <a:gd name="connsiteX5593" fmla="*/ 228981 w 12187339"/>
                <a:gd name="connsiteY5593" fmla="*/ 4642233 h 6851196"/>
                <a:gd name="connsiteX5594" fmla="*/ 4893 w 12187339"/>
                <a:gd name="connsiteY5594" fmla="*/ 4642233 h 6851196"/>
                <a:gd name="connsiteX5595" fmla="*/ 4893 w 12187339"/>
                <a:gd name="connsiteY5595" fmla="*/ 4405741 h 6851196"/>
                <a:gd name="connsiteX5596" fmla="*/ 228981 w 12187339"/>
                <a:gd name="connsiteY5596" fmla="*/ 4649445 h 6851196"/>
                <a:gd name="connsiteX5597" fmla="*/ 228981 w 12187339"/>
                <a:gd name="connsiteY5597" fmla="*/ 4887162 h 6851196"/>
                <a:gd name="connsiteX5598" fmla="*/ 4893 w 12187339"/>
                <a:gd name="connsiteY5598" fmla="*/ 4887162 h 6851196"/>
                <a:gd name="connsiteX5599" fmla="*/ 4893 w 12187339"/>
                <a:gd name="connsiteY5599" fmla="*/ 4649037 h 6851196"/>
                <a:gd name="connsiteX5600" fmla="*/ 228981 w 12187339"/>
                <a:gd name="connsiteY5600" fmla="*/ 4894374 h 6851196"/>
                <a:gd name="connsiteX5601" fmla="*/ 228981 w 12187339"/>
                <a:gd name="connsiteY5601" fmla="*/ 5132090 h 6851196"/>
                <a:gd name="connsiteX5602" fmla="*/ 4893 w 12187339"/>
                <a:gd name="connsiteY5602" fmla="*/ 5132090 h 6851196"/>
                <a:gd name="connsiteX5603" fmla="*/ 4893 w 12187339"/>
                <a:gd name="connsiteY5603" fmla="*/ 4893965 h 6851196"/>
                <a:gd name="connsiteX5604" fmla="*/ 228981 w 12187339"/>
                <a:gd name="connsiteY5604" fmla="*/ 5139302 h 6851196"/>
                <a:gd name="connsiteX5605" fmla="*/ 228981 w 12187339"/>
                <a:gd name="connsiteY5605" fmla="*/ 5375795 h 6851196"/>
                <a:gd name="connsiteX5606" fmla="*/ 4893 w 12187339"/>
                <a:gd name="connsiteY5606" fmla="*/ 5375795 h 6851196"/>
                <a:gd name="connsiteX5607" fmla="*/ 4893 w 12187339"/>
                <a:gd name="connsiteY5607" fmla="*/ 5139302 h 6851196"/>
                <a:gd name="connsiteX5608" fmla="*/ 228981 w 12187339"/>
                <a:gd name="connsiteY5608" fmla="*/ 5382598 h 6851196"/>
                <a:gd name="connsiteX5609" fmla="*/ 228981 w 12187339"/>
                <a:gd name="connsiteY5609" fmla="*/ 5620723 h 6851196"/>
                <a:gd name="connsiteX5610" fmla="*/ 4893 w 12187339"/>
                <a:gd name="connsiteY5610" fmla="*/ 5620723 h 6851196"/>
                <a:gd name="connsiteX5611" fmla="*/ 4893 w 12187339"/>
                <a:gd name="connsiteY5611" fmla="*/ 5382598 h 6851196"/>
                <a:gd name="connsiteX5612" fmla="*/ 228981 w 12187339"/>
                <a:gd name="connsiteY5612" fmla="*/ 5627527 h 6851196"/>
                <a:gd name="connsiteX5613" fmla="*/ 228981 w 12187339"/>
                <a:gd name="connsiteY5613" fmla="*/ 5865652 h 6851196"/>
                <a:gd name="connsiteX5614" fmla="*/ 4893 w 12187339"/>
                <a:gd name="connsiteY5614" fmla="*/ 5865652 h 6851196"/>
                <a:gd name="connsiteX5615" fmla="*/ 4893 w 12187339"/>
                <a:gd name="connsiteY5615" fmla="*/ 5627527 h 6851196"/>
                <a:gd name="connsiteX5616" fmla="*/ 228981 w 12187339"/>
                <a:gd name="connsiteY5616" fmla="*/ 5872455 h 6851196"/>
                <a:gd name="connsiteX5617" fmla="*/ 228981 w 12187339"/>
                <a:gd name="connsiteY5617" fmla="*/ 6110580 h 6851196"/>
                <a:gd name="connsiteX5618" fmla="*/ 4893 w 12187339"/>
                <a:gd name="connsiteY5618" fmla="*/ 6110580 h 6851196"/>
                <a:gd name="connsiteX5619" fmla="*/ 4893 w 12187339"/>
                <a:gd name="connsiteY5619" fmla="*/ 5872455 h 6851196"/>
                <a:gd name="connsiteX5620" fmla="*/ 228981 w 12187339"/>
                <a:gd name="connsiteY5620" fmla="*/ 6117384 h 6851196"/>
                <a:gd name="connsiteX5621" fmla="*/ 228981 w 12187339"/>
                <a:gd name="connsiteY5621" fmla="*/ 6353876 h 6851196"/>
                <a:gd name="connsiteX5622" fmla="*/ 4893 w 12187339"/>
                <a:gd name="connsiteY5622" fmla="*/ 6353876 h 6851196"/>
                <a:gd name="connsiteX5623" fmla="*/ 4893 w 12187339"/>
                <a:gd name="connsiteY5623" fmla="*/ 6117384 h 6851196"/>
                <a:gd name="connsiteX5624" fmla="*/ 228981 w 12187339"/>
                <a:gd name="connsiteY5624" fmla="*/ 6360680 h 6851196"/>
                <a:gd name="connsiteX5625" fmla="*/ 228981 w 12187339"/>
                <a:gd name="connsiteY5625" fmla="*/ 6598805 h 6851196"/>
                <a:gd name="connsiteX5626" fmla="*/ 4893 w 12187339"/>
                <a:gd name="connsiteY5626" fmla="*/ 6598805 h 6851196"/>
                <a:gd name="connsiteX5627" fmla="*/ 4893 w 12187339"/>
                <a:gd name="connsiteY5627" fmla="*/ 6360680 h 6851196"/>
                <a:gd name="connsiteX5628" fmla="*/ 228981 w 12187339"/>
                <a:gd name="connsiteY5628" fmla="*/ 6605608 h 6851196"/>
                <a:gd name="connsiteX5629" fmla="*/ 228981 w 12187339"/>
                <a:gd name="connsiteY5629" fmla="*/ 6843733 h 6851196"/>
                <a:gd name="connsiteX5630" fmla="*/ 4893 w 12187339"/>
                <a:gd name="connsiteY5630" fmla="*/ 6843733 h 6851196"/>
                <a:gd name="connsiteX5631" fmla="*/ 4893 w 12187339"/>
                <a:gd name="connsiteY5631" fmla="*/ 6605608 h 6851196"/>
                <a:gd name="connsiteX5632" fmla="*/ 235384 w 12187339"/>
                <a:gd name="connsiteY5632" fmla="*/ 6605608 h 6851196"/>
                <a:gd name="connsiteX5633" fmla="*/ 459472 w 12187339"/>
                <a:gd name="connsiteY5633" fmla="*/ 6605608 h 6851196"/>
                <a:gd name="connsiteX5634" fmla="*/ 459472 w 12187339"/>
                <a:gd name="connsiteY5634" fmla="*/ 6843733 h 6851196"/>
                <a:gd name="connsiteX5635" fmla="*/ 235384 w 12187339"/>
                <a:gd name="connsiteY5635" fmla="*/ 6843733 h 6851196"/>
                <a:gd name="connsiteX5636" fmla="*/ 465875 w 12187339"/>
                <a:gd name="connsiteY5636" fmla="*/ 6605608 h 6851196"/>
                <a:gd name="connsiteX5637" fmla="*/ 688427 w 12187339"/>
                <a:gd name="connsiteY5637" fmla="*/ 6605608 h 6851196"/>
                <a:gd name="connsiteX5638" fmla="*/ 688427 w 12187339"/>
                <a:gd name="connsiteY5638" fmla="*/ 6843733 h 6851196"/>
                <a:gd name="connsiteX5639" fmla="*/ 465875 w 12187339"/>
                <a:gd name="connsiteY5639" fmla="*/ 6843733 h 6851196"/>
                <a:gd name="connsiteX5640" fmla="*/ 694829 w 12187339"/>
                <a:gd name="connsiteY5640" fmla="*/ 6605608 h 6851196"/>
                <a:gd name="connsiteX5641" fmla="*/ 918918 w 12187339"/>
                <a:gd name="connsiteY5641" fmla="*/ 6605608 h 6851196"/>
                <a:gd name="connsiteX5642" fmla="*/ 918918 w 12187339"/>
                <a:gd name="connsiteY5642" fmla="*/ 6843733 h 6851196"/>
                <a:gd name="connsiteX5643" fmla="*/ 694829 w 12187339"/>
                <a:gd name="connsiteY5643" fmla="*/ 6843733 h 6851196"/>
                <a:gd name="connsiteX5644" fmla="*/ 925320 w 12187339"/>
                <a:gd name="connsiteY5644" fmla="*/ 6605608 h 6851196"/>
                <a:gd name="connsiteX5645" fmla="*/ 1149409 w 12187339"/>
                <a:gd name="connsiteY5645" fmla="*/ 6605608 h 6851196"/>
                <a:gd name="connsiteX5646" fmla="*/ 1149409 w 12187339"/>
                <a:gd name="connsiteY5646" fmla="*/ 6843733 h 6851196"/>
                <a:gd name="connsiteX5647" fmla="*/ 925320 w 12187339"/>
                <a:gd name="connsiteY5647" fmla="*/ 6843733 h 6851196"/>
                <a:gd name="connsiteX5648" fmla="*/ 1155811 w 12187339"/>
                <a:gd name="connsiteY5648" fmla="*/ 6605608 h 6851196"/>
                <a:gd name="connsiteX5649" fmla="*/ 1379900 w 12187339"/>
                <a:gd name="connsiteY5649" fmla="*/ 6605608 h 6851196"/>
                <a:gd name="connsiteX5650" fmla="*/ 1379900 w 12187339"/>
                <a:gd name="connsiteY5650" fmla="*/ 6843733 h 6851196"/>
                <a:gd name="connsiteX5651" fmla="*/ 1155811 w 12187339"/>
                <a:gd name="connsiteY5651" fmla="*/ 6843733 h 6851196"/>
                <a:gd name="connsiteX5652" fmla="*/ 1386302 w 12187339"/>
                <a:gd name="connsiteY5652" fmla="*/ 6605608 h 6851196"/>
                <a:gd name="connsiteX5653" fmla="*/ 1608598 w 12187339"/>
                <a:gd name="connsiteY5653" fmla="*/ 6605608 h 6851196"/>
                <a:gd name="connsiteX5654" fmla="*/ 1608598 w 12187339"/>
                <a:gd name="connsiteY5654" fmla="*/ 6843733 h 6851196"/>
                <a:gd name="connsiteX5655" fmla="*/ 1386046 w 12187339"/>
                <a:gd name="connsiteY5655" fmla="*/ 6843733 h 6851196"/>
                <a:gd name="connsiteX5656" fmla="*/ 1615257 w 12187339"/>
                <a:gd name="connsiteY5656" fmla="*/ 6605608 h 6851196"/>
                <a:gd name="connsiteX5657" fmla="*/ 1839089 w 12187339"/>
                <a:gd name="connsiteY5657" fmla="*/ 6605608 h 6851196"/>
                <a:gd name="connsiteX5658" fmla="*/ 1839089 w 12187339"/>
                <a:gd name="connsiteY5658" fmla="*/ 6843733 h 6851196"/>
                <a:gd name="connsiteX5659" fmla="*/ 1615000 w 12187339"/>
                <a:gd name="connsiteY5659" fmla="*/ 6843733 h 6851196"/>
                <a:gd name="connsiteX5660" fmla="*/ 1845748 w 12187339"/>
                <a:gd name="connsiteY5660" fmla="*/ 6605608 h 6851196"/>
                <a:gd name="connsiteX5661" fmla="*/ 2069580 w 12187339"/>
                <a:gd name="connsiteY5661" fmla="*/ 6605608 h 6851196"/>
                <a:gd name="connsiteX5662" fmla="*/ 2069580 w 12187339"/>
                <a:gd name="connsiteY5662" fmla="*/ 6843733 h 6851196"/>
                <a:gd name="connsiteX5663" fmla="*/ 1845491 w 12187339"/>
                <a:gd name="connsiteY5663" fmla="*/ 6843733 h 6851196"/>
                <a:gd name="connsiteX5664" fmla="*/ 2076239 w 12187339"/>
                <a:gd name="connsiteY5664" fmla="*/ 6605608 h 6851196"/>
                <a:gd name="connsiteX5665" fmla="*/ 2298791 w 12187339"/>
                <a:gd name="connsiteY5665" fmla="*/ 6605608 h 6851196"/>
                <a:gd name="connsiteX5666" fmla="*/ 2298791 w 12187339"/>
                <a:gd name="connsiteY5666" fmla="*/ 6843733 h 6851196"/>
                <a:gd name="connsiteX5667" fmla="*/ 2075982 w 12187339"/>
                <a:gd name="connsiteY5667" fmla="*/ 6843733 h 6851196"/>
                <a:gd name="connsiteX5668" fmla="*/ 2305193 w 12187339"/>
                <a:gd name="connsiteY5668" fmla="*/ 6605608 h 6851196"/>
                <a:gd name="connsiteX5669" fmla="*/ 2529282 w 12187339"/>
                <a:gd name="connsiteY5669" fmla="*/ 6605608 h 6851196"/>
                <a:gd name="connsiteX5670" fmla="*/ 2529282 w 12187339"/>
                <a:gd name="connsiteY5670" fmla="*/ 6843733 h 6851196"/>
                <a:gd name="connsiteX5671" fmla="*/ 2305193 w 12187339"/>
                <a:gd name="connsiteY5671" fmla="*/ 6843733 h 6851196"/>
                <a:gd name="connsiteX5672" fmla="*/ 2535684 w 12187339"/>
                <a:gd name="connsiteY5672" fmla="*/ 6605608 h 6851196"/>
                <a:gd name="connsiteX5673" fmla="*/ 2759773 w 12187339"/>
                <a:gd name="connsiteY5673" fmla="*/ 6605608 h 6851196"/>
                <a:gd name="connsiteX5674" fmla="*/ 2759773 w 12187339"/>
                <a:gd name="connsiteY5674" fmla="*/ 6843733 h 6851196"/>
                <a:gd name="connsiteX5675" fmla="*/ 2535684 w 12187339"/>
                <a:gd name="connsiteY5675" fmla="*/ 6843733 h 6851196"/>
                <a:gd name="connsiteX5676" fmla="*/ 2766175 w 12187339"/>
                <a:gd name="connsiteY5676" fmla="*/ 6605608 h 6851196"/>
                <a:gd name="connsiteX5677" fmla="*/ 2990264 w 12187339"/>
                <a:gd name="connsiteY5677" fmla="*/ 6605608 h 6851196"/>
                <a:gd name="connsiteX5678" fmla="*/ 2990264 w 12187339"/>
                <a:gd name="connsiteY5678" fmla="*/ 6843733 h 6851196"/>
                <a:gd name="connsiteX5679" fmla="*/ 2766175 w 12187339"/>
                <a:gd name="connsiteY5679" fmla="*/ 6843733 h 6851196"/>
                <a:gd name="connsiteX5680" fmla="*/ 2996666 w 12187339"/>
                <a:gd name="connsiteY5680" fmla="*/ 6605608 h 6851196"/>
                <a:gd name="connsiteX5681" fmla="*/ 3219218 w 12187339"/>
                <a:gd name="connsiteY5681" fmla="*/ 6605608 h 6851196"/>
                <a:gd name="connsiteX5682" fmla="*/ 3219218 w 12187339"/>
                <a:gd name="connsiteY5682" fmla="*/ 6843733 h 6851196"/>
                <a:gd name="connsiteX5683" fmla="*/ 2996666 w 12187339"/>
                <a:gd name="connsiteY5683" fmla="*/ 6843733 h 6851196"/>
                <a:gd name="connsiteX5684" fmla="*/ 3225621 w 12187339"/>
                <a:gd name="connsiteY5684" fmla="*/ 6605608 h 6851196"/>
                <a:gd name="connsiteX5685" fmla="*/ 3449709 w 12187339"/>
                <a:gd name="connsiteY5685" fmla="*/ 6605608 h 6851196"/>
                <a:gd name="connsiteX5686" fmla="*/ 3449709 w 12187339"/>
                <a:gd name="connsiteY5686" fmla="*/ 6843733 h 6851196"/>
                <a:gd name="connsiteX5687" fmla="*/ 3225621 w 12187339"/>
                <a:gd name="connsiteY5687" fmla="*/ 6843733 h 6851196"/>
                <a:gd name="connsiteX5688" fmla="*/ 3456112 w 12187339"/>
                <a:gd name="connsiteY5688" fmla="*/ 6605608 h 6851196"/>
                <a:gd name="connsiteX5689" fmla="*/ 3680200 w 12187339"/>
                <a:gd name="connsiteY5689" fmla="*/ 6605608 h 6851196"/>
                <a:gd name="connsiteX5690" fmla="*/ 3680200 w 12187339"/>
                <a:gd name="connsiteY5690" fmla="*/ 6843733 h 6851196"/>
                <a:gd name="connsiteX5691" fmla="*/ 3456112 w 12187339"/>
                <a:gd name="connsiteY5691" fmla="*/ 6843733 h 6851196"/>
                <a:gd name="connsiteX5692" fmla="*/ 3686603 w 12187339"/>
                <a:gd name="connsiteY5692" fmla="*/ 6605608 h 6851196"/>
                <a:gd name="connsiteX5693" fmla="*/ 3910691 w 12187339"/>
                <a:gd name="connsiteY5693" fmla="*/ 6605608 h 6851196"/>
                <a:gd name="connsiteX5694" fmla="*/ 3910691 w 12187339"/>
                <a:gd name="connsiteY5694" fmla="*/ 6843733 h 6851196"/>
                <a:gd name="connsiteX5695" fmla="*/ 3686603 w 12187339"/>
                <a:gd name="connsiteY5695" fmla="*/ 6843733 h 6851196"/>
                <a:gd name="connsiteX5696" fmla="*/ 3917094 w 12187339"/>
                <a:gd name="connsiteY5696" fmla="*/ 6605608 h 6851196"/>
                <a:gd name="connsiteX5697" fmla="*/ 4139644 w 12187339"/>
                <a:gd name="connsiteY5697" fmla="*/ 6605608 h 6851196"/>
                <a:gd name="connsiteX5698" fmla="*/ 4139644 w 12187339"/>
                <a:gd name="connsiteY5698" fmla="*/ 6843733 h 6851196"/>
                <a:gd name="connsiteX5699" fmla="*/ 3917094 w 12187339"/>
                <a:gd name="connsiteY5699" fmla="*/ 6843733 h 6851196"/>
                <a:gd name="connsiteX5700" fmla="*/ 4146047 w 12187339"/>
                <a:gd name="connsiteY5700" fmla="*/ 6605608 h 6851196"/>
                <a:gd name="connsiteX5701" fmla="*/ 4370135 w 12187339"/>
                <a:gd name="connsiteY5701" fmla="*/ 6605608 h 6851196"/>
                <a:gd name="connsiteX5702" fmla="*/ 4370135 w 12187339"/>
                <a:gd name="connsiteY5702" fmla="*/ 6843733 h 6851196"/>
                <a:gd name="connsiteX5703" fmla="*/ 4146047 w 12187339"/>
                <a:gd name="connsiteY5703" fmla="*/ 6843733 h 6851196"/>
                <a:gd name="connsiteX5704" fmla="*/ 4376538 w 12187339"/>
                <a:gd name="connsiteY5704" fmla="*/ 6605608 h 6851196"/>
                <a:gd name="connsiteX5705" fmla="*/ 4600626 w 12187339"/>
                <a:gd name="connsiteY5705" fmla="*/ 6605608 h 6851196"/>
                <a:gd name="connsiteX5706" fmla="*/ 4600626 w 12187339"/>
                <a:gd name="connsiteY5706" fmla="*/ 6843733 h 6851196"/>
                <a:gd name="connsiteX5707" fmla="*/ 4376538 w 12187339"/>
                <a:gd name="connsiteY5707" fmla="*/ 6843733 h 6851196"/>
                <a:gd name="connsiteX5708" fmla="*/ 4607029 w 12187339"/>
                <a:gd name="connsiteY5708" fmla="*/ 6605608 h 6851196"/>
                <a:gd name="connsiteX5709" fmla="*/ 4829582 w 12187339"/>
                <a:gd name="connsiteY5709" fmla="*/ 6605608 h 6851196"/>
                <a:gd name="connsiteX5710" fmla="*/ 4829582 w 12187339"/>
                <a:gd name="connsiteY5710" fmla="*/ 6843733 h 6851196"/>
                <a:gd name="connsiteX5711" fmla="*/ 4607029 w 12187339"/>
                <a:gd name="connsiteY5711" fmla="*/ 6843733 h 6851196"/>
                <a:gd name="connsiteX5712" fmla="*/ 4835985 w 12187339"/>
                <a:gd name="connsiteY5712" fmla="*/ 6605608 h 6851196"/>
                <a:gd name="connsiteX5713" fmla="*/ 5060073 w 12187339"/>
                <a:gd name="connsiteY5713" fmla="*/ 6605608 h 6851196"/>
                <a:gd name="connsiteX5714" fmla="*/ 5060073 w 12187339"/>
                <a:gd name="connsiteY5714" fmla="*/ 6843733 h 6851196"/>
                <a:gd name="connsiteX5715" fmla="*/ 4835472 w 12187339"/>
                <a:gd name="connsiteY5715" fmla="*/ 6843733 h 6851196"/>
                <a:gd name="connsiteX5716" fmla="*/ 5066476 w 12187339"/>
                <a:gd name="connsiteY5716" fmla="*/ 6605608 h 6851196"/>
                <a:gd name="connsiteX5717" fmla="*/ 5290564 w 12187339"/>
                <a:gd name="connsiteY5717" fmla="*/ 6605608 h 6851196"/>
                <a:gd name="connsiteX5718" fmla="*/ 5290564 w 12187339"/>
                <a:gd name="connsiteY5718" fmla="*/ 6843733 h 6851196"/>
                <a:gd name="connsiteX5719" fmla="*/ 5065963 w 12187339"/>
                <a:gd name="connsiteY5719" fmla="*/ 6843733 h 6851196"/>
                <a:gd name="connsiteX5720" fmla="*/ 5296967 w 12187339"/>
                <a:gd name="connsiteY5720" fmla="*/ 6605608 h 6851196"/>
                <a:gd name="connsiteX5721" fmla="*/ 5521055 w 12187339"/>
                <a:gd name="connsiteY5721" fmla="*/ 6605608 h 6851196"/>
                <a:gd name="connsiteX5722" fmla="*/ 5521055 w 12187339"/>
                <a:gd name="connsiteY5722" fmla="*/ 6843733 h 6851196"/>
                <a:gd name="connsiteX5723" fmla="*/ 5296454 w 12187339"/>
                <a:gd name="connsiteY5723" fmla="*/ 6843733 h 6851196"/>
                <a:gd name="connsiteX5724" fmla="*/ 5527458 w 12187339"/>
                <a:gd name="connsiteY5724" fmla="*/ 6605608 h 6851196"/>
                <a:gd name="connsiteX5725" fmla="*/ 5750008 w 12187339"/>
                <a:gd name="connsiteY5725" fmla="*/ 6605608 h 6851196"/>
                <a:gd name="connsiteX5726" fmla="*/ 5750008 w 12187339"/>
                <a:gd name="connsiteY5726" fmla="*/ 6843733 h 6851196"/>
                <a:gd name="connsiteX5727" fmla="*/ 5526945 w 12187339"/>
                <a:gd name="connsiteY5727" fmla="*/ 6843733 h 6851196"/>
                <a:gd name="connsiteX5728" fmla="*/ 5756411 w 12187339"/>
                <a:gd name="connsiteY5728" fmla="*/ 6605608 h 6851196"/>
                <a:gd name="connsiteX5729" fmla="*/ 5980499 w 12187339"/>
                <a:gd name="connsiteY5729" fmla="*/ 6605608 h 6851196"/>
                <a:gd name="connsiteX5730" fmla="*/ 5980499 w 12187339"/>
                <a:gd name="connsiteY5730" fmla="*/ 6843733 h 6851196"/>
                <a:gd name="connsiteX5731" fmla="*/ 5756411 w 12187339"/>
                <a:gd name="connsiteY5731" fmla="*/ 6843733 h 6851196"/>
                <a:gd name="connsiteX5732" fmla="*/ 5986902 w 12187339"/>
                <a:gd name="connsiteY5732" fmla="*/ 6605608 h 6851196"/>
                <a:gd name="connsiteX5733" fmla="*/ 6210990 w 12187339"/>
                <a:gd name="connsiteY5733" fmla="*/ 6605608 h 6851196"/>
                <a:gd name="connsiteX5734" fmla="*/ 6210990 w 12187339"/>
                <a:gd name="connsiteY5734" fmla="*/ 6843733 h 6851196"/>
                <a:gd name="connsiteX5735" fmla="*/ 5986902 w 12187339"/>
                <a:gd name="connsiteY5735" fmla="*/ 6843733 h 6851196"/>
                <a:gd name="connsiteX5736" fmla="*/ 6217393 w 12187339"/>
                <a:gd name="connsiteY5736" fmla="*/ 6605608 h 6851196"/>
                <a:gd name="connsiteX5737" fmla="*/ 6439946 w 12187339"/>
                <a:gd name="connsiteY5737" fmla="*/ 6605608 h 6851196"/>
                <a:gd name="connsiteX5738" fmla="*/ 6439946 w 12187339"/>
                <a:gd name="connsiteY5738" fmla="*/ 6843733 h 6851196"/>
                <a:gd name="connsiteX5739" fmla="*/ 6217136 w 12187339"/>
                <a:gd name="connsiteY5739" fmla="*/ 6843733 h 6851196"/>
                <a:gd name="connsiteX5740" fmla="*/ 6446349 w 12187339"/>
                <a:gd name="connsiteY5740" fmla="*/ 6605608 h 6851196"/>
                <a:gd name="connsiteX5741" fmla="*/ 6656863 w 12187339"/>
                <a:gd name="connsiteY5741" fmla="*/ 6605608 h 6851196"/>
                <a:gd name="connsiteX5742" fmla="*/ 6656863 w 12187339"/>
                <a:gd name="connsiteY5742" fmla="*/ 6843733 h 6851196"/>
                <a:gd name="connsiteX5743" fmla="*/ 6446349 w 12187339"/>
                <a:gd name="connsiteY5743" fmla="*/ 6843733 h 6851196"/>
                <a:gd name="connsiteX5744" fmla="*/ 6663265 w 12187339"/>
                <a:gd name="connsiteY5744" fmla="*/ 6605608 h 6851196"/>
                <a:gd name="connsiteX5745" fmla="*/ 6887354 w 12187339"/>
                <a:gd name="connsiteY5745" fmla="*/ 6605608 h 6851196"/>
                <a:gd name="connsiteX5746" fmla="*/ 6887354 w 12187339"/>
                <a:gd name="connsiteY5746" fmla="*/ 6843733 h 6851196"/>
                <a:gd name="connsiteX5747" fmla="*/ 6663265 w 12187339"/>
                <a:gd name="connsiteY5747" fmla="*/ 6843733 h 6851196"/>
                <a:gd name="connsiteX5748" fmla="*/ 6893756 w 12187339"/>
                <a:gd name="connsiteY5748" fmla="*/ 6605608 h 6851196"/>
                <a:gd name="connsiteX5749" fmla="*/ 7117845 w 12187339"/>
                <a:gd name="connsiteY5749" fmla="*/ 6605608 h 6851196"/>
                <a:gd name="connsiteX5750" fmla="*/ 7117845 w 12187339"/>
                <a:gd name="connsiteY5750" fmla="*/ 6843733 h 6851196"/>
                <a:gd name="connsiteX5751" fmla="*/ 6893756 w 12187339"/>
                <a:gd name="connsiteY5751" fmla="*/ 6843733 h 6851196"/>
                <a:gd name="connsiteX5752" fmla="*/ 7124247 w 12187339"/>
                <a:gd name="connsiteY5752" fmla="*/ 6605608 h 6851196"/>
                <a:gd name="connsiteX5753" fmla="*/ 7346801 w 12187339"/>
                <a:gd name="connsiteY5753" fmla="*/ 6605608 h 6851196"/>
                <a:gd name="connsiteX5754" fmla="*/ 7346801 w 12187339"/>
                <a:gd name="connsiteY5754" fmla="*/ 6843733 h 6851196"/>
                <a:gd name="connsiteX5755" fmla="*/ 7124247 w 12187339"/>
                <a:gd name="connsiteY5755" fmla="*/ 6843733 h 6851196"/>
                <a:gd name="connsiteX5756" fmla="*/ 7353204 w 12187339"/>
                <a:gd name="connsiteY5756" fmla="*/ 6605608 h 6851196"/>
                <a:gd name="connsiteX5757" fmla="*/ 7577292 w 12187339"/>
                <a:gd name="connsiteY5757" fmla="*/ 6605608 h 6851196"/>
                <a:gd name="connsiteX5758" fmla="*/ 7577292 w 12187339"/>
                <a:gd name="connsiteY5758" fmla="*/ 6843733 h 6851196"/>
                <a:gd name="connsiteX5759" fmla="*/ 7353204 w 12187339"/>
                <a:gd name="connsiteY5759" fmla="*/ 6843733 h 6851196"/>
                <a:gd name="connsiteX5760" fmla="*/ 7583695 w 12187339"/>
                <a:gd name="connsiteY5760" fmla="*/ 6605608 h 6851196"/>
                <a:gd name="connsiteX5761" fmla="*/ 7807783 w 12187339"/>
                <a:gd name="connsiteY5761" fmla="*/ 6605608 h 6851196"/>
                <a:gd name="connsiteX5762" fmla="*/ 7807783 w 12187339"/>
                <a:gd name="connsiteY5762" fmla="*/ 6843733 h 6851196"/>
                <a:gd name="connsiteX5763" fmla="*/ 7583695 w 12187339"/>
                <a:gd name="connsiteY5763" fmla="*/ 6843733 h 6851196"/>
                <a:gd name="connsiteX5764" fmla="*/ 7814186 w 12187339"/>
                <a:gd name="connsiteY5764" fmla="*/ 6605608 h 6851196"/>
                <a:gd name="connsiteX5765" fmla="*/ 8038274 w 12187339"/>
                <a:gd name="connsiteY5765" fmla="*/ 6605608 h 6851196"/>
                <a:gd name="connsiteX5766" fmla="*/ 8038274 w 12187339"/>
                <a:gd name="connsiteY5766" fmla="*/ 6843733 h 6851196"/>
                <a:gd name="connsiteX5767" fmla="*/ 7814186 w 12187339"/>
                <a:gd name="connsiteY5767" fmla="*/ 6843733 h 6851196"/>
                <a:gd name="connsiteX5768" fmla="*/ 8044677 w 12187339"/>
                <a:gd name="connsiteY5768" fmla="*/ 6605608 h 6851196"/>
                <a:gd name="connsiteX5769" fmla="*/ 8267227 w 12187339"/>
                <a:gd name="connsiteY5769" fmla="*/ 6605608 h 6851196"/>
                <a:gd name="connsiteX5770" fmla="*/ 8267227 w 12187339"/>
                <a:gd name="connsiteY5770" fmla="*/ 6843733 h 6851196"/>
                <a:gd name="connsiteX5771" fmla="*/ 8044420 w 12187339"/>
                <a:gd name="connsiteY5771" fmla="*/ 6843733 h 6851196"/>
                <a:gd name="connsiteX5772" fmla="*/ 8273629 w 12187339"/>
                <a:gd name="connsiteY5772" fmla="*/ 6605608 h 6851196"/>
                <a:gd name="connsiteX5773" fmla="*/ 8497718 w 12187339"/>
                <a:gd name="connsiteY5773" fmla="*/ 6605608 h 6851196"/>
                <a:gd name="connsiteX5774" fmla="*/ 8497718 w 12187339"/>
                <a:gd name="connsiteY5774" fmla="*/ 6843733 h 6851196"/>
                <a:gd name="connsiteX5775" fmla="*/ 8273629 w 12187339"/>
                <a:gd name="connsiteY5775" fmla="*/ 6843733 h 6851196"/>
                <a:gd name="connsiteX5776" fmla="*/ 8504120 w 12187339"/>
                <a:gd name="connsiteY5776" fmla="*/ 6605608 h 6851196"/>
                <a:gd name="connsiteX5777" fmla="*/ 8728209 w 12187339"/>
                <a:gd name="connsiteY5777" fmla="*/ 6605608 h 6851196"/>
                <a:gd name="connsiteX5778" fmla="*/ 8728209 w 12187339"/>
                <a:gd name="connsiteY5778" fmla="*/ 6843733 h 6851196"/>
                <a:gd name="connsiteX5779" fmla="*/ 8504120 w 12187339"/>
                <a:gd name="connsiteY5779" fmla="*/ 6843733 h 6851196"/>
                <a:gd name="connsiteX5780" fmla="*/ 8734611 w 12187339"/>
                <a:gd name="connsiteY5780" fmla="*/ 6605608 h 6851196"/>
                <a:gd name="connsiteX5781" fmla="*/ 8957162 w 12187339"/>
                <a:gd name="connsiteY5781" fmla="*/ 6605608 h 6851196"/>
                <a:gd name="connsiteX5782" fmla="*/ 8957162 w 12187339"/>
                <a:gd name="connsiteY5782" fmla="*/ 6843733 h 6851196"/>
                <a:gd name="connsiteX5783" fmla="*/ 8734611 w 12187339"/>
                <a:gd name="connsiteY5783" fmla="*/ 6843733 h 6851196"/>
                <a:gd name="connsiteX5784" fmla="*/ 8963564 w 12187339"/>
                <a:gd name="connsiteY5784" fmla="*/ 6605608 h 6851196"/>
                <a:gd name="connsiteX5785" fmla="*/ 9187653 w 12187339"/>
                <a:gd name="connsiteY5785" fmla="*/ 6605608 h 6851196"/>
                <a:gd name="connsiteX5786" fmla="*/ 9187653 w 12187339"/>
                <a:gd name="connsiteY5786" fmla="*/ 6843733 h 6851196"/>
                <a:gd name="connsiteX5787" fmla="*/ 8963564 w 12187339"/>
                <a:gd name="connsiteY5787" fmla="*/ 6843733 h 6851196"/>
                <a:gd name="connsiteX5788" fmla="*/ 9194055 w 12187339"/>
                <a:gd name="connsiteY5788" fmla="*/ 6605608 h 6851196"/>
                <a:gd name="connsiteX5789" fmla="*/ 9418144 w 12187339"/>
                <a:gd name="connsiteY5789" fmla="*/ 6605608 h 6851196"/>
                <a:gd name="connsiteX5790" fmla="*/ 9418144 w 12187339"/>
                <a:gd name="connsiteY5790" fmla="*/ 6843733 h 6851196"/>
                <a:gd name="connsiteX5791" fmla="*/ 9194055 w 12187339"/>
                <a:gd name="connsiteY5791" fmla="*/ 6843733 h 6851196"/>
                <a:gd name="connsiteX5792" fmla="*/ 9424546 w 12187339"/>
                <a:gd name="connsiteY5792" fmla="*/ 6605608 h 6851196"/>
                <a:gd name="connsiteX5793" fmla="*/ 9648635 w 12187339"/>
                <a:gd name="connsiteY5793" fmla="*/ 6605608 h 6851196"/>
                <a:gd name="connsiteX5794" fmla="*/ 9648635 w 12187339"/>
                <a:gd name="connsiteY5794" fmla="*/ 6843733 h 6851196"/>
                <a:gd name="connsiteX5795" fmla="*/ 9424546 w 12187339"/>
                <a:gd name="connsiteY5795" fmla="*/ 6843733 h 6851196"/>
                <a:gd name="connsiteX5796" fmla="*/ 9655037 w 12187339"/>
                <a:gd name="connsiteY5796" fmla="*/ 6605608 h 6851196"/>
                <a:gd name="connsiteX5797" fmla="*/ 9877591 w 12187339"/>
                <a:gd name="connsiteY5797" fmla="*/ 6605608 h 6851196"/>
                <a:gd name="connsiteX5798" fmla="*/ 9877591 w 12187339"/>
                <a:gd name="connsiteY5798" fmla="*/ 6843733 h 6851196"/>
                <a:gd name="connsiteX5799" fmla="*/ 9655037 w 12187339"/>
                <a:gd name="connsiteY5799" fmla="*/ 6843733 h 6851196"/>
                <a:gd name="connsiteX5800" fmla="*/ 9883993 w 12187339"/>
                <a:gd name="connsiteY5800" fmla="*/ 6605608 h 6851196"/>
                <a:gd name="connsiteX5801" fmla="*/ 10108082 w 12187339"/>
                <a:gd name="connsiteY5801" fmla="*/ 6605608 h 6851196"/>
                <a:gd name="connsiteX5802" fmla="*/ 10108082 w 12187339"/>
                <a:gd name="connsiteY5802" fmla="*/ 6843733 h 6851196"/>
                <a:gd name="connsiteX5803" fmla="*/ 9883993 w 12187339"/>
                <a:gd name="connsiteY5803" fmla="*/ 6843733 h 6851196"/>
                <a:gd name="connsiteX5804" fmla="*/ 10114484 w 12187339"/>
                <a:gd name="connsiteY5804" fmla="*/ 6605608 h 6851196"/>
                <a:gd name="connsiteX5805" fmla="*/ 10338573 w 12187339"/>
                <a:gd name="connsiteY5805" fmla="*/ 6605608 h 6851196"/>
                <a:gd name="connsiteX5806" fmla="*/ 10338573 w 12187339"/>
                <a:gd name="connsiteY5806" fmla="*/ 6843733 h 6851196"/>
                <a:gd name="connsiteX5807" fmla="*/ 10114484 w 12187339"/>
                <a:gd name="connsiteY5807" fmla="*/ 6843733 h 6851196"/>
                <a:gd name="connsiteX5808" fmla="*/ 10344975 w 12187339"/>
                <a:gd name="connsiteY5808" fmla="*/ 6605608 h 6851196"/>
                <a:gd name="connsiteX5809" fmla="*/ 10569064 w 12187339"/>
                <a:gd name="connsiteY5809" fmla="*/ 6605608 h 6851196"/>
                <a:gd name="connsiteX5810" fmla="*/ 10569064 w 12187339"/>
                <a:gd name="connsiteY5810" fmla="*/ 6843733 h 6851196"/>
                <a:gd name="connsiteX5811" fmla="*/ 10344975 w 12187339"/>
                <a:gd name="connsiteY5811" fmla="*/ 6843733 h 6851196"/>
                <a:gd name="connsiteX5812" fmla="*/ 10575466 w 12187339"/>
                <a:gd name="connsiteY5812" fmla="*/ 6605608 h 6851196"/>
                <a:gd name="connsiteX5813" fmla="*/ 10798016 w 12187339"/>
                <a:gd name="connsiteY5813" fmla="*/ 6605608 h 6851196"/>
                <a:gd name="connsiteX5814" fmla="*/ 10798016 w 12187339"/>
                <a:gd name="connsiteY5814" fmla="*/ 6843733 h 6851196"/>
                <a:gd name="connsiteX5815" fmla="*/ 10575466 w 12187339"/>
                <a:gd name="connsiteY5815" fmla="*/ 6843733 h 6851196"/>
                <a:gd name="connsiteX5816" fmla="*/ 10804419 w 12187339"/>
                <a:gd name="connsiteY5816" fmla="*/ 6605608 h 6851196"/>
                <a:gd name="connsiteX5817" fmla="*/ 11028507 w 12187339"/>
                <a:gd name="connsiteY5817" fmla="*/ 6605608 h 6851196"/>
                <a:gd name="connsiteX5818" fmla="*/ 11028507 w 12187339"/>
                <a:gd name="connsiteY5818" fmla="*/ 6843733 h 6851196"/>
                <a:gd name="connsiteX5819" fmla="*/ 10804419 w 12187339"/>
                <a:gd name="connsiteY5819" fmla="*/ 6843733 h 6851196"/>
                <a:gd name="connsiteX5820" fmla="*/ 11034910 w 12187339"/>
                <a:gd name="connsiteY5820" fmla="*/ 6605608 h 6851196"/>
                <a:gd name="connsiteX5821" fmla="*/ 11258998 w 12187339"/>
                <a:gd name="connsiteY5821" fmla="*/ 6605608 h 6851196"/>
                <a:gd name="connsiteX5822" fmla="*/ 11258998 w 12187339"/>
                <a:gd name="connsiteY5822" fmla="*/ 6843733 h 6851196"/>
                <a:gd name="connsiteX5823" fmla="*/ 11034910 w 12187339"/>
                <a:gd name="connsiteY5823" fmla="*/ 6843733 h 6851196"/>
                <a:gd name="connsiteX5824" fmla="*/ 11265401 w 12187339"/>
                <a:gd name="connsiteY5824" fmla="*/ 6605608 h 6851196"/>
                <a:gd name="connsiteX5825" fmla="*/ 11487954 w 12187339"/>
                <a:gd name="connsiteY5825" fmla="*/ 6605608 h 6851196"/>
                <a:gd name="connsiteX5826" fmla="*/ 11487954 w 12187339"/>
                <a:gd name="connsiteY5826" fmla="*/ 6843733 h 6851196"/>
                <a:gd name="connsiteX5827" fmla="*/ 11265401 w 12187339"/>
                <a:gd name="connsiteY5827" fmla="*/ 6843733 h 6851196"/>
                <a:gd name="connsiteX5828" fmla="*/ 11494357 w 12187339"/>
                <a:gd name="connsiteY5828" fmla="*/ 6605608 h 6851196"/>
                <a:gd name="connsiteX5829" fmla="*/ 11718445 w 12187339"/>
                <a:gd name="connsiteY5829" fmla="*/ 6605608 h 6851196"/>
                <a:gd name="connsiteX5830" fmla="*/ 11718445 w 12187339"/>
                <a:gd name="connsiteY5830" fmla="*/ 6843733 h 6851196"/>
                <a:gd name="connsiteX5831" fmla="*/ 11494101 w 12187339"/>
                <a:gd name="connsiteY5831" fmla="*/ 6843733 h 6851196"/>
                <a:gd name="connsiteX5832" fmla="*/ 11724848 w 12187339"/>
                <a:gd name="connsiteY5832" fmla="*/ 6605608 h 6851196"/>
                <a:gd name="connsiteX5833" fmla="*/ 11948936 w 12187339"/>
                <a:gd name="connsiteY5833" fmla="*/ 6605608 h 6851196"/>
                <a:gd name="connsiteX5834" fmla="*/ 11948936 w 12187339"/>
                <a:gd name="connsiteY5834" fmla="*/ 6843733 h 6851196"/>
                <a:gd name="connsiteX5835" fmla="*/ 11724592 w 12187339"/>
                <a:gd name="connsiteY5835" fmla="*/ 6843733 h 6851196"/>
                <a:gd name="connsiteX5836" fmla="*/ 11955339 w 12187339"/>
                <a:gd name="connsiteY5836" fmla="*/ 6605608 h 6851196"/>
                <a:gd name="connsiteX5837" fmla="*/ 12179427 w 12187339"/>
                <a:gd name="connsiteY5837" fmla="*/ 6605608 h 6851196"/>
                <a:gd name="connsiteX5838" fmla="*/ 12179427 w 12187339"/>
                <a:gd name="connsiteY5838" fmla="*/ 6843733 h 6851196"/>
                <a:gd name="connsiteX5839" fmla="*/ 11955083 w 12187339"/>
                <a:gd name="connsiteY5839" fmla="*/ 6843733 h 6851196"/>
                <a:gd name="connsiteX5840" fmla="*/ 11955339 w 12187339"/>
                <a:gd name="connsiteY5840" fmla="*/ 6598805 h 6851196"/>
                <a:gd name="connsiteX5841" fmla="*/ 11955339 w 12187339"/>
                <a:gd name="connsiteY5841" fmla="*/ 6360680 h 6851196"/>
                <a:gd name="connsiteX5842" fmla="*/ 12179427 w 12187339"/>
                <a:gd name="connsiteY5842" fmla="*/ 6360680 h 6851196"/>
                <a:gd name="connsiteX5843" fmla="*/ 12179427 w 12187339"/>
                <a:gd name="connsiteY5843" fmla="*/ 6598805 h 6851196"/>
                <a:gd name="connsiteX5844" fmla="*/ 11955339 w 12187339"/>
                <a:gd name="connsiteY5844" fmla="*/ 6353876 h 6851196"/>
                <a:gd name="connsiteX5845" fmla="*/ 11955339 w 12187339"/>
                <a:gd name="connsiteY5845" fmla="*/ 6117384 h 6851196"/>
                <a:gd name="connsiteX5846" fmla="*/ 12179427 w 12187339"/>
                <a:gd name="connsiteY5846" fmla="*/ 6117384 h 6851196"/>
                <a:gd name="connsiteX5847" fmla="*/ 12179427 w 12187339"/>
                <a:gd name="connsiteY5847" fmla="*/ 6353876 h 6851196"/>
                <a:gd name="connsiteX5848" fmla="*/ 11955339 w 12187339"/>
                <a:gd name="connsiteY5848" fmla="*/ 6110580 h 6851196"/>
                <a:gd name="connsiteX5849" fmla="*/ 11955339 w 12187339"/>
                <a:gd name="connsiteY5849" fmla="*/ 5872455 h 6851196"/>
                <a:gd name="connsiteX5850" fmla="*/ 12179427 w 12187339"/>
                <a:gd name="connsiteY5850" fmla="*/ 5872455 h 6851196"/>
                <a:gd name="connsiteX5851" fmla="*/ 12179427 w 12187339"/>
                <a:gd name="connsiteY5851" fmla="*/ 6110580 h 6851196"/>
                <a:gd name="connsiteX5852" fmla="*/ 11955339 w 12187339"/>
                <a:gd name="connsiteY5852" fmla="*/ 5865652 h 6851196"/>
                <a:gd name="connsiteX5853" fmla="*/ 11955339 w 12187339"/>
                <a:gd name="connsiteY5853" fmla="*/ 5627527 h 6851196"/>
                <a:gd name="connsiteX5854" fmla="*/ 12179427 w 12187339"/>
                <a:gd name="connsiteY5854" fmla="*/ 5627527 h 6851196"/>
                <a:gd name="connsiteX5855" fmla="*/ 12179427 w 12187339"/>
                <a:gd name="connsiteY5855" fmla="*/ 5865652 h 6851196"/>
                <a:gd name="connsiteX5856" fmla="*/ 11955339 w 12187339"/>
                <a:gd name="connsiteY5856" fmla="*/ 5620723 h 6851196"/>
                <a:gd name="connsiteX5857" fmla="*/ 11955339 w 12187339"/>
                <a:gd name="connsiteY5857" fmla="*/ 5382598 h 6851196"/>
                <a:gd name="connsiteX5858" fmla="*/ 12179427 w 12187339"/>
                <a:gd name="connsiteY5858" fmla="*/ 5382598 h 6851196"/>
                <a:gd name="connsiteX5859" fmla="*/ 12179427 w 12187339"/>
                <a:gd name="connsiteY5859" fmla="*/ 5620723 h 6851196"/>
                <a:gd name="connsiteX5860" fmla="*/ 11955339 w 12187339"/>
                <a:gd name="connsiteY5860" fmla="*/ 5375795 h 6851196"/>
                <a:gd name="connsiteX5861" fmla="*/ 11955339 w 12187339"/>
                <a:gd name="connsiteY5861" fmla="*/ 5139302 h 6851196"/>
                <a:gd name="connsiteX5862" fmla="*/ 12179427 w 12187339"/>
                <a:gd name="connsiteY5862" fmla="*/ 5139302 h 6851196"/>
                <a:gd name="connsiteX5863" fmla="*/ 12179427 w 12187339"/>
                <a:gd name="connsiteY5863" fmla="*/ 5375795 h 6851196"/>
                <a:gd name="connsiteX5864" fmla="*/ 11955339 w 12187339"/>
                <a:gd name="connsiteY5864" fmla="*/ 5132499 h 6851196"/>
                <a:gd name="connsiteX5865" fmla="*/ 11955339 w 12187339"/>
                <a:gd name="connsiteY5865" fmla="*/ 4894374 h 6851196"/>
                <a:gd name="connsiteX5866" fmla="*/ 12179427 w 12187339"/>
                <a:gd name="connsiteY5866" fmla="*/ 4894374 h 6851196"/>
                <a:gd name="connsiteX5867" fmla="*/ 12179427 w 12187339"/>
                <a:gd name="connsiteY5867" fmla="*/ 5132090 h 6851196"/>
                <a:gd name="connsiteX5868" fmla="*/ 11955339 w 12187339"/>
                <a:gd name="connsiteY5868" fmla="*/ 4887570 h 6851196"/>
                <a:gd name="connsiteX5869" fmla="*/ 11955339 w 12187339"/>
                <a:gd name="connsiteY5869" fmla="*/ 4649445 h 6851196"/>
                <a:gd name="connsiteX5870" fmla="*/ 12179427 w 12187339"/>
                <a:gd name="connsiteY5870" fmla="*/ 4649445 h 6851196"/>
                <a:gd name="connsiteX5871" fmla="*/ 12179427 w 12187339"/>
                <a:gd name="connsiteY5871" fmla="*/ 4887162 h 6851196"/>
                <a:gd name="connsiteX5872" fmla="*/ 11955339 w 12187339"/>
                <a:gd name="connsiteY5872" fmla="*/ 4642642 h 6851196"/>
                <a:gd name="connsiteX5873" fmla="*/ 11955339 w 12187339"/>
                <a:gd name="connsiteY5873" fmla="*/ 4406149 h 6851196"/>
                <a:gd name="connsiteX5874" fmla="*/ 12179427 w 12187339"/>
                <a:gd name="connsiteY5874" fmla="*/ 4406149 h 6851196"/>
                <a:gd name="connsiteX5875" fmla="*/ 12179427 w 12187339"/>
                <a:gd name="connsiteY5875" fmla="*/ 4642233 h 6851196"/>
                <a:gd name="connsiteX5876" fmla="*/ 11955339 w 12187339"/>
                <a:gd name="connsiteY5876" fmla="*/ 4399346 h 6851196"/>
                <a:gd name="connsiteX5877" fmla="*/ 11955339 w 12187339"/>
                <a:gd name="connsiteY5877" fmla="*/ 4161221 h 6851196"/>
                <a:gd name="connsiteX5878" fmla="*/ 12179427 w 12187339"/>
                <a:gd name="connsiteY5878" fmla="*/ 4161221 h 6851196"/>
                <a:gd name="connsiteX5879" fmla="*/ 12179427 w 12187339"/>
                <a:gd name="connsiteY5879" fmla="*/ 4399346 h 6851196"/>
                <a:gd name="connsiteX5880" fmla="*/ 11955339 w 12187339"/>
                <a:gd name="connsiteY5880" fmla="*/ 4154417 h 6851196"/>
                <a:gd name="connsiteX5881" fmla="*/ 11955339 w 12187339"/>
                <a:gd name="connsiteY5881" fmla="*/ 3916292 h 6851196"/>
                <a:gd name="connsiteX5882" fmla="*/ 12179427 w 12187339"/>
                <a:gd name="connsiteY5882" fmla="*/ 3916292 h 6851196"/>
                <a:gd name="connsiteX5883" fmla="*/ 12179427 w 12187339"/>
                <a:gd name="connsiteY5883" fmla="*/ 4154417 h 6851196"/>
                <a:gd name="connsiteX5884" fmla="*/ 11955339 w 12187339"/>
                <a:gd name="connsiteY5884" fmla="*/ 3909489 h 6851196"/>
                <a:gd name="connsiteX5885" fmla="*/ 11955339 w 12187339"/>
                <a:gd name="connsiteY5885" fmla="*/ 3671364 h 6851196"/>
                <a:gd name="connsiteX5886" fmla="*/ 12179427 w 12187339"/>
                <a:gd name="connsiteY5886" fmla="*/ 3671364 h 6851196"/>
                <a:gd name="connsiteX5887" fmla="*/ 12179427 w 12187339"/>
                <a:gd name="connsiteY5887" fmla="*/ 3909489 h 6851196"/>
                <a:gd name="connsiteX5888" fmla="*/ 11955339 w 12187339"/>
                <a:gd name="connsiteY5888" fmla="*/ 3664560 h 6851196"/>
                <a:gd name="connsiteX5889" fmla="*/ 11955339 w 12187339"/>
                <a:gd name="connsiteY5889" fmla="*/ 3428068 h 6851196"/>
                <a:gd name="connsiteX5890" fmla="*/ 12179427 w 12187339"/>
                <a:gd name="connsiteY5890" fmla="*/ 3428068 h 6851196"/>
                <a:gd name="connsiteX5891" fmla="*/ 12179427 w 12187339"/>
                <a:gd name="connsiteY5891" fmla="*/ 3664560 h 6851196"/>
                <a:gd name="connsiteX5892" fmla="*/ 11955339 w 12187339"/>
                <a:gd name="connsiteY5892" fmla="*/ 3421264 h 6851196"/>
                <a:gd name="connsiteX5893" fmla="*/ 11955339 w 12187339"/>
                <a:gd name="connsiteY5893" fmla="*/ 3183139 h 6851196"/>
                <a:gd name="connsiteX5894" fmla="*/ 12179427 w 12187339"/>
                <a:gd name="connsiteY5894" fmla="*/ 3183139 h 6851196"/>
                <a:gd name="connsiteX5895" fmla="*/ 12179427 w 12187339"/>
                <a:gd name="connsiteY5895" fmla="*/ 3421264 h 6851196"/>
                <a:gd name="connsiteX5896" fmla="*/ 11955339 w 12187339"/>
                <a:gd name="connsiteY5896" fmla="*/ 3176336 h 6851196"/>
                <a:gd name="connsiteX5897" fmla="*/ 11955339 w 12187339"/>
                <a:gd name="connsiteY5897" fmla="*/ 2938211 h 6851196"/>
                <a:gd name="connsiteX5898" fmla="*/ 12179427 w 12187339"/>
                <a:gd name="connsiteY5898" fmla="*/ 2938211 h 6851196"/>
                <a:gd name="connsiteX5899" fmla="*/ 12179427 w 12187339"/>
                <a:gd name="connsiteY5899" fmla="*/ 3176336 h 6851196"/>
                <a:gd name="connsiteX5900" fmla="*/ 11955339 w 12187339"/>
                <a:gd name="connsiteY5900" fmla="*/ 2931407 h 6851196"/>
                <a:gd name="connsiteX5901" fmla="*/ 11955339 w 12187339"/>
                <a:gd name="connsiteY5901" fmla="*/ 2693282 h 6851196"/>
                <a:gd name="connsiteX5902" fmla="*/ 12179427 w 12187339"/>
                <a:gd name="connsiteY5902" fmla="*/ 2693282 h 6851196"/>
                <a:gd name="connsiteX5903" fmla="*/ 12179427 w 12187339"/>
                <a:gd name="connsiteY5903" fmla="*/ 2931407 h 6851196"/>
                <a:gd name="connsiteX5904" fmla="*/ 11955339 w 12187339"/>
                <a:gd name="connsiteY5904" fmla="*/ 2686479 h 6851196"/>
                <a:gd name="connsiteX5905" fmla="*/ 11955339 w 12187339"/>
                <a:gd name="connsiteY5905" fmla="*/ 2449986 h 6851196"/>
                <a:gd name="connsiteX5906" fmla="*/ 12179427 w 12187339"/>
                <a:gd name="connsiteY5906" fmla="*/ 2449986 h 6851196"/>
                <a:gd name="connsiteX5907" fmla="*/ 12179427 w 12187339"/>
                <a:gd name="connsiteY5907" fmla="*/ 2686479 h 6851196"/>
                <a:gd name="connsiteX5908" fmla="*/ 11955339 w 12187339"/>
                <a:gd name="connsiteY5908" fmla="*/ 2443183 h 6851196"/>
                <a:gd name="connsiteX5909" fmla="*/ 11955339 w 12187339"/>
                <a:gd name="connsiteY5909" fmla="*/ 2205058 h 6851196"/>
                <a:gd name="connsiteX5910" fmla="*/ 12179427 w 12187339"/>
                <a:gd name="connsiteY5910" fmla="*/ 2205058 h 6851196"/>
                <a:gd name="connsiteX5911" fmla="*/ 12179427 w 12187339"/>
                <a:gd name="connsiteY5911" fmla="*/ 2443183 h 6851196"/>
                <a:gd name="connsiteX5912" fmla="*/ 11955339 w 12187339"/>
                <a:gd name="connsiteY5912" fmla="*/ 2198254 h 6851196"/>
                <a:gd name="connsiteX5913" fmla="*/ 11955339 w 12187339"/>
                <a:gd name="connsiteY5913" fmla="*/ 1960129 h 6851196"/>
                <a:gd name="connsiteX5914" fmla="*/ 12179427 w 12187339"/>
                <a:gd name="connsiteY5914" fmla="*/ 1960129 h 6851196"/>
                <a:gd name="connsiteX5915" fmla="*/ 12179427 w 12187339"/>
                <a:gd name="connsiteY5915" fmla="*/ 2198254 h 6851196"/>
                <a:gd name="connsiteX5916" fmla="*/ 11955339 w 12187339"/>
                <a:gd name="connsiteY5916" fmla="*/ 1953326 h 6851196"/>
                <a:gd name="connsiteX5917" fmla="*/ 11955339 w 12187339"/>
                <a:gd name="connsiteY5917" fmla="*/ 1716697 h 6851196"/>
                <a:gd name="connsiteX5918" fmla="*/ 12179427 w 12187339"/>
                <a:gd name="connsiteY5918" fmla="*/ 1716697 h 6851196"/>
                <a:gd name="connsiteX5919" fmla="*/ 12179427 w 12187339"/>
                <a:gd name="connsiteY5919" fmla="*/ 1953189 h 6851196"/>
                <a:gd name="connsiteX5920" fmla="*/ 11955339 w 12187339"/>
                <a:gd name="connsiteY5920" fmla="*/ 1710030 h 6851196"/>
                <a:gd name="connsiteX5921" fmla="*/ 11955339 w 12187339"/>
                <a:gd name="connsiteY5921" fmla="*/ 1471769 h 6851196"/>
                <a:gd name="connsiteX5922" fmla="*/ 12179427 w 12187339"/>
                <a:gd name="connsiteY5922" fmla="*/ 1471769 h 6851196"/>
                <a:gd name="connsiteX5923" fmla="*/ 12179427 w 12187339"/>
                <a:gd name="connsiteY5923" fmla="*/ 1709894 h 6851196"/>
                <a:gd name="connsiteX5924" fmla="*/ 11955339 w 12187339"/>
                <a:gd name="connsiteY5924" fmla="*/ 1465101 h 6851196"/>
                <a:gd name="connsiteX5925" fmla="*/ 11955339 w 12187339"/>
                <a:gd name="connsiteY5925" fmla="*/ 1226840 h 6851196"/>
                <a:gd name="connsiteX5926" fmla="*/ 12179427 w 12187339"/>
                <a:gd name="connsiteY5926" fmla="*/ 1226840 h 6851196"/>
                <a:gd name="connsiteX5927" fmla="*/ 12179427 w 12187339"/>
                <a:gd name="connsiteY5927" fmla="*/ 1464965 h 6851196"/>
                <a:gd name="connsiteX5928" fmla="*/ 11955339 w 12187339"/>
                <a:gd name="connsiteY5928" fmla="*/ 1220173 h 6851196"/>
                <a:gd name="connsiteX5929" fmla="*/ 11955339 w 12187339"/>
                <a:gd name="connsiteY5929" fmla="*/ 981911 h 6851196"/>
                <a:gd name="connsiteX5930" fmla="*/ 12179427 w 12187339"/>
                <a:gd name="connsiteY5930" fmla="*/ 981911 h 6851196"/>
                <a:gd name="connsiteX5931" fmla="*/ 12179427 w 12187339"/>
                <a:gd name="connsiteY5931" fmla="*/ 1220036 h 6851196"/>
                <a:gd name="connsiteX5932" fmla="*/ 11955339 w 12187339"/>
                <a:gd name="connsiteY5932" fmla="*/ 975244 h 6851196"/>
                <a:gd name="connsiteX5933" fmla="*/ 11955339 w 12187339"/>
                <a:gd name="connsiteY5933" fmla="*/ 738752 h 6851196"/>
                <a:gd name="connsiteX5934" fmla="*/ 12179427 w 12187339"/>
                <a:gd name="connsiteY5934" fmla="*/ 738752 h 6851196"/>
                <a:gd name="connsiteX5935" fmla="*/ 12179427 w 12187339"/>
                <a:gd name="connsiteY5935" fmla="*/ 975244 h 6851196"/>
                <a:gd name="connsiteX5936" fmla="*/ 11955339 w 12187339"/>
                <a:gd name="connsiteY5936" fmla="*/ 731948 h 6851196"/>
                <a:gd name="connsiteX5937" fmla="*/ 11955339 w 12187339"/>
                <a:gd name="connsiteY5937" fmla="*/ 493823 h 6851196"/>
                <a:gd name="connsiteX5938" fmla="*/ 12179427 w 12187339"/>
                <a:gd name="connsiteY5938" fmla="*/ 493823 h 6851196"/>
                <a:gd name="connsiteX5939" fmla="*/ 12179427 w 12187339"/>
                <a:gd name="connsiteY5939" fmla="*/ 731948 h 6851196"/>
                <a:gd name="connsiteX5940" fmla="*/ 11955339 w 12187339"/>
                <a:gd name="connsiteY5940" fmla="*/ 487020 h 6851196"/>
                <a:gd name="connsiteX5941" fmla="*/ 11955339 w 12187339"/>
                <a:gd name="connsiteY5941" fmla="*/ 248895 h 6851196"/>
                <a:gd name="connsiteX5942" fmla="*/ 12179427 w 12187339"/>
                <a:gd name="connsiteY5942" fmla="*/ 248895 h 6851196"/>
                <a:gd name="connsiteX5943" fmla="*/ 12179427 w 12187339"/>
                <a:gd name="connsiteY5943" fmla="*/ 487020 h 6851196"/>
                <a:gd name="connsiteX5944" fmla="*/ 11955339 w 12187339"/>
                <a:gd name="connsiteY5944" fmla="*/ 242091 h 6851196"/>
                <a:gd name="connsiteX5945" fmla="*/ 11955339 w 12187339"/>
                <a:gd name="connsiteY5945" fmla="*/ 5599 h 6851196"/>
                <a:gd name="connsiteX5946" fmla="*/ 12179427 w 12187339"/>
                <a:gd name="connsiteY5946" fmla="*/ 5599 h 6851196"/>
                <a:gd name="connsiteX5947" fmla="*/ 12179427 w 12187339"/>
                <a:gd name="connsiteY5947" fmla="*/ 242091 h 685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</a:cxnLst>
              <a:rect l="l" t="t" r="r" b="b"/>
              <a:pathLst>
                <a:path w="12187339" h="6851196">
                  <a:moveTo>
                    <a:pt x="12185574" y="2197"/>
                  </a:moveTo>
                  <a:lnTo>
                    <a:pt x="12182372" y="2197"/>
                  </a:lnTo>
                  <a:lnTo>
                    <a:pt x="12182372" y="-1205"/>
                  </a:lnTo>
                  <a:lnTo>
                    <a:pt x="1435" y="-1205"/>
                  </a:lnTo>
                  <a:lnTo>
                    <a:pt x="1435" y="2197"/>
                  </a:lnTo>
                  <a:lnTo>
                    <a:pt x="-1766" y="2197"/>
                  </a:lnTo>
                  <a:lnTo>
                    <a:pt x="-1766" y="6846590"/>
                  </a:lnTo>
                  <a:lnTo>
                    <a:pt x="1435" y="6846590"/>
                  </a:lnTo>
                  <a:lnTo>
                    <a:pt x="1435" y="6849992"/>
                  </a:lnTo>
                  <a:lnTo>
                    <a:pt x="12182372" y="6849992"/>
                  </a:lnTo>
                  <a:lnTo>
                    <a:pt x="12182372" y="6846590"/>
                  </a:lnTo>
                  <a:lnTo>
                    <a:pt x="12185574" y="6846590"/>
                  </a:lnTo>
                  <a:close/>
                  <a:moveTo>
                    <a:pt x="8728209" y="3421264"/>
                  </a:moveTo>
                  <a:lnTo>
                    <a:pt x="8504120" y="3421264"/>
                  </a:lnTo>
                  <a:lnTo>
                    <a:pt x="8504120" y="3183139"/>
                  </a:lnTo>
                  <a:lnTo>
                    <a:pt x="8728209" y="3183139"/>
                  </a:lnTo>
                  <a:close/>
                  <a:moveTo>
                    <a:pt x="8734611" y="3183139"/>
                  </a:moveTo>
                  <a:lnTo>
                    <a:pt x="8957162" y="3183139"/>
                  </a:lnTo>
                  <a:lnTo>
                    <a:pt x="8957162" y="3421264"/>
                  </a:lnTo>
                  <a:lnTo>
                    <a:pt x="8734611" y="3421264"/>
                  </a:lnTo>
                  <a:close/>
                  <a:moveTo>
                    <a:pt x="8497718" y="3421264"/>
                  </a:moveTo>
                  <a:lnTo>
                    <a:pt x="8273629" y="3421264"/>
                  </a:lnTo>
                  <a:lnTo>
                    <a:pt x="8273629" y="3183139"/>
                  </a:lnTo>
                  <a:lnTo>
                    <a:pt x="8497718" y="3183139"/>
                  </a:lnTo>
                  <a:close/>
                  <a:moveTo>
                    <a:pt x="8267227" y="3421264"/>
                  </a:moveTo>
                  <a:lnTo>
                    <a:pt x="8044420" y="3421264"/>
                  </a:lnTo>
                  <a:lnTo>
                    <a:pt x="8044420" y="3183139"/>
                  </a:lnTo>
                  <a:lnTo>
                    <a:pt x="8267227" y="3183139"/>
                  </a:lnTo>
                  <a:close/>
                  <a:moveTo>
                    <a:pt x="8038274" y="3421264"/>
                  </a:moveTo>
                  <a:lnTo>
                    <a:pt x="7814186" y="3421264"/>
                  </a:lnTo>
                  <a:lnTo>
                    <a:pt x="7814186" y="3183139"/>
                  </a:lnTo>
                  <a:lnTo>
                    <a:pt x="8038274" y="3183139"/>
                  </a:lnTo>
                  <a:close/>
                  <a:moveTo>
                    <a:pt x="7807783" y="3421264"/>
                  </a:moveTo>
                  <a:lnTo>
                    <a:pt x="7583695" y="3421264"/>
                  </a:lnTo>
                  <a:lnTo>
                    <a:pt x="7583695" y="3183139"/>
                  </a:lnTo>
                  <a:lnTo>
                    <a:pt x="7807783" y="3183139"/>
                  </a:lnTo>
                  <a:close/>
                  <a:moveTo>
                    <a:pt x="7577292" y="3421264"/>
                  </a:moveTo>
                  <a:lnTo>
                    <a:pt x="7353204" y="3421264"/>
                  </a:lnTo>
                  <a:lnTo>
                    <a:pt x="7353204" y="3183139"/>
                  </a:lnTo>
                  <a:lnTo>
                    <a:pt x="7577292" y="3183139"/>
                  </a:lnTo>
                  <a:close/>
                  <a:moveTo>
                    <a:pt x="7346801" y="3421264"/>
                  </a:moveTo>
                  <a:lnTo>
                    <a:pt x="7124247" y="3421264"/>
                  </a:lnTo>
                  <a:lnTo>
                    <a:pt x="7124247" y="3183139"/>
                  </a:lnTo>
                  <a:lnTo>
                    <a:pt x="7346801" y="3183139"/>
                  </a:lnTo>
                  <a:close/>
                  <a:moveTo>
                    <a:pt x="7117845" y="3421264"/>
                  </a:moveTo>
                  <a:lnTo>
                    <a:pt x="6893756" y="3421264"/>
                  </a:lnTo>
                  <a:lnTo>
                    <a:pt x="6893756" y="3183139"/>
                  </a:lnTo>
                  <a:lnTo>
                    <a:pt x="7117845" y="3183139"/>
                  </a:lnTo>
                  <a:close/>
                  <a:moveTo>
                    <a:pt x="6887354" y="3421264"/>
                  </a:moveTo>
                  <a:lnTo>
                    <a:pt x="6663265" y="3421264"/>
                  </a:lnTo>
                  <a:lnTo>
                    <a:pt x="6663265" y="3183139"/>
                  </a:lnTo>
                  <a:lnTo>
                    <a:pt x="6887354" y="3183139"/>
                  </a:lnTo>
                  <a:close/>
                  <a:moveTo>
                    <a:pt x="6656863" y="3421264"/>
                  </a:moveTo>
                  <a:lnTo>
                    <a:pt x="6446349" y="3421264"/>
                  </a:lnTo>
                  <a:lnTo>
                    <a:pt x="6446349" y="3183139"/>
                  </a:lnTo>
                  <a:lnTo>
                    <a:pt x="6656863" y="3183139"/>
                  </a:lnTo>
                  <a:close/>
                  <a:moveTo>
                    <a:pt x="6439946" y="3421264"/>
                  </a:moveTo>
                  <a:lnTo>
                    <a:pt x="6217136" y="3421264"/>
                  </a:lnTo>
                  <a:lnTo>
                    <a:pt x="6217136" y="3183139"/>
                  </a:lnTo>
                  <a:lnTo>
                    <a:pt x="6439690" y="3183139"/>
                  </a:lnTo>
                  <a:close/>
                  <a:moveTo>
                    <a:pt x="6210990" y="3421264"/>
                  </a:moveTo>
                  <a:lnTo>
                    <a:pt x="5986902" y="3421264"/>
                  </a:lnTo>
                  <a:lnTo>
                    <a:pt x="5986902" y="3183139"/>
                  </a:lnTo>
                  <a:lnTo>
                    <a:pt x="6210990" y="3183139"/>
                  </a:lnTo>
                  <a:close/>
                  <a:moveTo>
                    <a:pt x="5980499" y="3421264"/>
                  </a:moveTo>
                  <a:lnTo>
                    <a:pt x="5756411" y="3421264"/>
                  </a:lnTo>
                  <a:lnTo>
                    <a:pt x="5756411" y="3183139"/>
                  </a:lnTo>
                  <a:lnTo>
                    <a:pt x="5980499" y="3183139"/>
                  </a:lnTo>
                  <a:close/>
                  <a:moveTo>
                    <a:pt x="5750008" y="3421264"/>
                  </a:moveTo>
                  <a:lnTo>
                    <a:pt x="5526945" y="3421264"/>
                  </a:lnTo>
                  <a:lnTo>
                    <a:pt x="5526945" y="3183139"/>
                  </a:lnTo>
                  <a:lnTo>
                    <a:pt x="5749495" y="3183139"/>
                  </a:lnTo>
                  <a:close/>
                  <a:moveTo>
                    <a:pt x="5521055" y="3421264"/>
                  </a:moveTo>
                  <a:lnTo>
                    <a:pt x="5296454" y="3421264"/>
                  </a:lnTo>
                  <a:lnTo>
                    <a:pt x="5296454" y="3183139"/>
                  </a:lnTo>
                  <a:lnTo>
                    <a:pt x="5520542" y="3183139"/>
                  </a:lnTo>
                  <a:close/>
                  <a:moveTo>
                    <a:pt x="5290564" y="3421264"/>
                  </a:moveTo>
                  <a:lnTo>
                    <a:pt x="5065963" y="3421264"/>
                  </a:lnTo>
                  <a:lnTo>
                    <a:pt x="5065963" y="3183139"/>
                  </a:lnTo>
                  <a:lnTo>
                    <a:pt x="5290051" y="3183139"/>
                  </a:lnTo>
                  <a:close/>
                  <a:moveTo>
                    <a:pt x="5060073" y="3421264"/>
                  </a:moveTo>
                  <a:lnTo>
                    <a:pt x="4835472" y="3421264"/>
                  </a:lnTo>
                  <a:lnTo>
                    <a:pt x="4835472" y="3183139"/>
                  </a:lnTo>
                  <a:lnTo>
                    <a:pt x="5059560" y="3183139"/>
                  </a:lnTo>
                  <a:close/>
                  <a:moveTo>
                    <a:pt x="4829582" y="3421264"/>
                  </a:moveTo>
                  <a:lnTo>
                    <a:pt x="4607029" y="3421264"/>
                  </a:lnTo>
                  <a:lnTo>
                    <a:pt x="4607029" y="3183139"/>
                  </a:lnTo>
                  <a:lnTo>
                    <a:pt x="4829582" y="3183139"/>
                  </a:lnTo>
                  <a:close/>
                  <a:moveTo>
                    <a:pt x="4600626" y="3421264"/>
                  </a:moveTo>
                  <a:lnTo>
                    <a:pt x="4376538" y="3421264"/>
                  </a:lnTo>
                  <a:lnTo>
                    <a:pt x="4376538" y="3183139"/>
                  </a:lnTo>
                  <a:lnTo>
                    <a:pt x="4600626" y="3183139"/>
                  </a:lnTo>
                  <a:close/>
                  <a:moveTo>
                    <a:pt x="4370135" y="3421264"/>
                  </a:moveTo>
                  <a:lnTo>
                    <a:pt x="4146047" y="3421264"/>
                  </a:lnTo>
                  <a:lnTo>
                    <a:pt x="4146047" y="3183139"/>
                  </a:lnTo>
                  <a:lnTo>
                    <a:pt x="4370135" y="3183139"/>
                  </a:lnTo>
                  <a:close/>
                  <a:moveTo>
                    <a:pt x="4139644" y="3421264"/>
                  </a:moveTo>
                  <a:lnTo>
                    <a:pt x="3917094" y="3421264"/>
                  </a:lnTo>
                  <a:lnTo>
                    <a:pt x="3917094" y="3183139"/>
                  </a:lnTo>
                  <a:lnTo>
                    <a:pt x="4139644" y="3183139"/>
                  </a:lnTo>
                  <a:close/>
                  <a:moveTo>
                    <a:pt x="3910691" y="3421264"/>
                  </a:moveTo>
                  <a:lnTo>
                    <a:pt x="3686603" y="3421264"/>
                  </a:lnTo>
                  <a:lnTo>
                    <a:pt x="3686603" y="3183139"/>
                  </a:lnTo>
                  <a:lnTo>
                    <a:pt x="3910691" y="3183139"/>
                  </a:lnTo>
                  <a:close/>
                  <a:moveTo>
                    <a:pt x="3680200" y="3421264"/>
                  </a:moveTo>
                  <a:lnTo>
                    <a:pt x="3456112" y="3421264"/>
                  </a:lnTo>
                  <a:lnTo>
                    <a:pt x="3456112" y="3183139"/>
                  </a:lnTo>
                  <a:lnTo>
                    <a:pt x="3680200" y="3183139"/>
                  </a:lnTo>
                  <a:close/>
                  <a:moveTo>
                    <a:pt x="3449709" y="3421264"/>
                  </a:moveTo>
                  <a:lnTo>
                    <a:pt x="3225621" y="3421264"/>
                  </a:lnTo>
                  <a:lnTo>
                    <a:pt x="3225621" y="3183139"/>
                  </a:lnTo>
                  <a:lnTo>
                    <a:pt x="3449709" y="3183139"/>
                  </a:lnTo>
                  <a:close/>
                  <a:moveTo>
                    <a:pt x="3219218" y="3421264"/>
                  </a:moveTo>
                  <a:lnTo>
                    <a:pt x="2996666" y="3421264"/>
                  </a:lnTo>
                  <a:lnTo>
                    <a:pt x="2996666" y="3183139"/>
                  </a:lnTo>
                  <a:lnTo>
                    <a:pt x="3219218" y="3183139"/>
                  </a:lnTo>
                  <a:close/>
                  <a:moveTo>
                    <a:pt x="3219218" y="3428068"/>
                  </a:moveTo>
                  <a:lnTo>
                    <a:pt x="3219218" y="3664560"/>
                  </a:lnTo>
                  <a:lnTo>
                    <a:pt x="2996666" y="3664560"/>
                  </a:lnTo>
                  <a:lnTo>
                    <a:pt x="2996666" y="3428068"/>
                  </a:lnTo>
                  <a:close/>
                  <a:moveTo>
                    <a:pt x="3225621" y="3428068"/>
                  </a:moveTo>
                  <a:lnTo>
                    <a:pt x="3449709" y="3428068"/>
                  </a:lnTo>
                  <a:lnTo>
                    <a:pt x="3449709" y="3664560"/>
                  </a:lnTo>
                  <a:lnTo>
                    <a:pt x="3225621" y="3664560"/>
                  </a:lnTo>
                  <a:close/>
                  <a:moveTo>
                    <a:pt x="3456112" y="3428068"/>
                  </a:moveTo>
                  <a:lnTo>
                    <a:pt x="3680200" y="3428068"/>
                  </a:lnTo>
                  <a:lnTo>
                    <a:pt x="3680200" y="3664560"/>
                  </a:lnTo>
                  <a:lnTo>
                    <a:pt x="3456112" y="3664560"/>
                  </a:lnTo>
                  <a:close/>
                  <a:moveTo>
                    <a:pt x="3686603" y="3428068"/>
                  </a:moveTo>
                  <a:lnTo>
                    <a:pt x="3910691" y="3428068"/>
                  </a:lnTo>
                  <a:lnTo>
                    <a:pt x="3910691" y="3664560"/>
                  </a:lnTo>
                  <a:lnTo>
                    <a:pt x="3686603" y="3664560"/>
                  </a:lnTo>
                  <a:close/>
                  <a:moveTo>
                    <a:pt x="3917094" y="3428068"/>
                  </a:moveTo>
                  <a:lnTo>
                    <a:pt x="4139644" y="3428068"/>
                  </a:lnTo>
                  <a:lnTo>
                    <a:pt x="4139644" y="3664560"/>
                  </a:lnTo>
                  <a:lnTo>
                    <a:pt x="3917094" y="3664560"/>
                  </a:lnTo>
                  <a:close/>
                  <a:moveTo>
                    <a:pt x="4146047" y="3428068"/>
                  </a:moveTo>
                  <a:lnTo>
                    <a:pt x="4370135" y="3428068"/>
                  </a:lnTo>
                  <a:lnTo>
                    <a:pt x="4370135" y="3664560"/>
                  </a:lnTo>
                  <a:lnTo>
                    <a:pt x="4146047" y="3664560"/>
                  </a:lnTo>
                  <a:close/>
                  <a:moveTo>
                    <a:pt x="4376538" y="3428068"/>
                  </a:moveTo>
                  <a:lnTo>
                    <a:pt x="4600626" y="3428068"/>
                  </a:lnTo>
                  <a:lnTo>
                    <a:pt x="4600626" y="3664560"/>
                  </a:lnTo>
                  <a:lnTo>
                    <a:pt x="4376538" y="3664560"/>
                  </a:lnTo>
                  <a:close/>
                  <a:moveTo>
                    <a:pt x="4607029" y="3428068"/>
                  </a:moveTo>
                  <a:lnTo>
                    <a:pt x="4829582" y="3428068"/>
                  </a:lnTo>
                  <a:lnTo>
                    <a:pt x="4829582" y="3664560"/>
                  </a:lnTo>
                  <a:lnTo>
                    <a:pt x="4607029" y="3664560"/>
                  </a:lnTo>
                  <a:close/>
                  <a:moveTo>
                    <a:pt x="4835985" y="3428068"/>
                  </a:moveTo>
                  <a:lnTo>
                    <a:pt x="5060073" y="3428068"/>
                  </a:lnTo>
                  <a:lnTo>
                    <a:pt x="5060073" y="3664560"/>
                  </a:lnTo>
                  <a:lnTo>
                    <a:pt x="4835472" y="3664560"/>
                  </a:lnTo>
                  <a:close/>
                  <a:moveTo>
                    <a:pt x="5066476" y="3428068"/>
                  </a:moveTo>
                  <a:lnTo>
                    <a:pt x="5290564" y="3428068"/>
                  </a:lnTo>
                  <a:lnTo>
                    <a:pt x="5290564" y="3664560"/>
                  </a:lnTo>
                  <a:lnTo>
                    <a:pt x="5065963" y="3664560"/>
                  </a:lnTo>
                  <a:close/>
                  <a:moveTo>
                    <a:pt x="5296967" y="3428068"/>
                  </a:moveTo>
                  <a:lnTo>
                    <a:pt x="5521055" y="3428068"/>
                  </a:lnTo>
                  <a:lnTo>
                    <a:pt x="5521055" y="3664560"/>
                  </a:lnTo>
                  <a:lnTo>
                    <a:pt x="5296454" y="3664560"/>
                  </a:lnTo>
                  <a:close/>
                  <a:moveTo>
                    <a:pt x="5527458" y="3428068"/>
                  </a:moveTo>
                  <a:lnTo>
                    <a:pt x="5750008" y="3428068"/>
                  </a:lnTo>
                  <a:lnTo>
                    <a:pt x="5750008" y="3664560"/>
                  </a:lnTo>
                  <a:lnTo>
                    <a:pt x="5526945" y="3664560"/>
                  </a:lnTo>
                  <a:close/>
                  <a:moveTo>
                    <a:pt x="5756411" y="3428068"/>
                  </a:moveTo>
                  <a:lnTo>
                    <a:pt x="5980499" y="3428068"/>
                  </a:lnTo>
                  <a:lnTo>
                    <a:pt x="5980499" y="3664560"/>
                  </a:lnTo>
                  <a:lnTo>
                    <a:pt x="5756411" y="3664560"/>
                  </a:lnTo>
                  <a:close/>
                  <a:moveTo>
                    <a:pt x="5986902" y="3428068"/>
                  </a:moveTo>
                  <a:lnTo>
                    <a:pt x="6210990" y="3428068"/>
                  </a:lnTo>
                  <a:lnTo>
                    <a:pt x="6210990" y="3664560"/>
                  </a:lnTo>
                  <a:lnTo>
                    <a:pt x="5986902" y="3664560"/>
                  </a:lnTo>
                  <a:close/>
                  <a:moveTo>
                    <a:pt x="6217393" y="3428068"/>
                  </a:moveTo>
                  <a:lnTo>
                    <a:pt x="6439946" y="3428068"/>
                  </a:lnTo>
                  <a:lnTo>
                    <a:pt x="6439946" y="3664560"/>
                  </a:lnTo>
                  <a:lnTo>
                    <a:pt x="6217136" y="3664560"/>
                  </a:lnTo>
                  <a:close/>
                  <a:moveTo>
                    <a:pt x="6446349" y="3428068"/>
                  </a:moveTo>
                  <a:lnTo>
                    <a:pt x="6656863" y="3428068"/>
                  </a:lnTo>
                  <a:lnTo>
                    <a:pt x="6656863" y="3664560"/>
                  </a:lnTo>
                  <a:lnTo>
                    <a:pt x="6446349" y="3664560"/>
                  </a:lnTo>
                  <a:close/>
                  <a:moveTo>
                    <a:pt x="6663265" y="3428068"/>
                  </a:moveTo>
                  <a:lnTo>
                    <a:pt x="6887354" y="3428068"/>
                  </a:lnTo>
                  <a:lnTo>
                    <a:pt x="6887354" y="3664560"/>
                  </a:lnTo>
                  <a:lnTo>
                    <a:pt x="6663265" y="3664560"/>
                  </a:lnTo>
                  <a:close/>
                  <a:moveTo>
                    <a:pt x="6893756" y="3428068"/>
                  </a:moveTo>
                  <a:lnTo>
                    <a:pt x="7117845" y="3428068"/>
                  </a:lnTo>
                  <a:lnTo>
                    <a:pt x="7117845" y="3664560"/>
                  </a:lnTo>
                  <a:lnTo>
                    <a:pt x="6893756" y="3664560"/>
                  </a:lnTo>
                  <a:close/>
                  <a:moveTo>
                    <a:pt x="7124247" y="3428068"/>
                  </a:moveTo>
                  <a:lnTo>
                    <a:pt x="7346801" y="3428068"/>
                  </a:lnTo>
                  <a:lnTo>
                    <a:pt x="7346801" y="3664560"/>
                  </a:lnTo>
                  <a:lnTo>
                    <a:pt x="7124247" y="3664560"/>
                  </a:lnTo>
                  <a:close/>
                  <a:moveTo>
                    <a:pt x="7353204" y="3428068"/>
                  </a:moveTo>
                  <a:lnTo>
                    <a:pt x="7577292" y="3428068"/>
                  </a:lnTo>
                  <a:lnTo>
                    <a:pt x="7577292" y="3664560"/>
                  </a:lnTo>
                  <a:lnTo>
                    <a:pt x="7353204" y="3664560"/>
                  </a:lnTo>
                  <a:close/>
                  <a:moveTo>
                    <a:pt x="7583695" y="3428068"/>
                  </a:moveTo>
                  <a:lnTo>
                    <a:pt x="7807783" y="3428068"/>
                  </a:lnTo>
                  <a:lnTo>
                    <a:pt x="7807783" y="3664560"/>
                  </a:lnTo>
                  <a:lnTo>
                    <a:pt x="7583695" y="3664560"/>
                  </a:lnTo>
                  <a:close/>
                  <a:moveTo>
                    <a:pt x="7814186" y="3428068"/>
                  </a:moveTo>
                  <a:lnTo>
                    <a:pt x="8038274" y="3428068"/>
                  </a:lnTo>
                  <a:lnTo>
                    <a:pt x="8038274" y="3664560"/>
                  </a:lnTo>
                  <a:lnTo>
                    <a:pt x="7814186" y="3664560"/>
                  </a:lnTo>
                  <a:close/>
                  <a:moveTo>
                    <a:pt x="8044677" y="3428068"/>
                  </a:moveTo>
                  <a:lnTo>
                    <a:pt x="8267227" y="3428068"/>
                  </a:lnTo>
                  <a:lnTo>
                    <a:pt x="8267227" y="3664560"/>
                  </a:lnTo>
                  <a:lnTo>
                    <a:pt x="8044420" y="3664560"/>
                  </a:lnTo>
                  <a:close/>
                  <a:moveTo>
                    <a:pt x="8273629" y="3428068"/>
                  </a:moveTo>
                  <a:lnTo>
                    <a:pt x="8497718" y="3428068"/>
                  </a:lnTo>
                  <a:lnTo>
                    <a:pt x="8497718" y="3664560"/>
                  </a:lnTo>
                  <a:lnTo>
                    <a:pt x="8273629" y="3664560"/>
                  </a:lnTo>
                  <a:close/>
                  <a:moveTo>
                    <a:pt x="8504120" y="3428068"/>
                  </a:moveTo>
                  <a:lnTo>
                    <a:pt x="8728209" y="3428068"/>
                  </a:lnTo>
                  <a:lnTo>
                    <a:pt x="8728209" y="3664560"/>
                  </a:lnTo>
                  <a:lnTo>
                    <a:pt x="8504120" y="3664560"/>
                  </a:lnTo>
                  <a:close/>
                  <a:moveTo>
                    <a:pt x="8734611" y="3428068"/>
                  </a:moveTo>
                  <a:lnTo>
                    <a:pt x="8957162" y="3428068"/>
                  </a:lnTo>
                  <a:lnTo>
                    <a:pt x="8957162" y="3664560"/>
                  </a:lnTo>
                  <a:lnTo>
                    <a:pt x="8734611" y="3664560"/>
                  </a:lnTo>
                  <a:close/>
                  <a:moveTo>
                    <a:pt x="8963564" y="3428068"/>
                  </a:moveTo>
                  <a:lnTo>
                    <a:pt x="9187653" y="3428068"/>
                  </a:lnTo>
                  <a:lnTo>
                    <a:pt x="9187653" y="3664560"/>
                  </a:lnTo>
                  <a:lnTo>
                    <a:pt x="8963564" y="3664560"/>
                  </a:lnTo>
                  <a:close/>
                  <a:moveTo>
                    <a:pt x="8963564" y="3421264"/>
                  </a:moveTo>
                  <a:lnTo>
                    <a:pt x="8963564" y="3183139"/>
                  </a:lnTo>
                  <a:lnTo>
                    <a:pt x="9187653" y="3183139"/>
                  </a:lnTo>
                  <a:lnTo>
                    <a:pt x="9187653" y="3421264"/>
                  </a:lnTo>
                  <a:close/>
                  <a:moveTo>
                    <a:pt x="8963564" y="3176336"/>
                  </a:moveTo>
                  <a:lnTo>
                    <a:pt x="8963564" y="2938211"/>
                  </a:lnTo>
                  <a:lnTo>
                    <a:pt x="9187653" y="2938211"/>
                  </a:lnTo>
                  <a:lnTo>
                    <a:pt x="9187653" y="3176336"/>
                  </a:lnTo>
                  <a:close/>
                  <a:moveTo>
                    <a:pt x="8957162" y="3176336"/>
                  </a:moveTo>
                  <a:lnTo>
                    <a:pt x="8734611" y="3176336"/>
                  </a:lnTo>
                  <a:lnTo>
                    <a:pt x="8734611" y="2938211"/>
                  </a:lnTo>
                  <a:lnTo>
                    <a:pt x="8957162" y="2938211"/>
                  </a:lnTo>
                  <a:close/>
                  <a:moveTo>
                    <a:pt x="8728209" y="3176336"/>
                  </a:moveTo>
                  <a:lnTo>
                    <a:pt x="8504120" y="3176336"/>
                  </a:lnTo>
                  <a:lnTo>
                    <a:pt x="8504120" y="2938211"/>
                  </a:lnTo>
                  <a:lnTo>
                    <a:pt x="8728209" y="2938211"/>
                  </a:lnTo>
                  <a:close/>
                  <a:moveTo>
                    <a:pt x="8497718" y="3176336"/>
                  </a:moveTo>
                  <a:lnTo>
                    <a:pt x="8273629" y="3176336"/>
                  </a:lnTo>
                  <a:lnTo>
                    <a:pt x="8273629" y="2938211"/>
                  </a:lnTo>
                  <a:lnTo>
                    <a:pt x="8497718" y="2938211"/>
                  </a:lnTo>
                  <a:close/>
                  <a:moveTo>
                    <a:pt x="8267227" y="3176336"/>
                  </a:moveTo>
                  <a:lnTo>
                    <a:pt x="8044420" y="3176336"/>
                  </a:lnTo>
                  <a:lnTo>
                    <a:pt x="8044420" y="2938211"/>
                  </a:lnTo>
                  <a:lnTo>
                    <a:pt x="8267227" y="2938211"/>
                  </a:lnTo>
                  <a:close/>
                  <a:moveTo>
                    <a:pt x="8038274" y="3176336"/>
                  </a:moveTo>
                  <a:lnTo>
                    <a:pt x="7814186" y="3176336"/>
                  </a:lnTo>
                  <a:lnTo>
                    <a:pt x="7814186" y="2938211"/>
                  </a:lnTo>
                  <a:lnTo>
                    <a:pt x="8038274" y="2938211"/>
                  </a:lnTo>
                  <a:close/>
                  <a:moveTo>
                    <a:pt x="7807783" y="3176336"/>
                  </a:moveTo>
                  <a:lnTo>
                    <a:pt x="7583695" y="3176336"/>
                  </a:lnTo>
                  <a:lnTo>
                    <a:pt x="7583695" y="2938211"/>
                  </a:lnTo>
                  <a:lnTo>
                    <a:pt x="7807783" y="2938211"/>
                  </a:lnTo>
                  <a:close/>
                  <a:moveTo>
                    <a:pt x="7577292" y="3176336"/>
                  </a:moveTo>
                  <a:lnTo>
                    <a:pt x="7353204" y="3176336"/>
                  </a:lnTo>
                  <a:lnTo>
                    <a:pt x="7353204" y="2938211"/>
                  </a:lnTo>
                  <a:lnTo>
                    <a:pt x="7577292" y="2938211"/>
                  </a:lnTo>
                  <a:close/>
                  <a:moveTo>
                    <a:pt x="7346801" y="3176336"/>
                  </a:moveTo>
                  <a:lnTo>
                    <a:pt x="7124247" y="3176336"/>
                  </a:lnTo>
                  <a:lnTo>
                    <a:pt x="7124247" y="2938211"/>
                  </a:lnTo>
                  <a:lnTo>
                    <a:pt x="7346801" y="2938211"/>
                  </a:lnTo>
                  <a:close/>
                  <a:moveTo>
                    <a:pt x="7117845" y="3176336"/>
                  </a:moveTo>
                  <a:lnTo>
                    <a:pt x="6893756" y="3176336"/>
                  </a:lnTo>
                  <a:lnTo>
                    <a:pt x="6893756" y="2938211"/>
                  </a:lnTo>
                  <a:lnTo>
                    <a:pt x="7117845" y="2938211"/>
                  </a:lnTo>
                  <a:close/>
                  <a:moveTo>
                    <a:pt x="6887354" y="3176336"/>
                  </a:moveTo>
                  <a:lnTo>
                    <a:pt x="6663265" y="3176336"/>
                  </a:lnTo>
                  <a:lnTo>
                    <a:pt x="6663265" y="2938211"/>
                  </a:lnTo>
                  <a:lnTo>
                    <a:pt x="6887354" y="2938211"/>
                  </a:lnTo>
                  <a:close/>
                  <a:moveTo>
                    <a:pt x="6656863" y="3176336"/>
                  </a:moveTo>
                  <a:lnTo>
                    <a:pt x="6446349" y="3176336"/>
                  </a:lnTo>
                  <a:lnTo>
                    <a:pt x="6446349" y="2938211"/>
                  </a:lnTo>
                  <a:lnTo>
                    <a:pt x="6656863" y="2938211"/>
                  </a:lnTo>
                  <a:close/>
                  <a:moveTo>
                    <a:pt x="6439946" y="3176336"/>
                  </a:moveTo>
                  <a:lnTo>
                    <a:pt x="6217136" y="3176336"/>
                  </a:lnTo>
                  <a:lnTo>
                    <a:pt x="6217136" y="2938211"/>
                  </a:lnTo>
                  <a:lnTo>
                    <a:pt x="6439690" y="2938211"/>
                  </a:lnTo>
                  <a:close/>
                  <a:moveTo>
                    <a:pt x="6210990" y="3176336"/>
                  </a:moveTo>
                  <a:lnTo>
                    <a:pt x="5986902" y="3176336"/>
                  </a:lnTo>
                  <a:lnTo>
                    <a:pt x="5986902" y="2938211"/>
                  </a:lnTo>
                  <a:lnTo>
                    <a:pt x="6210990" y="2938211"/>
                  </a:lnTo>
                  <a:close/>
                  <a:moveTo>
                    <a:pt x="5980499" y="3176336"/>
                  </a:moveTo>
                  <a:lnTo>
                    <a:pt x="5756411" y="3176336"/>
                  </a:lnTo>
                  <a:lnTo>
                    <a:pt x="5756411" y="2938211"/>
                  </a:lnTo>
                  <a:lnTo>
                    <a:pt x="5980499" y="2938211"/>
                  </a:lnTo>
                  <a:close/>
                  <a:moveTo>
                    <a:pt x="5750008" y="3176336"/>
                  </a:moveTo>
                  <a:lnTo>
                    <a:pt x="5526945" y="3176336"/>
                  </a:lnTo>
                  <a:lnTo>
                    <a:pt x="5526945" y="2938211"/>
                  </a:lnTo>
                  <a:lnTo>
                    <a:pt x="5749495" y="2938211"/>
                  </a:lnTo>
                  <a:close/>
                  <a:moveTo>
                    <a:pt x="5521055" y="3176336"/>
                  </a:moveTo>
                  <a:lnTo>
                    <a:pt x="5296454" y="3176336"/>
                  </a:lnTo>
                  <a:lnTo>
                    <a:pt x="5296454" y="2938211"/>
                  </a:lnTo>
                  <a:lnTo>
                    <a:pt x="5520542" y="2938211"/>
                  </a:lnTo>
                  <a:close/>
                  <a:moveTo>
                    <a:pt x="5290564" y="3176336"/>
                  </a:moveTo>
                  <a:lnTo>
                    <a:pt x="5065963" y="3176336"/>
                  </a:lnTo>
                  <a:lnTo>
                    <a:pt x="5065963" y="2938211"/>
                  </a:lnTo>
                  <a:lnTo>
                    <a:pt x="5290051" y="2938211"/>
                  </a:lnTo>
                  <a:close/>
                  <a:moveTo>
                    <a:pt x="5060073" y="3176336"/>
                  </a:moveTo>
                  <a:lnTo>
                    <a:pt x="4835472" y="3176336"/>
                  </a:lnTo>
                  <a:lnTo>
                    <a:pt x="4835472" y="2938211"/>
                  </a:lnTo>
                  <a:lnTo>
                    <a:pt x="5059560" y="2938211"/>
                  </a:lnTo>
                  <a:close/>
                  <a:moveTo>
                    <a:pt x="4829582" y="3176336"/>
                  </a:moveTo>
                  <a:lnTo>
                    <a:pt x="4607029" y="3176336"/>
                  </a:lnTo>
                  <a:lnTo>
                    <a:pt x="4607029" y="2938211"/>
                  </a:lnTo>
                  <a:lnTo>
                    <a:pt x="4829582" y="2938211"/>
                  </a:lnTo>
                  <a:close/>
                  <a:moveTo>
                    <a:pt x="4600626" y="3176336"/>
                  </a:moveTo>
                  <a:lnTo>
                    <a:pt x="4376538" y="3176336"/>
                  </a:lnTo>
                  <a:lnTo>
                    <a:pt x="4376538" y="2938211"/>
                  </a:lnTo>
                  <a:lnTo>
                    <a:pt x="4600626" y="2938211"/>
                  </a:lnTo>
                  <a:close/>
                  <a:moveTo>
                    <a:pt x="4370135" y="3176336"/>
                  </a:moveTo>
                  <a:lnTo>
                    <a:pt x="4146047" y="3176336"/>
                  </a:lnTo>
                  <a:lnTo>
                    <a:pt x="4146047" y="2938211"/>
                  </a:lnTo>
                  <a:lnTo>
                    <a:pt x="4370135" y="2938211"/>
                  </a:lnTo>
                  <a:close/>
                  <a:moveTo>
                    <a:pt x="4139644" y="3176336"/>
                  </a:moveTo>
                  <a:lnTo>
                    <a:pt x="3917094" y="3176336"/>
                  </a:lnTo>
                  <a:lnTo>
                    <a:pt x="3917094" y="2938211"/>
                  </a:lnTo>
                  <a:lnTo>
                    <a:pt x="4139644" y="2938211"/>
                  </a:lnTo>
                  <a:close/>
                  <a:moveTo>
                    <a:pt x="3910691" y="3176336"/>
                  </a:moveTo>
                  <a:lnTo>
                    <a:pt x="3686603" y="3176336"/>
                  </a:lnTo>
                  <a:lnTo>
                    <a:pt x="3686603" y="2938211"/>
                  </a:lnTo>
                  <a:lnTo>
                    <a:pt x="3910691" y="2938211"/>
                  </a:lnTo>
                  <a:close/>
                  <a:moveTo>
                    <a:pt x="3680200" y="3176336"/>
                  </a:moveTo>
                  <a:lnTo>
                    <a:pt x="3456112" y="3176336"/>
                  </a:lnTo>
                  <a:lnTo>
                    <a:pt x="3456112" y="2938211"/>
                  </a:lnTo>
                  <a:lnTo>
                    <a:pt x="3680200" y="2938211"/>
                  </a:lnTo>
                  <a:close/>
                  <a:moveTo>
                    <a:pt x="3449709" y="3176336"/>
                  </a:moveTo>
                  <a:lnTo>
                    <a:pt x="3225621" y="3176336"/>
                  </a:lnTo>
                  <a:lnTo>
                    <a:pt x="3225621" y="2938211"/>
                  </a:lnTo>
                  <a:lnTo>
                    <a:pt x="3449709" y="2938211"/>
                  </a:lnTo>
                  <a:close/>
                  <a:moveTo>
                    <a:pt x="3219218" y="3176336"/>
                  </a:moveTo>
                  <a:lnTo>
                    <a:pt x="2996666" y="3176336"/>
                  </a:lnTo>
                  <a:lnTo>
                    <a:pt x="2996666" y="2938211"/>
                  </a:lnTo>
                  <a:lnTo>
                    <a:pt x="3219218" y="2938211"/>
                  </a:lnTo>
                  <a:close/>
                  <a:moveTo>
                    <a:pt x="2990264" y="3176336"/>
                  </a:moveTo>
                  <a:lnTo>
                    <a:pt x="2766175" y="3176336"/>
                  </a:lnTo>
                  <a:lnTo>
                    <a:pt x="2766175" y="2938211"/>
                  </a:lnTo>
                  <a:lnTo>
                    <a:pt x="2990264" y="2938211"/>
                  </a:lnTo>
                  <a:close/>
                  <a:moveTo>
                    <a:pt x="2990264" y="3183139"/>
                  </a:moveTo>
                  <a:lnTo>
                    <a:pt x="2990264" y="3421264"/>
                  </a:lnTo>
                  <a:lnTo>
                    <a:pt x="2766175" y="3421264"/>
                  </a:lnTo>
                  <a:lnTo>
                    <a:pt x="2766175" y="3183139"/>
                  </a:lnTo>
                  <a:close/>
                  <a:moveTo>
                    <a:pt x="2990264" y="3428068"/>
                  </a:moveTo>
                  <a:lnTo>
                    <a:pt x="2990264" y="3664560"/>
                  </a:lnTo>
                  <a:lnTo>
                    <a:pt x="2766175" y="3664560"/>
                  </a:lnTo>
                  <a:lnTo>
                    <a:pt x="2766175" y="3428068"/>
                  </a:lnTo>
                  <a:close/>
                  <a:moveTo>
                    <a:pt x="2990264" y="3671364"/>
                  </a:moveTo>
                  <a:lnTo>
                    <a:pt x="2990264" y="3909489"/>
                  </a:lnTo>
                  <a:lnTo>
                    <a:pt x="2766175" y="3909489"/>
                  </a:lnTo>
                  <a:lnTo>
                    <a:pt x="2766175" y="3671364"/>
                  </a:lnTo>
                  <a:close/>
                  <a:moveTo>
                    <a:pt x="2996666" y="3671364"/>
                  </a:moveTo>
                  <a:lnTo>
                    <a:pt x="3219218" y="3671364"/>
                  </a:lnTo>
                  <a:lnTo>
                    <a:pt x="3219218" y="3909489"/>
                  </a:lnTo>
                  <a:lnTo>
                    <a:pt x="2996666" y="3909489"/>
                  </a:lnTo>
                  <a:close/>
                  <a:moveTo>
                    <a:pt x="3225621" y="3671364"/>
                  </a:moveTo>
                  <a:lnTo>
                    <a:pt x="3449709" y="3671364"/>
                  </a:lnTo>
                  <a:lnTo>
                    <a:pt x="3449709" y="3909489"/>
                  </a:lnTo>
                  <a:lnTo>
                    <a:pt x="3225621" y="3909489"/>
                  </a:lnTo>
                  <a:close/>
                  <a:moveTo>
                    <a:pt x="3456112" y="3671364"/>
                  </a:moveTo>
                  <a:lnTo>
                    <a:pt x="3680200" y="3671364"/>
                  </a:lnTo>
                  <a:lnTo>
                    <a:pt x="3680200" y="3909489"/>
                  </a:lnTo>
                  <a:lnTo>
                    <a:pt x="3456112" y="3909489"/>
                  </a:lnTo>
                  <a:close/>
                  <a:moveTo>
                    <a:pt x="3686603" y="3671364"/>
                  </a:moveTo>
                  <a:lnTo>
                    <a:pt x="3910691" y="3671364"/>
                  </a:lnTo>
                  <a:lnTo>
                    <a:pt x="3910691" y="3909489"/>
                  </a:lnTo>
                  <a:lnTo>
                    <a:pt x="3686603" y="3909489"/>
                  </a:lnTo>
                  <a:close/>
                  <a:moveTo>
                    <a:pt x="3917094" y="3671364"/>
                  </a:moveTo>
                  <a:lnTo>
                    <a:pt x="4139644" y="3671364"/>
                  </a:lnTo>
                  <a:lnTo>
                    <a:pt x="4139644" y="3909489"/>
                  </a:lnTo>
                  <a:lnTo>
                    <a:pt x="3917094" y="3909489"/>
                  </a:lnTo>
                  <a:close/>
                  <a:moveTo>
                    <a:pt x="4146047" y="3671364"/>
                  </a:moveTo>
                  <a:lnTo>
                    <a:pt x="4370135" y="3671364"/>
                  </a:lnTo>
                  <a:lnTo>
                    <a:pt x="4370135" y="3909489"/>
                  </a:lnTo>
                  <a:lnTo>
                    <a:pt x="4146047" y="3909489"/>
                  </a:lnTo>
                  <a:close/>
                  <a:moveTo>
                    <a:pt x="4376538" y="3671364"/>
                  </a:moveTo>
                  <a:lnTo>
                    <a:pt x="4600626" y="3671364"/>
                  </a:lnTo>
                  <a:lnTo>
                    <a:pt x="4600626" y="3909489"/>
                  </a:lnTo>
                  <a:lnTo>
                    <a:pt x="4376538" y="3909489"/>
                  </a:lnTo>
                  <a:close/>
                  <a:moveTo>
                    <a:pt x="4607029" y="3671364"/>
                  </a:moveTo>
                  <a:lnTo>
                    <a:pt x="4829582" y="3671364"/>
                  </a:lnTo>
                  <a:lnTo>
                    <a:pt x="4829582" y="3909489"/>
                  </a:lnTo>
                  <a:lnTo>
                    <a:pt x="4607029" y="3909489"/>
                  </a:lnTo>
                  <a:close/>
                  <a:moveTo>
                    <a:pt x="4835985" y="3671364"/>
                  </a:moveTo>
                  <a:lnTo>
                    <a:pt x="5060073" y="3671364"/>
                  </a:lnTo>
                  <a:lnTo>
                    <a:pt x="5060073" y="3909489"/>
                  </a:lnTo>
                  <a:lnTo>
                    <a:pt x="4835472" y="3909489"/>
                  </a:lnTo>
                  <a:close/>
                  <a:moveTo>
                    <a:pt x="5066476" y="3671364"/>
                  </a:moveTo>
                  <a:lnTo>
                    <a:pt x="5290564" y="3671364"/>
                  </a:lnTo>
                  <a:lnTo>
                    <a:pt x="5290564" y="3909489"/>
                  </a:lnTo>
                  <a:lnTo>
                    <a:pt x="5065963" y="3909489"/>
                  </a:lnTo>
                  <a:close/>
                  <a:moveTo>
                    <a:pt x="5296967" y="3671364"/>
                  </a:moveTo>
                  <a:lnTo>
                    <a:pt x="5521055" y="3671364"/>
                  </a:lnTo>
                  <a:lnTo>
                    <a:pt x="5521055" y="3909489"/>
                  </a:lnTo>
                  <a:lnTo>
                    <a:pt x="5296454" y="3909489"/>
                  </a:lnTo>
                  <a:close/>
                  <a:moveTo>
                    <a:pt x="5527458" y="3671364"/>
                  </a:moveTo>
                  <a:lnTo>
                    <a:pt x="5750008" y="3671364"/>
                  </a:lnTo>
                  <a:lnTo>
                    <a:pt x="5750008" y="3909489"/>
                  </a:lnTo>
                  <a:lnTo>
                    <a:pt x="5526945" y="3909489"/>
                  </a:lnTo>
                  <a:close/>
                  <a:moveTo>
                    <a:pt x="5756411" y="3671364"/>
                  </a:moveTo>
                  <a:lnTo>
                    <a:pt x="5980499" y="3671364"/>
                  </a:lnTo>
                  <a:lnTo>
                    <a:pt x="5980499" y="3909489"/>
                  </a:lnTo>
                  <a:lnTo>
                    <a:pt x="5756411" y="3909489"/>
                  </a:lnTo>
                  <a:close/>
                  <a:moveTo>
                    <a:pt x="5986902" y="3671364"/>
                  </a:moveTo>
                  <a:lnTo>
                    <a:pt x="6210990" y="3671364"/>
                  </a:lnTo>
                  <a:lnTo>
                    <a:pt x="6210990" y="3909489"/>
                  </a:lnTo>
                  <a:lnTo>
                    <a:pt x="5986902" y="3909489"/>
                  </a:lnTo>
                  <a:close/>
                  <a:moveTo>
                    <a:pt x="6217393" y="3671364"/>
                  </a:moveTo>
                  <a:lnTo>
                    <a:pt x="6439946" y="3671364"/>
                  </a:lnTo>
                  <a:lnTo>
                    <a:pt x="6439946" y="3909489"/>
                  </a:lnTo>
                  <a:lnTo>
                    <a:pt x="6217136" y="3909489"/>
                  </a:lnTo>
                  <a:close/>
                  <a:moveTo>
                    <a:pt x="6446349" y="3671364"/>
                  </a:moveTo>
                  <a:lnTo>
                    <a:pt x="6656863" y="3671364"/>
                  </a:lnTo>
                  <a:lnTo>
                    <a:pt x="6656863" y="3909489"/>
                  </a:lnTo>
                  <a:lnTo>
                    <a:pt x="6446349" y="3909489"/>
                  </a:lnTo>
                  <a:close/>
                  <a:moveTo>
                    <a:pt x="6663265" y="3671364"/>
                  </a:moveTo>
                  <a:lnTo>
                    <a:pt x="6887354" y="3671364"/>
                  </a:lnTo>
                  <a:lnTo>
                    <a:pt x="6887354" y="3909489"/>
                  </a:lnTo>
                  <a:lnTo>
                    <a:pt x="6663265" y="3909489"/>
                  </a:lnTo>
                  <a:close/>
                  <a:moveTo>
                    <a:pt x="6893756" y="3671364"/>
                  </a:moveTo>
                  <a:lnTo>
                    <a:pt x="7117845" y="3671364"/>
                  </a:lnTo>
                  <a:lnTo>
                    <a:pt x="7117845" y="3909489"/>
                  </a:lnTo>
                  <a:lnTo>
                    <a:pt x="6893756" y="3909489"/>
                  </a:lnTo>
                  <a:close/>
                  <a:moveTo>
                    <a:pt x="7124247" y="3671364"/>
                  </a:moveTo>
                  <a:lnTo>
                    <a:pt x="7346801" y="3671364"/>
                  </a:lnTo>
                  <a:lnTo>
                    <a:pt x="7346801" y="3909489"/>
                  </a:lnTo>
                  <a:lnTo>
                    <a:pt x="7124247" y="3909489"/>
                  </a:lnTo>
                  <a:close/>
                  <a:moveTo>
                    <a:pt x="7353204" y="3671364"/>
                  </a:moveTo>
                  <a:lnTo>
                    <a:pt x="7577292" y="3671364"/>
                  </a:lnTo>
                  <a:lnTo>
                    <a:pt x="7577292" y="3909489"/>
                  </a:lnTo>
                  <a:lnTo>
                    <a:pt x="7353204" y="3909489"/>
                  </a:lnTo>
                  <a:close/>
                  <a:moveTo>
                    <a:pt x="7583695" y="3671364"/>
                  </a:moveTo>
                  <a:lnTo>
                    <a:pt x="7807783" y="3671364"/>
                  </a:lnTo>
                  <a:lnTo>
                    <a:pt x="7807783" y="3909489"/>
                  </a:lnTo>
                  <a:lnTo>
                    <a:pt x="7583695" y="3909489"/>
                  </a:lnTo>
                  <a:close/>
                  <a:moveTo>
                    <a:pt x="7814186" y="3671364"/>
                  </a:moveTo>
                  <a:lnTo>
                    <a:pt x="8038274" y="3671364"/>
                  </a:lnTo>
                  <a:lnTo>
                    <a:pt x="8038274" y="3909489"/>
                  </a:lnTo>
                  <a:lnTo>
                    <a:pt x="7814186" y="3909489"/>
                  </a:lnTo>
                  <a:close/>
                  <a:moveTo>
                    <a:pt x="8044677" y="3671364"/>
                  </a:moveTo>
                  <a:lnTo>
                    <a:pt x="8267227" y="3671364"/>
                  </a:lnTo>
                  <a:lnTo>
                    <a:pt x="8267227" y="3909489"/>
                  </a:lnTo>
                  <a:lnTo>
                    <a:pt x="8044420" y="3909489"/>
                  </a:lnTo>
                  <a:close/>
                  <a:moveTo>
                    <a:pt x="8273629" y="3671364"/>
                  </a:moveTo>
                  <a:lnTo>
                    <a:pt x="8497718" y="3671364"/>
                  </a:lnTo>
                  <a:lnTo>
                    <a:pt x="8497718" y="3909489"/>
                  </a:lnTo>
                  <a:lnTo>
                    <a:pt x="8273629" y="3909489"/>
                  </a:lnTo>
                  <a:close/>
                  <a:moveTo>
                    <a:pt x="8504120" y="3671364"/>
                  </a:moveTo>
                  <a:lnTo>
                    <a:pt x="8728209" y="3671364"/>
                  </a:lnTo>
                  <a:lnTo>
                    <a:pt x="8728209" y="3909489"/>
                  </a:lnTo>
                  <a:lnTo>
                    <a:pt x="8504120" y="3909489"/>
                  </a:lnTo>
                  <a:close/>
                  <a:moveTo>
                    <a:pt x="8734611" y="3671364"/>
                  </a:moveTo>
                  <a:lnTo>
                    <a:pt x="8957162" y="3671364"/>
                  </a:lnTo>
                  <a:lnTo>
                    <a:pt x="8957162" y="3909489"/>
                  </a:lnTo>
                  <a:lnTo>
                    <a:pt x="8734611" y="3909489"/>
                  </a:lnTo>
                  <a:close/>
                  <a:moveTo>
                    <a:pt x="8963564" y="3671364"/>
                  </a:moveTo>
                  <a:lnTo>
                    <a:pt x="9187653" y="3671364"/>
                  </a:lnTo>
                  <a:lnTo>
                    <a:pt x="9187653" y="3909489"/>
                  </a:lnTo>
                  <a:lnTo>
                    <a:pt x="8963564" y="3909489"/>
                  </a:lnTo>
                  <a:close/>
                  <a:moveTo>
                    <a:pt x="9194055" y="3671364"/>
                  </a:moveTo>
                  <a:lnTo>
                    <a:pt x="9418144" y="3671364"/>
                  </a:lnTo>
                  <a:lnTo>
                    <a:pt x="9418144" y="3909489"/>
                  </a:lnTo>
                  <a:lnTo>
                    <a:pt x="9194055" y="3909489"/>
                  </a:lnTo>
                  <a:close/>
                  <a:moveTo>
                    <a:pt x="9194055" y="3664560"/>
                  </a:moveTo>
                  <a:lnTo>
                    <a:pt x="9194055" y="3428068"/>
                  </a:lnTo>
                  <a:lnTo>
                    <a:pt x="9418144" y="3428068"/>
                  </a:lnTo>
                  <a:lnTo>
                    <a:pt x="9418144" y="3664560"/>
                  </a:lnTo>
                  <a:close/>
                  <a:moveTo>
                    <a:pt x="9194055" y="3421264"/>
                  </a:moveTo>
                  <a:lnTo>
                    <a:pt x="9194055" y="3183139"/>
                  </a:lnTo>
                  <a:lnTo>
                    <a:pt x="9418144" y="3183139"/>
                  </a:lnTo>
                  <a:lnTo>
                    <a:pt x="9418144" y="3421264"/>
                  </a:lnTo>
                  <a:close/>
                  <a:moveTo>
                    <a:pt x="9194055" y="3176336"/>
                  </a:moveTo>
                  <a:lnTo>
                    <a:pt x="9194055" y="2938211"/>
                  </a:lnTo>
                  <a:lnTo>
                    <a:pt x="9418144" y="2938211"/>
                  </a:lnTo>
                  <a:lnTo>
                    <a:pt x="9418144" y="3176336"/>
                  </a:lnTo>
                  <a:close/>
                  <a:moveTo>
                    <a:pt x="9194055" y="2931407"/>
                  </a:moveTo>
                  <a:lnTo>
                    <a:pt x="9194055" y="2693282"/>
                  </a:lnTo>
                  <a:lnTo>
                    <a:pt x="9418144" y="2693282"/>
                  </a:lnTo>
                  <a:lnTo>
                    <a:pt x="9418144" y="2931407"/>
                  </a:lnTo>
                  <a:close/>
                  <a:moveTo>
                    <a:pt x="9187653" y="2931407"/>
                  </a:moveTo>
                  <a:lnTo>
                    <a:pt x="8963564" y="2931407"/>
                  </a:lnTo>
                  <a:lnTo>
                    <a:pt x="8963564" y="2693282"/>
                  </a:lnTo>
                  <a:lnTo>
                    <a:pt x="9187653" y="2693282"/>
                  </a:lnTo>
                  <a:close/>
                  <a:moveTo>
                    <a:pt x="8957162" y="2931407"/>
                  </a:moveTo>
                  <a:lnTo>
                    <a:pt x="8734611" y="2931407"/>
                  </a:lnTo>
                  <a:lnTo>
                    <a:pt x="8734611" y="2693282"/>
                  </a:lnTo>
                  <a:lnTo>
                    <a:pt x="8957162" y="2693282"/>
                  </a:lnTo>
                  <a:close/>
                  <a:moveTo>
                    <a:pt x="8728209" y="2931407"/>
                  </a:moveTo>
                  <a:lnTo>
                    <a:pt x="8504120" y="2931407"/>
                  </a:lnTo>
                  <a:lnTo>
                    <a:pt x="8504120" y="2693282"/>
                  </a:lnTo>
                  <a:lnTo>
                    <a:pt x="8728209" y="2693282"/>
                  </a:lnTo>
                  <a:close/>
                  <a:moveTo>
                    <a:pt x="8497718" y="2931407"/>
                  </a:moveTo>
                  <a:lnTo>
                    <a:pt x="8273629" y="2931407"/>
                  </a:lnTo>
                  <a:lnTo>
                    <a:pt x="8273629" y="2693282"/>
                  </a:lnTo>
                  <a:lnTo>
                    <a:pt x="8497718" y="2693282"/>
                  </a:lnTo>
                  <a:close/>
                  <a:moveTo>
                    <a:pt x="8267227" y="2931407"/>
                  </a:moveTo>
                  <a:lnTo>
                    <a:pt x="8044420" y="2931407"/>
                  </a:lnTo>
                  <a:lnTo>
                    <a:pt x="8044420" y="2693282"/>
                  </a:lnTo>
                  <a:lnTo>
                    <a:pt x="8267227" y="2693282"/>
                  </a:lnTo>
                  <a:close/>
                  <a:moveTo>
                    <a:pt x="8038274" y="2931407"/>
                  </a:moveTo>
                  <a:lnTo>
                    <a:pt x="7814186" y="2931407"/>
                  </a:lnTo>
                  <a:lnTo>
                    <a:pt x="7814186" y="2693282"/>
                  </a:lnTo>
                  <a:lnTo>
                    <a:pt x="8038274" y="2693282"/>
                  </a:lnTo>
                  <a:close/>
                  <a:moveTo>
                    <a:pt x="7807783" y="2931407"/>
                  </a:moveTo>
                  <a:lnTo>
                    <a:pt x="7583695" y="2931407"/>
                  </a:lnTo>
                  <a:lnTo>
                    <a:pt x="7583695" y="2693282"/>
                  </a:lnTo>
                  <a:lnTo>
                    <a:pt x="7807783" y="2693282"/>
                  </a:lnTo>
                  <a:close/>
                  <a:moveTo>
                    <a:pt x="7577292" y="2931407"/>
                  </a:moveTo>
                  <a:lnTo>
                    <a:pt x="7353204" y="2931407"/>
                  </a:lnTo>
                  <a:lnTo>
                    <a:pt x="7353204" y="2693282"/>
                  </a:lnTo>
                  <a:lnTo>
                    <a:pt x="7577292" y="2693282"/>
                  </a:lnTo>
                  <a:close/>
                  <a:moveTo>
                    <a:pt x="7346801" y="2931407"/>
                  </a:moveTo>
                  <a:lnTo>
                    <a:pt x="7124247" y="2931407"/>
                  </a:lnTo>
                  <a:lnTo>
                    <a:pt x="7124247" y="2693282"/>
                  </a:lnTo>
                  <a:lnTo>
                    <a:pt x="7346801" y="2693282"/>
                  </a:lnTo>
                  <a:close/>
                  <a:moveTo>
                    <a:pt x="7117845" y="2931407"/>
                  </a:moveTo>
                  <a:lnTo>
                    <a:pt x="6893756" y="2931407"/>
                  </a:lnTo>
                  <a:lnTo>
                    <a:pt x="6893756" y="2693282"/>
                  </a:lnTo>
                  <a:lnTo>
                    <a:pt x="7117845" y="2693282"/>
                  </a:lnTo>
                  <a:close/>
                  <a:moveTo>
                    <a:pt x="6887354" y="2931407"/>
                  </a:moveTo>
                  <a:lnTo>
                    <a:pt x="6663265" y="2931407"/>
                  </a:lnTo>
                  <a:lnTo>
                    <a:pt x="6663265" y="2693282"/>
                  </a:lnTo>
                  <a:lnTo>
                    <a:pt x="6887354" y="2693282"/>
                  </a:lnTo>
                  <a:close/>
                  <a:moveTo>
                    <a:pt x="6656863" y="2931407"/>
                  </a:moveTo>
                  <a:lnTo>
                    <a:pt x="6446349" y="2931407"/>
                  </a:lnTo>
                  <a:lnTo>
                    <a:pt x="6446349" y="2693282"/>
                  </a:lnTo>
                  <a:lnTo>
                    <a:pt x="6656863" y="2693282"/>
                  </a:lnTo>
                  <a:close/>
                  <a:moveTo>
                    <a:pt x="6439946" y="2931407"/>
                  </a:moveTo>
                  <a:lnTo>
                    <a:pt x="6217136" y="2931407"/>
                  </a:lnTo>
                  <a:lnTo>
                    <a:pt x="6217136" y="2693282"/>
                  </a:lnTo>
                  <a:lnTo>
                    <a:pt x="6439690" y="2693282"/>
                  </a:lnTo>
                  <a:close/>
                  <a:moveTo>
                    <a:pt x="6210990" y="2931407"/>
                  </a:moveTo>
                  <a:lnTo>
                    <a:pt x="5986902" y="2931407"/>
                  </a:lnTo>
                  <a:lnTo>
                    <a:pt x="5986902" y="2693282"/>
                  </a:lnTo>
                  <a:lnTo>
                    <a:pt x="6210990" y="2693282"/>
                  </a:lnTo>
                  <a:close/>
                  <a:moveTo>
                    <a:pt x="5980499" y="2931407"/>
                  </a:moveTo>
                  <a:lnTo>
                    <a:pt x="5756411" y="2931407"/>
                  </a:lnTo>
                  <a:lnTo>
                    <a:pt x="5756411" y="2693282"/>
                  </a:lnTo>
                  <a:lnTo>
                    <a:pt x="5980499" y="2693282"/>
                  </a:lnTo>
                  <a:close/>
                  <a:moveTo>
                    <a:pt x="5750008" y="2931407"/>
                  </a:moveTo>
                  <a:lnTo>
                    <a:pt x="5526945" y="2931407"/>
                  </a:lnTo>
                  <a:lnTo>
                    <a:pt x="5526945" y="2693282"/>
                  </a:lnTo>
                  <a:lnTo>
                    <a:pt x="5749495" y="2693282"/>
                  </a:lnTo>
                  <a:close/>
                  <a:moveTo>
                    <a:pt x="5521055" y="2931407"/>
                  </a:moveTo>
                  <a:lnTo>
                    <a:pt x="5296454" y="2931407"/>
                  </a:lnTo>
                  <a:lnTo>
                    <a:pt x="5296454" y="2693282"/>
                  </a:lnTo>
                  <a:lnTo>
                    <a:pt x="5520542" y="2693282"/>
                  </a:lnTo>
                  <a:close/>
                  <a:moveTo>
                    <a:pt x="5290564" y="2931407"/>
                  </a:moveTo>
                  <a:lnTo>
                    <a:pt x="5065963" y="2931407"/>
                  </a:lnTo>
                  <a:lnTo>
                    <a:pt x="5065963" y="2693282"/>
                  </a:lnTo>
                  <a:lnTo>
                    <a:pt x="5290051" y="2693282"/>
                  </a:lnTo>
                  <a:close/>
                  <a:moveTo>
                    <a:pt x="5060073" y="2931407"/>
                  </a:moveTo>
                  <a:lnTo>
                    <a:pt x="4835472" y="2931407"/>
                  </a:lnTo>
                  <a:lnTo>
                    <a:pt x="4835472" y="2693282"/>
                  </a:lnTo>
                  <a:lnTo>
                    <a:pt x="5059560" y="2693282"/>
                  </a:lnTo>
                  <a:close/>
                  <a:moveTo>
                    <a:pt x="4829582" y="2931407"/>
                  </a:moveTo>
                  <a:lnTo>
                    <a:pt x="4607029" y="2931407"/>
                  </a:lnTo>
                  <a:lnTo>
                    <a:pt x="4607029" y="2693282"/>
                  </a:lnTo>
                  <a:lnTo>
                    <a:pt x="4829582" y="2693282"/>
                  </a:lnTo>
                  <a:close/>
                  <a:moveTo>
                    <a:pt x="4600626" y="2931407"/>
                  </a:moveTo>
                  <a:lnTo>
                    <a:pt x="4376538" y="2931407"/>
                  </a:lnTo>
                  <a:lnTo>
                    <a:pt x="4376538" y="2693282"/>
                  </a:lnTo>
                  <a:lnTo>
                    <a:pt x="4600626" y="2693282"/>
                  </a:lnTo>
                  <a:close/>
                  <a:moveTo>
                    <a:pt x="4370135" y="2931407"/>
                  </a:moveTo>
                  <a:lnTo>
                    <a:pt x="4146047" y="2931407"/>
                  </a:lnTo>
                  <a:lnTo>
                    <a:pt x="4146047" y="2693282"/>
                  </a:lnTo>
                  <a:lnTo>
                    <a:pt x="4370135" y="2693282"/>
                  </a:lnTo>
                  <a:close/>
                  <a:moveTo>
                    <a:pt x="4139644" y="2931407"/>
                  </a:moveTo>
                  <a:lnTo>
                    <a:pt x="3917094" y="2931407"/>
                  </a:lnTo>
                  <a:lnTo>
                    <a:pt x="3917094" y="2693282"/>
                  </a:lnTo>
                  <a:lnTo>
                    <a:pt x="4139644" y="2693282"/>
                  </a:lnTo>
                  <a:close/>
                  <a:moveTo>
                    <a:pt x="3910691" y="2931407"/>
                  </a:moveTo>
                  <a:lnTo>
                    <a:pt x="3686603" y="2931407"/>
                  </a:lnTo>
                  <a:lnTo>
                    <a:pt x="3686603" y="2693282"/>
                  </a:lnTo>
                  <a:lnTo>
                    <a:pt x="3910691" y="2693282"/>
                  </a:lnTo>
                  <a:close/>
                  <a:moveTo>
                    <a:pt x="3680200" y="2931407"/>
                  </a:moveTo>
                  <a:lnTo>
                    <a:pt x="3456112" y="2931407"/>
                  </a:lnTo>
                  <a:lnTo>
                    <a:pt x="3456112" y="2693282"/>
                  </a:lnTo>
                  <a:lnTo>
                    <a:pt x="3680200" y="2693282"/>
                  </a:lnTo>
                  <a:close/>
                  <a:moveTo>
                    <a:pt x="3449709" y="2931407"/>
                  </a:moveTo>
                  <a:lnTo>
                    <a:pt x="3225621" y="2931407"/>
                  </a:lnTo>
                  <a:lnTo>
                    <a:pt x="3225621" y="2693282"/>
                  </a:lnTo>
                  <a:lnTo>
                    <a:pt x="3449709" y="2693282"/>
                  </a:lnTo>
                  <a:close/>
                  <a:moveTo>
                    <a:pt x="3219218" y="2931407"/>
                  </a:moveTo>
                  <a:lnTo>
                    <a:pt x="2996666" y="2931407"/>
                  </a:lnTo>
                  <a:lnTo>
                    <a:pt x="2996666" y="2693282"/>
                  </a:lnTo>
                  <a:lnTo>
                    <a:pt x="3219218" y="2693282"/>
                  </a:lnTo>
                  <a:close/>
                  <a:moveTo>
                    <a:pt x="2990264" y="2931407"/>
                  </a:moveTo>
                  <a:lnTo>
                    <a:pt x="2766175" y="2931407"/>
                  </a:lnTo>
                  <a:lnTo>
                    <a:pt x="2766175" y="2693282"/>
                  </a:lnTo>
                  <a:lnTo>
                    <a:pt x="2990264" y="2693282"/>
                  </a:lnTo>
                  <a:close/>
                  <a:moveTo>
                    <a:pt x="2759773" y="2931407"/>
                  </a:moveTo>
                  <a:lnTo>
                    <a:pt x="2535684" y="2931407"/>
                  </a:lnTo>
                  <a:lnTo>
                    <a:pt x="2535684" y="2693282"/>
                  </a:lnTo>
                  <a:lnTo>
                    <a:pt x="2759773" y="2693282"/>
                  </a:lnTo>
                  <a:close/>
                  <a:moveTo>
                    <a:pt x="2759773" y="2938211"/>
                  </a:moveTo>
                  <a:lnTo>
                    <a:pt x="2759773" y="3176336"/>
                  </a:lnTo>
                  <a:lnTo>
                    <a:pt x="2535684" y="3176336"/>
                  </a:lnTo>
                  <a:lnTo>
                    <a:pt x="2535684" y="2938211"/>
                  </a:lnTo>
                  <a:close/>
                  <a:moveTo>
                    <a:pt x="2759773" y="3183139"/>
                  </a:moveTo>
                  <a:lnTo>
                    <a:pt x="2759773" y="3421264"/>
                  </a:lnTo>
                  <a:lnTo>
                    <a:pt x="2535684" y="3421264"/>
                  </a:lnTo>
                  <a:lnTo>
                    <a:pt x="2535684" y="3183139"/>
                  </a:lnTo>
                  <a:close/>
                  <a:moveTo>
                    <a:pt x="2759773" y="3428068"/>
                  </a:moveTo>
                  <a:lnTo>
                    <a:pt x="2759773" y="3664560"/>
                  </a:lnTo>
                  <a:lnTo>
                    <a:pt x="2535684" y="3664560"/>
                  </a:lnTo>
                  <a:lnTo>
                    <a:pt x="2535684" y="3428068"/>
                  </a:lnTo>
                  <a:close/>
                  <a:moveTo>
                    <a:pt x="2759773" y="3671364"/>
                  </a:moveTo>
                  <a:lnTo>
                    <a:pt x="2759773" y="3909489"/>
                  </a:lnTo>
                  <a:lnTo>
                    <a:pt x="2535684" y="3909489"/>
                  </a:lnTo>
                  <a:lnTo>
                    <a:pt x="2535684" y="3671364"/>
                  </a:lnTo>
                  <a:close/>
                  <a:moveTo>
                    <a:pt x="2759773" y="3916292"/>
                  </a:moveTo>
                  <a:lnTo>
                    <a:pt x="2759773" y="4154417"/>
                  </a:lnTo>
                  <a:lnTo>
                    <a:pt x="2535684" y="4154417"/>
                  </a:lnTo>
                  <a:lnTo>
                    <a:pt x="2535684" y="3916292"/>
                  </a:lnTo>
                  <a:close/>
                  <a:moveTo>
                    <a:pt x="2766175" y="3916292"/>
                  </a:moveTo>
                  <a:lnTo>
                    <a:pt x="2990264" y="3916292"/>
                  </a:lnTo>
                  <a:lnTo>
                    <a:pt x="2990264" y="4154417"/>
                  </a:lnTo>
                  <a:lnTo>
                    <a:pt x="2766175" y="4154417"/>
                  </a:lnTo>
                  <a:close/>
                  <a:moveTo>
                    <a:pt x="2996666" y="3916292"/>
                  </a:moveTo>
                  <a:lnTo>
                    <a:pt x="3219218" y="3916292"/>
                  </a:lnTo>
                  <a:lnTo>
                    <a:pt x="3219218" y="4154417"/>
                  </a:lnTo>
                  <a:lnTo>
                    <a:pt x="2996666" y="4154417"/>
                  </a:lnTo>
                  <a:close/>
                  <a:moveTo>
                    <a:pt x="3225621" y="3916292"/>
                  </a:moveTo>
                  <a:lnTo>
                    <a:pt x="3449709" y="3916292"/>
                  </a:lnTo>
                  <a:lnTo>
                    <a:pt x="3449709" y="4154417"/>
                  </a:lnTo>
                  <a:lnTo>
                    <a:pt x="3225621" y="4154417"/>
                  </a:lnTo>
                  <a:close/>
                  <a:moveTo>
                    <a:pt x="3456112" y="3916292"/>
                  </a:moveTo>
                  <a:lnTo>
                    <a:pt x="3680200" y="3916292"/>
                  </a:lnTo>
                  <a:lnTo>
                    <a:pt x="3680200" y="4154417"/>
                  </a:lnTo>
                  <a:lnTo>
                    <a:pt x="3456112" y="4154417"/>
                  </a:lnTo>
                  <a:close/>
                  <a:moveTo>
                    <a:pt x="3686603" y="3916292"/>
                  </a:moveTo>
                  <a:lnTo>
                    <a:pt x="3910691" y="3916292"/>
                  </a:lnTo>
                  <a:lnTo>
                    <a:pt x="3910691" y="4154417"/>
                  </a:lnTo>
                  <a:lnTo>
                    <a:pt x="3686603" y="4154417"/>
                  </a:lnTo>
                  <a:close/>
                  <a:moveTo>
                    <a:pt x="3917094" y="3916292"/>
                  </a:moveTo>
                  <a:lnTo>
                    <a:pt x="4139644" y="3916292"/>
                  </a:lnTo>
                  <a:lnTo>
                    <a:pt x="4139644" y="4154417"/>
                  </a:lnTo>
                  <a:lnTo>
                    <a:pt x="3917094" y="4154417"/>
                  </a:lnTo>
                  <a:close/>
                  <a:moveTo>
                    <a:pt x="4146047" y="3916292"/>
                  </a:moveTo>
                  <a:lnTo>
                    <a:pt x="4370135" y="3916292"/>
                  </a:lnTo>
                  <a:lnTo>
                    <a:pt x="4370135" y="4154417"/>
                  </a:lnTo>
                  <a:lnTo>
                    <a:pt x="4146047" y="4154417"/>
                  </a:lnTo>
                  <a:close/>
                  <a:moveTo>
                    <a:pt x="4376538" y="3916292"/>
                  </a:moveTo>
                  <a:lnTo>
                    <a:pt x="4600626" y="3916292"/>
                  </a:lnTo>
                  <a:lnTo>
                    <a:pt x="4600626" y="4154417"/>
                  </a:lnTo>
                  <a:lnTo>
                    <a:pt x="4376538" y="4154417"/>
                  </a:lnTo>
                  <a:close/>
                  <a:moveTo>
                    <a:pt x="4607029" y="3916292"/>
                  </a:moveTo>
                  <a:lnTo>
                    <a:pt x="4829582" y="3916292"/>
                  </a:lnTo>
                  <a:lnTo>
                    <a:pt x="4829582" y="4154417"/>
                  </a:lnTo>
                  <a:lnTo>
                    <a:pt x="4607029" y="4154417"/>
                  </a:lnTo>
                  <a:close/>
                  <a:moveTo>
                    <a:pt x="4835985" y="3916292"/>
                  </a:moveTo>
                  <a:lnTo>
                    <a:pt x="5060073" y="3916292"/>
                  </a:lnTo>
                  <a:lnTo>
                    <a:pt x="5060073" y="4154417"/>
                  </a:lnTo>
                  <a:lnTo>
                    <a:pt x="4835472" y="4154417"/>
                  </a:lnTo>
                  <a:close/>
                  <a:moveTo>
                    <a:pt x="5066476" y="3916292"/>
                  </a:moveTo>
                  <a:lnTo>
                    <a:pt x="5290564" y="3916292"/>
                  </a:lnTo>
                  <a:lnTo>
                    <a:pt x="5290564" y="4154417"/>
                  </a:lnTo>
                  <a:lnTo>
                    <a:pt x="5065963" y="4154417"/>
                  </a:lnTo>
                  <a:close/>
                  <a:moveTo>
                    <a:pt x="5296967" y="3916292"/>
                  </a:moveTo>
                  <a:lnTo>
                    <a:pt x="5521055" y="3916292"/>
                  </a:lnTo>
                  <a:lnTo>
                    <a:pt x="5521055" y="4154417"/>
                  </a:lnTo>
                  <a:lnTo>
                    <a:pt x="5296454" y="4154417"/>
                  </a:lnTo>
                  <a:close/>
                  <a:moveTo>
                    <a:pt x="5527458" y="3916292"/>
                  </a:moveTo>
                  <a:lnTo>
                    <a:pt x="5750008" y="3916292"/>
                  </a:lnTo>
                  <a:lnTo>
                    <a:pt x="5750008" y="4154417"/>
                  </a:lnTo>
                  <a:lnTo>
                    <a:pt x="5526945" y="4154417"/>
                  </a:lnTo>
                  <a:close/>
                  <a:moveTo>
                    <a:pt x="5756411" y="3916292"/>
                  </a:moveTo>
                  <a:lnTo>
                    <a:pt x="5980499" y="3916292"/>
                  </a:lnTo>
                  <a:lnTo>
                    <a:pt x="5980499" y="4154417"/>
                  </a:lnTo>
                  <a:lnTo>
                    <a:pt x="5756411" y="4154417"/>
                  </a:lnTo>
                  <a:close/>
                  <a:moveTo>
                    <a:pt x="5986902" y="3916292"/>
                  </a:moveTo>
                  <a:lnTo>
                    <a:pt x="6210990" y="3916292"/>
                  </a:lnTo>
                  <a:lnTo>
                    <a:pt x="6210990" y="4154417"/>
                  </a:lnTo>
                  <a:lnTo>
                    <a:pt x="5986902" y="4154417"/>
                  </a:lnTo>
                  <a:close/>
                  <a:moveTo>
                    <a:pt x="6217393" y="3916292"/>
                  </a:moveTo>
                  <a:lnTo>
                    <a:pt x="6439946" y="3916292"/>
                  </a:lnTo>
                  <a:lnTo>
                    <a:pt x="6439946" y="4154417"/>
                  </a:lnTo>
                  <a:lnTo>
                    <a:pt x="6217136" y="4154417"/>
                  </a:lnTo>
                  <a:close/>
                  <a:moveTo>
                    <a:pt x="6446349" y="3916292"/>
                  </a:moveTo>
                  <a:lnTo>
                    <a:pt x="6656863" y="3916292"/>
                  </a:lnTo>
                  <a:lnTo>
                    <a:pt x="6656863" y="4154417"/>
                  </a:lnTo>
                  <a:lnTo>
                    <a:pt x="6446349" y="4154417"/>
                  </a:lnTo>
                  <a:close/>
                  <a:moveTo>
                    <a:pt x="6663265" y="3916292"/>
                  </a:moveTo>
                  <a:lnTo>
                    <a:pt x="6887354" y="3916292"/>
                  </a:lnTo>
                  <a:lnTo>
                    <a:pt x="6887354" y="4154417"/>
                  </a:lnTo>
                  <a:lnTo>
                    <a:pt x="6663265" y="4154417"/>
                  </a:lnTo>
                  <a:close/>
                  <a:moveTo>
                    <a:pt x="6893756" y="3916292"/>
                  </a:moveTo>
                  <a:lnTo>
                    <a:pt x="7117845" y="3916292"/>
                  </a:lnTo>
                  <a:lnTo>
                    <a:pt x="7117845" y="4154417"/>
                  </a:lnTo>
                  <a:lnTo>
                    <a:pt x="6893756" y="4154417"/>
                  </a:lnTo>
                  <a:close/>
                  <a:moveTo>
                    <a:pt x="7124247" y="3916292"/>
                  </a:moveTo>
                  <a:lnTo>
                    <a:pt x="7346801" y="3916292"/>
                  </a:lnTo>
                  <a:lnTo>
                    <a:pt x="7346801" y="4154417"/>
                  </a:lnTo>
                  <a:lnTo>
                    <a:pt x="7124247" y="4154417"/>
                  </a:lnTo>
                  <a:close/>
                  <a:moveTo>
                    <a:pt x="7353204" y="3916292"/>
                  </a:moveTo>
                  <a:lnTo>
                    <a:pt x="7577292" y="3916292"/>
                  </a:lnTo>
                  <a:lnTo>
                    <a:pt x="7577292" y="4154417"/>
                  </a:lnTo>
                  <a:lnTo>
                    <a:pt x="7353204" y="4154417"/>
                  </a:lnTo>
                  <a:close/>
                  <a:moveTo>
                    <a:pt x="7583695" y="3916292"/>
                  </a:moveTo>
                  <a:lnTo>
                    <a:pt x="7807783" y="3916292"/>
                  </a:lnTo>
                  <a:lnTo>
                    <a:pt x="7807783" y="4154417"/>
                  </a:lnTo>
                  <a:lnTo>
                    <a:pt x="7583695" y="4154417"/>
                  </a:lnTo>
                  <a:close/>
                  <a:moveTo>
                    <a:pt x="7814186" y="3916292"/>
                  </a:moveTo>
                  <a:lnTo>
                    <a:pt x="8038274" y="3916292"/>
                  </a:lnTo>
                  <a:lnTo>
                    <a:pt x="8038274" y="4154417"/>
                  </a:lnTo>
                  <a:lnTo>
                    <a:pt x="7814186" y="4154417"/>
                  </a:lnTo>
                  <a:close/>
                  <a:moveTo>
                    <a:pt x="8044677" y="3916292"/>
                  </a:moveTo>
                  <a:lnTo>
                    <a:pt x="8267227" y="3916292"/>
                  </a:lnTo>
                  <a:lnTo>
                    <a:pt x="8267227" y="4154417"/>
                  </a:lnTo>
                  <a:lnTo>
                    <a:pt x="8044420" y="4154417"/>
                  </a:lnTo>
                  <a:close/>
                  <a:moveTo>
                    <a:pt x="8273629" y="3916292"/>
                  </a:moveTo>
                  <a:lnTo>
                    <a:pt x="8497718" y="3916292"/>
                  </a:lnTo>
                  <a:lnTo>
                    <a:pt x="8497718" y="4154417"/>
                  </a:lnTo>
                  <a:lnTo>
                    <a:pt x="8273629" y="4154417"/>
                  </a:lnTo>
                  <a:close/>
                  <a:moveTo>
                    <a:pt x="8504120" y="3916292"/>
                  </a:moveTo>
                  <a:lnTo>
                    <a:pt x="8728209" y="3916292"/>
                  </a:lnTo>
                  <a:lnTo>
                    <a:pt x="8728209" y="4154417"/>
                  </a:lnTo>
                  <a:lnTo>
                    <a:pt x="8504120" y="4154417"/>
                  </a:lnTo>
                  <a:close/>
                  <a:moveTo>
                    <a:pt x="8734611" y="3916292"/>
                  </a:moveTo>
                  <a:lnTo>
                    <a:pt x="8957162" y="3916292"/>
                  </a:lnTo>
                  <a:lnTo>
                    <a:pt x="8957162" y="4154417"/>
                  </a:lnTo>
                  <a:lnTo>
                    <a:pt x="8734611" y="4154417"/>
                  </a:lnTo>
                  <a:close/>
                  <a:moveTo>
                    <a:pt x="8963564" y="3916292"/>
                  </a:moveTo>
                  <a:lnTo>
                    <a:pt x="9187653" y="3916292"/>
                  </a:lnTo>
                  <a:lnTo>
                    <a:pt x="9187653" y="4154417"/>
                  </a:lnTo>
                  <a:lnTo>
                    <a:pt x="8963564" y="4154417"/>
                  </a:lnTo>
                  <a:close/>
                  <a:moveTo>
                    <a:pt x="9194055" y="3916292"/>
                  </a:moveTo>
                  <a:lnTo>
                    <a:pt x="9418144" y="3916292"/>
                  </a:lnTo>
                  <a:lnTo>
                    <a:pt x="9418144" y="4154417"/>
                  </a:lnTo>
                  <a:lnTo>
                    <a:pt x="9194055" y="4154417"/>
                  </a:lnTo>
                  <a:close/>
                  <a:moveTo>
                    <a:pt x="9424546" y="3916292"/>
                  </a:moveTo>
                  <a:lnTo>
                    <a:pt x="9648635" y="3916292"/>
                  </a:lnTo>
                  <a:lnTo>
                    <a:pt x="9648635" y="4154417"/>
                  </a:lnTo>
                  <a:lnTo>
                    <a:pt x="9424546" y="4154417"/>
                  </a:lnTo>
                  <a:close/>
                  <a:moveTo>
                    <a:pt x="9424546" y="3909489"/>
                  </a:moveTo>
                  <a:lnTo>
                    <a:pt x="9424546" y="3671364"/>
                  </a:lnTo>
                  <a:lnTo>
                    <a:pt x="9648635" y="3671364"/>
                  </a:lnTo>
                  <a:lnTo>
                    <a:pt x="9648635" y="3909489"/>
                  </a:lnTo>
                  <a:close/>
                  <a:moveTo>
                    <a:pt x="9424546" y="3664560"/>
                  </a:moveTo>
                  <a:lnTo>
                    <a:pt x="9424546" y="3428068"/>
                  </a:lnTo>
                  <a:lnTo>
                    <a:pt x="9648635" y="3428068"/>
                  </a:lnTo>
                  <a:lnTo>
                    <a:pt x="9648635" y="3664560"/>
                  </a:lnTo>
                  <a:close/>
                  <a:moveTo>
                    <a:pt x="9424546" y="3421264"/>
                  </a:moveTo>
                  <a:lnTo>
                    <a:pt x="9424546" y="3183139"/>
                  </a:lnTo>
                  <a:lnTo>
                    <a:pt x="9648635" y="3183139"/>
                  </a:lnTo>
                  <a:lnTo>
                    <a:pt x="9648635" y="3421264"/>
                  </a:lnTo>
                  <a:close/>
                  <a:moveTo>
                    <a:pt x="9424546" y="3176336"/>
                  </a:moveTo>
                  <a:lnTo>
                    <a:pt x="9424546" y="2938211"/>
                  </a:lnTo>
                  <a:lnTo>
                    <a:pt x="9648635" y="2938211"/>
                  </a:lnTo>
                  <a:lnTo>
                    <a:pt x="9648635" y="3176336"/>
                  </a:lnTo>
                  <a:close/>
                  <a:moveTo>
                    <a:pt x="9424546" y="2931407"/>
                  </a:moveTo>
                  <a:lnTo>
                    <a:pt x="9424546" y="2693282"/>
                  </a:lnTo>
                  <a:lnTo>
                    <a:pt x="9648635" y="2693282"/>
                  </a:lnTo>
                  <a:lnTo>
                    <a:pt x="9648635" y="2931407"/>
                  </a:lnTo>
                  <a:close/>
                  <a:moveTo>
                    <a:pt x="9424546" y="2686479"/>
                  </a:moveTo>
                  <a:lnTo>
                    <a:pt x="9424546" y="2449986"/>
                  </a:lnTo>
                  <a:lnTo>
                    <a:pt x="9648635" y="2449986"/>
                  </a:lnTo>
                  <a:lnTo>
                    <a:pt x="9648635" y="2686479"/>
                  </a:lnTo>
                  <a:close/>
                  <a:moveTo>
                    <a:pt x="9418144" y="2686479"/>
                  </a:moveTo>
                  <a:lnTo>
                    <a:pt x="9194055" y="2686479"/>
                  </a:lnTo>
                  <a:lnTo>
                    <a:pt x="9194055" y="2449986"/>
                  </a:lnTo>
                  <a:lnTo>
                    <a:pt x="9418144" y="2449986"/>
                  </a:lnTo>
                  <a:close/>
                  <a:moveTo>
                    <a:pt x="9187653" y="2686479"/>
                  </a:moveTo>
                  <a:lnTo>
                    <a:pt x="8963564" y="2686479"/>
                  </a:lnTo>
                  <a:lnTo>
                    <a:pt x="8963564" y="2449986"/>
                  </a:lnTo>
                  <a:lnTo>
                    <a:pt x="9187653" y="2449986"/>
                  </a:lnTo>
                  <a:close/>
                  <a:moveTo>
                    <a:pt x="8957162" y="2686479"/>
                  </a:moveTo>
                  <a:lnTo>
                    <a:pt x="8734611" y="2686479"/>
                  </a:lnTo>
                  <a:lnTo>
                    <a:pt x="8734611" y="2449986"/>
                  </a:lnTo>
                  <a:lnTo>
                    <a:pt x="8957162" y="2449986"/>
                  </a:lnTo>
                  <a:close/>
                  <a:moveTo>
                    <a:pt x="8728209" y="2686479"/>
                  </a:moveTo>
                  <a:lnTo>
                    <a:pt x="8504120" y="2686479"/>
                  </a:lnTo>
                  <a:lnTo>
                    <a:pt x="8504120" y="2449986"/>
                  </a:lnTo>
                  <a:lnTo>
                    <a:pt x="8728209" y="2449986"/>
                  </a:lnTo>
                  <a:close/>
                  <a:moveTo>
                    <a:pt x="8497718" y="2686479"/>
                  </a:moveTo>
                  <a:lnTo>
                    <a:pt x="8273629" y="2686479"/>
                  </a:lnTo>
                  <a:lnTo>
                    <a:pt x="8273629" y="2449986"/>
                  </a:lnTo>
                  <a:lnTo>
                    <a:pt x="8497718" y="2449986"/>
                  </a:lnTo>
                  <a:close/>
                  <a:moveTo>
                    <a:pt x="8267227" y="2686479"/>
                  </a:moveTo>
                  <a:lnTo>
                    <a:pt x="8044420" y="2686479"/>
                  </a:lnTo>
                  <a:lnTo>
                    <a:pt x="8044420" y="2449986"/>
                  </a:lnTo>
                  <a:lnTo>
                    <a:pt x="8267227" y="2449986"/>
                  </a:lnTo>
                  <a:close/>
                  <a:moveTo>
                    <a:pt x="8038274" y="2686479"/>
                  </a:moveTo>
                  <a:lnTo>
                    <a:pt x="7814186" y="2686479"/>
                  </a:lnTo>
                  <a:lnTo>
                    <a:pt x="7814186" y="2449986"/>
                  </a:lnTo>
                  <a:lnTo>
                    <a:pt x="8038274" y="2449986"/>
                  </a:lnTo>
                  <a:close/>
                  <a:moveTo>
                    <a:pt x="7807783" y="2686479"/>
                  </a:moveTo>
                  <a:lnTo>
                    <a:pt x="7583695" y="2686479"/>
                  </a:lnTo>
                  <a:lnTo>
                    <a:pt x="7583695" y="2449986"/>
                  </a:lnTo>
                  <a:lnTo>
                    <a:pt x="7807783" y="2449986"/>
                  </a:lnTo>
                  <a:close/>
                  <a:moveTo>
                    <a:pt x="7577292" y="2686479"/>
                  </a:moveTo>
                  <a:lnTo>
                    <a:pt x="7353204" y="2686479"/>
                  </a:lnTo>
                  <a:lnTo>
                    <a:pt x="7353204" y="2449986"/>
                  </a:lnTo>
                  <a:lnTo>
                    <a:pt x="7577292" y="2449986"/>
                  </a:lnTo>
                  <a:close/>
                  <a:moveTo>
                    <a:pt x="7346801" y="2686479"/>
                  </a:moveTo>
                  <a:lnTo>
                    <a:pt x="7124247" y="2686479"/>
                  </a:lnTo>
                  <a:lnTo>
                    <a:pt x="7124247" y="2449986"/>
                  </a:lnTo>
                  <a:lnTo>
                    <a:pt x="7346801" y="2449986"/>
                  </a:lnTo>
                  <a:close/>
                  <a:moveTo>
                    <a:pt x="7117845" y="2686479"/>
                  </a:moveTo>
                  <a:lnTo>
                    <a:pt x="6893756" y="2686479"/>
                  </a:lnTo>
                  <a:lnTo>
                    <a:pt x="6893756" y="2449986"/>
                  </a:lnTo>
                  <a:lnTo>
                    <a:pt x="7117845" y="2449986"/>
                  </a:lnTo>
                  <a:close/>
                  <a:moveTo>
                    <a:pt x="6887354" y="2686479"/>
                  </a:moveTo>
                  <a:lnTo>
                    <a:pt x="6663265" y="2686479"/>
                  </a:lnTo>
                  <a:lnTo>
                    <a:pt x="6663265" y="2449986"/>
                  </a:lnTo>
                  <a:lnTo>
                    <a:pt x="6887354" y="2449986"/>
                  </a:lnTo>
                  <a:close/>
                  <a:moveTo>
                    <a:pt x="6656863" y="2686479"/>
                  </a:moveTo>
                  <a:lnTo>
                    <a:pt x="6446349" y="2686479"/>
                  </a:lnTo>
                  <a:lnTo>
                    <a:pt x="6446349" y="2449986"/>
                  </a:lnTo>
                  <a:lnTo>
                    <a:pt x="6656863" y="2449986"/>
                  </a:lnTo>
                  <a:close/>
                  <a:moveTo>
                    <a:pt x="6439946" y="2686479"/>
                  </a:moveTo>
                  <a:lnTo>
                    <a:pt x="6217136" y="2686479"/>
                  </a:lnTo>
                  <a:lnTo>
                    <a:pt x="6217136" y="2449986"/>
                  </a:lnTo>
                  <a:lnTo>
                    <a:pt x="6439690" y="2449986"/>
                  </a:lnTo>
                  <a:close/>
                  <a:moveTo>
                    <a:pt x="6210990" y="2686479"/>
                  </a:moveTo>
                  <a:lnTo>
                    <a:pt x="5986902" y="2686479"/>
                  </a:lnTo>
                  <a:lnTo>
                    <a:pt x="5986902" y="2449986"/>
                  </a:lnTo>
                  <a:lnTo>
                    <a:pt x="6210990" y="2449986"/>
                  </a:lnTo>
                  <a:close/>
                  <a:moveTo>
                    <a:pt x="5980499" y="2686479"/>
                  </a:moveTo>
                  <a:lnTo>
                    <a:pt x="5756411" y="2686479"/>
                  </a:lnTo>
                  <a:lnTo>
                    <a:pt x="5756411" y="2449986"/>
                  </a:lnTo>
                  <a:lnTo>
                    <a:pt x="5980499" y="2449986"/>
                  </a:lnTo>
                  <a:close/>
                  <a:moveTo>
                    <a:pt x="5750008" y="2686479"/>
                  </a:moveTo>
                  <a:lnTo>
                    <a:pt x="5526945" y="2686479"/>
                  </a:lnTo>
                  <a:lnTo>
                    <a:pt x="5526945" y="2449986"/>
                  </a:lnTo>
                  <a:lnTo>
                    <a:pt x="5749495" y="2449986"/>
                  </a:lnTo>
                  <a:close/>
                  <a:moveTo>
                    <a:pt x="5521055" y="2686479"/>
                  </a:moveTo>
                  <a:lnTo>
                    <a:pt x="5296454" y="2686479"/>
                  </a:lnTo>
                  <a:lnTo>
                    <a:pt x="5296454" y="2449986"/>
                  </a:lnTo>
                  <a:lnTo>
                    <a:pt x="5520542" y="2449986"/>
                  </a:lnTo>
                  <a:close/>
                  <a:moveTo>
                    <a:pt x="5290564" y="2686479"/>
                  </a:moveTo>
                  <a:lnTo>
                    <a:pt x="5065963" y="2686479"/>
                  </a:lnTo>
                  <a:lnTo>
                    <a:pt x="5065963" y="2449986"/>
                  </a:lnTo>
                  <a:lnTo>
                    <a:pt x="5290051" y="2449986"/>
                  </a:lnTo>
                  <a:close/>
                  <a:moveTo>
                    <a:pt x="5060073" y="2686479"/>
                  </a:moveTo>
                  <a:lnTo>
                    <a:pt x="4835472" y="2686479"/>
                  </a:lnTo>
                  <a:lnTo>
                    <a:pt x="4835472" y="2449986"/>
                  </a:lnTo>
                  <a:lnTo>
                    <a:pt x="5059560" y="2449986"/>
                  </a:lnTo>
                  <a:close/>
                  <a:moveTo>
                    <a:pt x="4829582" y="2686479"/>
                  </a:moveTo>
                  <a:lnTo>
                    <a:pt x="4607029" y="2686479"/>
                  </a:lnTo>
                  <a:lnTo>
                    <a:pt x="4607029" y="2449986"/>
                  </a:lnTo>
                  <a:lnTo>
                    <a:pt x="4829582" y="2449986"/>
                  </a:lnTo>
                  <a:close/>
                  <a:moveTo>
                    <a:pt x="4600626" y="2686479"/>
                  </a:moveTo>
                  <a:lnTo>
                    <a:pt x="4376538" y="2686479"/>
                  </a:lnTo>
                  <a:lnTo>
                    <a:pt x="4376538" y="2449986"/>
                  </a:lnTo>
                  <a:lnTo>
                    <a:pt x="4600626" y="2449986"/>
                  </a:lnTo>
                  <a:close/>
                  <a:moveTo>
                    <a:pt x="4370135" y="2686479"/>
                  </a:moveTo>
                  <a:lnTo>
                    <a:pt x="4146047" y="2686479"/>
                  </a:lnTo>
                  <a:lnTo>
                    <a:pt x="4146047" y="2449986"/>
                  </a:lnTo>
                  <a:lnTo>
                    <a:pt x="4370135" y="2449986"/>
                  </a:lnTo>
                  <a:close/>
                  <a:moveTo>
                    <a:pt x="4139644" y="2686479"/>
                  </a:moveTo>
                  <a:lnTo>
                    <a:pt x="3917094" y="2686479"/>
                  </a:lnTo>
                  <a:lnTo>
                    <a:pt x="3917094" y="2449986"/>
                  </a:lnTo>
                  <a:lnTo>
                    <a:pt x="4139644" y="2449986"/>
                  </a:lnTo>
                  <a:close/>
                  <a:moveTo>
                    <a:pt x="3910691" y="2686479"/>
                  </a:moveTo>
                  <a:lnTo>
                    <a:pt x="3686603" y="2686479"/>
                  </a:lnTo>
                  <a:lnTo>
                    <a:pt x="3686603" y="2449986"/>
                  </a:lnTo>
                  <a:lnTo>
                    <a:pt x="3910691" y="2449986"/>
                  </a:lnTo>
                  <a:close/>
                  <a:moveTo>
                    <a:pt x="3680200" y="2686479"/>
                  </a:moveTo>
                  <a:lnTo>
                    <a:pt x="3456112" y="2686479"/>
                  </a:lnTo>
                  <a:lnTo>
                    <a:pt x="3456112" y="2449986"/>
                  </a:lnTo>
                  <a:lnTo>
                    <a:pt x="3680200" y="2449986"/>
                  </a:lnTo>
                  <a:close/>
                  <a:moveTo>
                    <a:pt x="3449709" y="2686479"/>
                  </a:moveTo>
                  <a:lnTo>
                    <a:pt x="3225621" y="2686479"/>
                  </a:lnTo>
                  <a:lnTo>
                    <a:pt x="3225621" y="2449986"/>
                  </a:lnTo>
                  <a:lnTo>
                    <a:pt x="3449709" y="2449986"/>
                  </a:lnTo>
                  <a:close/>
                  <a:moveTo>
                    <a:pt x="3219218" y="2686479"/>
                  </a:moveTo>
                  <a:lnTo>
                    <a:pt x="2996666" y="2686479"/>
                  </a:lnTo>
                  <a:lnTo>
                    <a:pt x="2996666" y="2449986"/>
                  </a:lnTo>
                  <a:lnTo>
                    <a:pt x="3219218" y="2449986"/>
                  </a:lnTo>
                  <a:close/>
                  <a:moveTo>
                    <a:pt x="2990264" y="2686479"/>
                  </a:moveTo>
                  <a:lnTo>
                    <a:pt x="2766175" y="2686479"/>
                  </a:lnTo>
                  <a:lnTo>
                    <a:pt x="2766175" y="2449986"/>
                  </a:lnTo>
                  <a:lnTo>
                    <a:pt x="2990264" y="2449986"/>
                  </a:lnTo>
                  <a:close/>
                  <a:moveTo>
                    <a:pt x="2759773" y="2686479"/>
                  </a:moveTo>
                  <a:lnTo>
                    <a:pt x="2535684" y="2686479"/>
                  </a:lnTo>
                  <a:lnTo>
                    <a:pt x="2535684" y="2449986"/>
                  </a:lnTo>
                  <a:lnTo>
                    <a:pt x="2759773" y="2449986"/>
                  </a:lnTo>
                  <a:close/>
                  <a:moveTo>
                    <a:pt x="2529282" y="2686479"/>
                  </a:moveTo>
                  <a:lnTo>
                    <a:pt x="2305193" y="2686479"/>
                  </a:lnTo>
                  <a:lnTo>
                    <a:pt x="2305193" y="2449986"/>
                  </a:lnTo>
                  <a:lnTo>
                    <a:pt x="2529282" y="2449986"/>
                  </a:lnTo>
                  <a:close/>
                  <a:moveTo>
                    <a:pt x="2529282" y="2693282"/>
                  </a:moveTo>
                  <a:lnTo>
                    <a:pt x="2529282" y="2931407"/>
                  </a:lnTo>
                  <a:lnTo>
                    <a:pt x="2305193" y="2931407"/>
                  </a:lnTo>
                  <a:lnTo>
                    <a:pt x="2305193" y="2693282"/>
                  </a:lnTo>
                  <a:close/>
                  <a:moveTo>
                    <a:pt x="2529282" y="2938211"/>
                  </a:moveTo>
                  <a:lnTo>
                    <a:pt x="2529282" y="3176336"/>
                  </a:lnTo>
                  <a:lnTo>
                    <a:pt x="2305193" y="3176336"/>
                  </a:lnTo>
                  <a:lnTo>
                    <a:pt x="2305193" y="2938211"/>
                  </a:lnTo>
                  <a:close/>
                  <a:moveTo>
                    <a:pt x="2529282" y="3183139"/>
                  </a:moveTo>
                  <a:lnTo>
                    <a:pt x="2529282" y="3421264"/>
                  </a:lnTo>
                  <a:lnTo>
                    <a:pt x="2305193" y="3421264"/>
                  </a:lnTo>
                  <a:lnTo>
                    <a:pt x="2305193" y="3183139"/>
                  </a:lnTo>
                  <a:close/>
                  <a:moveTo>
                    <a:pt x="2529282" y="3428068"/>
                  </a:moveTo>
                  <a:lnTo>
                    <a:pt x="2529282" y="3664560"/>
                  </a:lnTo>
                  <a:lnTo>
                    <a:pt x="2305193" y="3664560"/>
                  </a:lnTo>
                  <a:lnTo>
                    <a:pt x="2305193" y="3428068"/>
                  </a:lnTo>
                  <a:close/>
                  <a:moveTo>
                    <a:pt x="2529282" y="3671364"/>
                  </a:moveTo>
                  <a:lnTo>
                    <a:pt x="2529282" y="3909489"/>
                  </a:lnTo>
                  <a:lnTo>
                    <a:pt x="2305193" y="3909489"/>
                  </a:lnTo>
                  <a:lnTo>
                    <a:pt x="2305193" y="3671364"/>
                  </a:lnTo>
                  <a:close/>
                  <a:moveTo>
                    <a:pt x="2529282" y="3916292"/>
                  </a:moveTo>
                  <a:lnTo>
                    <a:pt x="2529282" y="4154417"/>
                  </a:lnTo>
                  <a:lnTo>
                    <a:pt x="2305193" y="4154417"/>
                  </a:lnTo>
                  <a:lnTo>
                    <a:pt x="2305193" y="3916292"/>
                  </a:lnTo>
                  <a:close/>
                  <a:moveTo>
                    <a:pt x="2529282" y="4161221"/>
                  </a:moveTo>
                  <a:lnTo>
                    <a:pt x="2529282" y="4399346"/>
                  </a:lnTo>
                  <a:lnTo>
                    <a:pt x="2305193" y="4399346"/>
                  </a:lnTo>
                  <a:lnTo>
                    <a:pt x="2305193" y="4161221"/>
                  </a:lnTo>
                  <a:close/>
                  <a:moveTo>
                    <a:pt x="2535684" y="4161221"/>
                  </a:moveTo>
                  <a:lnTo>
                    <a:pt x="2759773" y="4161221"/>
                  </a:lnTo>
                  <a:lnTo>
                    <a:pt x="2759773" y="4399346"/>
                  </a:lnTo>
                  <a:lnTo>
                    <a:pt x="2535684" y="4399346"/>
                  </a:lnTo>
                  <a:close/>
                  <a:moveTo>
                    <a:pt x="2766175" y="4161221"/>
                  </a:moveTo>
                  <a:lnTo>
                    <a:pt x="2990264" y="4161221"/>
                  </a:lnTo>
                  <a:lnTo>
                    <a:pt x="2990264" y="4399346"/>
                  </a:lnTo>
                  <a:lnTo>
                    <a:pt x="2766175" y="4399346"/>
                  </a:lnTo>
                  <a:close/>
                  <a:moveTo>
                    <a:pt x="2996666" y="4161221"/>
                  </a:moveTo>
                  <a:lnTo>
                    <a:pt x="3219218" y="4161221"/>
                  </a:lnTo>
                  <a:lnTo>
                    <a:pt x="3219218" y="4399346"/>
                  </a:lnTo>
                  <a:lnTo>
                    <a:pt x="2996666" y="4399346"/>
                  </a:lnTo>
                  <a:close/>
                  <a:moveTo>
                    <a:pt x="3225621" y="4161221"/>
                  </a:moveTo>
                  <a:lnTo>
                    <a:pt x="3449709" y="4161221"/>
                  </a:lnTo>
                  <a:lnTo>
                    <a:pt x="3449709" y="4399346"/>
                  </a:lnTo>
                  <a:lnTo>
                    <a:pt x="3225621" y="4399346"/>
                  </a:lnTo>
                  <a:close/>
                  <a:moveTo>
                    <a:pt x="3456112" y="4161221"/>
                  </a:moveTo>
                  <a:lnTo>
                    <a:pt x="3680200" y="4161221"/>
                  </a:lnTo>
                  <a:lnTo>
                    <a:pt x="3680200" y="4399346"/>
                  </a:lnTo>
                  <a:lnTo>
                    <a:pt x="3456112" y="4399346"/>
                  </a:lnTo>
                  <a:close/>
                  <a:moveTo>
                    <a:pt x="3686603" y="4161221"/>
                  </a:moveTo>
                  <a:lnTo>
                    <a:pt x="3910691" y="4161221"/>
                  </a:lnTo>
                  <a:lnTo>
                    <a:pt x="3910691" y="4399346"/>
                  </a:lnTo>
                  <a:lnTo>
                    <a:pt x="3686603" y="4399346"/>
                  </a:lnTo>
                  <a:close/>
                  <a:moveTo>
                    <a:pt x="3917094" y="4161221"/>
                  </a:moveTo>
                  <a:lnTo>
                    <a:pt x="4139644" y="4161221"/>
                  </a:lnTo>
                  <a:lnTo>
                    <a:pt x="4139644" y="4399346"/>
                  </a:lnTo>
                  <a:lnTo>
                    <a:pt x="3917094" y="4399346"/>
                  </a:lnTo>
                  <a:close/>
                  <a:moveTo>
                    <a:pt x="4146047" y="4161221"/>
                  </a:moveTo>
                  <a:lnTo>
                    <a:pt x="4370135" y="4161221"/>
                  </a:lnTo>
                  <a:lnTo>
                    <a:pt x="4370135" y="4399346"/>
                  </a:lnTo>
                  <a:lnTo>
                    <a:pt x="4146047" y="4399346"/>
                  </a:lnTo>
                  <a:close/>
                  <a:moveTo>
                    <a:pt x="4376538" y="4161221"/>
                  </a:moveTo>
                  <a:lnTo>
                    <a:pt x="4600626" y="4161221"/>
                  </a:lnTo>
                  <a:lnTo>
                    <a:pt x="4600626" y="4399346"/>
                  </a:lnTo>
                  <a:lnTo>
                    <a:pt x="4376538" y="4399346"/>
                  </a:lnTo>
                  <a:close/>
                  <a:moveTo>
                    <a:pt x="4607029" y="4161221"/>
                  </a:moveTo>
                  <a:lnTo>
                    <a:pt x="4829582" y="4161221"/>
                  </a:lnTo>
                  <a:lnTo>
                    <a:pt x="4829582" y="4399346"/>
                  </a:lnTo>
                  <a:lnTo>
                    <a:pt x="4607029" y="4399346"/>
                  </a:lnTo>
                  <a:close/>
                  <a:moveTo>
                    <a:pt x="4835985" y="4161221"/>
                  </a:moveTo>
                  <a:lnTo>
                    <a:pt x="5060073" y="4161221"/>
                  </a:lnTo>
                  <a:lnTo>
                    <a:pt x="5060073" y="4399346"/>
                  </a:lnTo>
                  <a:lnTo>
                    <a:pt x="4835472" y="4399346"/>
                  </a:lnTo>
                  <a:close/>
                  <a:moveTo>
                    <a:pt x="5066476" y="4161221"/>
                  </a:moveTo>
                  <a:lnTo>
                    <a:pt x="5290564" y="4161221"/>
                  </a:lnTo>
                  <a:lnTo>
                    <a:pt x="5290564" y="4399346"/>
                  </a:lnTo>
                  <a:lnTo>
                    <a:pt x="5065963" y="4399346"/>
                  </a:lnTo>
                  <a:close/>
                  <a:moveTo>
                    <a:pt x="5296967" y="4161221"/>
                  </a:moveTo>
                  <a:lnTo>
                    <a:pt x="5521055" y="4161221"/>
                  </a:lnTo>
                  <a:lnTo>
                    <a:pt x="5521055" y="4399346"/>
                  </a:lnTo>
                  <a:lnTo>
                    <a:pt x="5296454" y="4399346"/>
                  </a:lnTo>
                  <a:close/>
                  <a:moveTo>
                    <a:pt x="5527458" y="4161221"/>
                  </a:moveTo>
                  <a:lnTo>
                    <a:pt x="5750008" y="4161221"/>
                  </a:lnTo>
                  <a:lnTo>
                    <a:pt x="5750008" y="4399346"/>
                  </a:lnTo>
                  <a:lnTo>
                    <a:pt x="5526945" y="4399346"/>
                  </a:lnTo>
                  <a:close/>
                  <a:moveTo>
                    <a:pt x="5756411" y="4161221"/>
                  </a:moveTo>
                  <a:lnTo>
                    <a:pt x="5980499" y="4161221"/>
                  </a:lnTo>
                  <a:lnTo>
                    <a:pt x="5980499" y="4399346"/>
                  </a:lnTo>
                  <a:lnTo>
                    <a:pt x="5756411" y="4399346"/>
                  </a:lnTo>
                  <a:close/>
                  <a:moveTo>
                    <a:pt x="5986902" y="4161221"/>
                  </a:moveTo>
                  <a:lnTo>
                    <a:pt x="6210990" y="4161221"/>
                  </a:lnTo>
                  <a:lnTo>
                    <a:pt x="6210990" y="4399346"/>
                  </a:lnTo>
                  <a:lnTo>
                    <a:pt x="5986902" y="4399346"/>
                  </a:lnTo>
                  <a:close/>
                  <a:moveTo>
                    <a:pt x="6217393" y="4161221"/>
                  </a:moveTo>
                  <a:lnTo>
                    <a:pt x="6439946" y="4161221"/>
                  </a:lnTo>
                  <a:lnTo>
                    <a:pt x="6439946" y="4399346"/>
                  </a:lnTo>
                  <a:lnTo>
                    <a:pt x="6217136" y="4399346"/>
                  </a:lnTo>
                  <a:close/>
                  <a:moveTo>
                    <a:pt x="6446349" y="4161221"/>
                  </a:moveTo>
                  <a:lnTo>
                    <a:pt x="6656863" y="4161221"/>
                  </a:lnTo>
                  <a:lnTo>
                    <a:pt x="6656863" y="4399346"/>
                  </a:lnTo>
                  <a:lnTo>
                    <a:pt x="6446349" y="4399346"/>
                  </a:lnTo>
                  <a:close/>
                  <a:moveTo>
                    <a:pt x="6663265" y="4161221"/>
                  </a:moveTo>
                  <a:lnTo>
                    <a:pt x="6887354" y="4161221"/>
                  </a:lnTo>
                  <a:lnTo>
                    <a:pt x="6887354" y="4399346"/>
                  </a:lnTo>
                  <a:lnTo>
                    <a:pt x="6663265" y="4399346"/>
                  </a:lnTo>
                  <a:close/>
                  <a:moveTo>
                    <a:pt x="6893756" y="4161221"/>
                  </a:moveTo>
                  <a:lnTo>
                    <a:pt x="7117845" y="4161221"/>
                  </a:lnTo>
                  <a:lnTo>
                    <a:pt x="7117845" y="4399346"/>
                  </a:lnTo>
                  <a:lnTo>
                    <a:pt x="6893756" y="4399346"/>
                  </a:lnTo>
                  <a:close/>
                  <a:moveTo>
                    <a:pt x="7124247" y="4161221"/>
                  </a:moveTo>
                  <a:lnTo>
                    <a:pt x="7346801" y="4161221"/>
                  </a:lnTo>
                  <a:lnTo>
                    <a:pt x="7346801" y="4399346"/>
                  </a:lnTo>
                  <a:lnTo>
                    <a:pt x="7124247" y="4399346"/>
                  </a:lnTo>
                  <a:close/>
                  <a:moveTo>
                    <a:pt x="7353204" y="4161221"/>
                  </a:moveTo>
                  <a:lnTo>
                    <a:pt x="7577292" y="4161221"/>
                  </a:lnTo>
                  <a:lnTo>
                    <a:pt x="7577292" y="4399346"/>
                  </a:lnTo>
                  <a:lnTo>
                    <a:pt x="7353204" y="4399346"/>
                  </a:lnTo>
                  <a:close/>
                  <a:moveTo>
                    <a:pt x="7583695" y="4161221"/>
                  </a:moveTo>
                  <a:lnTo>
                    <a:pt x="7807783" y="4161221"/>
                  </a:lnTo>
                  <a:lnTo>
                    <a:pt x="7807783" y="4399346"/>
                  </a:lnTo>
                  <a:lnTo>
                    <a:pt x="7583695" y="4399346"/>
                  </a:lnTo>
                  <a:close/>
                  <a:moveTo>
                    <a:pt x="7814186" y="4161221"/>
                  </a:moveTo>
                  <a:lnTo>
                    <a:pt x="8038274" y="4161221"/>
                  </a:lnTo>
                  <a:lnTo>
                    <a:pt x="8038274" y="4399346"/>
                  </a:lnTo>
                  <a:lnTo>
                    <a:pt x="7814186" y="4399346"/>
                  </a:lnTo>
                  <a:close/>
                  <a:moveTo>
                    <a:pt x="8044677" y="4161221"/>
                  </a:moveTo>
                  <a:lnTo>
                    <a:pt x="8267227" y="4161221"/>
                  </a:lnTo>
                  <a:lnTo>
                    <a:pt x="8267227" y="4399346"/>
                  </a:lnTo>
                  <a:lnTo>
                    <a:pt x="8044420" y="4399346"/>
                  </a:lnTo>
                  <a:close/>
                  <a:moveTo>
                    <a:pt x="8273629" y="4161221"/>
                  </a:moveTo>
                  <a:lnTo>
                    <a:pt x="8497718" y="4161221"/>
                  </a:lnTo>
                  <a:lnTo>
                    <a:pt x="8497718" y="4399346"/>
                  </a:lnTo>
                  <a:lnTo>
                    <a:pt x="8273629" y="4399346"/>
                  </a:lnTo>
                  <a:close/>
                  <a:moveTo>
                    <a:pt x="8504120" y="4161221"/>
                  </a:moveTo>
                  <a:lnTo>
                    <a:pt x="8728209" y="4161221"/>
                  </a:lnTo>
                  <a:lnTo>
                    <a:pt x="8728209" y="4399346"/>
                  </a:lnTo>
                  <a:lnTo>
                    <a:pt x="8504120" y="4399346"/>
                  </a:lnTo>
                  <a:close/>
                  <a:moveTo>
                    <a:pt x="8734611" y="4161221"/>
                  </a:moveTo>
                  <a:lnTo>
                    <a:pt x="8957162" y="4161221"/>
                  </a:lnTo>
                  <a:lnTo>
                    <a:pt x="8957162" y="4399346"/>
                  </a:lnTo>
                  <a:lnTo>
                    <a:pt x="8734611" y="4399346"/>
                  </a:lnTo>
                  <a:close/>
                  <a:moveTo>
                    <a:pt x="8963564" y="4161221"/>
                  </a:moveTo>
                  <a:lnTo>
                    <a:pt x="9187653" y="4161221"/>
                  </a:lnTo>
                  <a:lnTo>
                    <a:pt x="9187653" y="4399346"/>
                  </a:lnTo>
                  <a:lnTo>
                    <a:pt x="8963564" y="4399346"/>
                  </a:lnTo>
                  <a:close/>
                  <a:moveTo>
                    <a:pt x="9194055" y="4161221"/>
                  </a:moveTo>
                  <a:lnTo>
                    <a:pt x="9418144" y="4161221"/>
                  </a:lnTo>
                  <a:lnTo>
                    <a:pt x="9418144" y="4399346"/>
                  </a:lnTo>
                  <a:lnTo>
                    <a:pt x="9194055" y="4399346"/>
                  </a:lnTo>
                  <a:close/>
                  <a:moveTo>
                    <a:pt x="9424546" y="4161221"/>
                  </a:moveTo>
                  <a:lnTo>
                    <a:pt x="9648635" y="4161221"/>
                  </a:lnTo>
                  <a:lnTo>
                    <a:pt x="9648635" y="4399346"/>
                  </a:lnTo>
                  <a:lnTo>
                    <a:pt x="9424546" y="4399346"/>
                  </a:lnTo>
                  <a:close/>
                  <a:moveTo>
                    <a:pt x="9655037" y="4161221"/>
                  </a:moveTo>
                  <a:lnTo>
                    <a:pt x="9877591" y="4161221"/>
                  </a:lnTo>
                  <a:lnTo>
                    <a:pt x="9877591" y="4399346"/>
                  </a:lnTo>
                  <a:lnTo>
                    <a:pt x="9655037" y="4399346"/>
                  </a:lnTo>
                  <a:close/>
                  <a:moveTo>
                    <a:pt x="9655037" y="4154417"/>
                  </a:moveTo>
                  <a:lnTo>
                    <a:pt x="9655037" y="3916292"/>
                  </a:lnTo>
                  <a:lnTo>
                    <a:pt x="9877591" y="3916292"/>
                  </a:lnTo>
                  <a:lnTo>
                    <a:pt x="9877591" y="4154417"/>
                  </a:lnTo>
                  <a:close/>
                  <a:moveTo>
                    <a:pt x="9655037" y="3909489"/>
                  </a:moveTo>
                  <a:lnTo>
                    <a:pt x="9655037" y="3671364"/>
                  </a:lnTo>
                  <a:lnTo>
                    <a:pt x="9877591" y="3671364"/>
                  </a:lnTo>
                  <a:lnTo>
                    <a:pt x="9877591" y="3909489"/>
                  </a:lnTo>
                  <a:close/>
                  <a:moveTo>
                    <a:pt x="9655037" y="3664560"/>
                  </a:moveTo>
                  <a:lnTo>
                    <a:pt x="9655037" y="3428068"/>
                  </a:lnTo>
                  <a:lnTo>
                    <a:pt x="9877591" y="3428068"/>
                  </a:lnTo>
                  <a:lnTo>
                    <a:pt x="9877591" y="3664560"/>
                  </a:lnTo>
                  <a:close/>
                  <a:moveTo>
                    <a:pt x="9655037" y="3421264"/>
                  </a:moveTo>
                  <a:lnTo>
                    <a:pt x="9655037" y="3183139"/>
                  </a:lnTo>
                  <a:lnTo>
                    <a:pt x="9877591" y="3183139"/>
                  </a:lnTo>
                  <a:lnTo>
                    <a:pt x="9877591" y="3421264"/>
                  </a:lnTo>
                  <a:close/>
                  <a:moveTo>
                    <a:pt x="9655037" y="3176336"/>
                  </a:moveTo>
                  <a:lnTo>
                    <a:pt x="9655037" y="2938211"/>
                  </a:lnTo>
                  <a:lnTo>
                    <a:pt x="9877591" y="2938211"/>
                  </a:lnTo>
                  <a:lnTo>
                    <a:pt x="9877591" y="3176336"/>
                  </a:lnTo>
                  <a:close/>
                  <a:moveTo>
                    <a:pt x="9655037" y="2931407"/>
                  </a:moveTo>
                  <a:lnTo>
                    <a:pt x="9655037" y="2693282"/>
                  </a:lnTo>
                  <a:lnTo>
                    <a:pt x="9877591" y="2693282"/>
                  </a:lnTo>
                  <a:lnTo>
                    <a:pt x="9877591" y="2931407"/>
                  </a:lnTo>
                  <a:close/>
                  <a:moveTo>
                    <a:pt x="9655037" y="2686479"/>
                  </a:moveTo>
                  <a:lnTo>
                    <a:pt x="9655037" y="2449986"/>
                  </a:lnTo>
                  <a:lnTo>
                    <a:pt x="9877591" y="2449986"/>
                  </a:lnTo>
                  <a:lnTo>
                    <a:pt x="9877591" y="2686479"/>
                  </a:lnTo>
                  <a:close/>
                  <a:moveTo>
                    <a:pt x="9655037" y="2443183"/>
                  </a:moveTo>
                  <a:lnTo>
                    <a:pt x="9655037" y="2205058"/>
                  </a:lnTo>
                  <a:lnTo>
                    <a:pt x="9877591" y="2205058"/>
                  </a:lnTo>
                  <a:lnTo>
                    <a:pt x="9877591" y="2443183"/>
                  </a:lnTo>
                  <a:close/>
                  <a:moveTo>
                    <a:pt x="9648635" y="2443183"/>
                  </a:moveTo>
                  <a:lnTo>
                    <a:pt x="9424546" y="2443183"/>
                  </a:lnTo>
                  <a:lnTo>
                    <a:pt x="9424546" y="2205058"/>
                  </a:lnTo>
                  <a:lnTo>
                    <a:pt x="9648635" y="2205058"/>
                  </a:lnTo>
                  <a:close/>
                  <a:moveTo>
                    <a:pt x="9418144" y="2443183"/>
                  </a:moveTo>
                  <a:lnTo>
                    <a:pt x="9194055" y="2443183"/>
                  </a:lnTo>
                  <a:lnTo>
                    <a:pt x="9194055" y="2205058"/>
                  </a:lnTo>
                  <a:lnTo>
                    <a:pt x="9418144" y="2205058"/>
                  </a:lnTo>
                  <a:close/>
                  <a:moveTo>
                    <a:pt x="9187653" y="2443183"/>
                  </a:moveTo>
                  <a:lnTo>
                    <a:pt x="8963564" y="2443183"/>
                  </a:lnTo>
                  <a:lnTo>
                    <a:pt x="8963564" y="2205058"/>
                  </a:lnTo>
                  <a:lnTo>
                    <a:pt x="9187653" y="2205058"/>
                  </a:lnTo>
                  <a:close/>
                  <a:moveTo>
                    <a:pt x="8957162" y="2443183"/>
                  </a:moveTo>
                  <a:lnTo>
                    <a:pt x="8734611" y="2443183"/>
                  </a:lnTo>
                  <a:lnTo>
                    <a:pt x="8734611" y="2205058"/>
                  </a:lnTo>
                  <a:lnTo>
                    <a:pt x="8957162" y="2205058"/>
                  </a:lnTo>
                  <a:close/>
                  <a:moveTo>
                    <a:pt x="8728209" y="2443183"/>
                  </a:moveTo>
                  <a:lnTo>
                    <a:pt x="8504120" y="2443183"/>
                  </a:lnTo>
                  <a:lnTo>
                    <a:pt x="8504120" y="2205058"/>
                  </a:lnTo>
                  <a:lnTo>
                    <a:pt x="8728209" y="2205058"/>
                  </a:lnTo>
                  <a:close/>
                  <a:moveTo>
                    <a:pt x="8497718" y="2443183"/>
                  </a:moveTo>
                  <a:lnTo>
                    <a:pt x="8273629" y="2443183"/>
                  </a:lnTo>
                  <a:lnTo>
                    <a:pt x="8273629" y="2205058"/>
                  </a:lnTo>
                  <a:lnTo>
                    <a:pt x="8497718" y="2205058"/>
                  </a:lnTo>
                  <a:close/>
                  <a:moveTo>
                    <a:pt x="8267227" y="2443183"/>
                  </a:moveTo>
                  <a:lnTo>
                    <a:pt x="8044420" y="2443183"/>
                  </a:lnTo>
                  <a:lnTo>
                    <a:pt x="8044420" y="2205058"/>
                  </a:lnTo>
                  <a:lnTo>
                    <a:pt x="8267227" y="2205058"/>
                  </a:lnTo>
                  <a:close/>
                  <a:moveTo>
                    <a:pt x="8038274" y="2443183"/>
                  </a:moveTo>
                  <a:lnTo>
                    <a:pt x="7814186" y="2443183"/>
                  </a:lnTo>
                  <a:lnTo>
                    <a:pt x="7814186" y="2205058"/>
                  </a:lnTo>
                  <a:lnTo>
                    <a:pt x="8038274" y="2205058"/>
                  </a:lnTo>
                  <a:close/>
                  <a:moveTo>
                    <a:pt x="7807783" y="2443183"/>
                  </a:moveTo>
                  <a:lnTo>
                    <a:pt x="7583695" y="2443183"/>
                  </a:lnTo>
                  <a:lnTo>
                    <a:pt x="7583695" y="2205058"/>
                  </a:lnTo>
                  <a:lnTo>
                    <a:pt x="7807783" y="2205058"/>
                  </a:lnTo>
                  <a:close/>
                  <a:moveTo>
                    <a:pt x="7577292" y="2443183"/>
                  </a:moveTo>
                  <a:lnTo>
                    <a:pt x="7353204" y="2443183"/>
                  </a:lnTo>
                  <a:lnTo>
                    <a:pt x="7353204" y="2205058"/>
                  </a:lnTo>
                  <a:lnTo>
                    <a:pt x="7577292" y="2205058"/>
                  </a:lnTo>
                  <a:close/>
                  <a:moveTo>
                    <a:pt x="7346801" y="2443183"/>
                  </a:moveTo>
                  <a:lnTo>
                    <a:pt x="7124247" y="2443183"/>
                  </a:lnTo>
                  <a:lnTo>
                    <a:pt x="7124247" y="2205058"/>
                  </a:lnTo>
                  <a:lnTo>
                    <a:pt x="7346801" y="2205058"/>
                  </a:lnTo>
                  <a:close/>
                  <a:moveTo>
                    <a:pt x="7117845" y="2443183"/>
                  </a:moveTo>
                  <a:lnTo>
                    <a:pt x="6893756" y="2443183"/>
                  </a:lnTo>
                  <a:lnTo>
                    <a:pt x="6893756" y="2205058"/>
                  </a:lnTo>
                  <a:lnTo>
                    <a:pt x="7117845" y="2205058"/>
                  </a:lnTo>
                  <a:close/>
                  <a:moveTo>
                    <a:pt x="6887354" y="2443183"/>
                  </a:moveTo>
                  <a:lnTo>
                    <a:pt x="6663265" y="2443183"/>
                  </a:lnTo>
                  <a:lnTo>
                    <a:pt x="6663265" y="2205058"/>
                  </a:lnTo>
                  <a:lnTo>
                    <a:pt x="6887354" y="2205058"/>
                  </a:lnTo>
                  <a:close/>
                  <a:moveTo>
                    <a:pt x="6656863" y="2443183"/>
                  </a:moveTo>
                  <a:lnTo>
                    <a:pt x="6446349" y="2443183"/>
                  </a:lnTo>
                  <a:lnTo>
                    <a:pt x="6446349" y="2205058"/>
                  </a:lnTo>
                  <a:lnTo>
                    <a:pt x="6656863" y="2205058"/>
                  </a:lnTo>
                  <a:close/>
                  <a:moveTo>
                    <a:pt x="6439946" y="2443183"/>
                  </a:moveTo>
                  <a:lnTo>
                    <a:pt x="6217136" y="2443183"/>
                  </a:lnTo>
                  <a:lnTo>
                    <a:pt x="6217136" y="2205058"/>
                  </a:lnTo>
                  <a:lnTo>
                    <a:pt x="6439690" y="2205058"/>
                  </a:lnTo>
                  <a:close/>
                  <a:moveTo>
                    <a:pt x="6210990" y="2443183"/>
                  </a:moveTo>
                  <a:lnTo>
                    <a:pt x="5986902" y="2443183"/>
                  </a:lnTo>
                  <a:lnTo>
                    <a:pt x="5986902" y="2205058"/>
                  </a:lnTo>
                  <a:lnTo>
                    <a:pt x="6210990" y="2205058"/>
                  </a:lnTo>
                  <a:close/>
                  <a:moveTo>
                    <a:pt x="5980499" y="2443183"/>
                  </a:moveTo>
                  <a:lnTo>
                    <a:pt x="5756411" y="2443183"/>
                  </a:lnTo>
                  <a:lnTo>
                    <a:pt x="5756411" y="2205058"/>
                  </a:lnTo>
                  <a:lnTo>
                    <a:pt x="5980499" y="2205058"/>
                  </a:lnTo>
                  <a:close/>
                  <a:moveTo>
                    <a:pt x="5750008" y="2443183"/>
                  </a:moveTo>
                  <a:lnTo>
                    <a:pt x="5526945" y="2443183"/>
                  </a:lnTo>
                  <a:lnTo>
                    <a:pt x="5526945" y="2205058"/>
                  </a:lnTo>
                  <a:lnTo>
                    <a:pt x="5749495" y="2205058"/>
                  </a:lnTo>
                  <a:close/>
                  <a:moveTo>
                    <a:pt x="5521055" y="2443183"/>
                  </a:moveTo>
                  <a:lnTo>
                    <a:pt x="5296454" y="2443183"/>
                  </a:lnTo>
                  <a:lnTo>
                    <a:pt x="5296454" y="2205058"/>
                  </a:lnTo>
                  <a:lnTo>
                    <a:pt x="5520542" y="2205058"/>
                  </a:lnTo>
                  <a:close/>
                  <a:moveTo>
                    <a:pt x="5290564" y="2443183"/>
                  </a:moveTo>
                  <a:lnTo>
                    <a:pt x="5065963" y="2443183"/>
                  </a:lnTo>
                  <a:lnTo>
                    <a:pt x="5065963" y="2205058"/>
                  </a:lnTo>
                  <a:lnTo>
                    <a:pt x="5290051" y="2205058"/>
                  </a:lnTo>
                  <a:close/>
                  <a:moveTo>
                    <a:pt x="5060073" y="2443183"/>
                  </a:moveTo>
                  <a:lnTo>
                    <a:pt x="4835472" y="2443183"/>
                  </a:lnTo>
                  <a:lnTo>
                    <a:pt x="4835472" y="2205058"/>
                  </a:lnTo>
                  <a:lnTo>
                    <a:pt x="5059560" y="2205058"/>
                  </a:lnTo>
                  <a:close/>
                  <a:moveTo>
                    <a:pt x="4829582" y="2443183"/>
                  </a:moveTo>
                  <a:lnTo>
                    <a:pt x="4607029" y="2443183"/>
                  </a:lnTo>
                  <a:lnTo>
                    <a:pt x="4607029" y="2205058"/>
                  </a:lnTo>
                  <a:lnTo>
                    <a:pt x="4829582" y="2205058"/>
                  </a:lnTo>
                  <a:close/>
                  <a:moveTo>
                    <a:pt x="4600626" y="2443183"/>
                  </a:moveTo>
                  <a:lnTo>
                    <a:pt x="4376538" y="2443183"/>
                  </a:lnTo>
                  <a:lnTo>
                    <a:pt x="4376538" y="2205058"/>
                  </a:lnTo>
                  <a:lnTo>
                    <a:pt x="4600626" y="2205058"/>
                  </a:lnTo>
                  <a:close/>
                  <a:moveTo>
                    <a:pt x="4370135" y="2443183"/>
                  </a:moveTo>
                  <a:lnTo>
                    <a:pt x="4146047" y="2443183"/>
                  </a:lnTo>
                  <a:lnTo>
                    <a:pt x="4146047" y="2205058"/>
                  </a:lnTo>
                  <a:lnTo>
                    <a:pt x="4370135" y="2205058"/>
                  </a:lnTo>
                  <a:close/>
                  <a:moveTo>
                    <a:pt x="4139644" y="2443183"/>
                  </a:moveTo>
                  <a:lnTo>
                    <a:pt x="3917094" y="2443183"/>
                  </a:lnTo>
                  <a:lnTo>
                    <a:pt x="3917094" y="2205058"/>
                  </a:lnTo>
                  <a:lnTo>
                    <a:pt x="4139644" y="2205058"/>
                  </a:lnTo>
                  <a:close/>
                  <a:moveTo>
                    <a:pt x="3910691" y="2443183"/>
                  </a:moveTo>
                  <a:lnTo>
                    <a:pt x="3686603" y="2443183"/>
                  </a:lnTo>
                  <a:lnTo>
                    <a:pt x="3686603" y="2205058"/>
                  </a:lnTo>
                  <a:lnTo>
                    <a:pt x="3910691" y="2205058"/>
                  </a:lnTo>
                  <a:close/>
                  <a:moveTo>
                    <a:pt x="3680200" y="2443183"/>
                  </a:moveTo>
                  <a:lnTo>
                    <a:pt x="3456112" y="2443183"/>
                  </a:lnTo>
                  <a:lnTo>
                    <a:pt x="3456112" y="2205058"/>
                  </a:lnTo>
                  <a:lnTo>
                    <a:pt x="3680200" y="2205058"/>
                  </a:lnTo>
                  <a:close/>
                  <a:moveTo>
                    <a:pt x="3449709" y="2443183"/>
                  </a:moveTo>
                  <a:lnTo>
                    <a:pt x="3225621" y="2443183"/>
                  </a:lnTo>
                  <a:lnTo>
                    <a:pt x="3225621" y="2205058"/>
                  </a:lnTo>
                  <a:lnTo>
                    <a:pt x="3449709" y="2205058"/>
                  </a:lnTo>
                  <a:close/>
                  <a:moveTo>
                    <a:pt x="3219218" y="2443183"/>
                  </a:moveTo>
                  <a:lnTo>
                    <a:pt x="2996666" y="2443183"/>
                  </a:lnTo>
                  <a:lnTo>
                    <a:pt x="2996666" y="2205058"/>
                  </a:lnTo>
                  <a:lnTo>
                    <a:pt x="3219218" y="2205058"/>
                  </a:lnTo>
                  <a:close/>
                  <a:moveTo>
                    <a:pt x="2990264" y="2443183"/>
                  </a:moveTo>
                  <a:lnTo>
                    <a:pt x="2766175" y="2443183"/>
                  </a:lnTo>
                  <a:lnTo>
                    <a:pt x="2766175" y="2205058"/>
                  </a:lnTo>
                  <a:lnTo>
                    <a:pt x="2990264" y="2205058"/>
                  </a:lnTo>
                  <a:close/>
                  <a:moveTo>
                    <a:pt x="2759773" y="2443183"/>
                  </a:moveTo>
                  <a:lnTo>
                    <a:pt x="2535684" y="2443183"/>
                  </a:lnTo>
                  <a:lnTo>
                    <a:pt x="2535684" y="2205058"/>
                  </a:lnTo>
                  <a:lnTo>
                    <a:pt x="2759773" y="2205058"/>
                  </a:lnTo>
                  <a:close/>
                  <a:moveTo>
                    <a:pt x="2529282" y="2443183"/>
                  </a:moveTo>
                  <a:lnTo>
                    <a:pt x="2305193" y="2443183"/>
                  </a:lnTo>
                  <a:lnTo>
                    <a:pt x="2305193" y="2205058"/>
                  </a:lnTo>
                  <a:lnTo>
                    <a:pt x="2529282" y="2205058"/>
                  </a:lnTo>
                  <a:close/>
                  <a:moveTo>
                    <a:pt x="2298791" y="2443183"/>
                  </a:moveTo>
                  <a:lnTo>
                    <a:pt x="2075982" y="2443183"/>
                  </a:lnTo>
                  <a:lnTo>
                    <a:pt x="2075982" y="2205058"/>
                  </a:lnTo>
                  <a:lnTo>
                    <a:pt x="2298534" y="2205058"/>
                  </a:lnTo>
                  <a:close/>
                  <a:moveTo>
                    <a:pt x="2298791" y="2449986"/>
                  </a:moveTo>
                  <a:lnTo>
                    <a:pt x="2298791" y="2686479"/>
                  </a:lnTo>
                  <a:lnTo>
                    <a:pt x="2075982" y="2686479"/>
                  </a:lnTo>
                  <a:lnTo>
                    <a:pt x="2075982" y="2449986"/>
                  </a:lnTo>
                  <a:close/>
                  <a:moveTo>
                    <a:pt x="2298791" y="2693282"/>
                  </a:moveTo>
                  <a:lnTo>
                    <a:pt x="2298791" y="2931407"/>
                  </a:lnTo>
                  <a:lnTo>
                    <a:pt x="2075982" y="2931407"/>
                  </a:lnTo>
                  <a:lnTo>
                    <a:pt x="2075982" y="2693282"/>
                  </a:lnTo>
                  <a:close/>
                  <a:moveTo>
                    <a:pt x="2298791" y="2938211"/>
                  </a:moveTo>
                  <a:lnTo>
                    <a:pt x="2298791" y="3176336"/>
                  </a:lnTo>
                  <a:lnTo>
                    <a:pt x="2075982" y="3176336"/>
                  </a:lnTo>
                  <a:lnTo>
                    <a:pt x="2075982" y="2938211"/>
                  </a:lnTo>
                  <a:close/>
                  <a:moveTo>
                    <a:pt x="2298791" y="3183139"/>
                  </a:moveTo>
                  <a:lnTo>
                    <a:pt x="2298791" y="3421264"/>
                  </a:lnTo>
                  <a:lnTo>
                    <a:pt x="2075982" y="3421264"/>
                  </a:lnTo>
                  <a:lnTo>
                    <a:pt x="2075982" y="3183139"/>
                  </a:lnTo>
                  <a:close/>
                  <a:moveTo>
                    <a:pt x="2298791" y="3428068"/>
                  </a:moveTo>
                  <a:lnTo>
                    <a:pt x="2298791" y="3664560"/>
                  </a:lnTo>
                  <a:lnTo>
                    <a:pt x="2075982" y="3664560"/>
                  </a:lnTo>
                  <a:lnTo>
                    <a:pt x="2075982" y="3428068"/>
                  </a:lnTo>
                  <a:close/>
                  <a:moveTo>
                    <a:pt x="2298791" y="3671364"/>
                  </a:moveTo>
                  <a:lnTo>
                    <a:pt x="2298791" y="3909489"/>
                  </a:lnTo>
                  <a:lnTo>
                    <a:pt x="2075982" y="3909489"/>
                  </a:lnTo>
                  <a:lnTo>
                    <a:pt x="2075982" y="3671364"/>
                  </a:lnTo>
                  <a:close/>
                  <a:moveTo>
                    <a:pt x="2298791" y="3916292"/>
                  </a:moveTo>
                  <a:lnTo>
                    <a:pt x="2298791" y="4154417"/>
                  </a:lnTo>
                  <a:lnTo>
                    <a:pt x="2075982" y="4154417"/>
                  </a:lnTo>
                  <a:lnTo>
                    <a:pt x="2075982" y="3916292"/>
                  </a:lnTo>
                  <a:close/>
                  <a:moveTo>
                    <a:pt x="2298791" y="4161221"/>
                  </a:moveTo>
                  <a:lnTo>
                    <a:pt x="2298791" y="4399346"/>
                  </a:lnTo>
                  <a:lnTo>
                    <a:pt x="2075982" y="4399346"/>
                  </a:lnTo>
                  <a:lnTo>
                    <a:pt x="2075982" y="4161221"/>
                  </a:lnTo>
                  <a:close/>
                  <a:moveTo>
                    <a:pt x="2298791" y="4406149"/>
                  </a:moveTo>
                  <a:lnTo>
                    <a:pt x="2298791" y="4642233"/>
                  </a:lnTo>
                  <a:lnTo>
                    <a:pt x="2075982" y="4642233"/>
                  </a:lnTo>
                  <a:lnTo>
                    <a:pt x="2075982" y="4405741"/>
                  </a:lnTo>
                  <a:close/>
                  <a:moveTo>
                    <a:pt x="2305193" y="4406149"/>
                  </a:moveTo>
                  <a:lnTo>
                    <a:pt x="2529282" y="4406149"/>
                  </a:lnTo>
                  <a:lnTo>
                    <a:pt x="2529282" y="4642233"/>
                  </a:lnTo>
                  <a:lnTo>
                    <a:pt x="2305193" y="4642233"/>
                  </a:lnTo>
                  <a:close/>
                  <a:moveTo>
                    <a:pt x="2535684" y="4406149"/>
                  </a:moveTo>
                  <a:lnTo>
                    <a:pt x="2759773" y="4406149"/>
                  </a:lnTo>
                  <a:lnTo>
                    <a:pt x="2759773" y="4642233"/>
                  </a:lnTo>
                  <a:lnTo>
                    <a:pt x="2535684" y="4642233"/>
                  </a:lnTo>
                  <a:close/>
                  <a:moveTo>
                    <a:pt x="2766175" y="4406149"/>
                  </a:moveTo>
                  <a:lnTo>
                    <a:pt x="2990264" y="4406149"/>
                  </a:lnTo>
                  <a:lnTo>
                    <a:pt x="2990264" y="4642233"/>
                  </a:lnTo>
                  <a:lnTo>
                    <a:pt x="2766175" y="4642233"/>
                  </a:lnTo>
                  <a:close/>
                  <a:moveTo>
                    <a:pt x="2996666" y="4406149"/>
                  </a:moveTo>
                  <a:lnTo>
                    <a:pt x="3219218" y="4406149"/>
                  </a:lnTo>
                  <a:lnTo>
                    <a:pt x="3219218" y="4642233"/>
                  </a:lnTo>
                  <a:lnTo>
                    <a:pt x="2996666" y="4642233"/>
                  </a:lnTo>
                  <a:close/>
                  <a:moveTo>
                    <a:pt x="3225621" y="4406149"/>
                  </a:moveTo>
                  <a:lnTo>
                    <a:pt x="3449709" y="4406149"/>
                  </a:lnTo>
                  <a:lnTo>
                    <a:pt x="3449709" y="4642233"/>
                  </a:lnTo>
                  <a:lnTo>
                    <a:pt x="3225621" y="4642233"/>
                  </a:lnTo>
                  <a:close/>
                  <a:moveTo>
                    <a:pt x="3456112" y="4406149"/>
                  </a:moveTo>
                  <a:lnTo>
                    <a:pt x="3680200" y="4406149"/>
                  </a:lnTo>
                  <a:lnTo>
                    <a:pt x="3680200" y="4642233"/>
                  </a:lnTo>
                  <a:lnTo>
                    <a:pt x="3456112" y="4642233"/>
                  </a:lnTo>
                  <a:close/>
                  <a:moveTo>
                    <a:pt x="3686603" y="4406149"/>
                  </a:moveTo>
                  <a:lnTo>
                    <a:pt x="3910691" y="4406149"/>
                  </a:lnTo>
                  <a:lnTo>
                    <a:pt x="3910691" y="4642233"/>
                  </a:lnTo>
                  <a:lnTo>
                    <a:pt x="3686603" y="4642233"/>
                  </a:lnTo>
                  <a:close/>
                  <a:moveTo>
                    <a:pt x="3917094" y="4406149"/>
                  </a:moveTo>
                  <a:lnTo>
                    <a:pt x="4139644" y="4406149"/>
                  </a:lnTo>
                  <a:lnTo>
                    <a:pt x="4139644" y="4642233"/>
                  </a:lnTo>
                  <a:lnTo>
                    <a:pt x="3917094" y="4642233"/>
                  </a:lnTo>
                  <a:close/>
                  <a:moveTo>
                    <a:pt x="4146047" y="4406149"/>
                  </a:moveTo>
                  <a:lnTo>
                    <a:pt x="4370135" y="4406149"/>
                  </a:lnTo>
                  <a:lnTo>
                    <a:pt x="4370135" y="4642233"/>
                  </a:lnTo>
                  <a:lnTo>
                    <a:pt x="4146047" y="4642233"/>
                  </a:lnTo>
                  <a:close/>
                  <a:moveTo>
                    <a:pt x="4376538" y="4406149"/>
                  </a:moveTo>
                  <a:lnTo>
                    <a:pt x="4600626" y="4406149"/>
                  </a:lnTo>
                  <a:lnTo>
                    <a:pt x="4600626" y="4642233"/>
                  </a:lnTo>
                  <a:lnTo>
                    <a:pt x="4376538" y="4642233"/>
                  </a:lnTo>
                  <a:close/>
                  <a:moveTo>
                    <a:pt x="4607029" y="4406149"/>
                  </a:moveTo>
                  <a:lnTo>
                    <a:pt x="4829582" y="4406149"/>
                  </a:lnTo>
                  <a:lnTo>
                    <a:pt x="4829582" y="4642233"/>
                  </a:lnTo>
                  <a:lnTo>
                    <a:pt x="4607029" y="4642233"/>
                  </a:lnTo>
                  <a:close/>
                  <a:moveTo>
                    <a:pt x="4835985" y="4406149"/>
                  </a:moveTo>
                  <a:lnTo>
                    <a:pt x="5060073" y="4406149"/>
                  </a:lnTo>
                  <a:lnTo>
                    <a:pt x="5060073" y="4642233"/>
                  </a:lnTo>
                  <a:lnTo>
                    <a:pt x="4835472" y="4642233"/>
                  </a:lnTo>
                  <a:close/>
                  <a:moveTo>
                    <a:pt x="5066476" y="4406149"/>
                  </a:moveTo>
                  <a:lnTo>
                    <a:pt x="5290564" y="4406149"/>
                  </a:lnTo>
                  <a:lnTo>
                    <a:pt x="5290564" y="4642233"/>
                  </a:lnTo>
                  <a:lnTo>
                    <a:pt x="5065963" y="4642233"/>
                  </a:lnTo>
                  <a:close/>
                  <a:moveTo>
                    <a:pt x="5296967" y="4406149"/>
                  </a:moveTo>
                  <a:lnTo>
                    <a:pt x="5521055" y="4406149"/>
                  </a:lnTo>
                  <a:lnTo>
                    <a:pt x="5521055" y="4642233"/>
                  </a:lnTo>
                  <a:lnTo>
                    <a:pt x="5296454" y="4642233"/>
                  </a:lnTo>
                  <a:close/>
                  <a:moveTo>
                    <a:pt x="5527458" y="4406149"/>
                  </a:moveTo>
                  <a:lnTo>
                    <a:pt x="5750008" y="4406149"/>
                  </a:lnTo>
                  <a:lnTo>
                    <a:pt x="5750008" y="4642233"/>
                  </a:lnTo>
                  <a:lnTo>
                    <a:pt x="5526945" y="4642233"/>
                  </a:lnTo>
                  <a:close/>
                  <a:moveTo>
                    <a:pt x="5756411" y="4406149"/>
                  </a:moveTo>
                  <a:lnTo>
                    <a:pt x="5980499" y="4406149"/>
                  </a:lnTo>
                  <a:lnTo>
                    <a:pt x="5980499" y="4642233"/>
                  </a:lnTo>
                  <a:lnTo>
                    <a:pt x="5756411" y="4642233"/>
                  </a:lnTo>
                  <a:close/>
                  <a:moveTo>
                    <a:pt x="5986902" y="4406149"/>
                  </a:moveTo>
                  <a:lnTo>
                    <a:pt x="6210990" y="4406149"/>
                  </a:lnTo>
                  <a:lnTo>
                    <a:pt x="6210990" y="4642233"/>
                  </a:lnTo>
                  <a:lnTo>
                    <a:pt x="5986902" y="4642233"/>
                  </a:lnTo>
                  <a:close/>
                  <a:moveTo>
                    <a:pt x="6217393" y="4406149"/>
                  </a:moveTo>
                  <a:lnTo>
                    <a:pt x="6439946" y="4406149"/>
                  </a:lnTo>
                  <a:lnTo>
                    <a:pt x="6439946" y="4642233"/>
                  </a:lnTo>
                  <a:lnTo>
                    <a:pt x="6217136" y="4642233"/>
                  </a:lnTo>
                  <a:close/>
                  <a:moveTo>
                    <a:pt x="6446349" y="4406149"/>
                  </a:moveTo>
                  <a:lnTo>
                    <a:pt x="6656863" y="4406149"/>
                  </a:lnTo>
                  <a:lnTo>
                    <a:pt x="6656863" y="4642233"/>
                  </a:lnTo>
                  <a:lnTo>
                    <a:pt x="6446349" y="4642233"/>
                  </a:lnTo>
                  <a:close/>
                  <a:moveTo>
                    <a:pt x="6663265" y="4406149"/>
                  </a:moveTo>
                  <a:lnTo>
                    <a:pt x="6887354" y="4406149"/>
                  </a:lnTo>
                  <a:lnTo>
                    <a:pt x="6887354" y="4642233"/>
                  </a:lnTo>
                  <a:lnTo>
                    <a:pt x="6663265" y="4642233"/>
                  </a:lnTo>
                  <a:close/>
                  <a:moveTo>
                    <a:pt x="6893756" y="4406149"/>
                  </a:moveTo>
                  <a:lnTo>
                    <a:pt x="7117845" y="4406149"/>
                  </a:lnTo>
                  <a:lnTo>
                    <a:pt x="7117845" y="4642233"/>
                  </a:lnTo>
                  <a:lnTo>
                    <a:pt x="6893756" y="4642233"/>
                  </a:lnTo>
                  <a:close/>
                  <a:moveTo>
                    <a:pt x="7124247" y="4406149"/>
                  </a:moveTo>
                  <a:lnTo>
                    <a:pt x="7346801" y="4406149"/>
                  </a:lnTo>
                  <a:lnTo>
                    <a:pt x="7346801" y="4642233"/>
                  </a:lnTo>
                  <a:lnTo>
                    <a:pt x="7124247" y="4642233"/>
                  </a:lnTo>
                  <a:close/>
                  <a:moveTo>
                    <a:pt x="7353204" y="4406149"/>
                  </a:moveTo>
                  <a:lnTo>
                    <a:pt x="7577292" y="4406149"/>
                  </a:lnTo>
                  <a:lnTo>
                    <a:pt x="7577292" y="4642233"/>
                  </a:lnTo>
                  <a:lnTo>
                    <a:pt x="7353204" y="4642233"/>
                  </a:lnTo>
                  <a:close/>
                  <a:moveTo>
                    <a:pt x="7583695" y="4406149"/>
                  </a:moveTo>
                  <a:lnTo>
                    <a:pt x="7807783" y="4406149"/>
                  </a:lnTo>
                  <a:lnTo>
                    <a:pt x="7807783" y="4642233"/>
                  </a:lnTo>
                  <a:lnTo>
                    <a:pt x="7583695" y="4642233"/>
                  </a:lnTo>
                  <a:close/>
                  <a:moveTo>
                    <a:pt x="7814186" y="4406149"/>
                  </a:moveTo>
                  <a:lnTo>
                    <a:pt x="8038274" y="4406149"/>
                  </a:lnTo>
                  <a:lnTo>
                    <a:pt x="8038274" y="4642233"/>
                  </a:lnTo>
                  <a:lnTo>
                    <a:pt x="7814186" y="4642233"/>
                  </a:lnTo>
                  <a:close/>
                  <a:moveTo>
                    <a:pt x="8044677" y="4406149"/>
                  </a:moveTo>
                  <a:lnTo>
                    <a:pt x="8267227" y="4406149"/>
                  </a:lnTo>
                  <a:lnTo>
                    <a:pt x="8267227" y="4642233"/>
                  </a:lnTo>
                  <a:lnTo>
                    <a:pt x="8044420" y="4642233"/>
                  </a:lnTo>
                  <a:close/>
                  <a:moveTo>
                    <a:pt x="8273629" y="4406149"/>
                  </a:moveTo>
                  <a:lnTo>
                    <a:pt x="8497718" y="4406149"/>
                  </a:lnTo>
                  <a:lnTo>
                    <a:pt x="8497718" y="4642233"/>
                  </a:lnTo>
                  <a:lnTo>
                    <a:pt x="8273629" y="4642233"/>
                  </a:lnTo>
                  <a:close/>
                  <a:moveTo>
                    <a:pt x="8504120" y="4406149"/>
                  </a:moveTo>
                  <a:lnTo>
                    <a:pt x="8728209" y="4406149"/>
                  </a:lnTo>
                  <a:lnTo>
                    <a:pt x="8728209" y="4642233"/>
                  </a:lnTo>
                  <a:lnTo>
                    <a:pt x="8504120" y="4642233"/>
                  </a:lnTo>
                  <a:close/>
                  <a:moveTo>
                    <a:pt x="8734611" y="4406149"/>
                  </a:moveTo>
                  <a:lnTo>
                    <a:pt x="8957162" y="4406149"/>
                  </a:lnTo>
                  <a:lnTo>
                    <a:pt x="8957162" y="4642233"/>
                  </a:lnTo>
                  <a:lnTo>
                    <a:pt x="8734611" y="4642233"/>
                  </a:lnTo>
                  <a:close/>
                  <a:moveTo>
                    <a:pt x="8963564" y="4406149"/>
                  </a:moveTo>
                  <a:lnTo>
                    <a:pt x="9187653" y="4406149"/>
                  </a:lnTo>
                  <a:lnTo>
                    <a:pt x="9187653" y="4642233"/>
                  </a:lnTo>
                  <a:lnTo>
                    <a:pt x="8963564" y="4642233"/>
                  </a:lnTo>
                  <a:close/>
                  <a:moveTo>
                    <a:pt x="9194055" y="4406149"/>
                  </a:moveTo>
                  <a:lnTo>
                    <a:pt x="9418144" y="4406149"/>
                  </a:lnTo>
                  <a:lnTo>
                    <a:pt x="9418144" y="4642233"/>
                  </a:lnTo>
                  <a:lnTo>
                    <a:pt x="9194055" y="4642233"/>
                  </a:lnTo>
                  <a:close/>
                  <a:moveTo>
                    <a:pt x="9424546" y="4406149"/>
                  </a:moveTo>
                  <a:lnTo>
                    <a:pt x="9648635" y="4406149"/>
                  </a:lnTo>
                  <a:lnTo>
                    <a:pt x="9648635" y="4642233"/>
                  </a:lnTo>
                  <a:lnTo>
                    <a:pt x="9424546" y="4642233"/>
                  </a:lnTo>
                  <a:close/>
                  <a:moveTo>
                    <a:pt x="9655037" y="4406149"/>
                  </a:moveTo>
                  <a:lnTo>
                    <a:pt x="9877591" y="4406149"/>
                  </a:lnTo>
                  <a:lnTo>
                    <a:pt x="9877591" y="4642233"/>
                  </a:lnTo>
                  <a:lnTo>
                    <a:pt x="9655037" y="4642233"/>
                  </a:lnTo>
                  <a:close/>
                  <a:moveTo>
                    <a:pt x="9883993" y="4406149"/>
                  </a:moveTo>
                  <a:lnTo>
                    <a:pt x="10108082" y="4406149"/>
                  </a:lnTo>
                  <a:lnTo>
                    <a:pt x="10108082" y="4642233"/>
                  </a:lnTo>
                  <a:lnTo>
                    <a:pt x="9883993" y="4642233"/>
                  </a:lnTo>
                  <a:close/>
                  <a:moveTo>
                    <a:pt x="9883993" y="4399346"/>
                  </a:moveTo>
                  <a:lnTo>
                    <a:pt x="9883993" y="4161221"/>
                  </a:lnTo>
                  <a:lnTo>
                    <a:pt x="10108082" y="4161221"/>
                  </a:lnTo>
                  <a:lnTo>
                    <a:pt x="10108082" y="4399346"/>
                  </a:lnTo>
                  <a:close/>
                  <a:moveTo>
                    <a:pt x="9883993" y="4154417"/>
                  </a:moveTo>
                  <a:lnTo>
                    <a:pt x="9883993" y="3916292"/>
                  </a:lnTo>
                  <a:lnTo>
                    <a:pt x="10108082" y="3916292"/>
                  </a:lnTo>
                  <a:lnTo>
                    <a:pt x="10108082" y="4154417"/>
                  </a:lnTo>
                  <a:close/>
                  <a:moveTo>
                    <a:pt x="9883993" y="3909489"/>
                  </a:moveTo>
                  <a:lnTo>
                    <a:pt x="9883993" y="3671364"/>
                  </a:lnTo>
                  <a:lnTo>
                    <a:pt x="10108082" y="3671364"/>
                  </a:lnTo>
                  <a:lnTo>
                    <a:pt x="10108082" y="3909489"/>
                  </a:lnTo>
                  <a:close/>
                  <a:moveTo>
                    <a:pt x="9883993" y="3664560"/>
                  </a:moveTo>
                  <a:lnTo>
                    <a:pt x="9883993" y="3428068"/>
                  </a:lnTo>
                  <a:lnTo>
                    <a:pt x="10108082" y="3428068"/>
                  </a:lnTo>
                  <a:lnTo>
                    <a:pt x="10108082" y="3664560"/>
                  </a:lnTo>
                  <a:close/>
                  <a:moveTo>
                    <a:pt x="9883993" y="3421264"/>
                  </a:moveTo>
                  <a:lnTo>
                    <a:pt x="9883993" y="3183139"/>
                  </a:lnTo>
                  <a:lnTo>
                    <a:pt x="10108082" y="3183139"/>
                  </a:lnTo>
                  <a:lnTo>
                    <a:pt x="10108082" y="3421264"/>
                  </a:lnTo>
                  <a:close/>
                  <a:moveTo>
                    <a:pt x="9883993" y="3176336"/>
                  </a:moveTo>
                  <a:lnTo>
                    <a:pt x="9883993" y="2938211"/>
                  </a:lnTo>
                  <a:lnTo>
                    <a:pt x="10108082" y="2938211"/>
                  </a:lnTo>
                  <a:lnTo>
                    <a:pt x="10108082" y="3176336"/>
                  </a:lnTo>
                  <a:close/>
                  <a:moveTo>
                    <a:pt x="9883993" y="2931407"/>
                  </a:moveTo>
                  <a:lnTo>
                    <a:pt x="9883993" y="2693282"/>
                  </a:lnTo>
                  <a:lnTo>
                    <a:pt x="10108082" y="2693282"/>
                  </a:lnTo>
                  <a:lnTo>
                    <a:pt x="10108082" y="2931407"/>
                  </a:lnTo>
                  <a:close/>
                  <a:moveTo>
                    <a:pt x="9883993" y="2686479"/>
                  </a:moveTo>
                  <a:lnTo>
                    <a:pt x="9883993" y="2449986"/>
                  </a:lnTo>
                  <a:lnTo>
                    <a:pt x="10108082" y="2449986"/>
                  </a:lnTo>
                  <a:lnTo>
                    <a:pt x="10108082" y="2686479"/>
                  </a:lnTo>
                  <a:close/>
                  <a:moveTo>
                    <a:pt x="9883993" y="2443183"/>
                  </a:moveTo>
                  <a:lnTo>
                    <a:pt x="9883993" y="2205058"/>
                  </a:lnTo>
                  <a:lnTo>
                    <a:pt x="10108082" y="2205058"/>
                  </a:lnTo>
                  <a:lnTo>
                    <a:pt x="10108082" y="2443183"/>
                  </a:lnTo>
                  <a:close/>
                  <a:moveTo>
                    <a:pt x="9883993" y="2198254"/>
                  </a:moveTo>
                  <a:lnTo>
                    <a:pt x="9883993" y="1960129"/>
                  </a:lnTo>
                  <a:lnTo>
                    <a:pt x="10108082" y="1960129"/>
                  </a:lnTo>
                  <a:lnTo>
                    <a:pt x="10108082" y="2198254"/>
                  </a:lnTo>
                  <a:close/>
                  <a:moveTo>
                    <a:pt x="9877591" y="2198254"/>
                  </a:moveTo>
                  <a:lnTo>
                    <a:pt x="9655037" y="2198254"/>
                  </a:lnTo>
                  <a:lnTo>
                    <a:pt x="9655037" y="1960129"/>
                  </a:lnTo>
                  <a:lnTo>
                    <a:pt x="9877591" y="1960129"/>
                  </a:lnTo>
                  <a:close/>
                  <a:moveTo>
                    <a:pt x="9648635" y="2198254"/>
                  </a:moveTo>
                  <a:lnTo>
                    <a:pt x="9424546" y="2198254"/>
                  </a:lnTo>
                  <a:lnTo>
                    <a:pt x="9424546" y="1960129"/>
                  </a:lnTo>
                  <a:lnTo>
                    <a:pt x="9648635" y="1960129"/>
                  </a:lnTo>
                  <a:close/>
                  <a:moveTo>
                    <a:pt x="9418144" y="2198254"/>
                  </a:moveTo>
                  <a:lnTo>
                    <a:pt x="9194055" y="2198254"/>
                  </a:lnTo>
                  <a:lnTo>
                    <a:pt x="9194055" y="1960129"/>
                  </a:lnTo>
                  <a:lnTo>
                    <a:pt x="9418144" y="1960129"/>
                  </a:lnTo>
                  <a:close/>
                  <a:moveTo>
                    <a:pt x="9187653" y="2198254"/>
                  </a:moveTo>
                  <a:lnTo>
                    <a:pt x="8963564" y="2198254"/>
                  </a:lnTo>
                  <a:lnTo>
                    <a:pt x="8963564" y="1960129"/>
                  </a:lnTo>
                  <a:lnTo>
                    <a:pt x="9187653" y="1960129"/>
                  </a:lnTo>
                  <a:close/>
                  <a:moveTo>
                    <a:pt x="8957162" y="2198254"/>
                  </a:moveTo>
                  <a:lnTo>
                    <a:pt x="8734611" y="2198254"/>
                  </a:lnTo>
                  <a:lnTo>
                    <a:pt x="8734611" y="1960129"/>
                  </a:lnTo>
                  <a:lnTo>
                    <a:pt x="8957162" y="1960129"/>
                  </a:lnTo>
                  <a:close/>
                  <a:moveTo>
                    <a:pt x="8728209" y="2198254"/>
                  </a:moveTo>
                  <a:lnTo>
                    <a:pt x="8504120" y="2198254"/>
                  </a:lnTo>
                  <a:lnTo>
                    <a:pt x="8504120" y="1960129"/>
                  </a:lnTo>
                  <a:lnTo>
                    <a:pt x="8728209" y="1960129"/>
                  </a:lnTo>
                  <a:close/>
                  <a:moveTo>
                    <a:pt x="8497718" y="2198254"/>
                  </a:moveTo>
                  <a:lnTo>
                    <a:pt x="8273629" y="2198254"/>
                  </a:lnTo>
                  <a:lnTo>
                    <a:pt x="8273629" y="1960129"/>
                  </a:lnTo>
                  <a:lnTo>
                    <a:pt x="8497718" y="1960129"/>
                  </a:lnTo>
                  <a:close/>
                  <a:moveTo>
                    <a:pt x="8267227" y="2198254"/>
                  </a:moveTo>
                  <a:lnTo>
                    <a:pt x="8044420" y="2198254"/>
                  </a:lnTo>
                  <a:lnTo>
                    <a:pt x="8044420" y="1960129"/>
                  </a:lnTo>
                  <a:lnTo>
                    <a:pt x="8267227" y="1960129"/>
                  </a:lnTo>
                  <a:close/>
                  <a:moveTo>
                    <a:pt x="8038274" y="2198254"/>
                  </a:moveTo>
                  <a:lnTo>
                    <a:pt x="7814186" y="2198254"/>
                  </a:lnTo>
                  <a:lnTo>
                    <a:pt x="7814186" y="1960129"/>
                  </a:lnTo>
                  <a:lnTo>
                    <a:pt x="8038274" y="1960129"/>
                  </a:lnTo>
                  <a:close/>
                  <a:moveTo>
                    <a:pt x="7807783" y="2198254"/>
                  </a:moveTo>
                  <a:lnTo>
                    <a:pt x="7583695" y="2198254"/>
                  </a:lnTo>
                  <a:lnTo>
                    <a:pt x="7583695" y="1960129"/>
                  </a:lnTo>
                  <a:lnTo>
                    <a:pt x="7807783" y="1960129"/>
                  </a:lnTo>
                  <a:close/>
                  <a:moveTo>
                    <a:pt x="7577292" y="2198254"/>
                  </a:moveTo>
                  <a:lnTo>
                    <a:pt x="7353204" y="2198254"/>
                  </a:lnTo>
                  <a:lnTo>
                    <a:pt x="7353204" y="1960129"/>
                  </a:lnTo>
                  <a:lnTo>
                    <a:pt x="7577292" y="1960129"/>
                  </a:lnTo>
                  <a:close/>
                  <a:moveTo>
                    <a:pt x="7346801" y="2198254"/>
                  </a:moveTo>
                  <a:lnTo>
                    <a:pt x="7124247" y="2198254"/>
                  </a:lnTo>
                  <a:lnTo>
                    <a:pt x="7124247" y="1960129"/>
                  </a:lnTo>
                  <a:lnTo>
                    <a:pt x="7346801" y="1960129"/>
                  </a:lnTo>
                  <a:close/>
                  <a:moveTo>
                    <a:pt x="7117845" y="2198254"/>
                  </a:moveTo>
                  <a:lnTo>
                    <a:pt x="6893756" y="2198254"/>
                  </a:lnTo>
                  <a:lnTo>
                    <a:pt x="6893756" y="1960129"/>
                  </a:lnTo>
                  <a:lnTo>
                    <a:pt x="7117845" y="1960129"/>
                  </a:lnTo>
                  <a:close/>
                  <a:moveTo>
                    <a:pt x="6887354" y="2198254"/>
                  </a:moveTo>
                  <a:lnTo>
                    <a:pt x="6663265" y="2198254"/>
                  </a:lnTo>
                  <a:lnTo>
                    <a:pt x="6663265" y="1960129"/>
                  </a:lnTo>
                  <a:lnTo>
                    <a:pt x="6887354" y="1960129"/>
                  </a:lnTo>
                  <a:close/>
                  <a:moveTo>
                    <a:pt x="6656863" y="2198254"/>
                  </a:moveTo>
                  <a:lnTo>
                    <a:pt x="6446349" y="2198254"/>
                  </a:lnTo>
                  <a:lnTo>
                    <a:pt x="6446349" y="1960129"/>
                  </a:lnTo>
                  <a:lnTo>
                    <a:pt x="6656863" y="1960129"/>
                  </a:lnTo>
                  <a:close/>
                  <a:moveTo>
                    <a:pt x="6439946" y="2198254"/>
                  </a:moveTo>
                  <a:lnTo>
                    <a:pt x="6217136" y="2198254"/>
                  </a:lnTo>
                  <a:lnTo>
                    <a:pt x="6217136" y="1960129"/>
                  </a:lnTo>
                  <a:lnTo>
                    <a:pt x="6439690" y="1960129"/>
                  </a:lnTo>
                  <a:close/>
                  <a:moveTo>
                    <a:pt x="6210990" y="2198254"/>
                  </a:moveTo>
                  <a:lnTo>
                    <a:pt x="5986902" y="2198254"/>
                  </a:lnTo>
                  <a:lnTo>
                    <a:pt x="5986902" y="1960129"/>
                  </a:lnTo>
                  <a:lnTo>
                    <a:pt x="6210990" y="1960129"/>
                  </a:lnTo>
                  <a:close/>
                  <a:moveTo>
                    <a:pt x="5980499" y="2198254"/>
                  </a:moveTo>
                  <a:lnTo>
                    <a:pt x="5756411" y="2198254"/>
                  </a:lnTo>
                  <a:lnTo>
                    <a:pt x="5756411" y="1960129"/>
                  </a:lnTo>
                  <a:lnTo>
                    <a:pt x="5980499" y="1960129"/>
                  </a:lnTo>
                  <a:close/>
                  <a:moveTo>
                    <a:pt x="5750008" y="2198254"/>
                  </a:moveTo>
                  <a:lnTo>
                    <a:pt x="5526945" y="2198254"/>
                  </a:lnTo>
                  <a:lnTo>
                    <a:pt x="5526945" y="1960129"/>
                  </a:lnTo>
                  <a:lnTo>
                    <a:pt x="5749495" y="1960129"/>
                  </a:lnTo>
                  <a:close/>
                  <a:moveTo>
                    <a:pt x="5521055" y="2198254"/>
                  </a:moveTo>
                  <a:lnTo>
                    <a:pt x="5296454" y="2198254"/>
                  </a:lnTo>
                  <a:lnTo>
                    <a:pt x="5296454" y="1960129"/>
                  </a:lnTo>
                  <a:lnTo>
                    <a:pt x="5520542" y="1960129"/>
                  </a:lnTo>
                  <a:close/>
                  <a:moveTo>
                    <a:pt x="5290564" y="2198254"/>
                  </a:moveTo>
                  <a:lnTo>
                    <a:pt x="5065963" y="2198254"/>
                  </a:lnTo>
                  <a:lnTo>
                    <a:pt x="5065963" y="1960129"/>
                  </a:lnTo>
                  <a:lnTo>
                    <a:pt x="5290051" y="1960129"/>
                  </a:lnTo>
                  <a:close/>
                  <a:moveTo>
                    <a:pt x="5060073" y="2198254"/>
                  </a:moveTo>
                  <a:lnTo>
                    <a:pt x="4835472" y="2198254"/>
                  </a:lnTo>
                  <a:lnTo>
                    <a:pt x="4835472" y="1960129"/>
                  </a:lnTo>
                  <a:lnTo>
                    <a:pt x="5059560" y="1960129"/>
                  </a:lnTo>
                  <a:close/>
                  <a:moveTo>
                    <a:pt x="4829582" y="2198254"/>
                  </a:moveTo>
                  <a:lnTo>
                    <a:pt x="4607029" y="2198254"/>
                  </a:lnTo>
                  <a:lnTo>
                    <a:pt x="4607029" y="1960129"/>
                  </a:lnTo>
                  <a:lnTo>
                    <a:pt x="4829582" y="1960129"/>
                  </a:lnTo>
                  <a:close/>
                  <a:moveTo>
                    <a:pt x="4600626" y="2198254"/>
                  </a:moveTo>
                  <a:lnTo>
                    <a:pt x="4376538" y="2198254"/>
                  </a:lnTo>
                  <a:lnTo>
                    <a:pt x="4376538" y="1960129"/>
                  </a:lnTo>
                  <a:lnTo>
                    <a:pt x="4600626" y="1960129"/>
                  </a:lnTo>
                  <a:close/>
                  <a:moveTo>
                    <a:pt x="4370135" y="2198254"/>
                  </a:moveTo>
                  <a:lnTo>
                    <a:pt x="4146047" y="2198254"/>
                  </a:lnTo>
                  <a:lnTo>
                    <a:pt x="4146047" y="1960129"/>
                  </a:lnTo>
                  <a:lnTo>
                    <a:pt x="4370135" y="1960129"/>
                  </a:lnTo>
                  <a:close/>
                  <a:moveTo>
                    <a:pt x="4139644" y="2198254"/>
                  </a:moveTo>
                  <a:lnTo>
                    <a:pt x="3917094" y="2198254"/>
                  </a:lnTo>
                  <a:lnTo>
                    <a:pt x="3917094" y="1960129"/>
                  </a:lnTo>
                  <a:lnTo>
                    <a:pt x="4139644" y="1960129"/>
                  </a:lnTo>
                  <a:close/>
                  <a:moveTo>
                    <a:pt x="3910691" y="2198254"/>
                  </a:moveTo>
                  <a:lnTo>
                    <a:pt x="3686603" y="2198254"/>
                  </a:lnTo>
                  <a:lnTo>
                    <a:pt x="3686603" y="1960129"/>
                  </a:lnTo>
                  <a:lnTo>
                    <a:pt x="3910691" y="1960129"/>
                  </a:lnTo>
                  <a:close/>
                  <a:moveTo>
                    <a:pt x="3680200" y="2198254"/>
                  </a:moveTo>
                  <a:lnTo>
                    <a:pt x="3456112" y="2198254"/>
                  </a:lnTo>
                  <a:lnTo>
                    <a:pt x="3456112" y="1960129"/>
                  </a:lnTo>
                  <a:lnTo>
                    <a:pt x="3680200" y="1960129"/>
                  </a:lnTo>
                  <a:close/>
                  <a:moveTo>
                    <a:pt x="3449709" y="2198254"/>
                  </a:moveTo>
                  <a:lnTo>
                    <a:pt x="3225621" y="2198254"/>
                  </a:lnTo>
                  <a:lnTo>
                    <a:pt x="3225621" y="1960129"/>
                  </a:lnTo>
                  <a:lnTo>
                    <a:pt x="3449709" y="1960129"/>
                  </a:lnTo>
                  <a:close/>
                  <a:moveTo>
                    <a:pt x="3219218" y="2198254"/>
                  </a:moveTo>
                  <a:lnTo>
                    <a:pt x="2996666" y="2198254"/>
                  </a:lnTo>
                  <a:lnTo>
                    <a:pt x="2996666" y="1960129"/>
                  </a:lnTo>
                  <a:lnTo>
                    <a:pt x="3219218" y="1960129"/>
                  </a:lnTo>
                  <a:close/>
                  <a:moveTo>
                    <a:pt x="2990264" y="2198254"/>
                  </a:moveTo>
                  <a:lnTo>
                    <a:pt x="2766175" y="2198254"/>
                  </a:lnTo>
                  <a:lnTo>
                    <a:pt x="2766175" y="1960129"/>
                  </a:lnTo>
                  <a:lnTo>
                    <a:pt x="2990264" y="1960129"/>
                  </a:lnTo>
                  <a:close/>
                  <a:moveTo>
                    <a:pt x="2759773" y="2198254"/>
                  </a:moveTo>
                  <a:lnTo>
                    <a:pt x="2535684" y="2198254"/>
                  </a:lnTo>
                  <a:lnTo>
                    <a:pt x="2535684" y="1960129"/>
                  </a:lnTo>
                  <a:lnTo>
                    <a:pt x="2759773" y="1960129"/>
                  </a:lnTo>
                  <a:close/>
                  <a:moveTo>
                    <a:pt x="2529282" y="2198254"/>
                  </a:moveTo>
                  <a:lnTo>
                    <a:pt x="2305193" y="2198254"/>
                  </a:lnTo>
                  <a:lnTo>
                    <a:pt x="2305193" y="1960129"/>
                  </a:lnTo>
                  <a:lnTo>
                    <a:pt x="2529282" y="1960129"/>
                  </a:lnTo>
                  <a:close/>
                  <a:moveTo>
                    <a:pt x="2298791" y="2198254"/>
                  </a:moveTo>
                  <a:lnTo>
                    <a:pt x="2075982" y="2198254"/>
                  </a:lnTo>
                  <a:lnTo>
                    <a:pt x="2075982" y="1960129"/>
                  </a:lnTo>
                  <a:lnTo>
                    <a:pt x="2298534" y="1960129"/>
                  </a:lnTo>
                  <a:close/>
                  <a:moveTo>
                    <a:pt x="2069836" y="2198254"/>
                  </a:moveTo>
                  <a:lnTo>
                    <a:pt x="1845748" y="2198254"/>
                  </a:lnTo>
                  <a:lnTo>
                    <a:pt x="1845748" y="1960129"/>
                  </a:lnTo>
                  <a:lnTo>
                    <a:pt x="2069580" y="1960129"/>
                  </a:lnTo>
                  <a:close/>
                  <a:moveTo>
                    <a:pt x="2069836" y="2205058"/>
                  </a:moveTo>
                  <a:lnTo>
                    <a:pt x="2069836" y="2443183"/>
                  </a:lnTo>
                  <a:lnTo>
                    <a:pt x="1845748" y="2443183"/>
                  </a:lnTo>
                  <a:lnTo>
                    <a:pt x="1845748" y="2205058"/>
                  </a:lnTo>
                  <a:close/>
                  <a:moveTo>
                    <a:pt x="2069836" y="2449986"/>
                  </a:moveTo>
                  <a:lnTo>
                    <a:pt x="2069836" y="2686479"/>
                  </a:lnTo>
                  <a:lnTo>
                    <a:pt x="1845748" y="2686479"/>
                  </a:lnTo>
                  <a:lnTo>
                    <a:pt x="1845748" y="2449986"/>
                  </a:lnTo>
                  <a:close/>
                  <a:moveTo>
                    <a:pt x="2069836" y="2693282"/>
                  </a:moveTo>
                  <a:lnTo>
                    <a:pt x="2069836" y="2931407"/>
                  </a:lnTo>
                  <a:lnTo>
                    <a:pt x="1845748" y="2931407"/>
                  </a:lnTo>
                  <a:lnTo>
                    <a:pt x="1845748" y="2693282"/>
                  </a:lnTo>
                  <a:close/>
                  <a:moveTo>
                    <a:pt x="2069836" y="2938211"/>
                  </a:moveTo>
                  <a:lnTo>
                    <a:pt x="2069836" y="3176336"/>
                  </a:lnTo>
                  <a:lnTo>
                    <a:pt x="1845748" y="3176336"/>
                  </a:lnTo>
                  <a:lnTo>
                    <a:pt x="1845748" y="2938211"/>
                  </a:lnTo>
                  <a:close/>
                  <a:moveTo>
                    <a:pt x="2069836" y="3183139"/>
                  </a:moveTo>
                  <a:lnTo>
                    <a:pt x="2069836" y="3421264"/>
                  </a:lnTo>
                  <a:lnTo>
                    <a:pt x="1845748" y="3421264"/>
                  </a:lnTo>
                  <a:lnTo>
                    <a:pt x="1845748" y="3183139"/>
                  </a:lnTo>
                  <a:close/>
                  <a:moveTo>
                    <a:pt x="2069836" y="3428068"/>
                  </a:moveTo>
                  <a:lnTo>
                    <a:pt x="2069836" y="3664560"/>
                  </a:lnTo>
                  <a:lnTo>
                    <a:pt x="1845748" y="3664560"/>
                  </a:lnTo>
                  <a:lnTo>
                    <a:pt x="1845748" y="3428068"/>
                  </a:lnTo>
                  <a:close/>
                  <a:moveTo>
                    <a:pt x="2069836" y="3671364"/>
                  </a:moveTo>
                  <a:lnTo>
                    <a:pt x="2069836" y="3909489"/>
                  </a:lnTo>
                  <a:lnTo>
                    <a:pt x="1845748" y="3909489"/>
                  </a:lnTo>
                  <a:lnTo>
                    <a:pt x="1845748" y="3671364"/>
                  </a:lnTo>
                  <a:close/>
                  <a:moveTo>
                    <a:pt x="2069836" y="3916292"/>
                  </a:moveTo>
                  <a:lnTo>
                    <a:pt x="2069836" y="4154417"/>
                  </a:lnTo>
                  <a:lnTo>
                    <a:pt x="1845748" y="4154417"/>
                  </a:lnTo>
                  <a:lnTo>
                    <a:pt x="1845748" y="3916292"/>
                  </a:lnTo>
                  <a:close/>
                  <a:moveTo>
                    <a:pt x="2069836" y="4161221"/>
                  </a:moveTo>
                  <a:lnTo>
                    <a:pt x="2069836" y="4399346"/>
                  </a:lnTo>
                  <a:lnTo>
                    <a:pt x="1845748" y="4399346"/>
                  </a:lnTo>
                  <a:lnTo>
                    <a:pt x="1845748" y="4161221"/>
                  </a:lnTo>
                  <a:close/>
                  <a:moveTo>
                    <a:pt x="2069836" y="4406149"/>
                  </a:moveTo>
                  <a:lnTo>
                    <a:pt x="2069836" y="4642233"/>
                  </a:lnTo>
                  <a:lnTo>
                    <a:pt x="1845748" y="4642233"/>
                  </a:lnTo>
                  <a:lnTo>
                    <a:pt x="1845748" y="4405741"/>
                  </a:lnTo>
                  <a:close/>
                  <a:moveTo>
                    <a:pt x="2069836" y="4649445"/>
                  </a:moveTo>
                  <a:lnTo>
                    <a:pt x="2069836" y="4887162"/>
                  </a:lnTo>
                  <a:lnTo>
                    <a:pt x="1845748" y="4887162"/>
                  </a:lnTo>
                  <a:lnTo>
                    <a:pt x="1845748" y="4649037"/>
                  </a:lnTo>
                  <a:close/>
                  <a:moveTo>
                    <a:pt x="2076239" y="4649445"/>
                  </a:moveTo>
                  <a:lnTo>
                    <a:pt x="2298791" y="4649445"/>
                  </a:lnTo>
                  <a:lnTo>
                    <a:pt x="2298791" y="4887162"/>
                  </a:lnTo>
                  <a:lnTo>
                    <a:pt x="2075982" y="4887162"/>
                  </a:lnTo>
                  <a:close/>
                  <a:moveTo>
                    <a:pt x="2305193" y="4649445"/>
                  </a:moveTo>
                  <a:lnTo>
                    <a:pt x="2529282" y="4649445"/>
                  </a:lnTo>
                  <a:lnTo>
                    <a:pt x="2529282" y="4887162"/>
                  </a:lnTo>
                  <a:lnTo>
                    <a:pt x="2305193" y="4887162"/>
                  </a:lnTo>
                  <a:close/>
                  <a:moveTo>
                    <a:pt x="2535684" y="4649445"/>
                  </a:moveTo>
                  <a:lnTo>
                    <a:pt x="2759773" y="4649445"/>
                  </a:lnTo>
                  <a:lnTo>
                    <a:pt x="2759773" y="4887162"/>
                  </a:lnTo>
                  <a:lnTo>
                    <a:pt x="2535684" y="4887162"/>
                  </a:lnTo>
                  <a:close/>
                  <a:moveTo>
                    <a:pt x="2766175" y="4649445"/>
                  </a:moveTo>
                  <a:lnTo>
                    <a:pt x="2990264" y="4649445"/>
                  </a:lnTo>
                  <a:lnTo>
                    <a:pt x="2990264" y="4887162"/>
                  </a:lnTo>
                  <a:lnTo>
                    <a:pt x="2766175" y="4887162"/>
                  </a:lnTo>
                  <a:close/>
                  <a:moveTo>
                    <a:pt x="2996666" y="4649445"/>
                  </a:moveTo>
                  <a:lnTo>
                    <a:pt x="3219218" y="4649445"/>
                  </a:lnTo>
                  <a:lnTo>
                    <a:pt x="3219218" y="4887162"/>
                  </a:lnTo>
                  <a:lnTo>
                    <a:pt x="2996666" y="4887162"/>
                  </a:lnTo>
                  <a:close/>
                  <a:moveTo>
                    <a:pt x="3225621" y="4649445"/>
                  </a:moveTo>
                  <a:lnTo>
                    <a:pt x="3449709" y="4649445"/>
                  </a:lnTo>
                  <a:lnTo>
                    <a:pt x="3449709" y="4887162"/>
                  </a:lnTo>
                  <a:lnTo>
                    <a:pt x="3225621" y="4887162"/>
                  </a:lnTo>
                  <a:close/>
                  <a:moveTo>
                    <a:pt x="3456112" y="4649445"/>
                  </a:moveTo>
                  <a:lnTo>
                    <a:pt x="3680200" y="4649445"/>
                  </a:lnTo>
                  <a:lnTo>
                    <a:pt x="3680200" y="4887162"/>
                  </a:lnTo>
                  <a:lnTo>
                    <a:pt x="3456112" y="4887162"/>
                  </a:lnTo>
                  <a:close/>
                  <a:moveTo>
                    <a:pt x="3686603" y="4649445"/>
                  </a:moveTo>
                  <a:lnTo>
                    <a:pt x="3910691" y="4649445"/>
                  </a:lnTo>
                  <a:lnTo>
                    <a:pt x="3910691" y="4887162"/>
                  </a:lnTo>
                  <a:lnTo>
                    <a:pt x="3686603" y="4887162"/>
                  </a:lnTo>
                  <a:close/>
                  <a:moveTo>
                    <a:pt x="3917094" y="4649445"/>
                  </a:moveTo>
                  <a:lnTo>
                    <a:pt x="4139644" y="4649445"/>
                  </a:lnTo>
                  <a:lnTo>
                    <a:pt x="4139644" y="4887162"/>
                  </a:lnTo>
                  <a:lnTo>
                    <a:pt x="3917094" y="4887162"/>
                  </a:lnTo>
                  <a:close/>
                  <a:moveTo>
                    <a:pt x="4146047" y="4649445"/>
                  </a:moveTo>
                  <a:lnTo>
                    <a:pt x="4370135" y="4649445"/>
                  </a:lnTo>
                  <a:lnTo>
                    <a:pt x="4370135" y="4887162"/>
                  </a:lnTo>
                  <a:lnTo>
                    <a:pt x="4146047" y="4887162"/>
                  </a:lnTo>
                  <a:close/>
                  <a:moveTo>
                    <a:pt x="4376538" y="4649445"/>
                  </a:moveTo>
                  <a:lnTo>
                    <a:pt x="4600626" y="4649445"/>
                  </a:lnTo>
                  <a:lnTo>
                    <a:pt x="4600626" y="4887162"/>
                  </a:lnTo>
                  <a:lnTo>
                    <a:pt x="4376538" y="4887162"/>
                  </a:lnTo>
                  <a:close/>
                  <a:moveTo>
                    <a:pt x="4607029" y="4649445"/>
                  </a:moveTo>
                  <a:lnTo>
                    <a:pt x="4829582" y="4649445"/>
                  </a:lnTo>
                  <a:lnTo>
                    <a:pt x="4829582" y="4887162"/>
                  </a:lnTo>
                  <a:lnTo>
                    <a:pt x="4607029" y="4887162"/>
                  </a:lnTo>
                  <a:close/>
                  <a:moveTo>
                    <a:pt x="4835985" y="4649445"/>
                  </a:moveTo>
                  <a:lnTo>
                    <a:pt x="5060073" y="4649445"/>
                  </a:lnTo>
                  <a:lnTo>
                    <a:pt x="5060073" y="4887162"/>
                  </a:lnTo>
                  <a:lnTo>
                    <a:pt x="4835472" y="4887162"/>
                  </a:lnTo>
                  <a:close/>
                  <a:moveTo>
                    <a:pt x="5066476" y="4649445"/>
                  </a:moveTo>
                  <a:lnTo>
                    <a:pt x="5290564" y="4649445"/>
                  </a:lnTo>
                  <a:lnTo>
                    <a:pt x="5290564" y="4887162"/>
                  </a:lnTo>
                  <a:lnTo>
                    <a:pt x="5065963" y="4887162"/>
                  </a:lnTo>
                  <a:close/>
                  <a:moveTo>
                    <a:pt x="5296967" y="4649445"/>
                  </a:moveTo>
                  <a:lnTo>
                    <a:pt x="5521055" y="4649445"/>
                  </a:lnTo>
                  <a:lnTo>
                    <a:pt x="5521055" y="4887162"/>
                  </a:lnTo>
                  <a:lnTo>
                    <a:pt x="5296454" y="4887162"/>
                  </a:lnTo>
                  <a:close/>
                  <a:moveTo>
                    <a:pt x="5527458" y="4649445"/>
                  </a:moveTo>
                  <a:lnTo>
                    <a:pt x="5750008" y="4649445"/>
                  </a:lnTo>
                  <a:lnTo>
                    <a:pt x="5750008" y="4887162"/>
                  </a:lnTo>
                  <a:lnTo>
                    <a:pt x="5526945" y="4887162"/>
                  </a:lnTo>
                  <a:close/>
                  <a:moveTo>
                    <a:pt x="5756411" y="4649445"/>
                  </a:moveTo>
                  <a:lnTo>
                    <a:pt x="5980499" y="4649445"/>
                  </a:lnTo>
                  <a:lnTo>
                    <a:pt x="5980499" y="4887162"/>
                  </a:lnTo>
                  <a:lnTo>
                    <a:pt x="5756411" y="4887162"/>
                  </a:lnTo>
                  <a:close/>
                  <a:moveTo>
                    <a:pt x="5986902" y="4649445"/>
                  </a:moveTo>
                  <a:lnTo>
                    <a:pt x="6210990" y="4649445"/>
                  </a:lnTo>
                  <a:lnTo>
                    <a:pt x="6210990" y="4887162"/>
                  </a:lnTo>
                  <a:lnTo>
                    <a:pt x="5986902" y="4887162"/>
                  </a:lnTo>
                  <a:close/>
                  <a:moveTo>
                    <a:pt x="6217393" y="4649445"/>
                  </a:moveTo>
                  <a:lnTo>
                    <a:pt x="6439946" y="4649445"/>
                  </a:lnTo>
                  <a:lnTo>
                    <a:pt x="6439946" y="4887162"/>
                  </a:lnTo>
                  <a:lnTo>
                    <a:pt x="6217136" y="4887162"/>
                  </a:lnTo>
                  <a:close/>
                  <a:moveTo>
                    <a:pt x="6446349" y="4649445"/>
                  </a:moveTo>
                  <a:lnTo>
                    <a:pt x="6656863" y="4649445"/>
                  </a:lnTo>
                  <a:lnTo>
                    <a:pt x="6656863" y="4887162"/>
                  </a:lnTo>
                  <a:lnTo>
                    <a:pt x="6446349" y="4887162"/>
                  </a:lnTo>
                  <a:close/>
                  <a:moveTo>
                    <a:pt x="6663265" y="4649445"/>
                  </a:moveTo>
                  <a:lnTo>
                    <a:pt x="6887354" y="4649445"/>
                  </a:lnTo>
                  <a:lnTo>
                    <a:pt x="6887354" y="4887162"/>
                  </a:lnTo>
                  <a:lnTo>
                    <a:pt x="6663265" y="4887162"/>
                  </a:lnTo>
                  <a:close/>
                  <a:moveTo>
                    <a:pt x="6893756" y="4649445"/>
                  </a:moveTo>
                  <a:lnTo>
                    <a:pt x="7117845" y="4649445"/>
                  </a:lnTo>
                  <a:lnTo>
                    <a:pt x="7117845" y="4887162"/>
                  </a:lnTo>
                  <a:lnTo>
                    <a:pt x="6893756" y="4887162"/>
                  </a:lnTo>
                  <a:close/>
                  <a:moveTo>
                    <a:pt x="7124247" y="4649445"/>
                  </a:moveTo>
                  <a:lnTo>
                    <a:pt x="7346801" y="4649445"/>
                  </a:lnTo>
                  <a:lnTo>
                    <a:pt x="7346801" y="4887162"/>
                  </a:lnTo>
                  <a:lnTo>
                    <a:pt x="7124247" y="4887162"/>
                  </a:lnTo>
                  <a:close/>
                  <a:moveTo>
                    <a:pt x="7353204" y="4649445"/>
                  </a:moveTo>
                  <a:lnTo>
                    <a:pt x="7577292" y="4649445"/>
                  </a:lnTo>
                  <a:lnTo>
                    <a:pt x="7577292" y="4887162"/>
                  </a:lnTo>
                  <a:lnTo>
                    <a:pt x="7353204" y="4887162"/>
                  </a:lnTo>
                  <a:close/>
                  <a:moveTo>
                    <a:pt x="7583695" y="4649445"/>
                  </a:moveTo>
                  <a:lnTo>
                    <a:pt x="7807783" y="4649445"/>
                  </a:lnTo>
                  <a:lnTo>
                    <a:pt x="7807783" y="4887162"/>
                  </a:lnTo>
                  <a:lnTo>
                    <a:pt x="7583695" y="4887162"/>
                  </a:lnTo>
                  <a:close/>
                  <a:moveTo>
                    <a:pt x="7814186" y="4649445"/>
                  </a:moveTo>
                  <a:lnTo>
                    <a:pt x="8038274" y="4649445"/>
                  </a:lnTo>
                  <a:lnTo>
                    <a:pt x="8038274" y="4887162"/>
                  </a:lnTo>
                  <a:lnTo>
                    <a:pt x="7814186" y="4887162"/>
                  </a:lnTo>
                  <a:close/>
                  <a:moveTo>
                    <a:pt x="8044677" y="4649445"/>
                  </a:moveTo>
                  <a:lnTo>
                    <a:pt x="8267227" y="4649445"/>
                  </a:lnTo>
                  <a:lnTo>
                    <a:pt x="8267227" y="4887162"/>
                  </a:lnTo>
                  <a:lnTo>
                    <a:pt x="8044420" y="4887162"/>
                  </a:lnTo>
                  <a:close/>
                  <a:moveTo>
                    <a:pt x="8273629" y="4649445"/>
                  </a:moveTo>
                  <a:lnTo>
                    <a:pt x="8497718" y="4649445"/>
                  </a:lnTo>
                  <a:lnTo>
                    <a:pt x="8497718" y="4887162"/>
                  </a:lnTo>
                  <a:lnTo>
                    <a:pt x="8273629" y="4887162"/>
                  </a:lnTo>
                  <a:close/>
                  <a:moveTo>
                    <a:pt x="8504120" y="4649445"/>
                  </a:moveTo>
                  <a:lnTo>
                    <a:pt x="8728209" y="4649445"/>
                  </a:lnTo>
                  <a:lnTo>
                    <a:pt x="8728209" y="4887162"/>
                  </a:lnTo>
                  <a:lnTo>
                    <a:pt x="8504120" y="4887162"/>
                  </a:lnTo>
                  <a:close/>
                  <a:moveTo>
                    <a:pt x="8734611" y="4649445"/>
                  </a:moveTo>
                  <a:lnTo>
                    <a:pt x="8957162" y="4649445"/>
                  </a:lnTo>
                  <a:lnTo>
                    <a:pt x="8957162" y="4887162"/>
                  </a:lnTo>
                  <a:lnTo>
                    <a:pt x="8734611" y="4887162"/>
                  </a:lnTo>
                  <a:close/>
                  <a:moveTo>
                    <a:pt x="8963564" y="4649445"/>
                  </a:moveTo>
                  <a:lnTo>
                    <a:pt x="9187653" y="4649445"/>
                  </a:lnTo>
                  <a:lnTo>
                    <a:pt x="9187653" y="4887162"/>
                  </a:lnTo>
                  <a:lnTo>
                    <a:pt x="8963564" y="4887162"/>
                  </a:lnTo>
                  <a:close/>
                  <a:moveTo>
                    <a:pt x="9194055" y="4649445"/>
                  </a:moveTo>
                  <a:lnTo>
                    <a:pt x="9418144" y="4649445"/>
                  </a:lnTo>
                  <a:lnTo>
                    <a:pt x="9418144" y="4887162"/>
                  </a:lnTo>
                  <a:lnTo>
                    <a:pt x="9194055" y="4887162"/>
                  </a:lnTo>
                  <a:close/>
                  <a:moveTo>
                    <a:pt x="9424546" y="4649445"/>
                  </a:moveTo>
                  <a:lnTo>
                    <a:pt x="9648635" y="4649445"/>
                  </a:lnTo>
                  <a:lnTo>
                    <a:pt x="9648635" y="4887162"/>
                  </a:lnTo>
                  <a:lnTo>
                    <a:pt x="9424546" y="4887162"/>
                  </a:lnTo>
                  <a:close/>
                  <a:moveTo>
                    <a:pt x="9655037" y="4649445"/>
                  </a:moveTo>
                  <a:lnTo>
                    <a:pt x="9877591" y="4649445"/>
                  </a:lnTo>
                  <a:lnTo>
                    <a:pt x="9877591" y="4887162"/>
                  </a:lnTo>
                  <a:lnTo>
                    <a:pt x="9655037" y="4887162"/>
                  </a:lnTo>
                  <a:close/>
                  <a:moveTo>
                    <a:pt x="9883993" y="4649445"/>
                  </a:moveTo>
                  <a:lnTo>
                    <a:pt x="10108082" y="4649445"/>
                  </a:lnTo>
                  <a:lnTo>
                    <a:pt x="10108082" y="4887162"/>
                  </a:lnTo>
                  <a:lnTo>
                    <a:pt x="9883993" y="4887162"/>
                  </a:lnTo>
                  <a:close/>
                  <a:moveTo>
                    <a:pt x="10114484" y="4649445"/>
                  </a:moveTo>
                  <a:lnTo>
                    <a:pt x="10338573" y="4649445"/>
                  </a:lnTo>
                  <a:lnTo>
                    <a:pt x="10338573" y="4887162"/>
                  </a:lnTo>
                  <a:lnTo>
                    <a:pt x="10114484" y="4887162"/>
                  </a:lnTo>
                  <a:close/>
                  <a:moveTo>
                    <a:pt x="10114484" y="4642642"/>
                  </a:moveTo>
                  <a:lnTo>
                    <a:pt x="10114484" y="4406149"/>
                  </a:lnTo>
                  <a:lnTo>
                    <a:pt x="10338573" y="4406149"/>
                  </a:lnTo>
                  <a:lnTo>
                    <a:pt x="10338573" y="4642233"/>
                  </a:lnTo>
                  <a:close/>
                  <a:moveTo>
                    <a:pt x="10114484" y="4399346"/>
                  </a:moveTo>
                  <a:lnTo>
                    <a:pt x="10114484" y="4161221"/>
                  </a:lnTo>
                  <a:lnTo>
                    <a:pt x="10338573" y="4161221"/>
                  </a:lnTo>
                  <a:lnTo>
                    <a:pt x="10338573" y="4399346"/>
                  </a:lnTo>
                  <a:close/>
                  <a:moveTo>
                    <a:pt x="10114484" y="4154417"/>
                  </a:moveTo>
                  <a:lnTo>
                    <a:pt x="10114484" y="3916292"/>
                  </a:lnTo>
                  <a:lnTo>
                    <a:pt x="10338573" y="3916292"/>
                  </a:lnTo>
                  <a:lnTo>
                    <a:pt x="10338573" y="4154417"/>
                  </a:lnTo>
                  <a:close/>
                  <a:moveTo>
                    <a:pt x="10114484" y="3909489"/>
                  </a:moveTo>
                  <a:lnTo>
                    <a:pt x="10114484" y="3671364"/>
                  </a:lnTo>
                  <a:lnTo>
                    <a:pt x="10338573" y="3671364"/>
                  </a:lnTo>
                  <a:lnTo>
                    <a:pt x="10338573" y="3909489"/>
                  </a:lnTo>
                  <a:close/>
                  <a:moveTo>
                    <a:pt x="10114484" y="3664560"/>
                  </a:moveTo>
                  <a:lnTo>
                    <a:pt x="10114484" y="3428068"/>
                  </a:lnTo>
                  <a:lnTo>
                    <a:pt x="10338573" y="3428068"/>
                  </a:lnTo>
                  <a:lnTo>
                    <a:pt x="10338573" y="3664560"/>
                  </a:lnTo>
                  <a:close/>
                  <a:moveTo>
                    <a:pt x="10114484" y="3421264"/>
                  </a:moveTo>
                  <a:lnTo>
                    <a:pt x="10114484" y="3183139"/>
                  </a:lnTo>
                  <a:lnTo>
                    <a:pt x="10338573" y="3183139"/>
                  </a:lnTo>
                  <a:lnTo>
                    <a:pt x="10338573" y="3421264"/>
                  </a:lnTo>
                  <a:close/>
                  <a:moveTo>
                    <a:pt x="10114484" y="3176336"/>
                  </a:moveTo>
                  <a:lnTo>
                    <a:pt x="10114484" y="2938211"/>
                  </a:lnTo>
                  <a:lnTo>
                    <a:pt x="10338573" y="2938211"/>
                  </a:lnTo>
                  <a:lnTo>
                    <a:pt x="10338573" y="3176336"/>
                  </a:lnTo>
                  <a:close/>
                  <a:moveTo>
                    <a:pt x="10114484" y="2931407"/>
                  </a:moveTo>
                  <a:lnTo>
                    <a:pt x="10114484" y="2693282"/>
                  </a:lnTo>
                  <a:lnTo>
                    <a:pt x="10338573" y="2693282"/>
                  </a:lnTo>
                  <a:lnTo>
                    <a:pt x="10338573" y="2931407"/>
                  </a:lnTo>
                  <a:close/>
                  <a:moveTo>
                    <a:pt x="10114484" y="2686479"/>
                  </a:moveTo>
                  <a:lnTo>
                    <a:pt x="10114484" y="2449986"/>
                  </a:lnTo>
                  <a:lnTo>
                    <a:pt x="10338573" y="2449986"/>
                  </a:lnTo>
                  <a:lnTo>
                    <a:pt x="10338573" y="2686479"/>
                  </a:lnTo>
                  <a:close/>
                  <a:moveTo>
                    <a:pt x="10114484" y="2443183"/>
                  </a:moveTo>
                  <a:lnTo>
                    <a:pt x="10114484" y="2205058"/>
                  </a:lnTo>
                  <a:lnTo>
                    <a:pt x="10338573" y="2205058"/>
                  </a:lnTo>
                  <a:lnTo>
                    <a:pt x="10338573" y="2443183"/>
                  </a:lnTo>
                  <a:close/>
                  <a:moveTo>
                    <a:pt x="10114484" y="2198254"/>
                  </a:moveTo>
                  <a:lnTo>
                    <a:pt x="10114484" y="1960129"/>
                  </a:lnTo>
                  <a:lnTo>
                    <a:pt x="10338573" y="1960129"/>
                  </a:lnTo>
                  <a:lnTo>
                    <a:pt x="10338573" y="2198254"/>
                  </a:lnTo>
                  <a:close/>
                  <a:moveTo>
                    <a:pt x="10114484" y="1953326"/>
                  </a:moveTo>
                  <a:lnTo>
                    <a:pt x="10114484" y="1716697"/>
                  </a:lnTo>
                  <a:lnTo>
                    <a:pt x="10338573" y="1716697"/>
                  </a:lnTo>
                  <a:lnTo>
                    <a:pt x="10338573" y="1953189"/>
                  </a:lnTo>
                  <a:close/>
                  <a:moveTo>
                    <a:pt x="10108082" y="1953326"/>
                  </a:moveTo>
                  <a:lnTo>
                    <a:pt x="9883993" y="1953326"/>
                  </a:lnTo>
                  <a:lnTo>
                    <a:pt x="9883993" y="1716697"/>
                  </a:lnTo>
                  <a:lnTo>
                    <a:pt x="10108082" y="1716697"/>
                  </a:lnTo>
                  <a:close/>
                  <a:moveTo>
                    <a:pt x="9877591" y="1953326"/>
                  </a:moveTo>
                  <a:lnTo>
                    <a:pt x="9655037" y="1953326"/>
                  </a:lnTo>
                  <a:lnTo>
                    <a:pt x="9655037" y="1716697"/>
                  </a:lnTo>
                  <a:lnTo>
                    <a:pt x="9877591" y="1716697"/>
                  </a:lnTo>
                  <a:close/>
                  <a:moveTo>
                    <a:pt x="9648635" y="1953326"/>
                  </a:moveTo>
                  <a:lnTo>
                    <a:pt x="9424546" y="1953326"/>
                  </a:lnTo>
                  <a:lnTo>
                    <a:pt x="9424546" y="1716697"/>
                  </a:lnTo>
                  <a:lnTo>
                    <a:pt x="9648635" y="1716697"/>
                  </a:lnTo>
                  <a:close/>
                  <a:moveTo>
                    <a:pt x="9418144" y="1953326"/>
                  </a:moveTo>
                  <a:lnTo>
                    <a:pt x="9194055" y="1953326"/>
                  </a:lnTo>
                  <a:lnTo>
                    <a:pt x="9194055" y="1716697"/>
                  </a:lnTo>
                  <a:lnTo>
                    <a:pt x="9418144" y="1716697"/>
                  </a:lnTo>
                  <a:close/>
                  <a:moveTo>
                    <a:pt x="9187653" y="1953326"/>
                  </a:moveTo>
                  <a:lnTo>
                    <a:pt x="8963564" y="1953326"/>
                  </a:lnTo>
                  <a:lnTo>
                    <a:pt x="8963564" y="1716697"/>
                  </a:lnTo>
                  <a:lnTo>
                    <a:pt x="9187653" y="1716697"/>
                  </a:lnTo>
                  <a:close/>
                  <a:moveTo>
                    <a:pt x="8957162" y="1953326"/>
                  </a:moveTo>
                  <a:lnTo>
                    <a:pt x="8734611" y="1953326"/>
                  </a:lnTo>
                  <a:lnTo>
                    <a:pt x="8734611" y="1716697"/>
                  </a:lnTo>
                  <a:lnTo>
                    <a:pt x="8957162" y="1716697"/>
                  </a:lnTo>
                  <a:close/>
                  <a:moveTo>
                    <a:pt x="8728209" y="1953326"/>
                  </a:moveTo>
                  <a:lnTo>
                    <a:pt x="8504120" y="1953326"/>
                  </a:lnTo>
                  <a:lnTo>
                    <a:pt x="8504120" y="1716697"/>
                  </a:lnTo>
                  <a:lnTo>
                    <a:pt x="8728209" y="1716697"/>
                  </a:lnTo>
                  <a:close/>
                  <a:moveTo>
                    <a:pt x="8497718" y="1953326"/>
                  </a:moveTo>
                  <a:lnTo>
                    <a:pt x="8273629" y="1953326"/>
                  </a:lnTo>
                  <a:lnTo>
                    <a:pt x="8273629" y="1716697"/>
                  </a:lnTo>
                  <a:lnTo>
                    <a:pt x="8497718" y="1716697"/>
                  </a:lnTo>
                  <a:close/>
                  <a:moveTo>
                    <a:pt x="8267227" y="1953326"/>
                  </a:moveTo>
                  <a:lnTo>
                    <a:pt x="8044420" y="1953326"/>
                  </a:lnTo>
                  <a:lnTo>
                    <a:pt x="8044420" y="1716697"/>
                  </a:lnTo>
                  <a:lnTo>
                    <a:pt x="8267227" y="1716697"/>
                  </a:lnTo>
                  <a:close/>
                  <a:moveTo>
                    <a:pt x="8038274" y="1953326"/>
                  </a:moveTo>
                  <a:lnTo>
                    <a:pt x="7814186" y="1953326"/>
                  </a:lnTo>
                  <a:lnTo>
                    <a:pt x="7814186" y="1716697"/>
                  </a:lnTo>
                  <a:lnTo>
                    <a:pt x="8038274" y="1716697"/>
                  </a:lnTo>
                  <a:close/>
                  <a:moveTo>
                    <a:pt x="7807783" y="1953326"/>
                  </a:moveTo>
                  <a:lnTo>
                    <a:pt x="7583695" y="1953326"/>
                  </a:lnTo>
                  <a:lnTo>
                    <a:pt x="7583695" y="1716697"/>
                  </a:lnTo>
                  <a:lnTo>
                    <a:pt x="7807783" y="1716697"/>
                  </a:lnTo>
                  <a:close/>
                  <a:moveTo>
                    <a:pt x="7577292" y="1953326"/>
                  </a:moveTo>
                  <a:lnTo>
                    <a:pt x="7353204" y="1953326"/>
                  </a:lnTo>
                  <a:lnTo>
                    <a:pt x="7353204" y="1716697"/>
                  </a:lnTo>
                  <a:lnTo>
                    <a:pt x="7577292" y="1716697"/>
                  </a:lnTo>
                  <a:close/>
                  <a:moveTo>
                    <a:pt x="7346801" y="1953326"/>
                  </a:moveTo>
                  <a:lnTo>
                    <a:pt x="7124247" y="1953326"/>
                  </a:lnTo>
                  <a:lnTo>
                    <a:pt x="7124247" y="1716697"/>
                  </a:lnTo>
                  <a:lnTo>
                    <a:pt x="7346801" y="1716697"/>
                  </a:lnTo>
                  <a:close/>
                  <a:moveTo>
                    <a:pt x="7117845" y="1953326"/>
                  </a:moveTo>
                  <a:lnTo>
                    <a:pt x="6893756" y="1953326"/>
                  </a:lnTo>
                  <a:lnTo>
                    <a:pt x="6893756" y="1716697"/>
                  </a:lnTo>
                  <a:lnTo>
                    <a:pt x="7117845" y="1716697"/>
                  </a:lnTo>
                  <a:close/>
                  <a:moveTo>
                    <a:pt x="6887354" y="1953326"/>
                  </a:moveTo>
                  <a:lnTo>
                    <a:pt x="6663265" y="1953326"/>
                  </a:lnTo>
                  <a:lnTo>
                    <a:pt x="6663265" y="1716697"/>
                  </a:lnTo>
                  <a:lnTo>
                    <a:pt x="6887354" y="1716697"/>
                  </a:lnTo>
                  <a:close/>
                  <a:moveTo>
                    <a:pt x="6656863" y="1953326"/>
                  </a:moveTo>
                  <a:lnTo>
                    <a:pt x="6446349" y="1953326"/>
                  </a:lnTo>
                  <a:lnTo>
                    <a:pt x="6446349" y="1716697"/>
                  </a:lnTo>
                  <a:lnTo>
                    <a:pt x="6656863" y="1716697"/>
                  </a:lnTo>
                  <a:close/>
                  <a:moveTo>
                    <a:pt x="6439946" y="1953326"/>
                  </a:moveTo>
                  <a:lnTo>
                    <a:pt x="6217136" y="1953326"/>
                  </a:lnTo>
                  <a:lnTo>
                    <a:pt x="6217136" y="1716697"/>
                  </a:lnTo>
                  <a:lnTo>
                    <a:pt x="6439690" y="1716697"/>
                  </a:lnTo>
                  <a:close/>
                  <a:moveTo>
                    <a:pt x="6210990" y="1953326"/>
                  </a:moveTo>
                  <a:lnTo>
                    <a:pt x="5986902" y="1953326"/>
                  </a:lnTo>
                  <a:lnTo>
                    <a:pt x="5986902" y="1716697"/>
                  </a:lnTo>
                  <a:lnTo>
                    <a:pt x="6210990" y="1716697"/>
                  </a:lnTo>
                  <a:close/>
                  <a:moveTo>
                    <a:pt x="5980499" y="1953326"/>
                  </a:moveTo>
                  <a:lnTo>
                    <a:pt x="5756411" y="1953326"/>
                  </a:lnTo>
                  <a:lnTo>
                    <a:pt x="5756411" y="1716697"/>
                  </a:lnTo>
                  <a:lnTo>
                    <a:pt x="5980499" y="1716697"/>
                  </a:lnTo>
                  <a:close/>
                  <a:moveTo>
                    <a:pt x="5750008" y="1953326"/>
                  </a:moveTo>
                  <a:lnTo>
                    <a:pt x="5526945" y="1953326"/>
                  </a:lnTo>
                  <a:lnTo>
                    <a:pt x="5526945" y="1716697"/>
                  </a:lnTo>
                  <a:lnTo>
                    <a:pt x="5749495" y="1716697"/>
                  </a:lnTo>
                  <a:close/>
                  <a:moveTo>
                    <a:pt x="5521055" y="1953326"/>
                  </a:moveTo>
                  <a:lnTo>
                    <a:pt x="5296454" y="1953326"/>
                  </a:lnTo>
                  <a:lnTo>
                    <a:pt x="5296454" y="1716697"/>
                  </a:lnTo>
                  <a:lnTo>
                    <a:pt x="5520542" y="1716697"/>
                  </a:lnTo>
                  <a:close/>
                  <a:moveTo>
                    <a:pt x="5290564" y="1953326"/>
                  </a:moveTo>
                  <a:lnTo>
                    <a:pt x="5065963" y="1953326"/>
                  </a:lnTo>
                  <a:lnTo>
                    <a:pt x="5065963" y="1716697"/>
                  </a:lnTo>
                  <a:lnTo>
                    <a:pt x="5290051" y="1716697"/>
                  </a:lnTo>
                  <a:close/>
                  <a:moveTo>
                    <a:pt x="5060073" y="1953326"/>
                  </a:moveTo>
                  <a:lnTo>
                    <a:pt x="4835472" y="1953326"/>
                  </a:lnTo>
                  <a:lnTo>
                    <a:pt x="4835472" y="1716697"/>
                  </a:lnTo>
                  <a:lnTo>
                    <a:pt x="5059560" y="1716697"/>
                  </a:lnTo>
                  <a:close/>
                  <a:moveTo>
                    <a:pt x="4829582" y="1953326"/>
                  </a:moveTo>
                  <a:lnTo>
                    <a:pt x="4607029" y="1953326"/>
                  </a:lnTo>
                  <a:lnTo>
                    <a:pt x="4607029" y="1716697"/>
                  </a:lnTo>
                  <a:lnTo>
                    <a:pt x="4829582" y="1716697"/>
                  </a:lnTo>
                  <a:close/>
                  <a:moveTo>
                    <a:pt x="4600626" y="1953326"/>
                  </a:moveTo>
                  <a:lnTo>
                    <a:pt x="4376538" y="1953326"/>
                  </a:lnTo>
                  <a:lnTo>
                    <a:pt x="4376538" y="1716697"/>
                  </a:lnTo>
                  <a:lnTo>
                    <a:pt x="4600626" y="1716697"/>
                  </a:lnTo>
                  <a:close/>
                  <a:moveTo>
                    <a:pt x="4370135" y="1953326"/>
                  </a:moveTo>
                  <a:lnTo>
                    <a:pt x="4146047" y="1953326"/>
                  </a:lnTo>
                  <a:lnTo>
                    <a:pt x="4146047" y="1716697"/>
                  </a:lnTo>
                  <a:lnTo>
                    <a:pt x="4370135" y="1716697"/>
                  </a:lnTo>
                  <a:close/>
                  <a:moveTo>
                    <a:pt x="4139644" y="1953326"/>
                  </a:moveTo>
                  <a:lnTo>
                    <a:pt x="3917094" y="1953326"/>
                  </a:lnTo>
                  <a:lnTo>
                    <a:pt x="3917094" y="1716697"/>
                  </a:lnTo>
                  <a:lnTo>
                    <a:pt x="4139644" y="1716697"/>
                  </a:lnTo>
                  <a:close/>
                  <a:moveTo>
                    <a:pt x="3910691" y="1953326"/>
                  </a:moveTo>
                  <a:lnTo>
                    <a:pt x="3686603" y="1953326"/>
                  </a:lnTo>
                  <a:lnTo>
                    <a:pt x="3686603" y="1716697"/>
                  </a:lnTo>
                  <a:lnTo>
                    <a:pt x="3910691" y="1716697"/>
                  </a:lnTo>
                  <a:close/>
                  <a:moveTo>
                    <a:pt x="3680200" y="1953326"/>
                  </a:moveTo>
                  <a:lnTo>
                    <a:pt x="3456112" y="1953326"/>
                  </a:lnTo>
                  <a:lnTo>
                    <a:pt x="3456112" y="1716697"/>
                  </a:lnTo>
                  <a:lnTo>
                    <a:pt x="3680200" y="1716697"/>
                  </a:lnTo>
                  <a:close/>
                  <a:moveTo>
                    <a:pt x="3449709" y="1953326"/>
                  </a:moveTo>
                  <a:lnTo>
                    <a:pt x="3225621" y="1953326"/>
                  </a:lnTo>
                  <a:lnTo>
                    <a:pt x="3225621" y="1716697"/>
                  </a:lnTo>
                  <a:lnTo>
                    <a:pt x="3449709" y="1716697"/>
                  </a:lnTo>
                  <a:close/>
                  <a:moveTo>
                    <a:pt x="3219218" y="1953326"/>
                  </a:moveTo>
                  <a:lnTo>
                    <a:pt x="2996666" y="1953326"/>
                  </a:lnTo>
                  <a:lnTo>
                    <a:pt x="2996666" y="1716697"/>
                  </a:lnTo>
                  <a:lnTo>
                    <a:pt x="3219218" y="1716697"/>
                  </a:lnTo>
                  <a:close/>
                  <a:moveTo>
                    <a:pt x="2990264" y="1953326"/>
                  </a:moveTo>
                  <a:lnTo>
                    <a:pt x="2766175" y="1953326"/>
                  </a:lnTo>
                  <a:lnTo>
                    <a:pt x="2766175" y="1716697"/>
                  </a:lnTo>
                  <a:lnTo>
                    <a:pt x="2990264" y="1716697"/>
                  </a:lnTo>
                  <a:close/>
                  <a:moveTo>
                    <a:pt x="2759773" y="1953326"/>
                  </a:moveTo>
                  <a:lnTo>
                    <a:pt x="2535684" y="1953326"/>
                  </a:lnTo>
                  <a:lnTo>
                    <a:pt x="2535684" y="1716697"/>
                  </a:lnTo>
                  <a:lnTo>
                    <a:pt x="2759773" y="1716697"/>
                  </a:lnTo>
                  <a:close/>
                  <a:moveTo>
                    <a:pt x="2529282" y="1953326"/>
                  </a:moveTo>
                  <a:lnTo>
                    <a:pt x="2305193" y="1953326"/>
                  </a:lnTo>
                  <a:lnTo>
                    <a:pt x="2305193" y="1716697"/>
                  </a:lnTo>
                  <a:lnTo>
                    <a:pt x="2529282" y="1716697"/>
                  </a:lnTo>
                  <a:close/>
                  <a:moveTo>
                    <a:pt x="2298791" y="1953326"/>
                  </a:moveTo>
                  <a:lnTo>
                    <a:pt x="2075982" y="1953326"/>
                  </a:lnTo>
                  <a:lnTo>
                    <a:pt x="2075982" y="1716697"/>
                  </a:lnTo>
                  <a:lnTo>
                    <a:pt x="2298534" y="1716697"/>
                  </a:lnTo>
                  <a:close/>
                  <a:moveTo>
                    <a:pt x="2069836" y="1953326"/>
                  </a:moveTo>
                  <a:lnTo>
                    <a:pt x="1845748" y="1953326"/>
                  </a:lnTo>
                  <a:lnTo>
                    <a:pt x="1845748" y="1716697"/>
                  </a:lnTo>
                  <a:lnTo>
                    <a:pt x="2069580" y="1716697"/>
                  </a:lnTo>
                  <a:close/>
                  <a:moveTo>
                    <a:pt x="1839345" y="1953326"/>
                  </a:moveTo>
                  <a:lnTo>
                    <a:pt x="1615257" y="1953326"/>
                  </a:lnTo>
                  <a:lnTo>
                    <a:pt x="1615257" y="1716697"/>
                  </a:lnTo>
                  <a:lnTo>
                    <a:pt x="1839089" y="1716697"/>
                  </a:lnTo>
                  <a:close/>
                  <a:moveTo>
                    <a:pt x="1839345" y="1960129"/>
                  </a:moveTo>
                  <a:lnTo>
                    <a:pt x="1839345" y="2198254"/>
                  </a:lnTo>
                  <a:lnTo>
                    <a:pt x="1615257" y="2198254"/>
                  </a:lnTo>
                  <a:lnTo>
                    <a:pt x="1615257" y="1960129"/>
                  </a:lnTo>
                  <a:close/>
                  <a:moveTo>
                    <a:pt x="1839345" y="2205058"/>
                  </a:moveTo>
                  <a:lnTo>
                    <a:pt x="1839345" y="2443183"/>
                  </a:lnTo>
                  <a:lnTo>
                    <a:pt x="1615257" y="2443183"/>
                  </a:lnTo>
                  <a:lnTo>
                    <a:pt x="1615257" y="2205058"/>
                  </a:lnTo>
                  <a:close/>
                  <a:moveTo>
                    <a:pt x="1839345" y="2449986"/>
                  </a:moveTo>
                  <a:lnTo>
                    <a:pt x="1839345" y="2686479"/>
                  </a:lnTo>
                  <a:lnTo>
                    <a:pt x="1615257" y="2686479"/>
                  </a:lnTo>
                  <a:lnTo>
                    <a:pt x="1615257" y="2449986"/>
                  </a:lnTo>
                  <a:close/>
                  <a:moveTo>
                    <a:pt x="1839345" y="2693282"/>
                  </a:moveTo>
                  <a:lnTo>
                    <a:pt x="1839345" y="2931407"/>
                  </a:lnTo>
                  <a:lnTo>
                    <a:pt x="1615257" y="2931407"/>
                  </a:lnTo>
                  <a:lnTo>
                    <a:pt x="1615257" y="2693282"/>
                  </a:lnTo>
                  <a:close/>
                  <a:moveTo>
                    <a:pt x="1839345" y="2938211"/>
                  </a:moveTo>
                  <a:lnTo>
                    <a:pt x="1839345" y="3176336"/>
                  </a:lnTo>
                  <a:lnTo>
                    <a:pt x="1615257" y="3176336"/>
                  </a:lnTo>
                  <a:lnTo>
                    <a:pt x="1615257" y="2938211"/>
                  </a:lnTo>
                  <a:close/>
                  <a:moveTo>
                    <a:pt x="1839345" y="3183139"/>
                  </a:moveTo>
                  <a:lnTo>
                    <a:pt x="1839345" y="3421264"/>
                  </a:lnTo>
                  <a:lnTo>
                    <a:pt x="1615257" y="3421264"/>
                  </a:lnTo>
                  <a:lnTo>
                    <a:pt x="1615257" y="3183139"/>
                  </a:lnTo>
                  <a:close/>
                  <a:moveTo>
                    <a:pt x="1839345" y="3428068"/>
                  </a:moveTo>
                  <a:lnTo>
                    <a:pt x="1839345" y="3664560"/>
                  </a:lnTo>
                  <a:lnTo>
                    <a:pt x="1615257" y="3664560"/>
                  </a:lnTo>
                  <a:lnTo>
                    <a:pt x="1615257" y="3428068"/>
                  </a:lnTo>
                  <a:close/>
                  <a:moveTo>
                    <a:pt x="1839345" y="3671364"/>
                  </a:moveTo>
                  <a:lnTo>
                    <a:pt x="1839345" y="3909489"/>
                  </a:lnTo>
                  <a:lnTo>
                    <a:pt x="1615257" y="3909489"/>
                  </a:lnTo>
                  <a:lnTo>
                    <a:pt x="1615257" y="3671364"/>
                  </a:lnTo>
                  <a:close/>
                  <a:moveTo>
                    <a:pt x="1839345" y="3916292"/>
                  </a:moveTo>
                  <a:lnTo>
                    <a:pt x="1839345" y="4154417"/>
                  </a:lnTo>
                  <a:lnTo>
                    <a:pt x="1615257" y="4154417"/>
                  </a:lnTo>
                  <a:lnTo>
                    <a:pt x="1615257" y="3916292"/>
                  </a:lnTo>
                  <a:close/>
                  <a:moveTo>
                    <a:pt x="1839345" y="4161221"/>
                  </a:moveTo>
                  <a:lnTo>
                    <a:pt x="1839345" y="4399346"/>
                  </a:lnTo>
                  <a:lnTo>
                    <a:pt x="1615257" y="4399346"/>
                  </a:lnTo>
                  <a:lnTo>
                    <a:pt x="1615257" y="4161221"/>
                  </a:lnTo>
                  <a:close/>
                  <a:moveTo>
                    <a:pt x="1839345" y="4406149"/>
                  </a:moveTo>
                  <a:lnTo>
                    <a:pt x="1839345" y="4642233"/>
                  </a:lnTo>
                  <a:lnTo>
                    <a:pt x="1615257" y="4642233"/>
                  </a:lnTo>
                  <a:lnTo>
                    <a:pt x="1615257" y="4405741"/>
                  </a:lnTo>
                  <a:close/>
                  <a:moveTo>
                    <a:pt x="1839345" y="4649445"/>
                  </a:moveTo>
                  <a:lnTo>
                    <a:pt x="1839345" y="4887162"/>
                  </a:lnTo>
                  <a:lnTo>
                    <a:pt x="1615257" y="4887162"/>
                  </a:lnTo>
                  <a:lnTo>
                    <a:pt x="1615257" y="4649037"/>
                  </a:lnTo>
                  <a:close/>
                  <a:moveTo>
                    <a:pt x="1839345" y="4894374"/>
                  </a:moveTo>
                  <a:lnTo>
                    <a:pt x="1839345" y="5132090"/>
                  </a:lnTo>
                  <a:lnTo>
                    <a:pt x="1615257" y="5132090"/>
                  </a:lnTo>
                  <a:lnTo>
                    <a:pt x="1615257" y="4893965"/>
                  </a:lnTo>
                  <a:close/>
                  <a:moveTo>
                    <a:pt x="1845748" y="4894374"/>
                  </a:moveTo>
                  <a:lnTo>
                    <a:pt x="2069580" y="4894374"/>
                  </a:lnTo>
                  <a:lnTo>
                    <a:pt x="2069580" y="5132090"/>
                  </a:lnTo>
                  <a:lnTo>
                    <a:pt x="1845491" y="5132090"/>
                  </a:lnTo>
                  <a:close/>
                  <a:moveTo>
                    <a:pt x="2076239" y="4894374"/>
                  </a:moveTo>
                  <a:lnTo>
                    <a:pt x="2298791" y="4894374"/>
                  </a:lnTo>
                  <a:lnTo>
                    <a:pt x="2298791" y="5132090"/>
                  </a:lnTo>
                  <a:lnTo>
                    <a:pt x="2075982" y="5132090"/>
                  </a:lnTo>
                  <a:close/>
                  <a:moveTo>
                    <a:pt x="2305193" y="4894374"/>
                  </a:moveTo>
                  <a:lnTo>
                    <a:pt x="2529282" y="4894374"/>
                  </a:lnTo>
                  <a:lnTo>
                    <a:pt x="2529282" y="5132090"/>
                  </a:lnTo>
                  <a:lnTo>
                    <a:pt x="2305193" y="5132090"/>
                  </a:lnTo>
                  <a:close/>
                  <a:moveTo>
                    <a:pt x="2535684" y="4894374"/>
                  </a:moveTo>
                  <a:lnTo>
                    <a:pt x="2759773" y="4894374"/>
                  </a:lnTo>
                  <a:lnTo>
                    <a:pt x="2759773" y="5132090"/>
                  </a:lnTo>
                  <a:lnTo>
                    <a:pt x="2535684" y="5132090"/>
                  </a:lnTo>
                  <a:close/>
                  <a:moveTo>
                    <a:pt x="2766175" y="4894374"/>
                  </a:moveTo>
                  <a:lnTo>
                    <a:pt x="2990264" y="4894374"/>
                  </a:lnTo>
                  <a:lnTo>
                    <a:pt x="2990264" y="5132090"/>
                  </a:lnTo>
                  <a:lnTo>
                    <a:pt x="2766175" y="5132090"/>
                  </a:lnTo>
                  <a:close/>
                  <a:moveTo>
                    <a:pt x="2996666" y="4894374"/>
                  </a:moveTo>
                  <a:lnTo>
                    <a:pt x="3219218" y="4894374"/>
                  </a:lnTo>
                  <a:lnTo>
                    <a:pt x="3219218" y="5132090"/>
                  </a:lnTo>
                  <a:lnTo>
                    <a:pt x="2996666" y="5132090"/>
                  </a:lnTo>
                  <a:close/>
                  <a:moveTo>
                    <a:pt x="3225621" y="4894374"/>
                  </a:moveTo>
                  <a:lnTo>
                    <a:pt x="3449709" y="4894374"/>
                  </a:lnTo>
                  <a:lnTo>
                    <a:pt x="3449709" y="5132090"/>
                  </a:lnTo>
                  <a:lnTo>
                    <a:pt x="3225621" y="5132090"/>
                  </a:lnTo>
                  <a:close/>
                  <a:moveTo>
                    <a:pt x="3456112" y="4894374"/>
                  </a:moveTo>
                  <a:lnTo>
                    <a:pt x="3680200" y="4894374"/>
                  </a:lnTo>
                  <a:lnTo>
                    <a:pt x="3680200" y="5132090"/>
                  </a:lnTo>
                  <a:lnTo>
                    <a:pt x="3456112" y="5132090"/>
                  </a:lnTo>
                  <a:close/>
                  <a:moveTo>
                    <a:pt x="3686603" y="4894374"/>
                  </a:moveTo>
                  <a:lnTo>
                    <a:pt x="3910691" y="4894374"/>
                  </a:lnTo>
                  <a:lnTo>
                    <a:pt x="3910691" y="5132090"/>
                  </a:lnTo>
                  <a:lnTo>
                    <a:pt x="3686603" y="5132090"/>
                  </a:lnTo>
                  <a:close/>
                  <a:moveTo>
                    <a:pt x="3917094" y="4894374"/>
                  </a:moveTo>
                  <a:lnTo>
                    <a:pt x="4139644" y="4894374"/>
                  </a:lnTo>
                  <a:lnTo>
                    <a:pt x="4139644" y="5132090"/>
                  </a:lnTo>
                  <a:lnTo>
                    <a:pt x="3917094" y="5132090"/>
                  </a:lnTo>
                  <a:close/>
                  <a:moveTo>
                    <a:pt x="4146047" y="4894374"/>
                  </a:moveTo>
                  <a:lnTo>
                    <a:pt x="4370135" y="4894374"/>
                  </a:lnTo>
                  <a:lnTo>
                    <a:pt x="4370135" y="5132090"/>
                  </a:lnTo>
                  <a:lnTo>
                    <a:pt x="4146047" y="5132090"/>
                  </a:lnTo>
                  <a:close/>
                  <a:moveTo>
                    <a:pt x="4376538" y="4894374"/>
                  </a:moveTo>
                  <a:lnTo>
                    <a:pt x="4600626" y="4894374"/>
                  </a:lnTo>
                  <a:lnTo>
                    <a:pt x="4600626" y="5132090"/>
                  </a:lnTo>
                  <a:lnTo>
                    <a:pt x="4376538" y="5132090"/>
                  </a:lnTo>
                  <a:close/>
                  <a:moveTo>
                    <a:pt x="4607029" y="4894374"/>
                  </a:moveTo>
                  <a:lnTo>
                    <a:pt x="4829582" y="4894374"/>
                  </a:lnTo>
                  <a:lnTo>
                    <a:pt x="4829582" y="5132090"/>
                  </a:lnTo>
                  <a:lnTo>
                    <a:pt x="4607029" y="5132090"/>
                  </a:lnTo>
                  <a:close/>
                  <a:moveTo>
                    <a:pt x="4835985" y="4894374"/>
                  </a:moveTo>
                  <a:lnTo>
                    <a:pt x="5060073" y="4894374"/>
                  </a:lnTo>
                  <a:lnTo>
                    <a:pt x="5060073" y="5132090"/>
                  </a:lnTo>
                  <a:lnTo>
                    <a:pt x="4835472" y="5132090"/>
                  </a:lnTo>
                  <a:close/>
                  <a:moveTo>
                    <a:pt x="5066476" y="4894374"/>
                  </a:moveTo>
                  <a:lnTo>
                    <a:pt x="5290564" y="4894374"/>
                  </a:lnTo>
                  <a:lnTo>
                    <a:pt x="5290564" y="5132090"/>
                  </a:lnTo>
                  <a:lnTo>
                    <a:pt x="5065963" y="5132090"/>
                  </a:lnTo>
                  <a:close/>
                  <a:moveTo>
                    <a:pt x="5296967" y="4894374"/>
                  </a:moveTo>
                  <a:lnTo>
                    <a:pt x="5521055" y="4894374"/>
                  </a:lnTo>
                  <a:lnTo>
                    <a:pt x="5521055" y="5132090"/>
                  </a:lnTo>
                  <a:lnTo>
                    <a:pt x="5296454" y="5132090"/>
                  </a:lnTo>
                  <a:close/>
                  <a:moveTo>
                    <a:pt x="5527458" y="4894374"/>
                  </a:moveTo>
                  <a:lnTo>
                    <a:pt x="5750008" y="4894374"/>
                  </a:lnTo>
                  <a:lnTo>
                    <a:pt x="5750008" y="5132090"/>
                  </a:lnTo>
                  <a:lnTo>
                    <a:pt x="5526945" y="5132090"/>
                  </a:lnTo>
                  <a:close/>
                  <a:moveTo>
                    <a:pt x="5756411" y="4894374"/>
                  </a:moveTo>
                  <a:lnTo>
                    <a:pt x="5980499" y="4894374"/>
                  </a:lnTo>
                  <a:lnTo>
                    <a:pt x="5980499" y="5132090"/>
                  </a:lnTo>
                  <a:lnTo>
                    <a:pt x="5756411" y="5132090"/>
                  </a:lnTo>
                  <a:close/>
                  <a:moveTo>
                    <a:pt x="5986902" y="4894374"/>
                  </a:moveTo>
                  <a:lnTo>
                    <a:pt x="6210990" y="4894374"/>
                  </a:lnTo>
                  <a:lnTo>
                    <a:pt x="6210990" y="5132090"/>
                  </a:lnTo>
                  <a:lnTo>
                    <a:pt x="5986902" y="5132090"/>
                  </a:lnTo>
                  <a:close/>
                  <a:moveTo>
                    <a:pt x="6217393" y="4894374"/>
                  </a:moveTo>
                  <a:lnTo>
                    <a:pt x="6439946" y="4894374"/>
                  </a:lnTo>
                  <a:lnTo>
                    <a:pt x="6439946" y="5132090"/>
                  </a:lnTo>
                  <a:lnTo>
                    <a:pt x="6217136" y="5132090"/>
                  </a:lnTo>
                  <a:close/>
                  <a:moveTo>
                    <a:pt x="6446349" y="4894374"/>
                  </a:moveTo>
                  <a:lnTo>
                    <a:pt x="6656863" y="4894374"/>
                  </a:lnTo>
                  <a:lnTo>
                    <a:pt x="6656863" y="5132090"/>
                  </a:lnTo>
                  <a:lnTo>
                    <a:pt x="6446349" y="5132090"/>
                  </a:lnTo>
                  <a:close/>
                  <a:moveTo>
                    <a:pt x="6663265" y="4894374"/>
                  </a:moveTo>
                  <a:lnTo>
                    <a:pt x="6887354" y="4894374"/>
                  </a:lnTo>
                  <a:lnTo>
                    <a:pt x="6887354" y="5132090"/>
                  </a:lnTo>
                  <a:lnTo>
                    <a:pt x="6663265" y="5132090"/>
                  </a:lnTo>
                  <a:close/>
                  <a:moveTo>
                    <a:pt x="6893756" y="4894374"/>
                  </a:moveTo>
                  <a:lnTo>
                    <a:pt x="7117845" y="4894374"/>
                  </a:lnTo>
                  <a:lnTo>
                    <a:pt x="7117845" y="5132090"/>
                  </a:lnTo>
                  <a:lnTo>
                    <a:pt x="6893756" y="5132090"/>
                  </a:lnTo>
                  <a:close/>
                  <a:moveTo>
                    <a:pt x="7124247" y="4894374"/>
                  </a:moveTo>
                  <a:lnTo>
                    <a:pt x="7346801" y="4894374"/>
                  </a:lnTo>
                  <a:lnTo>
                    <a:pt x="7346801" y="5132090"/>
                  </a:lnTo>
                  <a:lnTo>
                    <a:pt x="7124247" y="5132090"/>
                  </a:lnTo>
                  <a:close/>
                  <a:moveTo>
                    <a:pt x="7353204" y="4894374"/>
                  </a:moveTo>
                  <a:lnTo>
                    <a:pt x="7577292" y="4894374"/>
                  </a:lnTo>
                  <a:lnTo>
                    <a:pt x="7577292" y="5132090"/>
                  </a:lnTo>
                  <a:lnTo>
                    <a:pt x="7353204" y="5132090"/>
                  </a:lnTo>
                  <a:close/>
                  <a:moveTo>
                    <a:pt x="7583695" y="4894374"/>
                  </a:moveTo>
                  <a:lnTo>
                    <a:pt x="7807783" y="4894374"/>
                  </a:lnTo>
                  <a:lnTo>
                    <a:pt x="7807783" y="5132090"/>
                  </a:lnTo>
                  <a:lnTo>
                    <a:pt x="7583695" y="5132090"/>
                  </a:lnTo>
                  <a:close/>
                  <a:moveTo>
                    <a:pt x="7814186" y="4894374"/>
                  </a:moveTo>
                  <a:lnTo>
                    <a:pt x="8038274" y="4894374"/>
                  </a:lnTo>
                  <a:lnTo>
                    <a:pt x="8038274" y="5132090"/>
                  </a:lnTo>
                  <a:lnTo>
                    <a:pt x="7814186" y="5132090"/>
                  </a:lnTo>
                  <a:close/>
                  <a:moveTo>
                    <a:pt x="8044677" y="4894374"/>
                  </a:moveTo>
                  <a:lnTo>
                    <a:pt x="8267227" y="4894374"/>
                  </a:lnTo>
                  <a:lnTo>
                    <a:pt x="8267227" y="5132090"/>
                  </a:lnTo>
                  <a:lnTo>
                    <a:pt x="8044420" y="5132090"/>
                  </a:lnTo>
                  <a:close/>
                  <a:moveTo>
                    <a:pt x="8273629" y="4894374"/>
                  </a:moveTo>
                  <a:lnTo>
                    <a:pt x="8497718" y="4894374"/>
                  </a:lnTo>
                  <a:lnTo>
                    <a:pt x="8497718" y="5132090"/>
                  </a:lnTo>
                  <a:lnTo>
                    <a:pt x="8273629" y="5132090"/>
                  </a:lnTo>
                  <a:close/>
                  <a:moveTo>
                    <a:pt x="8504120" y="4894374"/>
                  </a:moveTo>
                  <a:lnTo>
                    <a:pt x="8728209" y="4894374"/>
                  </a:lnTo>
                  <a:lnTo>
                    <a:pt x="8728209" y="5132090"/>
                  </a:lnTo>
                  <a:lnTo>
                    <a:pt x="8504120" y="5132090"/>
                  </a:lnTo>
                  <a:close/>
                  <a:moveTo>
                    <a:pt x="8734611" y="4894374"/>
                  </a:moveTo>
                  <a:lnTo>
                    <a:pt x="8957162" y="4894374"/>
                  </a:lnTo>
                  <a:lnTo>
                    <a:pt x="8957162" y="5132090"/>
                  </a:lnTo>
                  <a:lnTo>
                    <a:pt x="8734611" y="5132090"/>
                  </a:lnTo>
                  <a:close/>
                  <a:moveTo>
                    <a:pt x="8963564" y="4894374"/>
                  </a:moveTo>
                  <a:lnTo>
                    <a:pt x="9187653" y="4894374"/>
                  </a:lnTo>
                  <a:lnTo>
                    <a:pt x="9187653" y="5132090"/>
                  </a:lnTo>
                  <a:lnTo>
                    <a:pt x="8963564" y="5132090"/>
                  </a:lnTo>
                  <a:close/>
                  <a:moveTo>
                    <a:pt x="9194055" y="4894374"/>
                  </a:moveTo>
                  <a:lnTo>
                    <a:pt x="9418144" y="4894374"/>
                  </a:lnTo>
                  <a:lnTo>
                    <a:pt x="9418144" y="5132090"/>
                  </a:lnTo>
                  <a:lnTo>
                    <a:pt x="9194055" y="5132090"/>
                  </a:lnTo>
                  <a:close/>
                  <a:moveTo>
                    <a:pt x="9424546" y="4894374"/>
                  </a:moveTo>
                  <a:lnTo>
                    <a:pt x="9648635" y="4894374"/>
                  </a:lnTo>
                  <a:lnTo>
                    <a:pt x="9648635" y="5132090"/>
                  </a:lnTo>
                  <a:lnTo>
                    <a:pt x="9424546" y="5132090"/>
                  </a:lnTo>
                  <a:close/>
                  <a:moveTo>
                    <a:pt x="9655037" y="4894374"/>
                  </a:moveTo>
                  <a:lnTo>
                    <a:pt x="9877591" y="4894374"/>
                  </a:lnTo>
                  <a:lnTo>
                    <a:pt x="9877591" y="5132090"/>
                  </a:lnTo>
                  <a:lnTo>
                    <a:pt x="9655037" y="5132090"/>
                  </a:lnTo>
                  <a:close/>
                  <a:moveTo>
                    <a:pt x="9883993" y="4894374"/>
                  </a:moveTo>
                  <a:lnTo>
                    <a:pt x="10108082" y="4894374"/>
                  </a:lnTo>
                  <a:lnTo>
                    <a:pt x="10108082" y="5132090"/>
                  </a:lnTo>
                  <a:lnTo>
                    <a:pt x="9883993" y="5132090"/>
                  </a:lnTo>
                  <a:close/>
                  <a:moveTo>
                    <a:pt x="10114484" y="4894374"/>
                  </a:moveTo>
                  <a:lnTo>
                    <a:pt x="10338573" y="4894374"/>
                  </a:lnTo>
                  <a:lnTo>
                    <a:pt x="10338573" y="5132090"/>
                  </a:lnTo>
                  <a:lnTo>
                    <a:pt x="10114484" y="5132090"/>
                  </a:lnTo>
                  <a:close/>
                  <a:moveTo>
                    <a:pt x="10344975" y="4894374"/>
                  </a:moveTo>
                  <a:lnTo>
                    <a:pt x="10569064" y="4894374"/>
                  </a:lnTo>
                  <a:lnTo>
                    <a:pt x="10569064" y="5132090"/>
                  </a:lnTo>
                  <a:lnTo>
                    <a:pt x="10344975" y="5132090"/>
                  </a:lnTo>
                  <a:close/>
                  <a:moveTo>
                    <a:pt x="10344975" y="4887570"/>
                  </a:moveTo>
                  <a:lnTo>
                    <a:pt x="10344975" y="4649445"/>
                  </a:lnTo>
                  <a:lnTo>
                    <a:pt x="10569064" y="4649445"/>
                  </a:lnTo>
                  <a:lnTo>
                    <a:pt x="10569064" y="4887162"/>
                  </a:lnTo>
                  <a:close/>
                  <a:moveTo>
                    <a:pt x="10344975" y="4642642"/>
                  </a:moveTo>
                  <a:lnTo>
                    <a:pt x="10344975" y="4406149"/>
                  </a:lnTo>
                  <a:lnTo>
                    <a:pt x="10569064" y="4406149"/>
                  </a:lnTo>
                  <a:lnTo>
                    <a:pt x="10569064" y="4642233"/>
                  </a:lnTo>
                  <a:close/>
                  <a:moveTo>
                    <a:pt x="10344975" y="4399346"/>
                  </a:moveTo>
                  <a:lnTo>
                    <a:pt x="10344975" y="4161221"/>
                  </a:lnTo>
                  <a:lnTo>
                    <a:pt x="10569064" y="4161221"/>
                  </a:lnTo>
                  <a:lnTo>
                    <a:pt x="10569064" y="4399346"/>
                  </a:lnTo>
                  <a:close/>
                  <a:moveTo>
                    <a:pt x="10344975" y="4154417"/>
                  </a:moveTo>
                  <a:lnTo>
                    <a:pt x="10344975" y="3916292"/>
                  </a:lnTo>
                  <a:lnTo>
                    <a:pt x="10569064" y="3916292"/>
                  </a:lnTo>
                  <a:lnTo>
                    <a:pt x="10569064" y="4154417"/>
                  </a:lnTo>
                  <a:close/>
                  <a:moveTo>
                    <a:pt x="10344975" y="3909489"/>
                  </a:moveTo>
                  <a:lnTo>
                    <a:pt x="10344975" y="3671364"/>
                  </a:lnTo>
                  <a:lnTo>
                    <a:pt x="10569064" y="3671364"/>
                  </a:lnTo>
                  <a:lnTo>
                    <a:pt x="10569064" y="3909489"/>
                  </a:lnTo>
                  <a:close/>
                  <a:moveTo>
                    <a:pt x="10344975" y="3664560"/>
                  </a:moveTo>
                  <a:lnTo>
                    <a:pt x="10344975" y="3428068"/>
                  </a:lnTo>
                  <a:lnTo>
                    <a:pt x="10569064" y="3428068"/>
                  </a:lnTo>
                  <a:lnTo>
                    <a:pt x="10569064" y="3664560"/>
                  </a:lnTo>
                  <a:close/>
                  <a:moveTo>
                    <a:pt x="10344975" y="3421264"/>
                  </a:moveTo>
                  <a:lnTo>
                    <a:pt x="10344975" y="3183139"/>
                  </a:lnTo>
                  <a:lnTo>
                    <a:pt x="10569064" y="3183139"/>
                  </a:lnTo>
                  <a:lnTo>
                    <a:pt x="10569064" y="3421264"/>
                  </a:lnTo>
                  <a:close/>
                  <a:moveTo>
                    <a:pt x="10344975" y="3176336"/>
                  </a:moveTo>
                  <a:lnTo>
                    <a:pt x="10344975" y="2938211"/>
                  </a:lnTo>
                  <a:lnTo>
                    <a:pt x="10569064" y="2938211"/>
                  </a:lnTo>
                  <a:lnTo>
                    <a:pt x="10569064" y="3176336"/>
                  </a:lnTo>
                  <a:close/>
                  <a:moveTo>
                    <a:pt x="10344975" y="2931407"/>
                  </a:moveTo>
                  <a:lnTo>
                    <a:pt x="10344975" y="2693282"/>
                  </a:lnTo>
                  <a:lnTo>
                    <a:pt x="10569064" y="2693282"/>
                  </a:lnTo>
                  <a:lnTo>
                    <a:pt x="10569064" y="2931407"/>
                  </a:lnTo>
                  <a:close/>
                  <a:moveTo>
                    <a:pt x="10344975" y="2686479"/>
                  </a:moveTo>
                  <a:lnTo>
                    <a:pt x="10344975" y="2449986"/>
                  </a:lnTo>
                  <a:lnTo>
                    <a:pt x="10569064" y="2449986"/>
                  </a:lnTo>
                  <a:lnTo>
                    <a:pt x="10569064" y="2686479"/>
                  </a:lnTo>
                  <a:close/>
                  <a:moveTo>
                    <a:pt x="10344975" y="2443183"/>
                  </a:moveTo>
                  <a:lnTo>
                    <a:pt x="10344975" y="2205058"/>
                  </a:lnTo>
                  <a:lnTo>
                    <a:pt x="10569064" y="2205058"/>
                  </a:lnTo>
                  <a:lnTo>
                    <a:pt x="10569064" y="2443183"/>
                  </a:lnTo>
                  <a:close/>
                  <a:moveTo>
                    <a:pt x="10344975" y="2198254"/>
                  </a:moveTo>
                  <a:lnTo>
                    <a:pt x="10344975" y="1960129"/>
                  </a:lnTo>
                  <a:lnTo>
                    <a:pt x="10569064" y="1960129"/>
                  </a:lnTo>
                  <a:lnTo>
                    <a:pt x="10569064" y="2198254"/>
                  </a:lnTo>
                  <a:close/>
                  <a:moveTo>
                    <a:pt x="10344975" y="1953326"/>
                  </a:moveTo>
                  <a:lnTo>
                    <a:pt x="10344975" y="1716697"/>
                  </a:lnTo>
                  <a:lnTo>
                    <a:pt x="10569064" y="1716697"/>
                  </a:lnTo>
                  <a:lnTo>
                    <a:pt x="10569064" y="1953189"/>
                  </a:lnTo>
                  <a:close/>
                  <a:moveTo>
                    <a:pt x="10344975" y="1710030"/>
                  </a:moveTo>
                  <a:lnTo>
                    <a:pt x="10344975" y="1471769"/>
                  </a:lnTo>
                  <a:lnTo>
                    <a:pt x="10569064" y="1471769"/>
                  </a:lnTo>
                  <a:lnTo>
                    <a:pt x="10569064" y="1709894"/>
                  </a:lnTo>
                  <a:close/>
                  <a:moveTo>
                    <a:pt x="10338573" y="1710030"/>
                  </a:moveTo>
                  <a:lnTo>
                    <a:pt x="10114484" y="1710030"/>
                  </a:lnTo>
                  <a:lnTo>
                    <a:pt x="10114484" y="1471769"/>
                  </a:lnTo>
                  <a:lnTo>
                    <a:pt x="10338573" y="1471769"/>
                  </a:lnTo>
                  <a:close/>
                  <a:moveTo>
                    <a:pt x="10108082" y="1710030"/>
                  </a:moveTo>
                  <a:lnTo>
                    <a:pt x="9883993" y="1710030"/>
                  </a:lnTo>
                  <a:lnTo>
                    <a:pt x="9883993" y="1471769"/>
                  </a:lnTo>
                  <a:lnTo>
                    <a:pt x="10108082" y="1471769"/>
                  </a:lnTo>
                  <a:close/>
                  <a:moveTo>
                    <a:pt x="9877591" y="1710030"/>
                  </a:moveTo>
                  <a:lnTo>
                    <a:pt x="9655037" y="1710030"/>
                  </a:lnTo>
                  <a:lnTo>
                    <a:pt x="9655037" y="1471769"/>
                  </a:lnTo>
                  <a:lnTo>
                    <a:pt x="9877591" y="1471769"/>
                  </a:lnTo>
                  <a:close/>
                  <a:moveTo>
                    <a:pt x="9648635" y="1710030"/>
                  </a:moveTo>
                  <a:lnTo>
                    <a:pt x="9424546" y="1710030"/>
                  </a:lnTo>
                  <a:lnTo>
                    <a:pt x="9424546" y="1471769"/>
                  </a:lnTo>
                  <a:lnTo>
                    <a:pt x="9648635" y="1471769"/>
                  </a:lnTo>
                  <a:close/>
                  <a:moveTo>
                    <a:pt x="9418144" y="1710030"/>
                  </a:moveTo>
                  <a:lnTo>
                    <a:pt x="9194055" y="1710030"/>
                  </a:lnTo>
                  <a:lnTo>
                    <a:pt x="9194055" y="1471769"/>
                  </a:lnTo>
                  <a:lnTo>
                    <a:pt x="9418144" y="1471769"/>
                  </a:lnTo>
                  <a:close/>
                  <a:moveTo>
                    <a:pt x="9187653" y="1710030"/>
                  </a:moveTo>
                  <a:lnTo>
                    <a:pt x="8963564" y="1710030"/>
                  </a:lnTo>
                  <a:lnTo>
                    <a:pt x="8963564" y="1471769"/>
                  </a:lnTo>
                  <a:lnTo>
                    <a:pt x="9187653" y="1471769"/>
                  </a:lnTo>
                  <a:close/>
                  <a:moveTo>
                    <a:pt x="8957162" y="1710030"/>
                  </a:moveTo>
                  <a:lnTo>
                    <a:pt x="8734611" y="1710030"/>
                  </a:lnTo>
                  <a:lnTo>
                    <a:pt x="8734611" y="1471769"/>
                  </a:lnTo>
                  <a:lnTo>
                    <a:pt x="8957162" y="1471769"/>
                  </a:lnTo>
                  <a:close/>
                  <a:moveTo>
                    <a:pt x="8728209" y="1710030"/>
                  </a:moveTo>
                  <a:lnTo>
                    <a:pt x="8504120" y="1710030"/>
                  </a:lnTo>
                  <a:lnTo>
                    <a:pt x="8504120" y="1471769"/>
                  </a:lnTo>
                  <a:lnTo>
                    <a:pt x="8728209" y="1471769"/>
                  </a:lnTo>
                  <a:close/>
                  <a:moveTo>
                    <a:pt x="8497718" y="1710030"/>
                  </a:moveTo>
                  <a:lnTo>
                    <a:pt x="8273629" y="1710030"/>
                  </a:lnTo>
                  <a:lnTo>
                    <a:pt x="8273629" y="1471769"/>
                  </a:lnTo>
                  <a:lnTo>
                    <a:pt x="8497718" y="1471769"/>
                  </a:lnTo>
                  <a:close/>
                  <a:moveTo>
                    <a:pt x="8267227" y="1710030"/>
                  </a:moveTo>
                  <a:lnTo>
                    <a:pt x="8044420" y="1710030"/>
                  </a:lnTo>
                  <a:lnTo>
                    <a:pt x="8044420" y="1471769"/>
                  </a:lnTo>
                  <a:lnTo>
                    <a:pt x="8267227" y="1471769"/>
                  </a:lnTo>
                  <a:close/>
                  <a:moveTo>
                    <a:pt x="8038274" y="1710030"/>
                  </a:moveTo>
                  <a:lnTo>
                    <a:pt x="7814186" y="1710030"/>
                  </a:lnTo>
                  <a:lnTo>
                    <a:pt x="7814186" y="1471769"/>
                  </a:lnTo>
                  <a:lnTo>
                    <a:pt x="8038274" y="1471769"/>
                  </a:lnTo>
                  <a:close/>
                  <a:moveTo>
                    <a:pt x="7807783" y="1710030"/>
                  </a:moveTo>
                  <a:lnTo>
                    <a:pt x="7583695" y="1710030"/>
                  </a:lnTo>
                  <a:lnTo>
                    <a:pt x="7583695" y="1471769"/>
                  </a:lnTo>
                  <a:lnTo>
                    <a:pt x="7807783" y="1471769"/>
                  </a:lnTo>
                  <a:close/>
                  <a:moveTo>
                    <a:pt x="7577292" y="1710030"/>
                  </a:moveTo>
                  <a:lnTo>
                    <a:pt x="7353204" y="1710030"/>
                  </a:lnTo>
                  <a:lnTo>
                    <a:pt x="7353204" y="1471769"/>
                  </a:lnTo>
                  <a:lnTo>
                    <a:pt x="7577292" y="1471769"/>
                  </a:lnTo>
                  <a:close/>
                  <a:moveTo>
                    <a:pt x="7346801" y="1710030"/>
                  </a:moveTo>
                  <a:lnTo>
                    <a:pt x="7124247" y="1710030"/>
                  </a:lnTo>
                  <a:lnTo>
                    <a:pt x="7124247" y="1471769"/>
                  </a:lnTo>
                  <a:lnTo>
                    <a:pt x="7346801" y="1471769"/>
                  </a:lnTo>
                  <a:close/>
                  <a:moveTo>
                    <a:pt x="7117845" y="1710030"/>
                  </a:moveTo>
                  <a:lnTo>
                    <a:pt x="6893756" y="1710030"/>
                  </a:lnTo>
                  <a:lnTo>
                    <a:pt x="6893756" y="1471769"/>
                  </a:lnTo>
                  <a:lnTo>
                    <a:pt x="7117845" y="1471769"/>
                  </a:lnTo>
                  <a:close/>
                  <a:moveTo>
                    <a:pt x="6887354" y="1710030"/>
                  </a:moveTo>
                  <a:lnTo>
                    <a:pt x="6663265" y="1710030"/>
                  </a:lnTo>
                  <a:lnTo>
                    <a:pt x="6663265" y="1471769"/>
                  </a:lnTo>
                  <a:lnTo>
                    <a:pt x="6887354" y="1471769"/>
                  </a:lnTo>
                  <a:close/>
                  <a:moveTo>
                    <a:pt x="6656863" y="1710030"/>
                  </a:moveTo>
                  <a:lnTo>
                    <a:pt x="6446349" y="1710030"/>
                  </a:lnTo>
                  <a:lnTo>
                    <a:pt x="6446349" y="1471769"/>
                  </a:lnTo>
                  <a:lnTo>
                    <a:pt x="6656863" y="1471769"/>
                  </a:lnTo>
                  <a:close/>
                  <a:moveTo>
                    <a:pt x="6439946" y="1710030"/>
                  </a:moveTo>
                  <a:lnTo>
                    <a:pt x="6217136" y="1710030"/>
                  </a:lnTo>
                  <a:lnTo>
                    <a:pt x="6217136" y="1471769"/>
                  </a:lnTo>
                  <a:lnTo>
                    <a:pt x="6439690" y="1471769"/>
                  </a:lnTo>
                  <a:close/>
                  <a:moveTo>
                    <a:pt x="6210990" y="1710030"/>
                  </a:moveTo>
                  <a:lnTo>
                    <a:pt x="5986902" y="1710030"/>
                  </a:lnTo>
                  <a:lnTo>
                    <a:pt x="5986902" y="1471769"/>
                  </a:lnTo>
                  <a:lnTo>
                    <a:pt x="6210990" y="1471769"/>
                  </a:lnTo>
                  <a:close/>
                  <a:moveTo>
                    <a:pt x="5980499" y="1710030"/>
                  </a:moveTo>
                  <a:lnTo>
                    <a:pt x="5756411" y="1710030"/>
                  </a:lnTo>
                  <a:lnTo>
                    <a:pt x="5756411" y="1471769"/>
                  </a:lnTo>
                  <a:lnTo>
                    <a:pt x="5980499" y="1471769"/>
                  </a:lnTo>
                  <a:close/>
                  <a:moveTo>
                    <a:pt x="5750008" y="1710030"/>
                  </a:moveTo>
                  <a:lnTo>
                    <a:pt x="5526945" y="1710030"/>
                  </a:lnTo>
                  <a:lnTo>
                    <a:pt x="5526945" y="1471769"/>
                  </a:lnTo>
                  <a:lnTo>
                    <a:pt x="5749495" y="1471769"/>
                  </a:lnTo>
                  <a:close/>
                  <a:moveTo>
                    <a:pt x="5521055" y="1710030"/>
                  </a:moveTo>
                  <a:lnTo>
                    <a:pt x="5296454" y="1710030"/>
                  </a:lnTo>
                  <a:lnTo>
                    <a:pt x="5296454" y="1471769"/>
                  </a:lnTo>
                  <a:lnTo>
                    <a:pt x="5520542" y="1471769"/>
                  </a:lnTo>
                  <a:close/>
                  <a:moveTo>
                    <a:pt x="5290564" y="1710030"/>
                  </a:moveTo>
                  <a:lnTo>
                    <a:pt x="5065963" y="1710030"/>
                  </a:lnTo>
                  <a:lnTo>
                    <a:pt x="5065963" y="1471769"/>
                  </a:lnTo>
                  <a:lnTo>
                    <a:pt x="5290051" y="1471769"/>
                  </a:lnTo>
                  <a:close/>
                  <a:moveTo>
                    <a:pt x="5060073" y="1710030"/>
                  </a:moveTo>
                  <a:lnTo>
                    <a:pt x="4835472" y="1710030"/>
                  </a:lnTo>
                  <a:lnTo>
                    <a:pt x="4835472" y="1471769"/>
                  </a:lnTo>
                  <a:lnTo>
                    <a:pt x="5059560" y="1471769"/>
                  </a:lnTo>
                  <a:close/>
                  <a:moveTo>
                    <a:pt x="4829582" y="1710030"/>
                  </a:moveTo>
                  <a:lnTo>
                    <a:pt x="4607029" y="1710030"/>
                  </a:lnTo>
                  <a:lnTo>
                    <a:pt x="4607029" y="1471769"/>
                  </a:lnTo>
                  <a:lnTo>
                    <a:pt x="4829582" y="1471769"/>
                  </a:lnTo>
                  <a:close/>
                  <a:moveTo>
                    <a:pt x="4600626" y="1710030"/>
                  </a:moveTo>
                  <a:lnTo>
                    <a:pt x="4376538" y="1710030"/>
                  </a:lnTo>
                  <a:lnTo>
                    <a:pt x="4376538" y="1471769"/>
                  </a:lnTo>
                  <a:lnTo>
                    <a:pt x="4600626" y="1471769"/>
                  </a:lnTo>
                  <a:close/>
                  <a:moveTo>
                    <a:pt x="4370135" y="1710030"/>
                  </a:moveTo>
                  <a:lnTo>
                    <a:pt x="4146047" y="1710030"/>
                  </a:lnTo>
                  <a:lnTo>
                    <a:pt x="4146047" y="1471769"/>
                  </a:lnTo>
                  <a:lnTo>
                    <a:pt x="4370135" y="1471769"/>
                  </a:lnTo>
                  <a:close/>
                  <a:moveTo>
                    <a:pt x="4139644" y="1710030"/>
                  </a:moveTo>
                  <a:lnTo>
                    <a:pt x="3917094" y="1710030"/>
                  </a:lnTo>
                  <a:lnTo>
                    <a:pt x="3917094" y="1471769"/>
                  </a:lnTo>
                  <a:lnTo>
                    <a:pt x="4139644" y="1471769"/>
                  </a:lnTo>
                  <a:close/>
                  <a:moveTo>
                    <a:pt x="3910691" y="1710030"/>
                  </a:moveTo>
                  <a:lnTo>
                    <a:pt x="3686603" y="1710030"/>
                  </a:lnTo>
                  <a:lnTo>
                    <a:pt x="3686603" y="1471769"/>
                  </a:lnTo>
                  <a:lnTo>
                    <a:pt x="3910691" y="1471769"/>
                  </a:lnTo>
                  <a:close/>
                  <a:moveTo>
                    <a:pt x="3680200" y="1710030"/>
                  </a:moveTo>
                  <a:lnTo>
                    <a:pt x="3456112" y="1710030"/>
                  </a:lnTo>
                  <a:lnTo>
                    <a:pt x="3456112" y="1471769"/>
                  </a:lnTo>
                  <a:lnTo>
                    <a:pt x="3680200" y="1471769"/>
                  </a:lnTo>
                  <a:close/>
                  <a:moveTo>
                    <a:pt x="3449709" y="1710030"/>
                  </a:moveTo>
                  <a:lnTo>
                    <a:pt x="3225621" y="1710030"/>
                  </a:lnTo>
                  <a:lnTo>
                    <a:pt x="3225621" y="1471769"/>
                  </a:lnTo>
                  <a:lnTo>
                    <a:pt x="3449709" y="1471769"/>
                  </a:lnTo>
                  <a:close/>
                  <a:moveTo>
                    <a:pt x="3219218" y="1710030"/>
                  </a:moveTo>
                  <a:lnTo>
                    <a:pt x="2996666" y="1710030"/>
                  </a:lnTo>
                  <a:lnTo>
                    <a:pt x="2996666" y="1471769"/>
                  </a:lnTo>
                  <a:lnTo>
                    <a:pt x="3219218" y="1471769"/>
                  </a:lnTo>
                  <a:close/>
                  <a:moveTo>
                    <a:pt x="2990264" y="1710030"/>
                  </a:moveTo>
                  <a:lnTo>
                    <a:pt x="2766175" y="1710030"/>
                  </a:lnTo>
                  <a:lnTo>
                    <a:pt x="2766175" y="1471769"/>
                  </a:lnTo>
                  <a:lnTo>
                    <a:pt x="2990264" y="1471769"/>
                  </a:lnTo>
                  <a:close/>
                  <a:moveTo>
                    <a:pt x="2759773" y="1710030"/>
                  </a:moveTo>
                  <a:lnTo>
                    <a:pt x="2535684" y="1710030"/>
                  </a:lnTo>
                  <a:lnTo>
                    <a:pt x="2535684" y="1471769"/>
                  </a:lnTo>
                  <a:lnTo>
                    <a:pt x="2759773" y="1471769"/>
                  </a:lnTo>
                  <a:close/>
                  <a:moveTo>
                    <a:pt x="2529282" y="1710030"/>
                  </a:moveTo>
                  <a:lnTo>
                    <a:pt x="2305193" y="1710030"/>
                  </a:lnTo>
                  <a:lnTo>
                    <a:pt x="2305193" y="1471769"/>
                  </a:lnTo>
                  <a:lnTo>
                    <a:pt x="2529282" y="1471769"/>
                  </a:lnTo>
                  <a:close/>
                  <a:moveTo>
                    <a:pt x="2298791" y="1710030"/>
                  </a:moveTo>
                  <a:lnTo>
                    <a:pt x="2075982" y="1710030"/>
                  </a:lnTo>
                  <a:lnTo>
                    <a:pt x="2075982" y="1471769"/>
                  </a:lnTo>
                  <a:lnTo>
                    <a:pt x="2298534" y="1471769"/>
                  </a:lnTo>
                  <a:close/>
                  <a:moveTo>
                    <a:pt x="2069836" y="1710030"/>
                  </a:moveTo>
                  <a:lnTo>
                    <a:pt x="1845748" y="1710030"/>
                  </a:lnTo>
                  <a:lnTo>
                    <a:pt x="1845748" y="1471769"/>
                  </a:lnTo>
                  <a:lnTo>
                    <a:pt x="2069580" y="1471769"/>
                  </a:lnTo>
                  <a:close/>
                  <a:moveTo>
                    <a:pt x="1839345" y="1710030"/>
                  </a:moveTo>
                  <a:lnTo>
                    <a:pt x="1615257" y="1710030"/>
                  </a:lnTo>
                  <a:lnTo>
                    <a:pt x="1615257" y="1471769"/>
                  </a:lnTo>
                  <a:lnTo>
                    <a:pt x="1839089" y="1471769"/>
                  </a:lnTo>
                  <a:close/>
                  <a:moveTo>
                    <a:pt x="1608854" y="1710030"/>
                  </a:moveTo>
                  <a:lnTo>
                    <a:pt x="1386302" y="1710030"/>
                  </a:lnTo>
                  <a:lnTo>
                    <a:pt x="1386302" y="1471769"/>
                  </a:lnTo>
                  <a:lnTo>
                    <a:pt x="1608598" y="1471769"/>
                  </a:lnTo>
                  <a:close/>
                  <a:moveTo>
                    <a:pt x="1608854" y="1716833"/>
                  </a:moveTo>
                  <a:lnTo>
                    <a:pt x="1608854" y="1953326"/>
                  </a:lnTo>
                  <a:lnTo>
                    <a:pt x="1386302" y="1953326"/>
                  </a:lnTo>
                  <a:lnTo>
                    <a:pt x="1386302" y="1716697"/>
                  </a:lnTo>
                  <a:close/>
                  <a:moveTo>
                    <a:pt x="1608854" y="1960129"/>
                  </a:moveTo>
                  <a:lnTo>
                    <a:pt x="1608854" y="2198254"/>
                  </a:lnTo>
                  <a:lnTo>
                    <a:pt x="1386302" y="2198254"/>
                  </a:lnTo>
                  <a:lnTo>
                    <a:pt x="1386302" y="1960129"/>
                  </a:lnTo>
                  <a:close/>
                  <a:moveTo>
                    <a:pt x="1608854" y="2205058"/>
                  </a:moveTo>
                  <a:lnTo>
                    <a:pt x="1608854" y="2443183"/>
                  </a:lnTo>
                  <a:lnTo>
                    <a:pt x="1386302" y="2443183"/>
                  </a:lnTo>
                  <a:lnTo>
                    <a:pt x="1386302" y="2205058"/>
                  </a:lnTo>
                  <a:close/>
                  <a:moveTo>
                    <a:pt x="1608854" y="2449986"/>
                  </a:moveTo>
                  <a:lnTo>
                    <a:pt x="1608854" y="2686479"/>
                  </a:lnTo>
                  <a:lnTo>
                    <a:pt x="1386302" y="2686479"/>
                  </a:lnTo>
                  <a:lnTo>
                    <a:pt x="1386302" y="2449986"/>
                  </a:lnTo>
                  <a:close/>
                  <a:moveTo>
                    <a:pt x="1608854" y="2693282"/>
                  </a:moveTo>
                  <a:lnTo>
                    <a:pt x="1608854" y="2931407"/>
                  </a:lnTo>
                  <a:lnTo>
                    <a:pt x="1386302" y="2931407"/>
                  </a:lnTo>
                  <a:lnTo>
                    <a:pt x="1386302" y="2693282"/>
                  </a:lnTo>
                  <a:close/>
                  <a:moveTo>
                    <a:pt x="1608854" y="2938211"/>
                  </a:moveTo>
                  <a:lnTo>
                    <a:pt x="1608854" y="3176336"/>
                  </a:lnTo>
                  <a:lnTo>
                    <a:pt x="1386302" y="3176336"/>
                  </a:lnTo>
                  <a:lnTo>
                    <a:pt x="1386302" y="2938211"/>
                  </a:lnTo>
                  <a:close/>
                  <a:moveTo>
                    <a:pt x="1608854" y="3183139"/>
                  </a:moveTo>
                  <a:lnTo>
                    <a:pt x="1608854" y="3421264"/>
                  </a:lnTo>
                  <a:lnTo>
                    <a:pt x="1386302" y="3421264"/>
                  </a:lnTo>
                  <a:lnTo>
                    <a:pt x="1386302" y="3183139"/>
                  </a:lnTo>
                  <a:close/>
                  <a:moveTo>
                    <a:pt x="1608854" y="3428068"/>
                  </a:moveTo>
                  <a:lnTo>
                    <a:pt x="1608854" y="3664560"/>
                  </a:lnTo>
                  <a:lnTo>
                    <a:pt x="1386302" y="3664560"/>
                  </a:lnTo>
                  <a:lnTo>
                    <a:pt x="1386302" y="3428068"/>
                  </a:lnTo>
                  <a:close/>
                  <a:moveTo>
                    <a:pt x="1608854" y="3671364"/>
                  </a:moveTo>
                  <a:lnTo>
                    <a:pt x="1608854" y="3909489"/>
                  </a:lnTo>
                  <a:lnTo>
                    <a:pt x="1386302" y="3909489"/>
                  </a:lnTo>
                  <a:lnTo>
                    <a:pt x="1386302" y="3671364"/>
                  </a:lnTo>
                  <a:close/>
                  <a:moveTo>
                    <a:pt x="1608854" y="3916292"/>
                  </a:moveTo>
                  <a:lnTo>
                    <a:pt x="1608854" y="4154417"/>
                  </a:lnTo>
                  <a:lnTo>
                    <a:pt x="1386302" y="4154417"/>
                  </a:lnTo>
                  <a:lnTo>
                    <a:pt x="1386302" y="3916292"/>
                  </a:lnTo>
                  <a:close/>
                  <a:moveTo>
                    <a:pt x="1608854" y="4161221"/>
                  </a:moveTo>
                  <a:lnTo>
                    <a:pt x="1608854" y="4399346"/>
                  </a:lnTo>
                  <a:lnTo>
                    <a:pt x="1386302" y="4399346"/>
                  </a:lnTo>
                  <a:lnTo>
                    <a:pt x="1386302" y="4161221"/>
                  </a:lnTo>
                  <a:close/>
                  <a:moveTo>
                    <a:pt x="1608854" y="4406149"/>
                  </a:moveTo>
                  <a:lnTo>
                    <a:pt x="1608854" y="4642233"/>
                  </a:lnTo>
                  <a:lnTo>
                    <a:pt x="1386302" y="4642233"/>
                  </a:lnTo>
                  <a:lnTo>
                    <a:pt x="1386302" y="4405741"/>
                  </a:lnTo>
                  <a:close/>
                  <a:moveTo>
                    <a:pt x="1608854" y="4649445"/>
                  </a:moveTo>
                  <a:lnTo>
                    <a:pt x="1608854" y="4887162"/>
                  </a:lnTo>
                  <a:lnTo>
                    <a:pt x="1386302" y="4887162"/>
                  </a:lnTo>
                  <a:lnTo>
                    <a:pt x="1386302" y="4649037"/>
                  </a:lnTo>
                  <a:close/>
                  <a:moveTo>
                    <a:pt x="1608854" y="4894374"/>
                  </a:moveTo>
                  <a:lnTo>
                    <a:pt x="1608854" y="5132090"/>
                  </a:lnTo>
                  <a:lnTo>
                    <a:pt x="1386302" y="5132090"/>
                  </a:lnTo>
                  <a:lnTo>
                    <a:pt x="1386302" y="4893965"/>
                  </a:lnTo>
                  <a:close/>
                  <a:moveTo>
                    <a:pt x="1608854" y="5139302"/>
                  </a:moveTo>
                  <a:lnTo>
                    <a:pt x="1608854" y="5375795"/>
                  </a:lnTo>
                  <a:lnTo>
                    <a:pt x="1386302" y="5375795"/>
                  </a:lnTo>
                  <a:lnTo>
                    <a:pt x="1386302" y="5139302"/>
                  </a:lnTo>
                  <a:close/>
                  <a:moveTo>
                    <a:pt x="1615257" y="5139302"/>
                  </a:moveTo>
                  <a:lnTo>
                    <a:pt x="1839089" y="5139302"/>
                  </a:lnTo>
                  <a:lnTo>
                    <a:pt x="1839089" y="5375795"/>
                  </a:lnTo>
                  <a:lnTo>
                    <a:pt x="1615000" y="5375795"/>
                  </a:lnTo>
                  <a:close/>
                  <a:moveTo>
                    <a:pt x="1845748" y="5139302"/>
                  </a:moveTo>
                  <a:lnTo>
                    <a:pt x="2069580" y="5139302"/>
                  </a:lnTo>
                  <a:lnTo>
                    <a:pt x="2069580" y="5375795"/>
                  </a:lnTo>
                  <a:lnTo>
                    <a:pt x="1845491" y="5375795"/>
                  </a:lnTo>
                  <a:close/>
                  <a:moveTo>
                    <a:pt x="2076239" y="5139302"/>
                  </a:moveTo>
                  <a:lnTo>
                    <a:pt x="2298791" y="5139302"/>
                  </a:lnTo>
                  <a:lnTo>
                    <a:pt x="2298791" y="5375795"/>
                  </a:lnTo>
                  <a:lnTo>
                    <a:pt x="2075982" y="5375795"/>
                  </a:lnTo>
                  <a:close/>
                  <a:moveTo>
                    <a:pt x="2305193" y="5139302"/>
                  </a:moveTo>
                  <a:lnTo>
                    <a:pt x="2529282" y="5139302"/>
                  </a:lnTo>
                  <a:lnTo>
                    <a:pt x="2529282" y="5375795"/>
                  </a:lnTo>
                  <a:lnTo>
                    <a:pt x="2305193" y="5375795"/>
                  </a:lnTo>
                  <a:close/>
                  <a:moveTo>
                    <a:pt x="2535684" y="5139302"/>
                  </a:moveTo>
                  <a:lnTo>
                    <a:pt x="2759773" y="5139302"/>
                  </a:lnTo>
                  <a:lnTo>
                    <a:pt x="2759773" y="5375795"/>
                  </a:lnTo>
                  <a:lnTo>
                    <a:pt x="2535684" y="5375795"/>
                  </a:lnTo>
                  <a:close/>
                  <a:moveTo>
                    <a:pt x="2766175" y="5139302"/>
                  </a:moveTo>
                  <a:lnTo>
                    <a:pt x="2990264" y="5139302"/>
                  </a:lnTo>
                  <a:lnTo>
                    <a:pt x="2990264" y="5375795"/>
                  </a:lnTo>
                  <a:lnTo>
                    <a:pt x="2766175" y="5375795"/>
                  </a:lnTo>
                  <a:close/>
                  <a:moveTo>
                    <a:pt x="2996666" y="5139302"/>
                  </a:moveTo>
                  <a:lnTo>
                    <a:pt x="3219218" y="5139302"/>
                  </a:lnTo>
                  <a:lnTo>
                    <a:pt x="3219218" y="5375795"/>
                  </a:lnTo>
                  <a:lnTo>
                    <a:pt x="2996666" y="5375795"/>
                  </a:lnTo>
                  <a:close/>
                  <a:moveTo>
                    <a:pt x="3225621" y="5139302"/>
                  </a:moveTo>
                  <a:lnTo>
                    <a:pt x="3449709" y="5139302"/>
                  </a:lnTo>
                  <a:lnTo>
                    <a:pt x="3449709" y="5375795"/>
                  </a:lnTo>
                  <a:lnTo>
                    <a:pt x="3225621" y="5375795"/>
                  </a:lnTo>
                  <a:close/>
                  <a:moveTo>
                    <a:pt x="3456112" y="5139302"/>
                  </a:moveTo>
                  <a:lnTo>
                    <a:pt x="3680200" y="5139302"/>
                  </a:lnTo>
                  <a:lnTo>
                    <a:pt x="3680200" y="5375795"/>
                  </a:lnTo>
                  <a:lnTo>
                    <a:pt x="3456112" y="5375795"/>
                  </a:lnTo>
                  <a:close/>
                  <a:moveTo>
                    <a:pt x="3686603" y="5139302"/>
                  </a:moveTo>
                  <a:lnTo>
                    <a:pt x="3910691" y="5139302"/>
                  </a:lnTo>
                  <a:lnTo>
                    <a:pt x="3910691" y="5375795"/>
                  </a:lnTo>
                  <a:lnTo>
                    <a:pt x="3686603" y="5375795"/>
                  </a:lnTo>
                  <a:close/>
                  <a:moveTo>
                    <a:pt x="3917094" y="5139302"/>
                  </a:moveTo>
                  <a:lnTo>
                    <a:pt x="4139644" y="5139302"/>
                  </a:lnTo>
                  <a:lnTo>
                    <a:pt x="4139644" y="5375795"/>
                  </a:lnTo>
                  <a:lnTo>
                    <a:pt x="3917094" y="5375795"/>
                  </a:lnTo>
                  <a:close/>
                  <a:moveTo>
                    <a:pt x="4146047" y="5139302"/>
                  </a:moveTo>
                  <a:lnTo>
                    <a:pt x="4370135" y="5139302"/>
                  </a:lnTo>
                  <a:lnTo>
                    <a:pt x="4370135" y="5375795"/>
                  </a:lnTo>
                  <a:lnTo>
                    <a:pt x="4146047" y="5375795"/>
                  </a:lnTo>
                  <a:close/>
                  <a:moveTo>
                    <a:pt x="4376538" y="5139302"/>
                  </a:moveTo>
                  <a:lnTo>
                    <a:pt x="4600626" y="5139302"/>
                  </a:lnTo>
                  <a:lnTo>
                    <a:pt x="4600626" y="5375795"/>
                  </a:lnTo>
                  <a:lnTo>
                    <a:pt x="4376538" y="5375795"/>
                  </a:lnTo>
                  <a:close/>
                  <a:moveTo>
                    <a:pt x="4607029" y="5139302"/>
                  </a:moveTo>
                  <a:lnTo>
                    <a:pt x="4829582" y="5139302"/>
                  </a:lnTo>
                  <a:lnTo>
                    <a:pt x="4829582" y="5375795"/>
                  </a:lnTo>
                  <a:lnTo>
                    <a:pt x="4607029" y="5375795"/>
                  </a:lnTo>
                  <a:close/>
                  <a:moveTo>
                    <a:pt x="4835985" y="5139302"/>
                  </a:moveTo>
                  <a:lnTo>
                    <a:pt x="5060073" y="5139302"/>
                  </a:lnTo>
                  <a:lnTo>
                    <a:pt x="5060073" y="5375795"/>
                  </a:lnTo>
                  <a:lnTo>
                    <a:pt x="4835472" y="5375795"/>
                  </a:lnTo>
                  <a:close/>
                  <a:moveTo>
                    <a:pt x="5066476" y="5139302"/>
                  </a:moveTo>
                  <a:lnTo>
                    <a:pt x="5290564" y="5139302"/>
                  </a:lnTo>
                  <a:lnTo>
                    <a:pt x="5290564" y="5375795"/>
                  </a:lnTo>
                  <a:lnTo>
                    <a:pt x="5065963" y="5375795"/>
                  </a:lnTo>
                  <a:close/>
                  <a:moveTo>
                    <a:pt x="5296967" y="5139302"/>
                  </a:moveTo>
                  <a:lnTo>
                    <a:pt x="5521055" y="5139302"/>
                  </a:lnTo>
                  <a:lnTo>
                    <a:pt x="5521055" y="5375795"/>
                  </a:lnTo>
                  <a:lnTo>
                    <a:pt x="5296454" y="5375795"/>
                  </a:lnTo>
                  <a:close/>
                  <a:moveTo>
                    <a:pt x="5527458" y="5139302"/>
                  </a:moveTo>
                  <a:lnTo>
                    <a:pt x="5750008" y="5139302"/>
                  </a:lnTo>
                  <a:lnTo>
                    <a:pt x="5750008" y="5375795"/>
                  </a:lnTo>
                  <a:lnTo>
                    <a:pt x="5526945" y="5375795"/>
                  </a:lnTo>
                  <a:close/>
                  <a:moveTo>
                    <a:pt x="5756411" y="5139302"/>
                  </a:moveTo>
                  <a:lnTo>
                    <a:pt x="5980499" y="5139302"/>
                  </a:lnTo>
                  <a:lnTo>
                    <a:pt x="5980499" y="5375795"/>
                  </a:lnTo>
                  <a:lnTo>
                    <a:pt x="5756411" y="5375795"/>
                  </a:lnTo>
                  <a:close/>
                  <a:moveTo>
                    <a:pt x="5986902" y="5139302"/>
                  </a:moveTo>
                  <a:lnTo>
                    <a:pt x="6210990" y="5139302"/>
                  </a:lnTo>
                  <a:lnTo>
                    <a:pt x="6210990" y="5375795"/>
                  </a:lnTo>
                  <a:lnTo>
                    <a:pt x="5986902" y="5375795"/>
                  </a:lnTo>
                  <a:close/>
                  <a:moveTo>
                    <a:pt x="6217393" y="5139302"/>
                  </a:moveTo>
                  <a:lnTo>
                    <a:pt x="6439946" y="5139302"/>
                  </a:lnTo>
                  <a:lnTo>
                    <a:pt x="6439946" y="5375795"/>
                  </a:lnTo>
                  <a:lnTo>
                    <a:pt x="6217136" y="5375795"/>
                  </a:lnTo>
                  <a:close/>
                  <a:moveTo>
                    <a:pt x="6446349" y="5139302"/>
                  </a:moveTo>
                  <a:lnTo>
                    <a:pt x="6656863" y="5139302"/>
                  </a:lnTo>
                  <a:lnTo>
                    <a:pt x="6656863" y="5375795"/>
                  </a:lnTo>
                  <a:lnTo>
                    <a:pt x="6446349" y="5375795"/>
                  </a:lnTo>
                  <a:close/>
                  <a:moveTo>
                    <a:pt x="6663265" y="5139302"/>
                  </a:moveTo>
                  <a:lnTo>
                    <a:pt x="6887354" y="5139302"/>
                  </a:lnTo>
                  <a:lnTo>
                    <a:pt x="6887354" y="5375795"/>
                  </a:lnTo>
                  <a:lnTo>
                    <a:pt x="6663265" y="5375795"/>
                  </a:lnTo>
                  <a:close/>
                  <a:moveTo>
                    <a:pt x="6893756" y="5139302"/>
                  </a:moveTo>
                  <a:lnTo>
                    <a:pt x="7117845" y="5139302"/>
                  </a:lnTo>
                  <a:lnTo>
                    <a:pt x="7117845" y="5375795"/>
                  </a:lnTo>
                  <a:lnTo>
                    <a:pt x="6893756" y="5375795"/>
                  </a:lnTo>
                  <a:close/>
                  <a:moveTo>
                    <a:pt x="7124247" y="5139302"/>
                  </a:moveTo>
                  <a:lnTo>
                    <a:pt x="7346801" y="5139302"/>
                  </a:lnTo>
                  <a:lnTo>
                    <a:pt x="7346801" y="5375795"/>
                  </a:lnTo>
                  <a:lnTo>
                    <a:pt x="7124247" y="5375795"/>
                  </a:lnTo>
                  <a:close/>
                  <a:moveTo>
                    <a:pt x="7353204" y="5139302"/>
                  </a:moveTo>
                  <a:lnTo>
                    <a:pt x="7577292" y="5139302"/>
                  </a:lnTo>
                  <a:lnTo>
                    <a:pt x="7577292" y="5375795"/>
                  </a:lnTo>
                  <a:lnTo>
                    <a:pt x="7353204" y="5375795"/>
                  </a:lnTo>
                  <a:close/>
                  <a:moveTo>
                    <a:pt x="7583695" y="5139302"/>
                  </a:moveTo>
                  <a:lnTo>
                    <a:pt x="7807783" y="5139302"/>
                  </a:lnTo>
                  <a:lnTo>
                    <a:pt x="7807783" y="5375795"/>
                  </a:lnTo>
                  <a:lnTo>
                    <a:pt x="7583695" y="5375795"/>
                  </a:lnTo>
                  <a:close/>
                  <a:moveTo>
                    <a:pt x="7814186" y="5139302"/>
                  </a:moveTo>
                  <a:lnTo>
                    <a:pt x="8038274" y="5139302"/>
                  </a:lnTo>
                  <a:lnTo>
                    <a:pt x="8038274" y="5375795"/>
                  </a:lnTo>
                  <a:lnTo>
                    <a:pt x="7814186" y="5375795"/>
                  </a:lnTo>
                  <a:close/>
                  <a:moveTo>
                    <a:pt x="8044677" y="5139302"/>
                  </a:moveTo>
                  <a:lnTo>
                    <a:pt x="8267227" y="5139302"/>
                  </a:lnTo>
                  <a:lnTo>
                    <a:pt x="8267227" y="5375795"/>
                  </a:lnTo>
                  <a:lnTo>
                    <a:pt x="8044420" y="5375795"/>
                  </a:lnTo>
                  <a:close/>
                  <a:moveTo>
                    <a:pt x="8273629" y="5139302"/>
                  </a:moveTo>
                  <a:lnTo>
                    <a:pt x="8497718" y="5139302"/>
                  </a:lnTo>
                  <a:lnTo>
                    <a:pt x="8497718" y="5375795"/>
                  </a:lnTo>
                  <a:lnTo>
                    <a:pt x="8273629" y="5375795"/>
                  </a:lnTo>
                  <a:close/>
                  <a:moveTo>
                    <a:pt x="8504120" y="5139302"/>
                  </a:moveTo>
                  <a:lnTo>
                    <a:pt x="8728209" y="5139302"/>
                  </a:lnTo>
                  <a:lnTo>
                    <a:pt x="8728209" y="5375795"/>
                  </a:lnTo>
                  <a:lnTo>
                    <a:pt x="8504120" y="5375795"/>
                  </a:lnTo>
                  <a:close/>
                  <a:moveTo>
                    <a:pt x="8734611" y="5139302"/>
                  </a:moveTo>
                  <a:lnTo>
                    <a:pt x="8957162" y="5139302"/>
                  </a:lnTo>
                  <a:lnTo>
                    <a:pt x="8957162" y="5375795"/>
                  </a:lnTo>
                  <a:lnTo>
                    <a:pt x="8734611" y="5375795"/>
                  </a:lnTo>
                  <a:close/>
                  <a:moveTo>
                    <a:pt x="8963564" y="5139302"/>
                  </a:moveTo>
                  <a:lnTo>
                    <a:pt x="9187653" y="5139302"/>
                  </a:lnTo>
                  <a:lnTo>
                    <a:pt x="9187653" y="5375795"/>
                  </a:lnTo>
                  <a:lnTo>
                    <a:pt x="8963564" y="5375795"/>
                  </a:lnTo>
                  <a:close/>
                  <a:moveTo>
                    <a:pt x="9194055" y="5139302"/>
                  </a:moveTo>
                  <a:lnTo>
                    <a:pt x="9418144" y="5139302"/>
                  </a:lnTo>
                  <a:lnTo>
                    <a:pt x="9418144" y="5375795"/>
                  </a:lnTo>
                  <a:lnTo>
                    <a:pt x="9194055" y="5375795"/>
                  </a:lnTo>
                  <a:close/>
                  <a:moveTo>
                    <a:pt x="9424546" y="5139302"/>
                  </a:moveTo>
                  <a:lnTo>
                    <a:pt x="9648635" y="5139302"/>
                  </a:lnTo>
                  <a:lnTo>
                    <a:pt x="9648635" y="5375795"/>
                  </a:lnTo>
                  <a:lnTo>
                    <a:pt x="9424546" y="5375795"/>
                  </a:lnTo>
                  <a:close/>
                  <a:moveTo>
                    <a:pt x="9655037" y="5139302"/>
                  </a:moveTo>
                  <a:lnTo>
                    <a:pt x="9877591" y="5139302"/>
                  </a:lnTo>
                  <a:lnTo>
                    <a:pt x="9877591" y="5375795"/>
                  </a:lnTo>
                  <a:lnTo>
                    <a:pt x="9655037" y="5375795"/>
                  </a:lnTo>
                  <a:close/>
                  <a:moveTo>
                    <a:pt x="9883993" y="5139302"/>
                  </a:moveTo>
                  <a:lnTo>
                    <a:pt x="10108082" y="5139302"/>
                  </a:lnTo>
                  <a:lnTo>
                    <a:pt x="10108082" y="5375795"/>
                  </a:lnTo>
                  <a:lnTo>
                    <a:pt x="9883993" y="5375795"/>
                  </a:lnTo>
                  <a:close/>
                  <a:moveTo>
                    <a:pt x="10114484" y="5139302"/>
                  </a:moveTo>
                  <a:lnTo>
                    <a:pt x="10338573" y="5139302"/>
                  </a:lnTo>
                  <a:lnTo>
                    <a:pt x="10338573" y="5375795"/>
                  </a:lnTo>
                  <a:lnTo>
                    <a:pt x="10114484" y="5375795"/>
                  </a:lnTo>
                  <a:close/>
                  <a:moveTo>
                    <a:pt x="10344975" y="5139302"/>
                  </a:moveTo>
                  <a:lnTo>
                    <a:pt x="10569064" y="5139302"/>
                  </a:lnTo>
                  <a:lnTo>
                    <a:pt x="10569064" y="5375795"/>
                  </a:lnTo>
                  <a:lnTo>
                    <a:pt x="10344975" y="5375795"/>
                  </a:lnTo>
                  <a:close/>
                  <a:moveTo>
                    <a:pt x="10575466" y="5139302"/>
                  </a:moveTo>
                  <a:lnTo>
                    <a:pt x="10798016" y="5139302"/>
                  </a:lnTo>
                  <a:lnTo>
                    <a:pt x="10798016" y="5375795"/>
                  </a:lnTo>
                  <a:lnTo>
                    <a:pt x="10575466" y="5375795"/>
                  </a:lnTo>
                  <a:close/>
                  <a:moveTo>
                    <a:pt x="10575466" y="5132499"/>
                  </a:moveTo>
                  <a:lnTo>
                    <a:pt x="10575466" y="4894374"/>
                  </a:lnTo>
                  <a:lnTo>
                    <a:pt x="10798016" y="4894374"/>
                  </a:lnTo>
                  <a:lnTo>
                    <a:pt x="10798016" y="5132090"/>
                  </a:lnTo>
                  <a:close/>
                  <a:moveTo>
                    <a:pt x="10575466" y="4887570"/>
                  </a:moveTo>
                  <a:lnTo>
                    <a:pt x="10575466" y="4649445"/>
                  </a:lnTo>
                  <a:lnTo>
                    <a:pt x="10798016" y="4649445"/>
                  </a:lnTo>
                  <a:lnTo>
                    <a:pt x="10798016" y="4887162"/>
                  </a:lnTo>
                  <a:close/>
                  <a:moveTo>
                    <a:pt x="10575466" y="4642642"/>
                  </a:moveTo>
                  <a:lnTo>
                    <a:pt x="10575466" y="4406149"/>
                  </a:lnTo>
                  <a:lnTo>
                    <a:pt x="10798016" y="4406149"/>
                  </a:lnTo>
                  <a:lnTo>
                    <a:pt x="10798016" y="4642233"/>
                  </a:lnTo>
                  <a:close/>
                  <a:moveTo>
                    <a:pt x="10575466" y="4399346"/>
                  </a:moveTo>
                  <a:lnTo>
                    <a:pt x="10575466" y="4161221"/>
                  </a:lnTo>
                  <a:lnTo>
                    <a:pt x="10798016" y="4161221"/>
                  </a:lnTo>
                  <a:lnTo>
                    <a:pt x="10798016" y="4399346"/>
                  </a:lnTo>
                  <a:close/>
                  <a:moveTo>
                    <a:pt x="10575466" y="4154417"/>
                  </a:moveTo>
                  <a:lnTo>
                    <a:pt x="10575466" y="3916292"/>
                  </a:lnTo>
                  <a:lnTo>
                    <a:pt x="10798016" y="3916292"/>
                  </a:lnTo>
                  <a:lnTo>
                    <a:pt x="10798016" y="4154417"/>
                  </a:lnTo>
                  <a:close/>
                  <a:moveTo>
                    <a:pt x="10575466" y="3909489"/>
                  </a:moveTo>
                  <a:lnTo>
                    <a:pt x="10575466" y="3671364"/>
                  </a:lnTo>
                  <a:lnTo>
                    <a:pt x="10798016" y="3671364"/>
                  </a:lnTo>
                  <a:lnTo>
                    <a:pt x="10798016" y="3909489"/>
                  </a:lnTo>
                  <a:close/>
                  <a:moveTo>
                    <a:pt x="10575466" y="3664560"/>
                  </a:moveTo>
                  <a:lnTo>
                    <a:pt x="10575466" y="3428068"/>
                  </a:lnTo>
                  <a:lnTo>
                    <a:pt x="10798016" y="3428068"/>
                  </a:lnTo>
                  <a:lnTo>
                    <a:pt x="10798016" y="3664560"/>
                  </a:lnTo>
                  <a:close/>
                  <a:moveTo>
                    <a:pt x="10575466" y="3421264"/>
                  </a:moveTo>
                  <a:lnTo>
                    <a:pt x="10575466" y="3183139"/>
                  </a:lnTo>
                  <a:lnTo>
                    <a:pt x="10798016" y="3183139"/>
                  </a:lnTo>
                  <a:lnTo>
                    <a:pt x="10798016" y="3421264"/>
                  </a:lnTo>
                  <a:close/>
                  <a:moveTo>
                    <a:pt x="10575466" y="3176336"/>
                  </a:moveTo>
                  <a:lnTo>
                    <a:pt x="10575466" y="2938211"/>
                  </a:lnTo>
                  <a:lnTo>
                    <a:pt x="10798016" y="2938211"/>
                  </a:lnTo>
                  <a:lnTo>
                    <a:pt x="10798016" y="3176336"/>
                  </a:lnTo>
                  <a:close/>
                  <a:moveTo>
                    <a:pt x="10575466" y="2931407"/>
                  </a:moveTo>
                  <a:lnTo>
                    <a:pt x="10575466" y="2693282"/>
                  </a:lnTo>
                  <a:lnTo>
                    <a:pt x="10798016" y="2693282"/>
                  </a:lnTo>
                  <a:lnTo>
                    <a:pt x="10798016" y="2931407"/>
                  </a:lnTo>
                  <a:close/>
                  <a:moveTo>
                    <a:pt x="10575466" y="2686479"/>
                  </a:moveTo>
                  <a:lnTo>
                    <a:pt x="10575466" y="2449986"/>
                  </a:lnTo>
                  <a:lnTo>
                    <a:pt x="10798016" y="2449986"/>
                  </a:lnTo>
                  <a:lnTo>
                    <a:pt x="10798016" y="2686479"/>
                  </a:lnTo>
                  <a:close/>
                  <a:moveTo>
                    <a:pt x="10575466" y="2443183"/>
                  </a:moveTo>
                  <a:lnTo>
                    <a:pt x="10575466" y="2205058"/>
                  </a:lnTo>
                  <a:lnTo>
                    <a:pt x="10798016" y="2205058"/>
                  </a:lnTo>
                  <a:lnTo>
                    <a:pt x="10798016" y="2443183"/>
                  </a:lnTo>
                  <a:close/>
                  <a:moveTo>
                    <a:pt x="10575466" y="2198254"/>
                  </a:moveTo>
                  <a:lnTo>
                    <a:pt x="10575466" y="1960129"/>
                  </a:lnTo>
                  <a:lnTo>
                    <a:pt x="10798016" y="1960129"/>
                  </a:lnTo>
                  <a:lnTo>
                    <a:pt x="10798016" y="2198254"/>
                  </a:lnTo>
                  <a:close/>
                  <a:moveTo>
                    <a:pt x="10575466" y="1953326"/>
                  </a:moveTo>
                  <a:lnTo>
                    <a:pt x="10575466" y="1716697"/>
                  </a:lnTo>
                  <a:lnTo>
                    <a:pt x="10798016" y="1716697"/>
                  </a:lnTo>
                  <a:lnTo>
                    <a:pt x="10798016" y="1953189"/>
                  </a:lnTo>
                  <a:close/>
                  <a:moveTo>
                    <a:pt x="10575466" y="1710030"/>
                  </a:moveTo>
                  <a:lnTo>
                    <a:pt x="10575466" y="1471769"/>
                  </a:lnTo>
                  <a:lnTo>
                    <a:pt x="10798016" y="1471769"/>
                  </a:lnTo>
                  <a:lnTo>
                    <a:pt x="10798016" y="1709894"/>
                  </a:lnTo>
                  <a:close/>
                  <a:moveTo>
                    <a:pt x="10575466" y="1465101"/>
                  </a:moveTo>
                  <a:lnTo>
                    <a:pt x="10575466" y="1226840"/>
                  </a:lnTo>
                  <a:lnTo>
                    <a:pt x="10798016" y="1226840"/>
                  </a:lnTo>
                  <a:lnTo>
                    <a:pt x="10798016" y="1464965"/>
                  </a:lnTo>
                  <a:close/>
                  <a:moveTo>
                    <a:pt x="10569064" y="1465101"/>
                  </a:moveTo>
                  <a:lnTo>
                    <a:pt x="10344975" y="1465101"/>
                  </a:lnTo>
                  <a:lnTo>
                    <a:pt x="10344975" y="1226840"/>
                  </a:lnTo>
                  <a:lnTo>
                    <a:pt x="10569064" y="1226840"/>
                  </a:lnTo>
                  <a:close/>
                  <a:moveTo>
                    <a:pt x="10338573" y="1465101"/>
                  </a:moveTo>
                  <a:lnTo>
                    <a:pt x="10114484" y="1465101"/>
                  </a:lnTo>
                  <a:lnTo>
                    <a:pt x="10114484" y="1226840"/>
                  </a:lnTo>
                  <a:lnTo>
                    <a:pt x="10338573" y="1226840"/>
                  </a:lnTo>
                  <a:close/>
                  <a:moveTo>
                    <a:pt x="10108082" y="1465101"/>
                  </a:moveTo>
                  <a:lnTo>
                    <a:pt x="9883993" y="1465101"/>
                  </a:lnTo>
                  <a:lnTo>
                    <a:pt x="9883993" y="1226840"/>
                  </a:lnTo>
                  <a:lnTo>
                    <a:pt x="10108082" y="1226840"/>
                  </a:lnTo>
                  <a:close/>
                  <a:moveTo>
                    <a:pt x="9877591" y="1465101"/>
                  </a:moveTo>
                  <a:lnTo>
                    <a:pt x="9655037" y="1465101"/>
                  </a:lnTo>
                  <a:lnTo>
                    <a:pt x="9655037" y="1226840"/>
                  </a:lnTo>
                  <a:lnTo>
                    <a:pt x="9877591" y="1226840"/>
                  </a:lnTo>
                  <a:close/>
                  <a:moveTo>
                    <a:pt x="9648635" y="1465101"/>
                  </a:moveTo>
                  <a:lnTo>
                    <a:pt x="9424546" y="1465101"/>
                  </a:lnTo>
                  <a:lnTo>
                    <a:pt x="9424546" y="1226840"/>
                  </a:lnTo>
                  <a:lnTo>
                    <a:pt x="9648635" y="1226840"/>
                  </a:lnTo>
                  <a:close/>
                  <a:moveTo>
                    <a:pt x="9418144" y="1465101"/>
                  </a:moveTo>
                  <a:lnTo>
                    <a:pt x="9194055" y="1465101"/>
                  </a:lnTo>
                  <a:lnTo>
                    <a:pt x="9194055" y="1226840"/>
                  </a:lnTo>
                  <a:lnTo>
                    <a:pt x="9418144" y="1226840"/>
                  </a:lnTo>
                  <a:close/>
                  <a:moveTo>
                    <a:pt x="9187653" y="1465101"/>
                  </a:moveTo>
                  <a:lnTo>
                    <a:pt x="8963564" y="1465101"/>
                  </a:lnTo>
                  <a:lnTo>
                    <a:pt x="8963564" y="1226840"/>
                  </a:lnTo>
                  <a:lnTo>
                    <a:pt x="9187653" y="1226840"/>
                  </a:lnTo>
                  <a:close/>
                  <a:moveTo>
                    <a:pt x="8957162" y="1465101"/>
                  </a:moveTo>
                  <a:lnTo>
                    <a:pt x="8734611" y="1465101"/>
                  </a:lnTo>
                  <a:lnTo>
                    <a:pt x="8734611" y="1226840"/>
                  </a:lnTo>
                  <a:lnTo>
                    <a:pt x="8957162" y="1226840"/>
                  </a:lnTo>
                  <a:close/>
                  <a:moveTo>
                    <a:pt x="8728209" y="1465101"/>
                  </a:moveTo>
                  <a:lnTo>
                    <a:pt x="8504120" y="1465101"/>
                  </a:lnTo>
                  <a:lnTo>
                    <a:pt x="8504120" y="1226840"/>
                  </a:lnTo>
                  <a:lnTo>
                    <a:pt x="8728209" y="1226840"/>
                  </a:lnTo>
                  <a:close/>
                  <a:moveTo>
                    <a:pt x="8497718" y="1465101"/>
                  </a:moveTo>
                  <a:lnTo>
                    <a:pt x="8273629" y="1465101"/>
                  </a:lnTo>
                  <a:lnTo>
                    <a:pt x="8273629" y="1226840"/>
                  </a:lnTo>
                  <a:lnTo>
                    <a:pt x="8497718" y="1226840"/>
                  </a:lnTo>
                  <a:close/>
                  <a:moveTo>
                    <a:pt x="8267227" y="1465101"/>
                  </a:moveTo>
                  <a:lnTo>
                    <a:pt x="8044420" y="1465101"/>
                  </a:lnTo>
                  <a:lnTo>
                    <a:pt x="8044420" y="1226840"/>
                  </a:lnTo>
                  <a:lnTo>
                    <a:pt x="8267227" y="1226840"/>
                  </a:lnTo>
                  <a:close/>
                  <a:moveTo>
                    <a:pt x="8038274" y="1465101"/>
                  </a:moveTo>
                  <a:lnTo>
                    <a:pt x="7814186" y="1465101"/>
                  </a:lnTo>
                  <a:lnTo>
                    <a:pt x="7814186" y="1226840"/>
                  </a:lnTo>
                  <a:lnTo>
                    <a:pt x="8038274" y="1226840"/>
                  </a:lnTo>
                  <a:close/>
                  <a:moveTo>
                    <a:pt x="7807783" y="1465101"/>
                  </a:moveTo>
                  <a:lnTo>
                    <a:pt x="7583695" y="1465101"/>
                  </a:lnTo>
                  <a:lnTo>
                    <a:pt x="7583695" y="1226840"/>
                  </a:lnTo>
                  <a:lnTo>
                    <a:pt x="7807783" y="1226840"/>
                  </a:lnTo>
                  <a:close/>
                  <a:moveTo>
                    <a:pt x="7577292" y="1465101"/>
                  </a:moveTo>
                  <a:lnTo>
                    <a:pt x="7353204" y="1465101"/>
                  </a:lnTo>
                  <a:lnTo>
                    <a:pt x="7353204" y="1226840"/>
                  </a:lnTo>
                  <a:lnTo>
                    <a:pt x="7577292" y="1226840"/>
                  </a:lnTo>
                  <a:close/>
                  <a:moveTo>
                    <a:pt x="7346801" y="1465101"/>
                  </a:moveTo>
                  <a:lnTo>
                    <a:pt x="7124247" y="1465101"/>
                  </a:lnTo>
                  <a:lnTo>
                    <a:pt x="7124247" y="1226840"/>
                  </a:lnTo>
                  <a:lnTo>
                    <a:pt x="7346801" y="1226840"/>
                  </a:lnTo>
                  <a:close/>
                  <a:moveTo>
                    <a:pt x="7117845" y="1465101"/>
                  </a:moveTo>
                  <a:lnTo>
                    <a:pt x="6893756" y="1465101"/>
                  </a:lnTo>
                  <a:lnTo>
                    <a:pt x="6893756" y="1226840"/>
                  </a:lnTo>
                  <a:lnTo>
                    <a:pt x="7117845" y="1226840"/>
                  </a:lnTo>
                  <a:close/>
                  <a:moveTo>
                    <a:pt x="6887354" y="1465101"/>
                  </a:moveTo>
                  <a:lnTo>
                    <a:pt x="6663265" y="1465101"/>
                  </a:lnTo>
                  <a:lnTo>
                    <a:pt x="6663265" y="1226840"/>
                  </a:lnTo>
                  <a:lnTo>
                    <a:pt x="6887354" y="1226840"/>
                  </a:lnTo>
                  <a:close/>
                  <a:moveTo>
                    <a:pt x="6656863" y="1465101"/>
                  </a:moveTo>
                  <a:lnTo>
                    <a:pt x="6446349" y="1465101"/>
                  </a:lnTo>
                  <a:lnTo>
                    <a:pt x="6446349" y="1226840"/>
                  </a:lnTo>
                  <a:lnTo>
                    <a:pt x="6656863" y="1226840"/>
                  </a:lnTo>
                  <a:close/>
                  <a:moveTo>
                    <a:pt x="6439946" y="1465101"/>
                  </a:moveTo>
                  <a:lnTo>
                    <a:pt x="6217136" y="1465101"/>
                  </a:lnTo>
                  <a:lnTo>
                    <a:pt x="6217136" y="1226840"/>
                  </a:lnTo>
                  <a:lnTo>
                    <a:pt x="6439690" y="1226840"/>
                  </a:lnTo>
                  <a:close/>
                  <a:moveTo>
                    <a:pt x="6210990" y="1465101"/>
                  </a:moveTo>
                  <a:lnTo>
                    <a:pt x="5986902" y="1465101"/>
                  </a:lnTo>
                  <a:lnTo>
                    <a:pt x="5986902" y="1226840"/>
                  </a:lnTo>
                  <a:lnTo>
                    <a:pt x="6210990" y="1226840"/>
                  </a:lnTo>
                  <a:close/>
                  <a:moveTo>
                    <a:pt x="5980499" y="1465101"/>
                  </a:moveTo>
                  <a:lnTo>
                    <a:pt x="5756411" y="1465101"/>
                  </a:lnTo>
                  <a:lnTo>
                    <a:pt x="5756411" y="1226840"/>
                  </a:lnTo>
                  <a:lnTo>
                    <a:pt x="5980499" y="1226840"/>
                  </a:lnTo>
                  <a:close/>
                  <a:moveTo>
                    <a:pt x="5750008" y="1465101"/>
                  </a:moveTo>
                  <a:lnTo>
                    <a:pt x="5526945" y="1465101"/>
                  </a:lnTo>
                  <a:lnTo>
                    <a:pt x="5526945" y="1226840"/>
                  </a:lnTo>
                  <a:lnTo>
                    <a:pt x="5749495" y="1226840"/>
                  </a:lnTo>
                  <a:close/>
                  <a:moveTo>
                    <a:pt x="5521055" y="1465101"/>
                  </a:moveTo>
                  <a:lnTo>
                    <a:pt x="5296454" y="1465101"/>
                  </a:lnTo>
                  <a:lnTo>
                    <a:pt x="5296454" y="1226840"/>
                  </a:lnTo>
                  <a:lnTo>
                    <a:pt x="5520542" y="1226840"/>
                  </a:lnTo>
                  <a:close/>
                  <a:moveTo>
                    <a:pt x="5290564" y="1465101"/>
                  </a:moveTo>
                  <a:lnTo>
                    <a:pt x="5065963" y="1465101"/>
                  </a:lnTo>
                  <a:lnTo>
                    <a:pt x="5065963" y="1226840"/>
                  </a:lnTo>
                  <a:lnTo>
                    <a:pt x="5290051" y="1226840"/>
                  </a:lnTo>
                  <a:close/>
                  <a:moveTo>
                    <a:pt x="5060073" y="1465101"/>
                  </a:moveTo>
                  <a:lnTo>
                    <a:pt x="4835472" y="1465101"/>
                  </a:lnTo>
                  <a:lnTo>
                    <a:pt x="4835472" y="1226840"/>
                  </a:lnTo>
                  <a:lnTo>
                    <a:pt x="5059560" y="1226840"/>
                  </a:lnTo>
                  <a:close/>
                  <a:moveTo>
                    <a:pt x="4829582" y="1465101"/>
                  </a:moveTo>
                  <a:lnTo>
                    <a:pt x="4607029" y="1465101"/>
                  </a:lnTo>
                  <a:lnTo>
                    <a:pt x="4607029" y="1226840"/>
                  </a:lnTo>
                  <a:lnTo>
                    <a:pt x="4829582" y="1226840"/>
                  </a:lnTo>
                  <a:close/>
                  <a:moveTo>
                    <a:pt x="4600626" y="1465101"/>
                  </a:moveTo>
                  <a:lnTo>
                    <a:pt x="4376538" y="1465101"/>
                  </a:lnTo>
                  <a:lnTo>
                    <a:pt x="4376538" y="1226840"/>
                  </a:lnTo>
                  <a:lnTo>
                    <a:pt x="4600626" y="1226840"/>
                  </a:lnTo>
                  <a:close/>
                  <a:moveTo>
                    <a:pt x="4370135" y="1465101"/>
                  </a:moveTo>
                  <a:lnTo>
                    <a:pt x="4146047" y="1465101"/>
                  </a:lnTo>
                  <a:lnTo>
                    <a:pt x="4146047" y="1226840"/>
                  </a:lnTo>
                  <a:lnTo>
                    <a:pt x="4370135" y="1226840"/>
                  </a:lnTo>
                  <a:close/>
                  <a:moveTo>
                    <a:pt x="4139644" y="1465101"/>
                  </a:moveTo>
                  <a:lnTo>
                    <a:pt x="3917094" y="1465101"/>
                  </a:lnTo>
                  <a:lnTo>
                    <a:pt x="3917094" y="1226840"/>
                  </a:lnTo>
                  <a:lnTo>
                    <a:pt x="4139644" y="1226840"/>
                  </a:lnTo>
                  <a:close/>
                  <a:moveTo>
                    <a:pt x="3910691" y="1465101"/>
                  </a:moveTo>
                  <a:lnTo>
                    <a:pt x="3686603" y="1465101"/>
                  </a:lnTo>
                  <a:lnTo>
                    <a:pt x="3686603" y="1226840"/>
                  </a:lnTo>
                  <a:lnTo>
                    <a:pt x="3910691" y="1226840"/>
                  </a:lnTo>
                  <a:close/>
                  <a:moveTo>
                    <a:pt x="3680200" y="1465101"/>
                  </a:moveTo>
                  <a:lnTo>
                    <a:pt x="3456112" y="1465101"/>
                  </a:lnTo>
                  <a:lnTo>
                    <a:pt x="3456112" y="1226840"/>
                  </a:lnTo>
                  <a:lnTo>
                    <a:pt x="3680200" y="1226840"/>
                  </a:lnTo>
                  <a:close/>
                  <a:moveTo>
                    <a:pt x="3449709" y="1465101"/>
                  </a:moveTo>
                  <a:lnTo>
                    <a:pt x="3225621" y="1465101"/>
                  </a:lnTo>
                  <a:lnTo>
                    <a:pt x="3225621" y="1226840"/>
                  </a:lnTo>
                  <a:lnTo>
                    <a:pt x="3449709" y="1226840"/>
                  </a:lnTo>
                  <a:close/>
                  <a:moveTo>
                    <a:pt x="3219218" y="1465101"/>
                  </a:moveTo>
                  <a:lnTo>
                    <a:pt x="2996666" y="1465101"/>
                  </a:lnTo>
                  <a:lnTo>
                    <a:pt x="2996666" y="1226840"/>
                  </a:lnTo>
                  <a:lnTo>
                    <a:pt x="3219218" y="1226840"/>
                  </a:lnTo>
                  <a:close/>
                  <a:moveTo>
                    <a:pt x="2990264" y="1465101"/>
                  </a:moveTo>
                  <a:lnTo>
                    <a:pt x="2766175" y="1465101"/>
                  </a:lnTo>
                  <a:lnTo>
                    <a:pt x="2766175" y="1226840"/>
                  </a:lnTo>
                  <a:lnTo>
                    <a:pt x="2990264" y="1226840"/>
                  </a:lnTo>
                  <a:close/>
                  <a:moveTo>
                    <a:pt x="2759773" y="1465101"/>
                  </a:moveTo>
                  <a:lnTo>
                    <a:pt x="2535684" y="1465101"/>
                  </a:lnTo>
                  <a:lnTo>
                    <a:pt x="2535684" y="1226840"/>
                  </a:lnTo>
                  <a:lnTo>
                    <a:pt x="2759773" y="1226840"/>
                  </a:lnTo>
                  <a:close/>
                  <a:moveTo>
                    <a:pt x="2529282" y="1465101"/>
                  </a:moveTo>
                  <a:lnTo>
                    <a:pt x="2305193" y="1465101"/>
                  </a:lnTo>
                  <a:lnTo>
                    <a:pt x="2305193" y="1226840"/>
                  </a:lnTo>
                  <a:lnTo>
                    <a:pt x="2529282" y="1226840"/>
                  </a:lnTo>
                  <a:close/>
                  <a:moveTo>
                    <a:pt x="2298791" y="1465101"/>
                  </a:moveTo>
                  <a:lnTo>
                    <a:pt x="2075982" y="1465101"/>
                  </a:lnTo>
                  <a:lnTo>
                    <a:pt x="2075982" y="1226840"/>
                  </a:lnTo>
                  <a:lnTo>
                    <a:pt x="2298534" y="1226840"/>
                  </a:lnTo>
                  <a:close/>
                  <a:moveTo>
                    <a:pt x="2069836" y="1465101"/>
                  </a:moveTo>
                  <a:lnTo>
                    <a:pt x="1845748" y="1465101"/>
                  </a:lnTo>
                  <a:lnTo>
                    <a:pt x="1845748" y="1226840"/>
                  </a:lnTo>
                  <a:lnTo>
                    <a:pt x="2069580" y="1226840"/>
                  </a:lnTo>
                  <a:close/>
                  <a:moveTo>
                    <a:pt x="1839345" y="1465101"/>
                  </a:moveTo>
                  <a:lnTo>
                    <a:pt x="1615257" y="1465101"/>
                  </a:lnTo>
                  <a:lnTo>
                    <a:pt x="1615257" y="1226840"/>
                  </a:lnTo>
                  <a:lnTo>
                    <a:pt x="1839089" y="1226840"/>
                  </a:lnTo>
                  <a:close/>
                  <a:moveTo>
                    <a:pt x="1608854" y="1465101"/>
                  </a:moveTo>
                  <a:lnTo>
                    <a:pt x="1386302" y="1465101"/>
                  </a:lnTo>
                  <a:lnTo>
                    <a:pt x="1386302" y="1226840"/>
                  </a:lnTo>
                  <a:lnTo>
                    <a:pt x="1608598" y="1226840"/>
                  </a:lnTo>
                  <a:close/>
                  <a:moveTo>
                    <a:pt x="1379900" y="1465101"/>
                  </a:moveTo>
                  <a:lnTo>
                    <a:pt x="1155811" y="1465101"/>
                  </a:lnTo>
                  <a:lnTo>
                    <a:pt x="1155811" y="1226840"/>
                  </a:lnTo>
                  <a:lnTo>
                    <a:pt x="1379900" y="1226840"/>
                  </a:lnTo>
                  <a:close/>
                  <a:moveTo>
                    <a:pt x="1379900" y="1471905"/>
                  </a:moveTo>
                  <a:lnTo>
                    <a:pt x="1379900" y="1710030"/>
                  </a:lnTo>
                  <a:lnTo>
                    <a:pt x="1155811" y="1710030"/>
                  </a:lnTo>
                  <a:lnTo>
                    <a:pt x="1155811" y="1471769"/>
                  </a:lnTo>
                  <a:close/>
                  <a:moveTo>
                    <a:pt x="1379900" y="1716833"/>
                  </a:moveTo>
                  <a:lnTo>
                    <a:pt x="1379900" y="1953326"/>
                  </a:lnTo>
                  <a:lnTo>
                    <a:pt x="1155811" y="1953326"/>
                  </a:lnTo>
                  <a:lnTo>
                    <a:pt x="1155811" y="1716697"/>
                  </a:lnTo>
                  <a:close/>
                  <a:moveTo>
                    <a:pt x="1379900" y="1960129"/>
                  </a:moveTo>
                  <a:lnTo>
                    <a:pt x="1379900" y="2198254"/>
                  </a:lnTo>
                  <a:lnTo>
                    <a:pt x="1155811" y="2198254"/>
                  </a:lnTo>
                  <a:lnTo>
                    <a:pt x="1155811" y="1960129"/>
                  </a:lnTo>
                  <a:close/>
                  <a:moveTo>
                    <a:pt x="1379900" y="2205058"/>
                  </a:moveTo>
                  <a:lnTo>
                    <a:pt x="1379900" y="2443183"/>
                  </a:lnTo>
                  <a:lnTo>
                    <a:pt x="1155811" y="2443183"/>
                  </a:lnTo>
                  <a:lnTo>
                    <a:pt x="1155811" y="2205058"/>
                  </a:lnTo>
                  <a:close/>
                  <a:moveTo>
                    <a:pt x="1379900" y="2449986"/>
                  </a:moveTo>
                  <a:lnTo>
                    <a:pt x="1379900" y="2686479"/>
                  </a:lnTo>
                  <a:lnTo>
                    <a:pt x="1155811" y="2686479"/>
                  </a:lnTo>
                  <a:lnTo>
                    <a:pt x="1155811" y="2449986"/>
                  </a:lnTo>
                  <a:close/>
                  <a:moveTo>
                    <a:pt x="1379900" y="2693282"/>
                  </a:moveTo>
                  <a:lnTo>
                    <a:pt x="1379900" y="2931407"/>
                  </a:lnTo>
                  <a:lnTo>
                    <a:pt x="1155811" y="2931407"/>
                  </a:lnTo>
                  <a:lnTo>
                    <a:pt x="1155811" y="2693282"/>
                  </a:lnTo>
                  <a:close/>
                  <a:moveTo>
                    <a:pt x="1379900" y="2938211"/>
                  </a:moveTo>
                  <a:lnTo>
                    <a:pt x="1379900" y="3176336"/>
                  </a:lnTo>
                  <a:lnTo>
                    <a:pt x="1155811" y="3176336"/>
                  </a:lnTo>
                  <a:lnTo>
                    <a:pt x="1155811" y="2938211"/>
                  </a:lnTo>
                  <a:close/>
                  <a:moveTo>
                    <a:pt x="1379900" y="3183139"/>
                  </a:moveTo>
                  <a:lnTo>
                    <a:pt x="1379900" y="3421264"/>
                  </a:lnTo>
                  <a:lnTo>
                    <a:pt x="1155811" y="3421264"/>
                  </a:lnTo>
                  <a:lnTo>
                    <a:pt x="1155811" y="3183139"/>
                  </a:lnTo>
                  <a:close/>
                  <a:moveTo>
                    <a:pt x="1379900" y="3428068"/>
                  </a:moveTo>
                  <a:lnTo>
                    <a:pt x="1379900" y="3664560"/>
                  </a:lnTo>
                  <a:lnTo>
                    <a:pt x="1155811" y="3664560"/>
                  </a:lnTo>
                  <a:lnTo>
                    <a:pt x="1155811" y="3428068"/>
                  </a:lnTo>
                  <a:close/>
                  <a:moveTo>
                    <a:pt x="1379900" y="3671364"/>
                  </a:moveTo>
                  <a:lnTo>
                    <a:pt x="1379900" y="3909489"/>
                  </a:lnTo>
                  <a:lnTo>
                    <a:pt x="1155811" y="3909489"/>
                  </a:lnTo>
                  <a:lnTo>
                    <a:pt x="1155811" y="3671364"/>
                  </a:lnTo>
                  <a:close/>
                  <a:moveTo>
                    <a:pt x="1379900" y="3916292"/>
                  </a:moveTo>
                  <a:lnTo>
                    <a:pt x="1379900" y="4154417"/>
                  </a:lnTo>
                  <a:lnTo>
                    <a:pt x="1155811" y="4154417"/>
                  </a:lnTo>
                  <a:lnTo>
                    <a:pt x="1155811" y="3916292"/>
                  </a:lnTo>
                  <a:close/>
                  <a:moveTo>
                    <a:pt x="1379900" y="4161221"/>
                  </a:moveTo>
                  <a:lnTo>
                    <a:pt x="1379900" y="4399346"/>
                  </a:lnTo>
                  <a:lnTo>
                    <a:pt x="1155811" y="4399346"/>
                  </a:lnTo>
                  <a:lnTo>
                    <a:pt x="1155811" y="4161221"/>
                  </a:lnTo>
                  <a:close/>
                  <a:moveTo>
                    <a:pt x="1379900" y="4406149"/>
                  </a:moveTo>
                  <a:lnTo>
                    <a:pt x="1379900" y="4642233"/>
                  </a:lnTo>
                  <a:lnTo>
                    <a:pt x="1155811" y="4642233"/>
                  </a:lnTo>
                  <a:lnTo>
                    <a:pt x="1155811" y="4405741"/>
                  </a:lnTo>
                  <a:close/>
                  <a:moveTo>
                    <a:pt x="1379900" y="4649445"/>
                  </a:moveTo>
                  <a:lnTo>
                    <a:pt x="1379900" y="4887162"/>
                  </a:lnTo>
                  <a:lnTo>
                    <a:pt x="1155811" y="4887162"/>
                  </a:lnTo>
                  <a:lnTo>
                    <a:pt x="1155811" y="4649037"/>
                  </a:lnTo>
                  <a:close/>
                  <a:moveTo>
                    <a:pt x="1379900" y="4894374"/>
                  </a:moveTo>
                  <a:lnTo>
                    <a:pt x="1379900" y="5132090"/>
                  </a:lnTo>
                  <a:lnTo>
                    <a:pt x="1155811" y="5132090"/>
                  </a:lnTo>
                  <a:lnTo>
                    <a:pt x="1155811" y="4893965"/>
                  </a:lnTo>
                  <a:close/>
                  <a:moveTo>
                    <a:pt x="1379900" y="5139302"/>
                  </a:moveTo>
                  <a:lnTo>
                    <a:pt x="1379900" y="5375795"/>
                  </a:lnTo>
                  <a:lnTo>
                    <a:pt x="1155811" y="5375795"/>
                  </a:lnTo>
                  <a:lnTo>
                    <a:pt x="1155811" y="5139302"/>
                  </a:lnTo>
                  <a:close/>
                  <a:moveTo>
                    <a:pt x="1379900" y="5382598"/>
                  </a:moveTo>
                  <a:lnTo>
                    <a:pt x="1379900" y="5620723"/>
                  </a:lnTo>
                  <a:lnTo>
                    <a:pt x="1155811" y="5620723"/>
                  </a:lnTo>
                  <a:lnTo>
                    <a:pt x="1155811" y="5382598"/>
                  </a:lnTo>
                  <a:close/>
                  <a:moveTo>
                    <a:pt x="1386302" y="5382598"/>
                  </a:moveTo>
                  <a:lnTo>
                    <a:pt x="1608598" y="5382598"/>
                  </a:lnTo>
                  <a:lnTo>
                    <a:pt x="1608598" y="5620723"/>
                  </a:lnTo>
                  <a:lnTo>
                    <a:pt x="1386046" y="5620723"/>
                  </a:lnTo>
                  <a:close/>
                  <a:moveTo>
                    <a:pt x="1615257" y="5382598"/>
                  </a:moveTo>
                  <a:lnTo>
                    <a:pt x="1839089" y="5382598"/>
                  </a:lnTo>
                  <a:lnTo>
                    <a:pt x="1839089" y="5620723"/>
                  </a:lnTo>
                  <a:lnTo>
                    <a:pt x="1615000" y="5620723"/>
                  </a:lnTo>
                  <a:close/>
                  <a:moveTo>
                    <a:pt x="1845748" y="5382598"/>
                  </a:moveTo>
                  <a:lnTo>
                    <a:pt x="2069580" y="5382598"/>
                  </a:lnTo>
                  <a:lnTo>
                    <a:pt x="2069580" y="5620723"/>
                  </a:lnTo>
                  <a:lnTo>
                    <a:pt x="1845491" y="5620723"/>
                  </a:lnTo>
                  <a:close/>
                  <a:moveTo>
                    <a:pt x="2076239" y="5382598"/>
                  </a:moveTo>
                  <a:lnTo>
                    <a:pt x="2298791" y="5382598"/>
                  </a:lnTo>
                  <a:lnTo>
                    <a:pt x="2298791" y="5620723"/>
                  </a:lnTo>
                  <a:lnTo>
                    <a:pt x="2075982" y="5620723"/>
                  </a:lnTo>
                  <a:close/>
                  <a:moveTo>
                    <a:pt x="2305193" y="5382598"/>
                  </a:moveTo>
                  <a:lnTo>
                    <a:pt x="2529282" y="5382598"/>
                  </a:lnTo>
                  <a:lnTo>
                    <a:pt x="2529282" y="5620723"/>
                  </a:lnTo>
                  <a:lnTo>
                    <a:pt x="2305193" y="5620723"/>
                  </a:lnTo>
                  <a:close/>
                  <a:moveTo>
                    <a:pt x="2535684" y="5382598"/>
                  </a:moveTo>
                  <a:lnTo>
                    <a:pt x="2759773" y="5382598"/>
                  </a:lnTo>
                  <a:lnTo>
                    <a:pt x="2759773" y="5620723"/>
                  </a:lnTo>
                  <a:lnTo>
                    <a:pt x="2535684" y="5620723"/>
                  </a:lnTo>
                  <a:close/>
                  <a:moveTo>
                    <a:pt x="2766175" y="5382598"/>
                  </a:moveTo>
                  <a:lnTo>
                    <a:pt x="2990264" y="5382598"/>
                  </a:lnTo>
                  <a:lnTo>
                    <a:pt x="2990264" y="5620723"/>
                  </a:lnTo>
                  <a:lnTo>
                    <a:pt x="2766175" y="5620723"/>
                  </a:lnTo>
                  <a:close/>
                  <a:moveTo>
                    <a:pt x="2996666" y="5382598"/>
                  </a:moveTo>
                  <a:lnTo>
                    <a:pt x="3219218" y="5382598"/>
                  </a:lnTo>
                  <a:lnTo>
                    <a:pt x="3219218" y="5620723"/>
                  </a:lnTo>
                  <a:lnTo>
                    <a:pt x="2996666" y="5620723"/>
                  </a:lnTo>
                  <a:close/>
                  <a:moveTo>
                    <a:pt x="3225621" y="5382598"/>
                  </a:moveTo>
                  <a:lnTo>
                    <a:pt x="3449709" y="5382598"/>
                  </a:lnTo>
                  <a:lnTo>
                    <a:pt x="3449709" y="5620723"/>
                  </a:lnTo>
                  <a:lnTo>
                    <a:pt x="3225621" y="5620723"/>
                  </a:lnTo>
                  <a:close/>
                  <a:moveTo>
                    <a:pt x="3456112" y="5382598"/>
                  </a:moveTo>
                  <a:lnTo>
                    <a:pt x="3680200" y="5382598"/>
                  </a:lnTo>
                  <a:lnTo>
                    <a:pt x="3680200" y="5620723"/>
                  </a:lnTo>
                  <a:lnTo>
                    <a:pt x="3456112" y="5620723"/>
                  </a:lnTo>
                  <a:close/>
                  <a:moveTo>
                    <a:pt x="3686603" y="5382598"/>
                  </a:moveTo>
                  <a:lnTo>
                    <a:pt x="3910691" y="5382598"/>
                  </a:lnTo>
                  <a:lnTo>
                    <a:pt x="3910691" y="5620723"/>
                  </a:lnTo>
                  <a:lnTo>
                    <a:pt x="3686603" y="5620723"/>
                  </a:lnTo>
                  <a:close/>
                  <a:moveTo>
                    <a:pt x="3917094" y="5382598"/>
                  </a:moveTo>
                  <a:lnTo>
                    <a:pt x="4139644" y="5382598"/>
                  </a:lnTo>
                  <a:lnTo>
                    <a:pt x="4139644" y="5620723"/>
                  </a:lnTo>
                  <a:lnTo>
                    <a:pt x="3917094" y="5620723"/>
                  </a:lnTo>
                  <a:close/>
                  <a:moveTo>
                    <a:pt x="4146047" y="5382598"/>
                  </a:moveTo>
                  <a:lnTo>
                    <a:pt x="4370135" y="5382598"/>
                  </a:lnTo>
                  <a:lnTo>
                    <a:pt x="4370135" y="5620723"/>
                  </a:lnTo>
                  <a:lnTo>
                    <a:pt x="4146047" y="5620723"/>
                  </a:lnTo>
                  <a:close/>
                  <a:moveTo>
                    <a:pt x="4376538" y="5382598"/>
                  </a:moveTo>
                  <a:lnTo>
                    <a:pt x="4600626" y="5382598"/>
                  </a:lnTo>
                  <a:lnTo>
                    <a:pt x="4600626" y="5620723"/>
                  </a:lnTo>
                  <a:lnTo>
                    <a:pt x="4376538" y="5620723"/>
                  </a:lnTo>
                  <a:close/>
                  <a:moveTo>
                    <a:pt x="4607029" y="5382598"/>
                  </a:moveTo>
                  <a:lnTo>
                    <a:pt x="4829582" y="5382598"/>
                  </a:lnTo>
                  <a:lnTo>
                    <a:pt x="4829582" y="5620723"/>
                  </a:lnTo>
                  <a:lnTo>
                    <a:pt x="4607029" y="5620723"/>
                  </a:lnTo>
                  <a:close/>
                  <a:moveTo>
                    <a:pt x="4835985" y="5382598"/>
                  </a:moveTo>
                  <a:lnTo>
                    <a:pt x="5060073" y="5382598"/>
                  </a:lnTo>
                  <a:lnTo>
                    <a:pt x="5060073" y="5620723"/>
                  </a:lnTo>
                  <a:lnTo>
                    <a:pt x="4835472" y="5620723"/>
                  </a:lnTo>
                  <a:close/>
                  <a:moveTo>
                    <a:pt x="5066476" y="5382598"/>
                  </a:moveTo>
                  <a:lnTo>
                    <a:pt x="5290564" y="5382598"/>
                  </a:lnTo>
                  <a:lnTo>
                    <a:pt x="5290564" y="5620723"/>
                  </a:lnTo>
                  <a:lnTo>
                    <a:pt x="5065963" y="5620723"/>
                  </a:lnTo>
                  <a:close/>
                  <a:moveTo>
                    <a:pt x="5296967" y="5382598"/>
                  </a:moveTo>
                  <a:lnTo>
                    <a:pt x="5521055" y="5382598"/>
                  </a:lnTo>
                  <a:lnTo>
                    <a:pt x="5521055" y="5620723"/>
                  </a:lnTo>
                  <a:lnTo>
                    <a:pt x="5296454" y="5620723"/>
                  </a:lnTo>
                  <a:close/>
                  <a:moveTo>
                    <a:pt x="5527458" y="5382598"/>
                  </a:moveTo>
                  <a:lnTo>
                    <a:pt x="5750008" y="5382598"/>
                  </a:lnTo>
                  <a:lnTo>
                    <a:pt x="5750008" y="5620723"/>
                  </a:lnTo>
                  <a:lnTo>
                    <a:pt x="5526945" y="5620723"/>
                  </a:lnTo>
                  <a:close/>
                  <a:moveTo>
                    <a:pt x="5756411" y="5382598"/>
                  </a:moveTo>
                  <a:lnTo>
                    <a:pt x="5980499" y="5382598"/>
                  </a:lnTo>
                  <a:lnTo>
                    <a:pt x="5980499" y="5620723"/>
                  </a:lnTo>
                  <a:lnTo>
                    <a:pt x="5756411" y="5620723"/>
                  </a:lnTo>
                  <a:close/>
                  <a:moveTo>
                    <a:pt x="5986902" y="5382598"/>
                  </a:moveTo>
                  <a:lnTo>
                    <a:pt x="6210990" y="5382598"/>
                  </a:lnTo>
                  <a:lnTo>
                    <a:pt x="6210990" y="5620723"/>
                  </a:lnTo>
                  <a:lnTo>
                    <a:pt x="5986902" y="5620723"/>
                  </a:lnTo>
                  <a:close/>
                  <a:moveTo>
                    <a:pt x="6217393" y="5382598"/>
                  </a:moveTo>
                  <a:lnTo>
                    <a:pt x="6439946" y="5382598"/>
                  </a:lnTo>
                  <a:lnTo>
                    <a:pt x="6439946" y="5620723"/>
                  </a:lnTo>
                  <a:lnTo>
                    <a:pt x="6217136" y="5620723"/>
                  </a:lnTo>
                  <a:close/>
                  <a:moveTo>
                    <a:pt x="6446349" y="5382598"/>
                  </a:moveTo>
                  <a:lnTo>
                    <a:pt x="6656863" y="5382598"/>
                  </a:lnTo>
                  <a:lnTo>
                    <a:pt x="6656863" y="5620723"/>
                  </a:lnTo>
                  <a:lnTo>
                    <a:pt x="6446349" y="5620723"/>
                  </a:lnTo>
                  <a:close/>
                  <a:moveTo>
                    <a:pt x="6663265" y="5382598"/>
                  </a:moveTo>
                  <a:lnTo>
                    <a:pt x="6887354" y="5382598"/>
                  </a:lnTo>
                  <a:lnTo>
                    <a:pt x="6887354" y="5620723"/>
                  </a:lnTo>
                  <a:lnTo>
                    <a:pt x="6663265" y="5620723"/>
                  </a:lnTo>
                  <a:close/>
                  <a:moveTo>
                    <a:pt x="6893756" y="5382598"/>
                  </a:moveTo>
                  <a:lnTo>
                    <a:pt x="7117845" y="5382598"/>
                  </a:lnTo>
                  <a:lnTo>
                    <a:pt x="7117845" y="5620723"/>
                  </a:lnTo>
                  <a:lnTo>
                    <a:pt x="6893756" y="5620723"/>
                  </a:lnTo>
                  <a:close/>
                  <a:moveTo>
                    <a:pt x="7124247" y="5382598"/>
                  </a:moveTo>
                  <a:lnTo>
                    <a:pt x="7346801" y="5382598"/>
                  </a:lnTo>
                  <a:lnTo>
                    <a:pt x="7346801" y="5620723"/>
                  </a:lnTo>
                  <a:lnTo>
                    <a:pt x="7124247" y="5620723"/>
                  </a:lnTo>
                  <a:close/>
                  <a:moveTo>
                    <a:pt x="7353204" y="5382598"/>
                  </a:moveTo>
                  <a:lnTo>
                    <a:pt x="7577292" y="5382598"/>
                  </a:lnTo>
                  <a:lnTo>
                    <a:pt x="7577292" y="5620723"/>
                  </a:lnTo>
                  <a:lnTo>
                    <a:pt x="7353204" y="5620723"/>
                  </a:lnTo>
                  <a:close/>
                  <a:moveTo>
                    <a:pt x="7583695" y="5382598"/>
                  </a:moveTo>
                  <a:lnTo>
                    <a:pt x="7807783" y="5382598"/>
                  </a:lnTo>
                  <a:lnTo>
                    <a:pt x="7807783" y="5620723"/>
                  </a:lnTo>
                  <a:lnTo>
                    <a:pt x="7583695" y="5620723"/>
                  </a:lnTo>
                  <a:close/>
                  <a:moveTo>
                    <a:pt x="7814186" y="5382598"/>
                  </a:moveTo>
                  <a:lnTo>
                    <a:pt x="8038274" y="5382598"/>
                  </a:lnTo>
                  <a:lnTo>
                    <a:pt x="8038274" y="5620723"/>
                  </a:lnTo>
                  <a:lnTo>
                    <a:pt x="7814186" y="5620723"/>
                  </a:lnTo>
                  <a:close/>
                  <a:moveTo>
                    <a:pt x="8044677" y="5382598"/>
                  </a:moveTo>
                  <a:lnTo>
                    <a:pt x="8267227" y="5382598"/>
                  </a:lnTo>
                  <a:lnTo>
                    <a:pt x="8267227" y="5620723"/>
                  </a:lnTo>
                  <a:lnTo>
                    <a:pt x="8044420" y="5620723"/>
                  </a:lnTo>
                  <a:close/>
                  <a:moveTo>
                    <a:pt x="8273629" y="5382598"/>
                  </a:moveTo>
                  <a:lnTo>
                    <a:pt x="8497718" y="5382598"/>
                  </a:lnTo>
                  <a:lnTo>
                    <a:pt x="8497718" y="5620723"/>
                  </a:lnTo>
                  <a:lnTo>
                    <a:pt x="8273629" y="5620723"/>
                  </a:lnTo>
                  <a:close/>
                  <a:moveTo>
                    <a:pt x="8504120" y="5382598"/>
                  </a:moveTo>
                  <a:lnTo>
                    <a:pt x="8728209" y="5382598"/>
                  </a:lnTo>
                  <a:lnTo>
                    <a:pt x="8728209" y="5620723"/>
                  </a:lnTo>
                  <a:lnTo>
                    <a:pt x="8504120" y="5620723"/>
                  </a:lnTo>
                  <a:close/>
                  <a:moveTo>
                    <a:pt x="8734611" y="5382598"/>
                  </a:moveTo>
                  <a:lnTo>
                    <a:pt x="8957162" y="5382598"/>
                  </a:lnTo>
                  <a:lnTo>
                    <a:pt x="8957162" y="5620723"/>
                  </a:lnTo>
                  <a:lnTo>
                    <a:pt x="8734611" y="5620723"/>
                  </a:lnTo>
                  <a:close/>
                  <a:moveTo>
                    <a:pt x="8963564" y="5382598"/>
                  </a:moveTo>
                  <a:lnTo>
                    <a:pt x="9187653" y="5382598"/>
                  </a:lnTo>
                  <a:lnTo>
                    <a:pt x="9187653" y="5620723"/>
                  </a:lnTo>
                  <a:lnTo>
                    <a:pt x="8963564" y="5620723"/>
                  </a:lnTo>
                  <a:close/>
                  <a:moveTo>
                    <a:pt x="9194055" y="5382598"/>
                  </a:moveTo>
                  <a:lnTo>
                    <a:pt x="9418144" y="5382598"/>
                  </a:lnTo>
                  <a:lnTo>
                    <a:pt x="9418144" y="5620723"/>
                  </a:lnTo>
                  <a:lnTo>
                    <a:pt x="9194055" y="5620723"/>
                  </a:lnTo>
                  <a:close/>
                  <a:moveTo>
                    <a:pt x="9424546" y="5382598"/>
                  </a:moveTo>
                  <a:lnTo>
                    <a:pt x="9648635" y="5382598"/>
                  </a:lnTo>
                  <a:lnTo>
                    <a:pt x="9648635" y="5620723"/>
                  </a:lnTo>
                  <a:lnTo>
                    <a:pt x="9424546" y="5620723"/>
                  </a:lnTo>
                  <a:close/>
                  <a:moveTo>
                    <a:pt x="9655037" y="5382598"/>
                  </a:moveTo>
                  <a:lnTo>
                    <a:pt x="9877591" y="5382598"/>
                  </a:lnTo>
                  <a:lnTo>
                    <a:pt x="9877591" y="5620723"/>
                  </a:lnTo>
                  <a:lnTo>
                    <a:pt x="9655037" y="5620723"/>
                  </a:lnTo>
                  <a:close/>
                  <a:moveTo>
                    <a:pt x="9883993" y="5382598"/>
                  </a:moveTo>
                  <a:lnTo>
                    <a:pt x="10108082" y="5382598"/>
                  </a:lnTo>
                  <a:lnTo>
                    <a:pt x="10108082" y="5620723"/>
                  </a:lnTo>
                  <a:lnTo>
                    <a:pt x="9883993" y="5620723"/>
                  </a:lnTo>
                  <a:close/>
                  <a:moveTo>
                    <a:pt x="10114484" y="5382598"/>
                  </a:moveTo>
                  <a:lnTo>
                    <a:pt x="10338573" y="5382598"/>
                  </a:lnTo>
                  <a:lnTo>
                    <a:pt x="10338573" y="5620723"/>
                  </a:lnTo>
                  <a:lnTo>
                    <a:pt x="10114484" y="5620723"/>
                  </a:lnTo>
                  <a:close/>
                  <a:moveTo>
                    <a:pt x="10344975" y="5382598"/>
                  </a:moveTo>
                  <a:lnTo>
                    <a:pt x="10569064" y="5382598"/>
                  </a:lnTo>
                  <a:lnTo>
                    <a:pt x="10569064" y="5620723"/>
                  </a:lnTo>
                  <a:lnTo>
                    <a:pt x="10344975" y="5620723"/>
                  </a:lnTo>
                  <a:close/>
                  <a:moveTo>
                    <a:pt x="10575466" y="5382598"/>
                  </a:moveTo>
                  <a:lnTo>
                    <a:pt x="10798016" y="5382598"/>
                  </a:lnTo>
                  <a:lnTo>
                    <a:pt x="10798016" y="5620723"/>
                  </a:lnTo>
                  <a:lnTo>
                    <a:pt x="10575466" y="5620723"/>
                  </a:lnTo>
                  <a:close/>
                  <a:moveTo>
                    <a:pt x="10804419" y="5382598"/>
                  </a:moveTo>
                  <a:lnTo>
                    <a:pt x="11028507" y="5382598"/>
                  </a:lnTo>
                  <a:lnTo>
                    <a:pt x="11028507" y="5620723"/>
                  </a:lnTo>
                  <a:lnTo>
                    <a:pt x="10804419" y="5620723"/>
                  </a:lnTo>
                  <a:close/>
                  <a:moveTo>
                    <a:pt x="10804419" y="5375795"/>
                  </a:moveTo>
                  <a:lnTo>
                    <a:pt x="10804419" y="5139302"/>
                  </a:lnTo>
                  <a:lnTo>
                    <a:pt x="11028507" y="5139302"/>
                  </a:lnTo>
                  <a:lnTo>
                    <a:pt x="11028507" y="5375795"/>
                  </a:lnTo>
                  <a:close/>
                  <a:moveTo>
                    <a:pt x="10804419" y="5132499"/>
                  </a:moveTo>
                  <a:lnTo>
                    <a:pt x="10804419" y="4894374"/>
                  </a:lnTo>
                  <a:lnTo>
                    <a:pt x="11028507" y="4894374"/>
                  </a:lnTo>
                  <a:lnTo>
                    <a:pt x="11028507" y="5132090"/>
                  </a:lnTo>
                  <a:close/>
                  <a:moveTo>
                    <a:pt x="10804419" y="4887570"/>
                  </a:moveTo>
                  <a:lnTo>
                    <a:pt x="10804419" y="4649445"/>
                  </a:lnTo>
                  <a:lnTo>
                    <a:pt x="11028507" y="4649445"/>
                  </a:lnTo>
                  <a:lnTo>
                    <a:pt x="11028507" y="4887162"/>
                  </a:lnTo>
                  <a:close/>
                  <a:moveTo>
                    <a:pt x="10804419" y="4642642"/>
                  </a:moveTo>
                  <a:lnTo>
                    <a:pt x="10804419" y="4406149"/>
                  </a:lnTo>
                  <a:lnTo>
                    <a:pt x="11028507" y="4406149"/>
                  </a:lnTo>
                  <a:lnTo>
                    <a:pt x="11028507" y="4642233"/>
                  </a:lnTo>
                  <a:close/>
                  <a:moveTo>
                    <a:pt x="10804419" y="4399346"/>
                  </a:moveTo>
                  <a:lnTo>
                    <a:pt x="10804419" y="4161221"/>
                  </a:lnTo>
                  <a:lnTo>
                    <a:pt x="11028507" y="4161221"/>
                  </a:lnTo>
                  <a:lnTo>
                    <a:pt x="11028507" y="4399346"/>
                  </a:lnTo>
                  <a:close/>
                  <a:moveTo>
                    <a:pt x="10804419" y="4154417"/>
                  </a:moveTo>
                  <a:lnTo>
                    <a:pt x="10804419" y="3916292"/>
                  </a:lnTo>
                  <a:lnTo>
                    <a:pt x="11028507" y="3916292"/>
                  </a:lnTo>
                  <a:lnTo>
                    <a:pt x="11028507" y="4154417"/>
                  </a:lnTo>
                  <a:close/>
                  <a:moveTo>
                    <a:pt x="10804419" y="3909489"/>
                  </a:moveTo>
                  <a:lnTo>
                    <a:pt x="10804419" y="3671364"/>
                  </a:lnTo>
                  <a:lnTo>
                    <a:pt x="11028507" y="3671364"/>
                  </a:lnTo>
                  <a:lnTo>
                    <a:pt x="11028507" y="3909489"/>
                  </a:lnTo>
                  <a:close/>
                  <a:moveTo>
                    <a:pt x="10804419" y="3664560"/>
                  </a:moveTo>
                  <a:lnTo>
                    <a:pt x="10804419" y="3428068"/>
                  </a:lnTo>
                  <a:lnTo>
                    <a:pt x="11028507" y="3428068"/>
                  </a:lnTo>
                  <a:lnTo>
                    <a:pt x="11028507" y="3664560"/>
                  </a:lnTo>
                  <a:close/>
                  <a:moveTo>
                    <a:pt x="10804419" y="3421264"/>
                  </a:moveTo>
                  <a:lnTo>
                    <a:pt x="10804419" y="3183139"/>
                  </a:lnTo>
                  <a:lnTo>
                    <a:pt x="11028507" y="3183139"/>
                  </a:lnTo>
                  <a:lnTo>
                    <a:pt x="11028507" y="3421264"/>
                  </a:lnTo>
                  <a:close/>
                  <a:moveTo>
                    <a:pt x="10804419" y="3176336"/>
                  </a:moveTo>
                  <a:lnTo>
                    <a:pt x="10804419" y="2938211"/>
                  </a:lnTo>
                  <a:lnTo>
                    <a:pt x="11028507" y="2938211"/>
                  </a:lnTo>
                  <a:lnTo>
                    <a:pt x="11028507" y="3176336"/>
                  </a:lnTo>
                  <a:close/>
                  <a:moveTo>
                    <a:pt x="10804419" y="2931407"/>
                  </a:moveTo>
                  <a:lnTo>
                    <a:pt x="10804419" y="2693282"/>
                  </a:lnTo>
                  <a:lnTo>
                    <a:pt x="11028507" y="2693282"/>
                  </a:lnTo>
                  <a:lnTo>
                    <a:pt x="11028507" y="2931407"/>
                  </a:lnTo>
                  <a:close/>
                  <a:moveTo>
                    <a:pt x="10804419" y="2686479"/>
                  </a:moveTo>
                  <a:lnTo>
                    <a:pt x="10804419" y="2449986"/>
                  </a:lnTo>
                  <a:lnTo>
                    <a:pt x="11028507" y="2449986"/>
                  </a:lnTo>
                  <a:lnTo>
                    <a:pt x="11028507" y="2686479"/>
                  </a:lnTo>
                  <a:close/>
                  <a:moveTo>
                    <a:pt x="10804419" y="2443183"/>
                  </a:moveTo>
                  <a:lnTo>
                    <a:pt x="10804419" y="2205058"/>
                  </a:lnTo>
                  <a:lnTo>
                    <a:pt x="11028507" y="2205058"/>
                  </a:lnTo>
                  <a:lnTo>
                    <a:pt x="11028507" y="2443183"/>
                  </a:lnTo>
                  <a:close/>
                  <a:moveTo>
                    <a:pt x="10804419" y="2198254"/>
                  </a:moveTo>
                  <a:lnTo>
                    <a:pt x="10804419" y="1960129"/>
                  </a:lnTo>
                  <a:lnTo>
                    <a:pt x="11028507" y="1960129"/>
                  </a:lnTo>
                  <a:lnTo>
                    <a:pt x="11028507" y="2198254"/>
                  </a:lnTo>
                  <a:close/>
                  <a:moveTo>
                    <a:pt x="10804419" y="1953326"/>
                  </a:moveTo>
                  <a:lnTo>
                    <a:pt x="10804419" y="1716697"/>
                  </a:lnTo>
                  <a:lnTo>
                    <a:pt x="11028507" y="1716697"/>
                  </a:lnTo>
                  <a:lnTo>
                    <a:pt x="11028507" y="1953189"/>
                  </a:lnTo>
                  <a:close/>
                  <a:moveTo>
                    <a:pt x="10804419" y="1710030"/>
                  </a:moveTo>
                  <a:lnTo>
                    <a:pt x="10804419" y="1471769"/>
                  </a:lnTo>
                  <a:lnTo>
                    <a:pt x="11028507" y="1471769"/>
                  </a:lnTo>
                  <a:lnTo>
                    <a:pt x="11028507" y="1709894"/>
                  </a:lnTo>
                  <a:close/>
                  <a:moveTo>
                    <a:pt x="10804419" y="1465101"/>
                  </a:moveTo>
                  <a:lnTo>
                    <a:pt x="10804419" y="1226840"/>
                  </a:lnTo>
                  <a:lnTo>
                    <a:pt x="11028507" y="1226840"/>
                  </a:lnTo>
                  <a:lnTo>
                    <a:pt x="11028507" y="1464965"/>
                  </a:lnTo>
                  <a:close/>
                  <a:moveTo>
                    <a:pt x="10804419" y="1220173"/>
                  </a:moveTo>
                  <a:lnTo>
                    <a:pt x="10804419" y="981911"/>
                  </a:lnTo>
                  <a:lnTo>
                    <a:pt x="11028507" y="981911"/>
                  </a:lnTo>
                  <a:lnTo>
                    <a:pt x="11028507" y="1220036"/>
                  </a:lnTo>
                  <a:close/>
                  <a:moveTo>
                    <a:pt x="10798016" y="1220173"/>
                  </a:moveTo>
                  <a:lnTo>
                    <a:pt x="10575466" y="1220173"/>
                  </a:lnTo>
                  <a:lnTo>
                    <a:pt x="10575466" y="981911"/>
                  </a:lnTo>
                  <a:lnTo>
                    <a:pt x="10798016" y="981911"/>
                  </a:lnTo>
                  <a:close/>
                  <a:moveTo>
                    <a:pt x="10569064" y="1220173"/>
                  </a:moveTo>
                  <a:lnTo>
                    <a:pt x="10344975" y="1220173"/>
                  </a:lnTo>
                  <a:lnTo>
                    <a:pt x="10344975" y="981911"/>
                  </a:lnTo>
                  <a:lnTo>
                    <a:pt x="10569064" y="981911"/>
                  </a:lnTo>
                  <a:close/>
                  <a:moveTo>
                    <a:pt x="10338573" y="1220173"/>
                  </a:moveTo>
                  <a:lnTo>
                    <a:pt x="10114484" y="1220173"/>
                  </a:lnTo>
                  <a:lnTo>
                    <a:pt x="10114484" y="981911"/>
                  </a:lnTo>
                  <a:lnTo>
                    <a:pt x="10338573" y="981911"/>
                  </a:lnTo>
                  <a:close/>
                  <a:moveTo>
                    <a:pt x="10108082" y="1220173"/>
                  </a:moveTo>
                  <a:lnTo>
                    <a:pt x="9883993" y="1220173"/>
                  </a:lnTo>
                  <a:lnTo>
                    <a:pt x="9883993" y="981911"/>
                  </a:lnTo>
                  <a:lnTo>
                    <a:pt x="10108082" y="981911"/>
                  </a:lnTo>
                  <a:close/>
                  <a:moveTo>
                    <a:pt x="9877591" y="1220173"/>
                  </a:moveTo>
                  <a:lnTo>
                    <a:pt x="9655037" y="1220173"/>
                  </a:lnTo>
                  <a:lnTo>
                    <a:pt x="9655037" y="981911"/>
                  </a:lnTo>
                  <a:lnTo>
                    <a:pt x="9877591" y="981911"/>
                  </a:lnTo>
                  <a:close/>
                  <a:moveTo>
                    <a:pt x="9648635" y="1220173"/>
                  </a:moveTo>
                  <a:lnTo>
                    <a:pt x="9424546" y="1220173"/>
                  </a:lnTo>
                  <a:lnTo>
                    <a:pt x="9424546" y="981911"/>
                  </a:lnTo>
                  <a:lnTo>
                    <a:pt x="9648635" y="981911"/>
                  </a:lnTo>
                  <a:close/>
                  <a:moveTo>
                    <a:pt x="9418144" y="1220173"/>
                  </a:moveTo>
                  <a:lnTo>
                    <a:pt x="9194055" y="1220173"/>
                  </a:lnTo>
                  <a:lnTo>
                    <a:pt x="9194055" y="981911"/>
                  </a:lnTo>
                  <a:lnTo>
                    <a:pt x="9418144" y="981911"/>
                  </a:lnTo>
                  <a:close/>
                  <a:moveTo>
                    <a:pt x="9187653" y="1220173"/>
                  </a:moveTo>
                  <a:lnTo>
                    <a:pt x="8963564" y="1220173"/>
                  </a:lnTo>
                  <a:lnTo>
                    <a:pt x="8963564" y="981911"/>
                  </a:lnTo>
                  <a:lnTo>
                    <a:pt x="9187653" y="981911"/>
                  </a:lnTo>
                  <a:close/>
                  <a:moveTo>
                    <a:pt x="8957162" y="1220173"/>
                  </a:moveTo>
                  <a:lnTo>
                    <a:pt x="8734611" y="1220173"/>
                  </a:lnTo>
                  <a:lnTo>
                    <a:pt x="8734611" y="981911"/>
                  </a:lnTo>
                  <a:lnTo>
                    <a:pt x="8957162" y="981911"/>
                  </a:lnTo>
                  <a:close/>
                  <a:moveTo>
                    <a:pt x="8728209" y="1220173"/>
                  </a:moveTo>
                  <a:lnTo>
                    <a:pt x="8504120" y="1220173"/>
                  </a:lnTo>
                  <a:lnTo>
                    <a:pt x="8504120" y="981911"/>
                  </a:lnTo>
                  <a:lnTo>
                    <a:pt x="8728209" y="981911"/>
                  </a:lnTo>
                  <a:close/>
                  <a:moveTo>
                    <a:pt x="8497718" y="1220173"/>
                  </a:moveTo>
                  <a:lnTo>
                    <a:pt x="8273629" y="1220173"/>
                  </a:lnTo>
                  <a:lnTo>
                    <a:pt x="8273629" y="981911"/>
                  </a:lnTo>
                  <a:lnTo>
                    <a:pt x="8497718" y="981911"/>
                  </a:lnTo>
                  <a:close/>
                  <a:moveTo>
                    <a:pt x="8267227" y="1220173"/>
                  </a:moveTo>
                  <a:lnTo>
                    <a:pt x="8044420" y="1220173"/>
                  </a:lnTo>
                  <a:lnTo>
                    <a:pt x="8044420" y="981911"/>
                  </a:lnTo>
                  <a:lnTo>
                    <a:pt x="8267227" y="981911"/>
                  </a:lnTo>
                  <a:close/>
                  <a:moveTo>
                    <a:pt x="8038274" y="1220173"/>
                  </a:moveTo>
                  <a:lnTo>
                    <a:pt x="7814186" y="1220173"/>
                  </a:lnTo>
                  <a:lnTo>
                    <a:pt x="7814186" y="981911"/>
                  </a:lnTo>
                  <a:lnTo>
                    <a:pt x="8038274" y="981911"/>
                  </a:lnTo>
                  <a:close/>
                  <a:moveTo>
                    <a:pt x="7807783" y="1220173"/>
                  </a:moveTo>
                  <a:lnTo>
                    <a:pt x="7583695" y="1220173"/>
                  </a:lnTo>
                  <a:lnTo>
                    <a:pt x="7583695" y="981911"/>
                  </a:lnTo>
                  <a:lnTo>
                    <a:pt x="7807783" y="981911"/>
                  </a:lnTo>
                  <a:close/>
                  <a:moveTo>
                    <a:pt x="7577292" y="1220173"/>
                  </a:moveTo>
                  <a:lnTo>
                    <a:pt x="7353204" y="1220173"/>
                  </a:lnTo>
                  <a:lnTo>
                    <a:pt x="7353204" y="981911"/>
                  </a:lnTo>
                  <a:lnTo>
                    <a:pt x="7577292" y="981911"/>
                  </a:lnTo>
                  <a:close/>
                  <a:moveTo>
                    <a:pt x="7346801" y="1220173"/>
                  </a:moveTo>
                  <a:lnTo>
                    <a:pt x="7124247" y="1220173"/>
                  </a:lnTo>
                  <a:lnTo>
                    <a:pt x="7124247" y="981911"/>
                  </a:lnTo>
                  <a:lnTo>
                    <a:pt x="7346801" y="981911"/>
                  </a:lnTo>
                  <a:close/>
                  <a:moveTo>
                    <a:pt x="7117845" y="1220173"/>
                  </a:moveTo>
                  <a:lnTo>
                    <a:pt x="6893756" y="1220173"/>
                  </a:lnTo>
                  <a:lnTo>
                    <a:pt x="6893756" y="981911"/>
                  </a:lnTo>
                  <a:lnTo>
                    <a:pt x="7117845" y="981911"/>
                  </a:lnTo>
                  <a:close/>
                  <a:moveTo>
                    <a:pt x="6887354" y="1220173"/>
                  </a:moveTo>
                  <a:lnTo>
                    <a:pt x="6663265" y="1220173"/>
                  </a:lnTo>
                  <a:lnTo>
                    <a:pt x="6663265" y="981911"/>
                  </a:lnTo>
                  <a:lnTo>
                    <a:pt x="6887354" y="981911"/>
                  </a:lnTo>
                  <a:close/>
                  <a:moveTo>
                    <a:pt x="6656863" y="1220173"/>
                  </a:moveTo>
                  <a:lnTo>
                    <a:pt x="6446349" y="1220173"/>
                  </a:lnTo>
                  <a:lnTo>
                    <a:pt x="6446349" y="981911"/>
                  </a:lnTo>
                  <a:lnTo>
                    <a:pt x="6656863" y="981911"/>
                  </a:lnTo>
                  <a:close/>
                  <a:moveTo>
                    <a:pt x="6439946" y="1220173"/>
                  </a:moveTo>
                  <a:lnTo>
                    <a:pt x="6217136" y="1220173"/>
                  </a:lnTo>
                  <a:lnTo>
                    <a:pt x="6217136" y="981911"/>
                  </a:lnTo>
                  <a:lnTo>
                    <a:pt x="6439690" y="981911"/>
                  </a:lnTo>
                  <a:close/>
                  <a:moveTo>
                    <a:pt x="6210990" y="1220173"/>
                  </a:moveTo>
                  <a:lnTo>
                    <a:pt x="5986902" y="1220173"/>
                  </a:lnTo>
                  <a:lnTo>
                    <a:pt x="5986902" y="981911"/>
                  </a:lnTo>
                  <a:lnTo>
                    <a:pt x="6210990" y="981911"/>
                  </a:lnTo>
                  <a:close/>
                  <a:moveTo>
                    <a:pt x="5980499" y="1220173"/>
                  </a:moveTo>
                  <a:lnTo>
                    <a:pt x="5756411" y="1220173"/>
                  </a:lnTo>
                  <a:lnTo>
                    <a:pt x="5756411" y="981911"/>
                  </a:lnTo>
                  <a:lnTo>
                    <a:pt x="5980499" y="981911"/>
                  </a:lnTo>
                  <a:close/>
                  <a:moveTo>
                    <a:pt x="5750008" y="1220173"/>
                  </a:moveTo>
                  <a:lnTo>
                    <a:pt x="5526945" y="1220173"/>
                  </a:lnTo>
                  <a:lnTo>
                    <a:pt x="5526945" y="981911"/>
                  </a:lnTo>
                  <a:lnTo>
                    <a:pt x="5749495" y="981911"/>
                  </a:lnTo>
                  <a:close/>
                  <a:moveTo>
                    <a:pt x="5521055" y="1220173"/>
                  </a:moveTo>
                  <a:lnTo>
                    <a:pt x="5296454" y="1220173"/>
                  </a:lnTo>
                  <a:lnTo>
                    <a:pt x="5296454" y="981911"/>
                  </a:lnTo>
                  <a:lnTo>
                    <a:pt x="5520542" y="981911"/>
                  </a:lnTo>
                  <a:close/>
                  <a:moveTo>
                    <a:pt x="5290564" y="1220173"/>
                  </a:moveTo>
                  <a:lnTo>
                    <a:pt x="5065963" y="1220173"/>
                  </a:lnTo>
                  <a:lnTo>
                    <a:pt x="5065963" y="981911"/>
                  </a:lnTo>
                  <a:lnTo>
                    <a:pt x="5290051" y="981911"/>
                  </a:lnTo>
                  <a:close/>
                  <a:moveTo>
                    <a:pt x="5060073" y="1220173"/>
                  </a:moveTo>
                  <a:lnTo>
                    <a:pt x="4835472" y="1220173"/>
                  </a:lnTo>
                  <a:lnTo>
                    <a:pt x="4835472" y="981911"/>
                  </a:lnTo>
                  <a:lnTo>
                    <a:pt x="5059560" y="981911"/>
                  </a:lnTo>
                  <a:close/>
                  <a:moveTo>
                    <a:pt x="4829582" y="1220173"/>
                  </a:moveTo>
                  <a:lnTo>
                    <a:pt x="4607029" y="1220173"/>
                  </a:lnTo>
                  <a:lnTo>
                    <a:pt x="4607029" y="981911"/>
                  </a:lnTo>
                  <a:lnTo>
                    <a:pt x="4829582" y="981911"/>
                  </a:lnTo>
                  <a:close/>
                  <a:moveTo>
                    <a:pt x="4600626" y="1220173"/>
                  </a:moveTo>
                  <a:lnTo>
                    <a:pt x="4376538" y="1220173"/>
                  </a:lnTo>
                  <a:lnTo>
                    <a:pt x="4376538" y="981911"/>
                  </a:lnTo>
                  <a:lnTo>
                    <a:pt x="4600626" y="981911"/>
                  </a:lnTo>
                  <a:close/>
                  <a:moveTo>
                    <a:pt x="4370135" y="1220173"/>
                  </a:moveTo>
                  <a:lnTo>
                    <a:pt x="4146047" y="1220173"/>
                  </a:lnTo>
                  <a:lnTo>
                    <a:pt x="4146047" y="981911"/>
                  </a:lnTo>
                  <a:lnTo>
                    <a:pt x="4370135" y="981911"/>
                  </a:lnTo>
                  <a:close/>
                  <a:moveTo>
                    <a:pt x="4139644" y="1220173"/>
                  </a:moveTo>
                  <a:lnTo>
                    <a:pt x="3917094" y="1220173"/>
                  </a:lnTo>
                  <a:lnTo>
                    <a:pt x="3917094" y="981911"/>
                  </a:lnTo>
                  <a:lnTo>
                    <a:pt x="4139644" y="981911"/>
                  </a:lnTo>
                  <a:close/>
                  <a:moveTo>
                    <a:pt x="3910691" y="1220173"/>
                  </a:moveTo>
                  <a:lnTo>
                    <a:pt x="3686603" y="1220173"/>
                  </a:lnTo>
                  <a:lnTo>
                    <a:pt x="3686603" y="981911"/>
                  </a:lnTo>
                  <a:lnTo>
                    <a:pt x="3910691" y="981911"/>
                  </a:lnTo>
                  <a:close/>
                  <a:moveTo>
                    <a:pt x="3680200" y="1220173"/>
                  </a:moveTo>
                  <a:lnTo>
                    <a:pt x="3456112" y="1220173"/>
                  </a:lnTo>
                  <a:lnTo>
                    <a:pt x="3456112" y="981911"/>
                  </a:lnTo>
                  <a:lnTo>
                    <a:pt x="3680200" y="981911"/>
                  </a:lnTo>
                  <a:close/>
                  <a:moveTo>
                    <a:pt x="3449709" y="1220173"/>
                  </a:moveTo>
                  <a:lnTo>
                    <a:pt x="3225621" y="1220173"/>
                  </a:lnTo>
                  <a:lnTo>
                    <a:pt x="3225621" y="981911"/>
                  </a:lnTo>
                  <a:lnTo>
                    <a:pt x="3449709" y="981911"/>
                  </a:lnTo>
                  <a:close/>
                  <a:moveTo>
                    <a:pt x="3219218" y="1220173"/>
                  </a:moveTo>
                  <a:lnTo>
                    <a:pt x="2996666" y="1220173"/>
                  </a:lnTo>
                  <a:lnTo>
                    <a:pt x="2996666" y="981911"/>
                  </a:lnTo>
                  <a:lnTo>
                    <a:pt x="3219218" y="981911"/>
                  </a:lnTo>
                  <a:close/>
                  <a:moveTo>
                    <a:pt x="2990264" y="1220173"/>
                  </a:moveTo>
                  <a:lnTo>
                    <a:pt x="2766175" y="1220173"/>
                  </a:lnTo>
                  <a:lnTo>
                    <a:pt x="2766175" y="981911"/>
                  </a:lnTo>
                  <a:lnTo>
                    <a:pt x="2990264" y="981911"/>
                  </a:lnTo>
                  <a:close/>
                  <a:moveTo>
                    <a:pt x="2759773" y="1220173"/>
                  </a:moveTo>
                  <a:lnTo>
                    <a:pt x="2535684" y="1220173"/>
                  </a:lnTo>
                  <a:lnTo>
                    <a:pt x="2535684" y="981911"/>
                  </a:lnTo>
                  <a:lnTo>
                    <a:pt x="2759773" y="981911"/>
                  </a:lnTo>
                  <a:close/>
                  <a:moveTo>
                    <a:pt x="2529282" y="1220173"/>
                  </a:moveTo>
                  <a:lnTo>
                    <a:pt x="2305193" y="1220173"/>
                  </a:lnTo>
                  <a:lnTo>
                    <a:pt x="2305193" y="981911"/>
                  </a:lnTo>
                  <a:lnTo>
                    <a:pt x="2529282" y="981911"/>
                  </a:lnTo>
                  <a:close/>
                  <a:moveTo>
                    <a:pt x="2298791" y="1220173"/>
                  </a:moveTo>
                  <a:lnTo>
                    <a:pt x="2075982" y="1220173"/>
                  </a:lnTo>
                  <a:lnTo>
                    <a:pt x="2075982" y="981911"/>
                  </a:lnTo>
                  <a:lnTo>
                    <a:pt x="2298534" y="981911"/>
                  </a:lnTo>
                  <a:close/>
                  <a:moveTo>
                    <a:pt x="2069836" y="1220173"/>
                  </a:moveTo>
                  <a:lnTo>
                    <a:pt x="1845748" y="1220173"/>
                  </a:lnTo>
                  <a:lnTo>
                    <a:pt x="1845748" y="981911"/>
                  </a:lnTo>
                  <a:lnTo>
                    <a:pt x="2069580" y="981911"/>
                  </a:lnTo>
                  <a:close/>
                  <a:moveTo>
                    <a:pt x="1839345" y="1220173"/>
                  </a:moveTo>
                  <a:lnTo>
                    <a:pt x="1615257" y="1220173"/>
                  </a:lnTo>
                  <a:lnTo>
                    <a:pt x="1615257" y="981911"/>
                  </a:lnTo>
                  <a:lnTo>
                    <a:pt x="1839089" y="981911"/>
                  </a:lnTo>
                  <a:close/>
                  <a:moveTo>
                    <a:pt x="1608854" y="1220173"/>
                  </a:moveTo>
                  <a:lnTo>
                    <a:pt x="1386302" y="1220173"/>
                  </a:lnTo>
                  <a:lnTo>
                    <a:pt x="1386302" y="981911"/>
                  </a:lnTo>
                  <a:lnTo>
                    <a:pt x="1608598" y="981911"/>
                  </a:lnTo>
                  <a:close/>
                  <a:moveTo>
                    <a:pt x="1379900" y="1220173"/>
                  </a:moveTo>
                  <a:lnTo>
                    <a:pt x="1155811" y="1220173"/>
                  </a:lnTo>
                  <a:lnTo>
                    <a:pt x="1155811" y="981911"/>
                  </a:lnTo>
                  <a:lnTo>
                    <a:pt x="1379900" y="981911"/>
                  </a:lnTo>
                  <a:close/>
                  <a:moveTo>
                    <a:pt x="1149409" y="1220173"/>
                  </a:moveTo>
                  <a:lnTo>
                    <a:pt x="925320" y="1220173"/>
                  </a:lnTo>
                  <a:lnTo>
                    <a:pt x="925320" y="981911"/>
                  </a:lnTo>
                  <a:lnTo>
                    <a:pt x="1149409" y="981911"/>
                  </a:lnTo>
                  <a:close/>
                  <a:moveTo>
                    <a:pt x="1149409" y="1226976"/>
                  </a:moveTo>
                  <a:lnTo>
                    <a:pt x="1149409" y="1465101"/>
                  </a:lnTo>
                  <a:lnTo>
                    <a:pt x="925320" y="1465101"/>
                  </a:lnTo>
                  <a:lnTo>
                    <a:pt x="925320" y="1226840"/>
                  </a:lnTo>
                  <a:close/>
                  <a:moveTo>
                    <a:pt x="1149409" y="1471905"/>
                  </a:moveTo>
                  <a:lnTo>
                    <a:pt x="1149409" y="1710030"/>
                  </a:lnTo>
                  <a:lnTo>
                    <a:pt x="925320" y="1710030"/>
                  </a:lnTo>
                  <a:lnTo>
                    <a:pt x="925320" y="1471769"/>
                  </a:lnTo>
                  <a:close/>
                  <a:moveTo>
                    <a:pt x="1149409" y="1716833"/>
                  </a:moveTo>
                  <a:lnTo>
                    <a:pt x="1149409" y="1953326"/>
                  </a:lnTo>
                  <a:lnTo>
                    <a:pt x="925320" y="1953326"/>
                  </a:lnTo>
                  <a:lnTo>
                    <a:pt x="925320" y="1716697"/>
                  </a:lnTo>
                  <a:close/>
                  <a:moveTo>
                    <a:pt x="1149409" y="1960129"/>
                  </a:moveTo>
                  <a:lnTo>
                    <a:pt x="1149409" y="2198254"/>
                  </a:lnTo>
                  <a:lnTo>
                    <a:pt x="925320" y="2198254"/>
                  </a:lnTo>
                  <a:lnTo>
                    <a:pt x="925320" y="1960129"/>
                  </a:lnTo>
                  <a:close/>
                  <a:moveTo>
                    <a:pt x="1149409" y="2205058"/>
                  </a:moveTo>
                  <a:lnTo>
                    <a:pt x="1149409" y="2443183"/>
                  </a:lnTo>
                  <a:lnTo>
                    <a:pt x="925320" y="2443183"/>
                  </a:lnTo>
                  <a:lnTo>
                    <a:pt x="925320" y="2205058"/>
                  </a:lnTo>
                  <a:close/>
                  <a:moveTo>
                    <a:pt x="1149409" y="2449986"/>
                  </a:moveTo>
                  <a:lnTo>
                    <a:pt x="1149409" y="2686479"/>
                  </a:lnTo>
                  <a:lnTo>
                    <a:pt x="925320" y="2686479"/>
                  </a:lnTo>
                  <a:lnTo>
                    <a:pt x="925320" y="2449986"/>
                  </a:lnTo>
                  <a:close/>
                  <a:moveTo>
                    <a:pt x="1149409" y="2693282"/>
                  </a:moveTo>
                  <a:lnTo>
                    <a:pt x="1149409" y="2931407"/>
                  </a:lnTo>
                  <a:lnTo>
                    <a:pt x="925320" y="2931407"/>
                  </a:lnTo>
                  <a:lnTo>
                    <a:pt x="925320" y="2693282"/>
                  </a:lnTo>
                  <a:close/>
                  <a:moveTo>
                    <a:pt x="1149409" y="2938211"/>
                  </a:moveTo>
                  <a:lnTo>
                    <a:pt x="1149409" y="3176336"/>
                  </a:lnTo>
                  <a:lnTo>
                    <a:pt x="925320" y="3176336"/>
                  </a:lnTo>
                  <a:lnTo>
                    <a:pt x="925320" y="2938211"/>
                  </a:lnTo>
                  <a:close/>
                  <a:moveTo>
                    <a:pt x="1149409" y="3183139"/>
                  </a:moveTo>
                  <a:lnTo>
                    <a:pt x="1149409" y="3421264"/>
                  </a:lnTo>
                  <a:lnTo>
                    <a:pt x="925320" y="3421264"/>
                  </a:lnTo>
                  <a:lnTo>
                    <a:pt x="925320" y="3183139"/>
                  </a:lnTo>
                  <a:close/>
                  <a:moveTo>
                    <a:pt x="1149409" y="3428068"/>
                  </a:moveTo>
                  <a:lnTo>
                    <a:pt x="1149409" y="3664560"/>
                  </a:lnTo>
                  <a:lnTo>
                    <a:pt x="925320" y="3664560"/>
                  </a:lnTo>
                  <a:lnTo>
                    <a:pt x="925320" y="3428068"/>
                  </a:lnTo>
                  <a:close/>
                  <a:moveTo>
                    <a:pt x="1149409" y="3671364"/>
                  </a:moveTo>
                  <a:lnTo>
                    <a:pt x="1149409" y="3909489"/>
                  </a:lnTo>
                  <a:lnTo>
                    <a:pt x="925320" y="3909489"/>
                  </a:lnTo>
                  <a:lnTo>
                    <a:pt x="925320" y="3671364"/>
                  </a:lnTo>
                  <a:close/>
                  <a:moveTo>
                    <a:pt x="1149409" y="3916292"/>
                  </a:moveTo>
                  <a:lnTo>
                    <a:pt x="1149409" y="4154417"/>
                  </a:lnTo>
                  <a:lnTo>
                    <a:pt x="925320" y="4154417"/>
                  </a:lnTo>
                  <a:lnTo>
                    <a:pt x="925320" y="3916292"/>
                  </a:lnTo>
                  <a:close/>
                  <a:moveTo>
                    <a:pt x="1149409" y="4161221"/>
                  </a:moveTo>
                  <a:lnTo>
                    <a:pt x="1149409" y="4399346"/>
                  </a:lnTo>
                  <a:lnTo>
                    <a:pt x="925320" y="4399346"/>
                  </a:lnTo>
                  <a:lnTo>
                    <a:pt x="925320" y="4161221"/>
                  </a:lnTo>
                  <a:close/>
                  <a:moveTo>
                    <a:pt x="1149409" y="4406149"/>
                  </a:moveTo>
                  <a:lnTo>
                    <a:pt x="1149409" y="4642233"/>
                  </a:lnTo>
                  <a:lnTo>
                    <a:pt x="925320" y="4642233"/>
                  </a:lnTo>
                  <a:lnTo>
                    <a:pt x="925320" y="4405741"/>
                  </a:lnTo>
                  <a:close/>
                  <a:moveTo>
                    <a:pt x="1149409" y="4649445"/>
                  </a:moveTo>
                  <a:lnTo>
                    <a:pt x="1149409" y="4887162"/>
                  </a:lnTo>
                  <a:lnTo>
                    <a:pt x="925320" y="4887162"/>
                  </a:lnTo>
                  <a:lnTo>
                    <a:pt x="925320" y="4649037"/>
                  </a:lnTo>
                  <a:close/>
                  <a:moveTo>
                    <a:pt x="1149409" y="4894374"/>
                  </a:moveTo>
                  <a:lnTo>
                    <a:pt x="1149409" y="5132090"/>
                  </a:lnTo>
                  <a:lnTo>
                    <a:pt x="925320" y="5132090"/>
                  </a:lnTo>
                  <a:lnTo>
                    <a:pt x="925320" y="4893965"/>
                  </a:lnTo>
                  <a:close/>
                  <a:moveTo>
                    <a:pt x="1149409" y="5139302"/>
                  </a:moveTo>
                  <a:lnTo>
                    <a:pt x="1149409" y="5375795"/>
                  </a:lnTo>
                  <a:lnTo>
                    <a:pt x="925320" y="5375795"/>
                  </a:lnTo>
                  <a:lnTo>
                    <a:pt x="925320" y="5139302"/>
                  </a:lnTo>
                  <a:close/>
                  <a:moveTo>
                    <a:pt x="1149409" y="5382598"/>
                  </a:moveTo>
                  <a:lnTo>
                    <a:pt x="1149409" y="5620723"/>
                  </a:lnTo>
                  <a:lnTo>
                    <a:pt x="925320" y="5620723"/>
                  </a:lnTo>
                  <a:lnTo>
                    <a:pt x="925320" y="5382598"/>
                  </a:lnTo>
                  <a:close/>
                  <a:moveTo>
                    <a:pt x="1149409" y="5627527"/>
                  </a:moveTo>
                  <a:lnTo>
                    <a:pt x="1149409" y="5865652"/>
                  </a:lnTo>
                  <a:lnTo>
                    <a:pt x="925320" y="5865652"/>
                  </a:lnTo>
                  <a:lnTo>
                    <a:pt x="925320" y="5627527"/>
                  </a:lnTo>
                  <a:close/>
                  <a:moveTo>
                    <a:pt x="1155811" y="5627527"/>
                  </a:moveTo>
                  <a:lnTo>
                    <a:pt x="1379900" y="5627527"/>
                  </a:lnTo>
                  <a:lnTo>
                    <a:pt x="1379900" y="5865652"/>
                  </a:lnTo>
                  <a:lnTo>
                    <a:pt x="1155811" y="5865652"/>
                  </a:lnTo>
                  <a:close/>
                  <a:moveTo>
                    <a:pt x="1386302" y="5627527"/>
                  </a:moveTo>
                  <a:lnTo>
                    <a:pt x="1608598" y="5627527"/>
                  </a:lnTo>
                  <a:lnTo>
                    <a:pt x="1608598" y="5865652"/>
                  </a:lnTo>
                  <a:lnTo>
                    <a:pt x="1386046" y="5865652"/>
                  </a:lnTo>
                  <a:close/>
                  <a:moveTo>
                    <a:pt x="1615257" y="5627527"/>
                  </a:moveTo>
                  <a:lnTo>
                    <a:pt x="1839089" y="5627527"/>
                  </a:lnTo>
                  <a:lnTo>
                    <a:pt x="1839089" y="5865652"/>
                  </a:lnTo>
                  <a:lnTo>
                    <a:pt x="1615000" y="5865652"/>
                  </a:lnTo>
                  <a:close/>
                  <a:moveTo>
                    <a:pt x="1845748" y="5627527"/>
                  </a:moveTo>
                  <a:lnTo>
                    <a:pt x="2069580" y="5627527"/>
                  </a:lnTo>
                  <a:lnTo>
                    <a:pt x="2069580" y="5865652"/>
                  </a:lnTo>
                  <a:lnTo>
                    <a:pt x="1845491" y="5865652"/>
                  </a:lnTo>
                  <a:close/>
                  <a:moveTo>
                    <a:pt x="2076239" y="5627527"/>
                  </a:moveTo>
                  <a:lnTo>
                    <a:pt x="2298791" y="5627527"/>
                  </a:lnTo>
                  <a:lnTo>
                    <a:pt x="2298791" y="5865652"/>
                  </a:lnTo>
                  <a:lnTo>
                    <a:pt x="2075982" y="5865652"/>
                  </a:lnTo>
                  <a:close/>
                  <a:moveTo>
                    <a:pt x="2305193" y="5627527"/>
                  </a:moveTo>
                  <a:lnTo>
                    <a:pt x="2529282" y="5627527"/>
                  </a:lnTo>
                  <a:lnTo>
                    <a:pt x="2529282" y="5865652"/>
                  </a:lnTo>
                  <a:lnTo>
                    <a:pt x="2305193" y="5865652"/>
                  </a:lnTo>
                  <a:close/>
                  <a:moveTo>
                    <a:pt x="2535684" y="5627527"/>
                  </a:moveTo>
                  <a:lnTo>
                    <a:pt x="2759773" y="5627527"/>
                  </a:lnTo>
                  <a:lnTo>
                    <a:pt x="2759773" y="5865652"/>
                  </a:lnTo>
                  <a:lnTo>
                    <a:pt x="2535684" y="5865652"/>
                  </a:lnTo>
                  <a:close/>
                  <a:moveTo>
                    <a:pt x="2766175" y="5627527"/>
                  </a:moveTo>
                  <a:lnTo>
                    <a:pt x="2990264" y="5627527"/>
                  </a:lnTo>
                  <a:lnTo>
                    <a:pt x="2990264" y="5865652"/>
                  </a:lnTo>
                  <a:lnTo>
                    <a:pt x="2766175" y="5865652"/>
                  </a:lnTo>
                  <a:close/>
                  <a:moveTo>
                    <a:pt x="2996666" y="5627527"/>
                  </a:moveTo>
                  <a:lnTo>
                    <a:pt x="3219218" y="5627527"/>
                  </a:lnTo>
                  <a:lnTo>
                    <a:pt x="3219218" y="5865652"/>
                  </a:lnTo>
                  <a:lnTo>
                    <a:pt x="2996666" y="5865652"/>
                  </a:lnTo>
                  <a:close/>
                  <a:moveTo>
                    <a:pt x="3225621" y="5627527"/>
                  </a:moveTo>
                  <a:lnTo>
                    <a:pt x="3449709" y="5627527"/>
                  </a:lnTo>
                  <a:lnTo>
                    <a:pt x="3449709" y="5865652"/>
                  </a:lnTo>
                  <a:lnTo>
                    <a:pt x="3225621" y="5865652"/>
                  </a:lnTo>
                  <a:close/>
                  <a:moveTo>
                    <a:pt x="3456112" y="5627527"/>
                  </a:moveTo>
                  <a:lnTo>
                    <a:pt x="3680200" y="5627527"/>
                  </a:lnTo>
                  <a:lnTo>
                    <a:pt x="3680200" y="5865652"/>
                  </a:lnTo>
                  <a:lnTo>
                    <a:pt x="3456112" y="5865652"/>
                  </a:lnTo>
                  <a:close/>
                  <a:moveTo>
                    <a:pt x="3686603" y="5627527"/>
                  </a:moveTo>
                  <a:lnTo>
                    <a:pt x="3910691" y="5627527"/>
                  </a:lnTo>
                  <a:lnTo>
                    <a:pt x="3910691" y="5865652"/>
                  </a:lnTo>
                  <a:lnTo>
                    <a:pt x="3686603" y="5865652"/>
                  </a:lnTo>
                  <a:close/>
                  <a:moveTo>
                    <a:pt x="3917094" y="5627527"/>
                  </a:moveTo>
                  <a:lnTo>
                    <a:pt x="4139644" y="5627527"/>
                  </a:lnTo>
                  <a:lnTo>
                    <a:pt x="4139644" y="5865652"/>
                  </a:lnTo>
                  <a:lnTo>
                    <a:pt x="3917094" y="5865652"/>
                  </a:lnTo>
                  <a:close/>
                  <a:moveTo>
                    <a:pt x="4146047" y="5627527"/>
                  </a:moveTo>
                  <a:lnTo>
                    <a:pt x="4370135" y="5627527"/>
                  </a:lnTo>
                  <a:lnTo>
                    <a:pt x="4370135" y="5865652"/>
                  </a:lnTo>
                  <a:lnTo>
                    <a:pt x="4146047" y="5865652"/>
                  </a:lnTo>
                  <a:close/>
                  <a:moveTo>
                    <a:pt x="4376538" y="5627527"/>
                  </a:moveTo>
                  <a:lnTo>
                    <a:pt x="4600626" y="5627527"/>
                  </a:lnTo>
                  <a:lnTo>
                    <a:pt x="4600626" y="5865652"/>
                  </a:lnTo>
                  <a:lnTo>
                    <a:pt x="4376538" y="5865652"/>
                  </a:lnTo>
                  <a:close/>
                  <a:moveTo>
                    <a:pt x="4607029" y="5627527"/>
                  </a:moveTo>
                  <a:lnTo>
                    <a:pt x="4829582" y="5627527"/>
                  </a:lnTo>
                  <a:lnTo>
                    <a:pt x="4829582" y="5865652"/>
                  </a:lnTo>
                  <a:lnTo>
                    <a:pt x="4607029" y="5865652"/>
                  </a:lnTo>
                  <a:close/>
                  <a:moveTo>
                    <a:pt x="4835985" y="5627527"/>
                  </a:moveTo>
                  <a:lnTo>
                    <a:pt x="5060073" y="5627527"/>
                  </a:lnTo>
                  <a:lnTo>
                    <a:pt x="5060073" y="5865652"/>
                  </a:lnTo>
                  <a:lnTo>
                    <a:pt x="4835472" y="5865652"/>
                  </a:lnTo>
                  <a:close/>
                  <a:moveTo>
                    <a:pt x="5066476" y="5627527"/>
                  </a:moveTo>
                  <a:lnTo>
                    <a:pt x="5290564" y="5627527"/>
                  </a:lnTo>
                  <a:lnTo>
                    <a:pt x="5290564" y="5865652"/>
                  </a:lnTo>
                  <a:lnTo>
                    <a:pt x="5065963" y="5865652"/>
                  </a:lnTo>
                  <a:close/>
                  <a:moveTo>
                    <a:pt x="5296967" y="5627527"/>
                  </a:moveTo>
                  <a:lnTo>
                    <a:pt x="5521055" y="5627527"/>
                  </a:lnTo>
                  <a:lnTo>
                    <a:pt x="5521055" y="5865652"/>
                  </a:lnTo>
                  <a:lnTo>
                    <a:pt x="5296454" y="5865652"/>
                  </a:lnTo>
                  <a:close/>
                  <a:moveTo>
                    <a:pt x="5527458" y="5627527"/>
                  </a:moveTo>
                  <a:lnTo>
                    <a:pt x="5750008" y="5627527"/>
                  </a:lnTo>
                  <a:lnTo>
                    <a:pt x="5750008" y="5865652"/>
                  </a:lnTo>
                  <a:lnTo>
                    <a:pt x="5526945" y="5865652"/>
                  </a:lnTo>
                  <a:close/>
                  <a:moveTo>
                    <a:pt x="5756411" y="5627527"/>
                  </a:moveTo>
                  <a:lnTo>
                    <a:pt x="5980499" y="5627527"/>
                  </a:lnTo>
                  <a:lnTo>
                    <a:pt x="5980499" y="5865652"/>
                  </a:lnTo>
                  <a:lnTo>
                    <a:pt x="5756411" y="5865652"/>
                  </a:lnTo>
                  <a:close/>
                  <a:moveTo>
                    <a:pt x="5986902" y="5627527"/>
                  </a:moveTo>
                  <a:lnTo>
                    <a:pt x="6210990" y="5627527"/>
                  </a:lnTo>
                  <a:lnTo>
                    <a:pt x="6210990" y="5865652"/>
                  </a:lnTo>
                  <a:lnTo>
                    <a:pt x="5986902" y="5865652"/>
                  </a:lnTo>
                  <a:close/>
                  <a:moveTo>
                    <a:pt x="6217393" y="5627527"/>
                  </a:moveTo>
                  <a:lnTo>
                    <a:pt x="6439946" y="5627527"/>
                  </a:lnTo>
                  <a:lnTo>
                    <a:pt x="6439946" y="5865652"/>
                  </a:lnTo>
                  <a:lnTo>
                    <a:pt x="6217136" y="5865652"/>
                  </a:lnTo>
                  <a:close/>
                  <a:moveTo>
                    <a:pt x="6446349" y="5627527"/>
                  </a:moveTo>
                  <a:lnTo>
                    <a:pt x="6656863" y="5627527"/>
                  </a:lnTo>
                  <a:lnTo>
                    <a:pt x="6656863" y="5865652"/>
                  </a:lnTo>
                  <a:lnTo>
                    <a:pt x="6446349" y="5865652"/>
                  </a:lnTo>
                  <a:close/>
                  <a:moveTo>
                    <a:pt x="6663265" y="5627527"/>
                  </a:moveTo>
                  <a:lnTo>
                    <a:pt x="6887354" y="5627527"/>
                  </a:lnTo>
                  <a:lnTo>
                    <a:pt x="6887354" y="5865652"/>
                  </a:lnTo>
                  <a:lnTo>
                    <a:pt x="6663265" y="5865652"/>
                  </a:lnTo>
                  <a:close/>
                  <a:moveTo>
                    <a:pt x="6893756" y="5627527"/>
                  </a:moveTo>
                  <a:lnTo>
                    <a:pt x="7117845" y="5627527"/>
                  </a:lnTo>
                  <a:lnTo>
                    <a:pt x="7117845" y="5865652"/>
                  </a:lnTo>
                  <a:lnTo>
                    <a:pt x="6893756" y="5865652"/>
                  </a:lnTo>
                  <a:close/>
                  <a:moveTo>
                    <a:pt x="7124247" y="5627527"/>
                  </a:moveTo>
                  <a:lnTo>
                    <a:pt x="7346801" y="5627527"/>
                  </a:lnTo>
                  <a:lnTo>
                    <a:pt x="7346801" y="5865652"/>
                  </a:lnTo>
                  <a:lnTo>
                    <a:pt x="7124247" y="5865652"/>
                  </a:lnTo>
                  <a:close/>
                  <a:moveTo>
                    <a:pt x="7353204" y="5627527"/>
                  </a:moveTo>
                  <a:lnTo>
                    <a:pt x="7577292" y="5627527"/>
                  </a:lnTo>
                  <a:lnTo>
                    <a:pt x="7577292" y="5865652"/>
                  </a:lnTo>
                  <a:lnTo>
                    <a:pt x="7353204" y="5865652"/>
                  </a:lnTo>
                  <a:close/>
                  <a:moveTo>
                    <a:pt x="7583695" y="5627527"/>
                  </a:moveTo>
                  <a:lnTo>
                    <a:pt x="7807783" y="5627527"/>
                  </a:lnTo>
                  <a:lnTo>
                    <a:pt x="7807783" y="5865652"/>
                  </a:lnTo>
                  <a:lnTo>
                    <a:pt x="7583695" y="5865652"/>
                  </a:lnTo>
                  <a:close/>
                  <a:moveTo>
                    <a:pt x="7814186" y="5627527"/>
                  </a:moveTo>
                  <a:lnTo>
                    <a:pt x="8038274" y="5627527"/>
                  </a:lnTo>
                  <a:lnTo>
                    <a:pt x="8038274" y="5865652"/>
                  </a:lnTo>
                  <a:lnTo>
                    <a:pt x="7814186" y="5865652"/>
                  </a:lnTo>
                  <a:close/>
                  <a:moveTo>
                    <a:pt x="8044677" y="5627527"/>
                  </a:moveTo>
                  <a:lnTo>
                    <a:pt x="8267227" y="5627527"/>
                  </a:lnTo>
                  <a:lnTo>
                    <a:pt x="8267227" y="5865652"/>
                  </a:lnTo>
                  <a:lnTo>
                    <a:pt x="8044420" y="5865652"/>
                  </a:lnTo>
                  <a:close/>
                  <a:moveTo>
                    <a:pt x="8273629" y="5627527"/>
                  </a:moveTo>
                  <a:lnTo>
                    <a:pt x="8497718" y="5627527"/>
                  </a:lnTo>
                  <a:lnTo>
                    <a:pt x="8497718" y="5865652"/>
                  </a:lnTo>
                  <a:lnTo>
                    <a:pt x="8273629" y="5865652"/>
                  </a:lnTo>
                  <a:close/>
                  <a:moveTo>
                    <a:pt x="8504120" y="5627527"/>
                  </a:moveTo>
                  <a:lnTo>
                    <a:pt x="8728209" y="5627527"/>
                  </a:lnTo>
                  <a:lnTo>
                    <a:pt x="8728209" y="5865652"/>
                  </a:lnTo>
                  <a:lnTo>
                    <a:pt x="8504120" y="5865652"/>
                  </a:lnTo>
                  <a:close/>
                  <a:moveTo>
                    <a:pt x="8734611" y="5627527"/>
                  </a:moveTo>
                  <a:lnTo>
                    <a:pt x="8957162" y="5627527"/>
                  </a:lnTo>
                  <a:lnTo>
                    <a:pt x="8957162" y="5865652"/>
                  </a:lnTo>
                  <a:lnTo>
                    <a:pt x="8734611" y="5865652"/>
                  </a:lnTo>
                  <a:close/>
                  <a:moveTo>
                    <a:pt x="8963564" y="5627527"/>
                  </a:moveTo>
                  <a:lnTo>
                    <a:pt x="9187653" y="5627527"/>
                  </a:lnTo>
                  <a:lnTo>
                    <a:pt x="9187653" y="5865652"/>
                  </a:lnTo>
                  <a:lnTo>
                    <a:pt x="8963564" y="5865652"/>
                  </a:lnTo>
                  <a:close/>
                  <a:moveTo>
                    <a:pt x="9194055" y="5627527"/>
                  </a:moveTo>
                  <a:lnTo>
                    <a:pt x="9418144" y="5627527"/>
                  </a:lnTo>
                  <a:lnTo>
                    <a:pt x="9418144" y="5865652"/>
                  </a:lnTo>
                  <a:lnTo>
                    <a:pt x="9194055" y="5865652"/>
                  </a:lnTo>
                  <a:close/>
                  <a:moveTo>
                    <a:pt x="9424546" y="5627527"/>
                  </a:moveTo>
                  <a:lnTo>
                    <a:pt x="9648635" y="5627527"/>
                  </a:lnTo>
                  <a:lnTo>
                    <a:pt x="9648635" y="5865652"/>
                  </a:lnTo>
                  <a:lnTo>
                    <a:pt x="9424546" y="5865652"/>
                  </a:lnTo>
                  <a:close/>
                  <a:moveTo>
                    <a:pt x="9655037" y="5627527"/>
                  </a:moveTo>
                  <a:lnTo>
                    <a:pt x="9877591" y="5627527"/>
                  </a:lnTo>
                  <a:lnTo>
                    <a:pt x="9877591" y="5865652"/>
                  </a:lnTo>
                  <a:lnTo>
                    <a:pt x="9655037" y="5865652"/>
                  </a:lnTo>
                  <a:close/>
                  <a:moveTo>
                    <a:pt x="9883993" y="5627527"/>
                  </a:moveTo>
                  <a:lnTo>
                    <a:pt x="10108082" y="5627527"/>
                  </a:lnTo>
                  <a:lnTo>
                    <a:pt x="10108082" y="5865652"/>
                  </a:lnTo>
                  <a:lnTo>
                    <a:pt x="9883993" y="5865652"/>
                  </a:lnTo>
                  <a:close/>
                  <a:moveTo>
                    <a:pt x="10114484" y="5627527"/>
                  </a:moveTo>
                  <a:lnTo>
                    <a:pt x="10338573" y="5627527"/>
                  </a:lnTo>
                  <a:lnTo>
                    <a:pt x="10338573" y="5865652"/>
                  </a:lnTo>
                  <a:lnTo>
                    <a:pt x="10114484" y="5865652"/>
                  </a:lnTo>
                  <a:close/>
                  <a:moveTo>
                    <a:pt x="10344975" y="5627527"/>
                  </a:moveTo>
                  <a:lnTo>
                    <a:pt x="10569064" y="5627527"/>
                  </a:lnTo>
                  <a:lnTo>
                    <a:pt x="10569064" y="5865652"/>
                  </a:lnTo>
                  <a:lnTo>
                    <a:pt x="10344975" y="5865652"/>
                  </a:lnTo>
                  <a:close/>
                  <a:moveTo>
                    <a:pt x="10575466" y="5627527"/>
                  </a:moveTo>
                  <a:lnTo>
                    <a:pt x="10798016" y="5627527"/>
                  </a:lnTo>
                  <a:lnTo>
                    <a:pt x="10798016" y="5865652"/>
                  </a:lnTo>
                  <a:lnTo>
                    <a:pt x="10575466" y="5865652"/>
                  </a:lnTo>
                  <a:close/>
                  <a:moveTo>
                    <a:pt x="10804419" y="5627527"/>
                  </a:moveTo>
                  <a:lnTo>
                    <a:pt x="11028507" y="5627527"/>
                  </a:lnTo>
                  <a:lnTo>
                    <a:pt x="11028507" y="5865652"/>
                  </a:lnTo>
                  <a:lnTo>
                    <a:pt x="10804419" y="5865652"/>
                  </a:lnTo>
                  <a:close/>
                  <a:moveTo>
                    <a:pt x="11034910" y="5627527"/>
                  </a:moveTo>
                  <a:lnTo>
                    <a:pt x="11258998" y="5627527"/>
                  </a:lnTo>
                  <a:lnTo>
                    <a:pt x="11258998" y="5865652"/>
                  </a:lnTo>
                  <a:lnTo>
                    <a:pt x="11034910" y="5865652"/>
                  </a:lnTo>
                  <a:close/>
                  <a:moveTo>
                    <a:pt x="11034910" y="5620723"/>
                  </a:moveTo>
                  <a:lnTo>
                    <a:pt x="11034910" y="5382598"/>
                  </a:lnTo>
                  <a:lnTo>
                    <a:pt x="11258998" y="5382598"/>
                  </a:lnTo>
                  <a:lnTo>
                    <a:pt x="11258998" y="5620723"/>
                  </a:lnTo>
                  <a:close/>
                  <a:moveTo>
                    <a:pt x="11034910" y="5375795"/>
                  </a:moveTo>
                  <a:lnTo>
                    <a:pt x="11034910" y="5139302"/>
                  </a:lnTo>
                  <a:lnTo>
                    <a:pt x="11258998" y="5139302"/>
                  </a:lnTo>
                  <a:lnTo>
                    <a:pt x="11258998" y="5375795"/>
                  </a:lnTo>
                  <a:close/>
                  <a:moveTo>
                    <a:pt x="11034910" y="5132499"/>
                  </a:moveTo>
                  <a:lnTo>
                    <a:pt x="11034910" y="4894374"/>
                  </a:lnTo>
                  <a:lnTo>
                    <a:pt x="11258998" y="4894374"/>
                  </a:lnTo>
                  <a:lnTo>
                    <a:pt x="11258998" y="5132090"/>
                  </a:lnTo>
                  <a:close/>
                  <a:moveTo>
                    <a:pt x="11034910" y="4887570"/>
                  </a:moveTo>
                  <a:lnTo>
                    <a:pt x="11034910" y="4649445"/>
                  </a:lnTo>
                  <a:lnTo>
                    <a:pt x="11258998" y="4649445"/>
                  </a:lnTo>
                  <a:lnTo>
                    <a:pt x="11258998" y="4887162"/>
                  </a:lnTo>
                  <a:close/>
                  <a:moveTo>
                    <a:pt x="11034910" y="4642642"/>
                  </a:moveTo>
                  <a:lnTo>
                    <a:pt x="11034910" y="4406149"/>
                  </a:lnTo>
                  <a:lnTo>
                    <a:pt x="11258998" y="4406149"/>
                  </a:lnTo>
                  <a:lnTo>
                    <a:pt x="11258998" y="4642233"/>
                  </a:lnTo>
                  <a:close/>
                  <a:moveTo>
                    <a:pt x="11034910" y="4399346"/>
                  </a:moveTo>
                  <a:lnTo>
                    <a:pt x="11034910" y="4161221"/>
                  </a:lnTo>
                  <a:lnTo>
                    <a:pt x="11258998" y="4161221"/>
                  </a:lnTo>
                  <a:lnTo>
                    <a:pt x="11258998" y="4399346"/>
                  </a:lnTo>
                  <a:close/>
                  <a:moveTo>
                    <a:pt x="11034910" y="4154417"/>
                  </a:moveTo>
                  <a:lnTo>
                    <a:pt x="11034910" y="3916292"/>
                  </a:lnTo>
                  <a:lnTo>
                    <a:pt x="11258998" y="3916292"/>
                  </a:lnTo>
                  <a:lnTo>
                    <a:pt x="11258998" y="4154417"/>
                  </a:lnTo>
                  <a:close/>
                  <a:moveTo>
                    <a:pt x="11034910" y="3909489"/>
                  </a:moveTo>
                  <a:lnTo>
                    <a:pt x="11034910" y="3671364"/>
                  </a:lnTo>
                  <a:lnTo>
                    <a:pt x="11258998" y="3671364"/>
                  </a:lnTo>
                  <a:lnTo>
                    <a:pt x="11258998" y="3909489"/>
                  </a:lnTo>
                  <a:close/>
                  <a:moveTo>
                    <a:pt x="11034910" y="3664560"/>
                  </a:moveTo>
                  <a:lnTo>
                    <a:pt x="11034910" y="3428068"/>
                  </a:lnTo>
                  <a:lnTo>
                    <a:pt x="11258998" y="3428068"/>
                  </a:lnTo>
                  <a:lnTo>
                    <a:pt x="11258998" y="3664560"/>
                  </a:lnTo>
                  <a:close/>
                  <a:moveTo>
                    <a:pt x="11034910" y="3421264"/>
                  </a:moveTo>
                  <a:lnTo>
                    <a:pt x="11034910" y="3183139"/>
                  </a:lnTo>
                  <a:lnTo>
                    <a:pt x="11258998" y="3183139"/>
                  </a:lnTo>
                  <a:lnTo>
                    <a:pt x="11258998" y="3421264"/>
                  </a:lnTo>
                  <a:close/>
                  <a:moveTo>
                    <a:pt x="11034910" y="3176336"/>
                  </a:moveTo>
                  <a:lnTo>
                    <a:pt x="11034910" y="2938211"/>
                  </a:lnTo>
                  <a:lnTo>
                    <a:pt x="11258998" y="2938211"/>
                  </a:lnTo>
                  <a:lnTo>
                    <a:pt x="11258998" y="3176336"/>
                  </a:lnTo>
                  <a:close/>
                  <a:moveTo>
                    <a:pt x="11034910" y="2931407"/>
                  </a:moveTo>
                  <a:lnTo>
                    <a:pt x="11034910" y="2693282"/>
                  </a:lnTo>
                  <a:lnTo>
                    <a:pt x="11258998" y="2693282"/>
                  </a:lnTo>
                  <a:lnTo>
                    <a:pt x="11258998" y="2931407"/>
                  </a:lnTo>
                  <a:close/>
                  <a:moveTo>
                    <a:pt x="11034910" y="2686479"/>
                  </a:moveTo>
                  <a:lnTo>
                    <a:pt x="11034910" y="2449986"/>
                  </a:lnTo>
                  <a:lnTo>
                    <a:pt x="11258998" y="2449986"/>
                  </a:lnTo>
                  <a:lnTo>
                    <a:pt x="11258998" y="2686479"/>
                  </a:lnTo>
                  <a:close/>
                  <a:moveTo>
                    <a:pt x="11034910" y="2443183"/>
                  </a:moveTo>
                  <a:lnTo>
                    <a:pt x="11034910" y="2205058"/>
                  </a:lnTo>
                  <a:lnTo>
                    <a:pt x="11258998" y="2205058"/>
                  </a:lnTo>
                  <a:lnTo>
                    <a:pt x="11258998" y="2443183"/>
                  </a:lnTo>
                  <a:close/>
                  <a:moveTo>
                    <a:pt x="11034910" y="2198254"/>
                  </a:moveTo>
                  <a:lnTo>
                    <a:pt x="11034910" y="1960129"/>
                  </a:lnTo>
                  <a:lnTo>
                    <a:pt x="11258998" y="1960129"/>
                  </a:lnTo>
                  <a:lnTo>
                    <a:pt x="11258998" y="2198254"/>
                  </a:lnTo>
                  <a:close/>
                  <a:moveTo>
                    <a:pt x="11034910" y="1953326"/>
                  </a:moveTo>
                  <a:lnTo>
                    <a:pt x="11034910" y="1716697"/>
                  </a:lnTo>
                  <a:lnTo>
                    <a:pt x="11258998" y="1716697"/>
                  </a:lnTo>
                  <a:lnTo>
                    <a:pt x="11258998" y="1953189"/>
                  </a:lnTo>
                  <a:close/>
                  <a:moveTo>
                    <a:pt x="11034910" y="1710030"/>
                  </a:moveTo>
                  <a:lnTo>
                    <a:pt x="11034910" y="1471769"/>
                  </a:lnTo>
                  <a:lnTo>
                    <a:pt x="11258998" y="1471769"/>
                  </a:lnTo>
                  <a:lnTo>
                    <a:pt x="11258998" y="1709894"/>
                  </a:lnTo>
                  <a:close/>
                  <a:moveTo>
                    <a:pt x="11034910" y="1465101"/>
                  </a:moveTo>
                  <a:lnTo>
                    <a:pt x="11034910" y="1226840"/>
                  </a:lnTo>
                  <a:lnTo>
                    <a:pt x="11258998" y="1226840"/>
                  </a:lnTo>
                  <a:lnTo>
                    <a:pt x="11258998" y="1464965"/>
                  </a:lnTo>
                  <a:close/>
                  <a:moveTo>
                    <a:pt x="11034910" y="1220173"/>
                  </a:moveTo>
                  <a:lnTo>
                    <a:pt x="11034910" y="981911"/>
                  </a:lnTo>
                  <a:lnTo>
                    <a:pt x="11258998" y="981911"/>
                  </a:lnTo>
                  <a:lnTo>
                    <a:pt x="11258998" y="1220036"/>
                  </a:lnTo>
                  <a:close/>
                  <a:moveTo>
                    <a:pt x="11034910" y="975244"/>
                  </a:moveTo>
                  <a:lnTo>
                    <a:pt x="11034910" y="738752"/>
                  </a:lnTo>
                  <a:lnTo>
                    <a:pt x="11258998" y="738752"/>
                  </a:lnTo>
                  <a:lnTo>
                    <a:pt x="11258998" y="975244"/>
                  </a:lnTo>
                  <a:close/>
                  <a:moveTo>
                    <a:pt x="11028507" y="975244"/>
                  </a:moveTo>
                  <a:lnTo>
                    <a:pt x="10804419" y="975244"/>
                  </a:lnTo>
                  <a:lnTo>
                    <a:pt x="10804419" y="738752"/>
                  </a:lnTo>
                  <a:lnTo>
                    <a:pt x="11028507" y="738752"/>
                  </a:lnTo>
                  <a:close/>
                  <a:moveTo>
                    <a:pt x="10798016" y="975244"/>
                  </a:moveTo>
                  <a:lnTo>
                    <a:pt x="10575466" y="975244"/>
                  </a:lnTo>
                  <a:lnTo>
                    <a:pt x="10575466" y="738752"/>
                  </a:lnTo>
                  <a:lnTo>
                    <a:pt x="10798016" y="738752"/>
                  </a:lnTo>
                  <a:close/>
                  <a:moveTo>
                    <a:pt x="10569064" y="975244"/>
                  </a:moveTo>
                  <a:lnTo>
                    <a:pt x="10344975" y="975244"/>
                  </a:lnTo>
                  <a:lnTo>
                    <a:pt x="10344975" y="738752"/>
                  </a:lnTo>
                  <a:lnTo>
                    <a:pt x="10569064" y="738752"/>
                  </a:lnTo>
                  <a:close/>
                  <a:moveTo>
                    <a:pt x="10338573" y="975244"/>
                  </a:moveTo>
                  <a:lnTo>
                    <a:pt x="10114484" y="975244"/>
                  </a:lnTo>
                  <a:lnTo>
                    <a:pt x="10114484" y="738752"/>
                  </a:lnTo>
                  <a:lnTo>
                    <a:pt x="10338573" y="738752"/>
                  </a:lnTo>
                  <a:close/>
                  <a:moveTo>
                    <a:pt x="10108082" y="975244"/>
                  </a:moveTo>
                  <a:lnTo>
                    <a:pt x="9883993" y="975244"/>
                  </a:lnTo>
                  <a:lnTo>
                    <a:pt x="9883993" y="738752"/>
                  </a:lnTo>
                  <a:lnTo>
                    <a:pt x="10108082" y="738752"/>
                  </a:lnTo>
                  <a:close/>
                  <a:moveTo>
                    <a:pt x="9877591" y="975244"/>
                  </a:moveTo>
                  <a:lnTo>
                    <a:pt x="9655037" y="975244"/>
                  </a:lnTo>
                  <a:lnTo>
                    <a:pt x="9655037" y="738752"/>
                  </a:lnTo>
                  <a:lnTo>
                    <a:pt x="9877591" y="738752"/>
                  </a:lnTo>
                  <a:close/>
                  <a:moveTo>
                    <a:pt x="9648635" y="975244"/>
                  </a:moveTo>
                  <a:lnTo>
                    <a:pt x="9424546" y="975244"/>
                  </a:lnTo>
                  <a:lnTo>
                    <a:pt x="9424546" y="738752"/>
                  </a:lnTo>
                  <a:lnTo>
                    <a:pt x="9648635" y="738752"/>
                  </a:lnTo>
                  <a:close/>
                  <a:moveTo>
                    <a:pt x="9418144" y="975244"/>
                  </a:moveTo>
                  <a:lnTo>
                    <a:pt x="9194055" y="975244"/>
                  </a:lnTo>
                  <a:lnTo>
                    <a:pt x="9194055" y="738752"/>
                  </a:lnTo>
                  <a:lnTo>
                    <a:pt x="9418144" y="738752"/>
                  </a:lnTo>
                  <a:close/>
                  <a:moveTo>
                    <a:pt x="9187653" y="975244"/>
                  </a:moveTo>
                  <a:lnTo>
                    <a:pt x="8963564" y="975244"/>
                  </a:lnTo>
                  <a:lnTo>
                    <a:pt x="8963564" y="738752"/>
                  </a:lnTo>
                  <a:lnTo>
                    <a:pt x="9187653" y="738752"/>
                  </a:lnTo>
                  <a:close/>
                  <a:moveTo>
                    <a:pt x="8957162" y="975244"/>
                  </a:moveTo>
                  <a:lnTo>
                    <a:pt x="8734611" y="975244"/>
                  </a:lnTo>
                  <a:lnTo>
                    <a:pt x="8734611" y="738752"/>
                  </a:lnTo>
                  <a:lnTo>
                    <a:pt x="8957162" y="738752"/>
                  </a:lnTo>
                  <a:close/>
                  <a:moveTo>
                    <a:pt x="8728209" y="975244"/>
                  </a:moveTo>
                  <a:lnTo>
                    <a:pt x="8504120" y="975244"/>
                  </a:lnTo>
                  <a:lnTo>
                    <a:pt x="8504120" y="738752"/>
                  </a:lnTo>
                  <a:lnTo>
                    <a:pt x="8728209" y="738752"/>
                  </a:lnTo>
                  <a:close/>
                  <a:moveTo>
                    <a:pt x="8497718" y="975244"/>
                  </a:moveTo>
                  <a:lnTo>
                    <a:pt x="8273629" y="975244"/>
                  </a:lnTo>
                  <a:lnTo>
                    <a:pt x="8273629" y="738752"/>
                  </a:lnTo>
                  <a:lnTo>
                    <a:pt x="8497718" y="738752"/>
                  </a:lnTo>
                  <a:close/>
                  <a:moveTo>
                    <a:pt x="8267227" y="975244"/>
                  </a:moveTo>
                  <a:lnTo>
                    <a:pt x="8044420" y="975244"/>
                  </a:lnTo>
                  <a:lnTo>
                    <a:pt x="8044420" y="738752"/>
                  </a:lnTo>
                  <a:lnTo>
                    <a:pt x="8267227" y="738752"/>
                  </a:lnTo>
                  <a:close/>
                  <a:moveTo>
                    <a:pt x="8038274" y="975244"/>
                  </a:moveTo>
                  <a:lnTo>
                    <a:pt x="7814186" y="975244"/>
                  </a:lnTo>
                  <a:lnTo>
                    <a:pt x="7814186" y="738752"/>
                  </a:lnTo>
                  <a:lnTo>
                    <a:pt x="8038274" y="738752"/>
                  </a:lnTo>
                  <a:close/>
                  <a:moveTo>
                    <a:pt x="7807783" y="975244"/>
                  </a:moveTo>
                  <a:lnTo>
                    <a:pt x="7583695" y="975244"/>
                  </a:lnTo>
                  <a:lnTo>
                    <a:pt x="7583695" y="738752"/>
                  </a:lnTo>
                  <a:lnTo>
                    <a:pt x="7807783" y="738752"/>
                  </a:lnTo>
                  <a:close/>
                  <a:moveTo>
                    <a:pt x="7577292" y="975244"/>
                  </a:moveTo>
                  <a:lnTo>
                    <a:pt x="7353204" y="975244"/>
                  </a:lnTo>
                  <a:lnTo>
                    <a:pt x="7353204" y="738752"/>
                  </a:lnTo>
                  <a:lnTo>
                    <a:pt x="7577292" y="738752"/>
                  </a:lnTo>
                  <a:close/>
                  <a:moveTo>
                    <a:pt x="7346801" y="975244"/>
                  </a:moveTo>
                  <a:lnTo>
                    <a:pt x="7124247" y="975244"/>
                  </a:lnTo>
                  <a:lnTo>
                    <a:pt x="7124247" y="738752"/>
                  </a:lnTo>
                  <a:lnTo>
                    <a:pt x="7346801" y="738752"/>
                  </a:lnTo>
                  <a:close/>
                  <a:moveTo>
                    <a:pt x="7117845" y="975244"/>
                  </a:moveTo>
                  <a:lnTo>
                    <a:pt x="6893756" y="975244"/>
                  </a:lnTo>
                  <a:lnTo>
                    <a:pt x="6893756" y="738752"/>
                  </a:lnTo>
                  <a:lnTo>
                    <a:pt x="7117845" y="738752"/>
                  </a:lnTo>
                  <a:close/>
                  <a:moveTo>
                    <a:pt x="6887354" y="975244"/>
                  </a:moveTo>
                  <a:lnTo>
                    <a:pt x="6663265" y="975244"/>
                  </a:lnTo>
                  <a:lnTo>
                    <a:pt x="6663265" y="738752"/>
                  </a:lnTo>
                  <a:lnTo>
                    <a:pt x="6887354" y="738752"/>
                  </a:lnTo>
                  <a:close/>
                  <a:moveTo>
                    <a:pt x="6656863" y="975244"/>
                  </a:moveTo>
                  <a:lnTo>
                    <a:pt x="6446349" y="975244"/>
                  </a:lnTo>
                  <a:lnTo>
                    <a:pt x="6446349" y="738752"/>
                  </a:lnTo>
                  <a:lnTo>
                    <a:pt x="6656863" y="738752"/>
                  </a:lnTo>
                  <a:close/>
                  <a:moveTo>
                    <a:pt x="6439946" y="975244"/>
                  </a:moveTo>
                  <a:lnTo>
                    <a:pt x="6217136" y="975244"/>
                  </a:lnTo>
                  <a:lnTo>
                    <a:pt x="6217136" y="738752"/>
                  </a:lnTo>
                  <a:lnTo>
                    <a:pt x="6439690" y="738752"/>
                  </a:lnTo>
                  <a:close/>
                  <a:moveTo>
                    <a:pt x="6210990" y="975244"/>
                  </a:moveTo>
                  <a:lnTo>
                    <a:pt x="5986902" y="975244"/>
                  </a:lnTo>
                  <a:lnTo>
                    <a:pt x="5986902" y="738752"/>
                  </a:lnTo>
                  <a:lnTo>
                    <a:pt x="6210990" y="738752"/>
                  </a:lnTo>
                  <a:close/>
                  <a:moveTo>
                    <a:pt x="5980499" y="975244"/>
                  </a:moveTo>
                  <a:lnTo>
                    <a:pt x="5756411" y="975244"/>
                  </a:lnTo>
                  <a:lnTo>
                    <a:pt x="5756411" y="738752"/>
                  </a:lnTo>
                  <a:lnTo>
                    <a:pt x="5980499" y="738752"/>
                  </a:lnTo>
                  <a:close/>
                  <a:moveTo>
                    <a:pt x="5750008" y="975244"/>
                  </a:moveTo>
                  <a:lnTo>
                    <a:pt x="5526945" y="975244"/>
                  </a:lnTo>
                  <a:lnTo>
                    <a:pt x="5526945" y="738752"/>
                  </a:lnTo>
                  <a:lnTo>
                    <a:pt x="5749495" y="738752"/>
                  </a:lnTo>
                  <a:close/>
                  <a:moveTo>
                    <a:pt x="5521055" y="975244"/>
                  </a:moveTo>
                  <a:lnTo>
                    <a:pt x="5296454" y="975244"/>
                  </a:lnTo>
                  <a:lnTo>
                    <a:pt x="5296454" y="738752"/>
                  </a:lnTo>
                  <a:lnTo>
                    <a:pt x="5520542" y="738752"/>
                  </a:lnTo>
                  <a:close/>
                  <a:moveTo>
                    <a:pt x="5290564" y="975244"/>
                  </a:moveTo>
                  <a:lnTo>
                    <a:pt x="5065963" y="975244"/>
                  </a:lnTo>
                  <a:lnTo>
                    <a:pt x="5065963" y="738752"/>
                  </a:lnTo>
                  <a:lnTo>
                    <a:pt x="5290051" y="738752"/>
                  </a:lnTo>
                  <a:close/>
                  <a:moveTo>
                    <a:pt x="5060073" y="975244"/>
                  </a:moveTo>
                  <a:lnTo>
                    <a:pt x="4835472" y="975244"/>
                  </a:lnTo>
                  <a:lnTo>
                    <a:pt x="4835472" y="738752"/>
                  </a:lnTo>
                  <a:lnTo>
                    <a:pt x="5059560" y="738752"/>
                  </a:lnTo>
                  <a:close/>
                  <a:moveTo>
                    <a:pt x="4829582" y="975244"/>
                  </a:moveTo>
                  <a:lnTo>
                    <a:pt x="4607029" y="975244"/>
                  </a:lnTo>
                  <a:lnTo>
                    <a:pt x="4607029" y="738752"/>
                  </a:lnTo>
                  <a:lnTo>
                    <a:pt x="4829582" y="738752"/>
                  </a:lnTo>
                  <a:close/>
                  <a:moveTo>
                    <a:pt x="4600626" y="975244"/>
                  </a:moveTo>
                  <a:lnTo>
                    <a:pt x="4376538" y="975244"/>
                  </a:lnTo>
                  <a:lnTo>
                    <a:pt x="4376538" y="738752"/>
                  </a:lnTo>
                  <a:lnTo>
                    <a:pt x="4600626" y="738752"/>
                  </a:lnTo>
                  <a:close/>
                  <a:moveTo>
                    <a:pt x="4370135" y="975244"/>
                  </a:moveTo>
                  <a:lnTo>
                    <a:pt x="4146047" y="975244"/>
                  </a:lnTo>
                  <a:lnTo>
                    <a:pt x="4146047" y="738752"/>
                  </a:lnTo>
                  <a:lnTo>
                    <a:pt x="4370135" y="738752"/>
                  </a:lnTo>
                  <a:close/>
                  <a:moveTo>
                    <a:pt x="4139644" y="975244"/>
                  </a:moveTo>
                  <a:lnTo>
                    <a:pt x="3917094" y="975244"/>
                  </a:lnTo>
                  <a:lnTo>
                    <a:pt x="3917094" y="738752"/>
                  </a:lnTo>
                  <a:lnTo>
                    <a:pt x="4139644" y="738752"/>
                  </a:lnTo>
                  <a:close/>
                  <a:moveTo>
                    <a:pt x="3910691" y="975244"/>
                  </a:moveTo>
                  <a:lnTo>
                    <a:pt x="3686603" y="975244"/>
                  </a:lnTo>
                  <a:lnTo>
                    <a:pt x="3686603" y="738752"/>
                  </a:lnTo>
                  <a:lnTo>
                    <a:pt x="3910691" y="738752"/>
                  </a:lnTo>
                  <a:close/>
                  <a:moveTo>
                    <a:pt x="3680200" y="975244"/>
                  </a:moveTo>
                  <a:lnTo>
                    <a:pt x="3456112" y="975244"/>
                  </a:lnTo>
                  <a:lnTo>
                    <a:pt x="3456112" y="738752"/>
                  </a:lnTo>
                  <a:lnTo>
                    <a:pt x="3680200" y="738752"/>
                  </a:lnTo>
                  <a:close/>
                  <a:moveTo>
                    <a:pt x="3449709" y="975244"/>
                  </a:moveTo>
                  <a:lnTo>
                    <a:pt x="3225621" y="975244"/>
                  </a:lnTo>
                  <a:lnTo>
                    <a:pt x="3225621" y="738752"/>
                  </a:lnTo>
                  <a:lnTo>
                    <a:pt x="3449709" y="738752"/>
                  </a:lnTo>
                  <a:close/>
                  <a:moveTo>
                    <a:pt x="3219218" y="975244"/>
                  </a:moveTo>
                  <a:lnTo>
                    <a:pt x="2996666" y="975244"/>
                  </a:lnTo>
                  <a:lnTo>
                    <a:pt x="2996666" y="738752"/>
                  </a:lnTo>
                  <a:lnTo>
                    <a:pt x="3219218" y="738752"/>
                  </a:lnTo>
                  <a:close/>
                  <a:moveTo>
                    <a:pt x="2990264" y="975244"/>
                  </a:moveTo>
                  <a:lnTo>
                    <a:pt x="2766175" y="975244"/>
                  </a:lnTo>
                  <a:lnTo>
                    <a:pt x="2766175" y="738752"/>
                  </a:lnTo>
                  <a:lnTo>
                    <a:pt x="2990264" y="738752"/>
                  </a:lnTo>
                  <a:close/>
                  <a:moveTo>
                    <a:pt x="2759773" y="975244"/>
                  </a:moveTo>
                  <a:lnTo>
                    <a:pt x="2535684" y="975244"/>
                  </a:lnTo>
                  <a:lnTo>
                    <a:pt x="2535684" y="738752"/>
                  </a:lnTo>
                  <a:lnTo>
                    <a:pt x="2759773" y="738752"/>
                  </a:lnTo>
                  <a:close/>
                  <a:moveTo>
                    <a:pt x="2529282" y="975244"/>
                  </a:moveTo>
                  <a:lnTo>
                    <a:pt x="2305193" y="975244"/>
                  </a:lnTo>
                  <a:lnTo>
                    <a:pt x="2305193" y="738752"/>
                  </a:lnTo>
                  <a:lnTo>
                    <a:pt x="2529282" y="738752"/>
                  </a:lnTo>
                  <a:close/>
                  <a:moveTo>
                    <a:pt x="2298791" y="975244"/>
                  </a:moveTo>
                  <a:lnTo>
                    <a:pt x="2075982" y="975244"/>
                  </a:lnTo>
                  <a:lnTo>
                    <a:pt x="2075982" y="738752"/>
                  </a:lnTo>
                  <a:lnTo>
                    <a:pt x="2298534" y="738752"/>
                  </a:lnTo>
                  <a:close/>
                  <a:moveTo>
                    <a:pt x="2069836" y="975244"/>
                  </a:moveTo>
                  <a:lnTo>
                    <a:pt x="1845748" y="975244"/>
                  </a:lnTo>
                  <a:lnTo>
                    <a:pt x="1845748" y="738752"/>
                  </a:lnTo>
                  <a:lnTo>
                    <a:pt x="2069580" y="738752"/>
                  </a:lnTo>
                  <a:close/>
                  <a:moveTo>
                    <a:pt x="1839345" y="975244"/>
                  </a:moveTo>
                  <a:lnTo>
                    <a:pt x="1615257" y="975244"/>
                  </a:lnTo>
                  <a:lnTo>
                    <a:pt x="1615257" y="738752"/>
                  </a:lnTo>
                  <a:lnTo>
                    <a:pt x="1839089" y="738752"/>
                  </a:lnTo>
                  <a:close/>
                  <a:moveTo>
                    <a:pt x="1608854" y="975244"/>
                  </a:moveTo>
                  <a:lnTo>
                    <a:pt x="1386302" y="975244"/>
                  </a:lnTo>
                  <a:lnTo>
                    <a:pt x="1386302" y="738752"/>
                  </a:lnTo>
                  <a:lnTo>
                    <a:pt x="1608598" y="738752"/>
                  </a:lnTo>
                  <a:close/>
                  <a:moveTo>
                    <a:pt x="1379900" y="975244"/>
                  </a:moveTo>
                  <a:lnTo>
                    <a:pt x="1155811" y="975244"/>
                  </a:lnTo>
                  <a:lnTo>
                    <a:pt x="1155811" y="738752"/>
                  </a:lnTo>
                  <a:lnTo>
                    <a:pt x="1379900" y="738752"/>
                  </a:lnTo>
                  <a:close/>
                  <a:moveTo>
                    <a:pt x="1149409" y="975244"/>
                  </a:moveTo>
                  <a:lnTo>
                    <a:pt x="925320" y="975244"/>
                  </a:lnTo>
                  <a:lnTo>
                    <a:pt x="925320" y="738752"/>
                  </a:lnTo>
                  <a:lnTo>
                    <a:pt x="1149409" y="738752"/>
                  </a:lnTo>
                  <a:close/>
                  <a:moveTo>
                    <a:pt x="918918" y="975244"/>
                  </a:moveTo>
                  <a:lnTo>
                    <a:pt x="694829" y="975244"/>
                  </a:lnTo>
                  <a:lnTo>
                    <a:pt x="694829" y="738752"/>
                  </a:lnTo>
                  <a:lnTo>
                    <a:pt x="918918" y="738752"/>
                  </a:lnTo>
                  <a:close/>
                  <a:moveTo>
                    <a:pt x="918918" y="982048"/>
                  </a:moveTo>
                  <a:lnTo>
                    <a:pt x="918918" y="1220173"/>
                  </a:lnTo>
                  <a:lnTo>
                    <a:pt x="694829" y="1220173"/>
                  </a:lnTo>
                  <a:lnTo>
                    <a:pt x="694829" y="981911"/>
                  </a:lnTo>
                  <a:close/>
                  <a:moveTo>
                    <a:pt x="918918" y="1226976"/>
                  </a:moveTo>
                  <a:lnTo>
                    <a:pt x="918918" y="1465101"/>
                  </a:lnTo>
                  <a:lnTo>
                    <a:pt x="694829" y="1465101"/>
                  </a:lnTo>
                  <a:lnTo>
                    <a:pt x="694829" y="1226840"/>
                  </a:lnTo>
                  <a:close/>
                  <a:moveTo>
                    <a:pt x="918918" y="1471905"/>
                  </a:moveTo>
                  <a:lnTo>
                    <a:pt x="918918" y="1710030"/>
                  </a:lnTo>
                  <a:lnTo>
                    <a:pt x="694829" y="1710030"/>
                  </a:lnTo>
                  <a:lnTo>
                    <a:pt x="694829" y="1471769"/>
                  </a:lnTo>
                  <a:close/>
                  <a:moveTo>
                    <a:pt x="918918" y="1716833"/>
                  </a:moveTo>
                  <a:lnTo>
                    <a:pt x="918918" y="1953326"/>
                  </a:lnTo>
                  <a:lnTo>
                    <a:pt x="694829" y="1953326"/>
                  </a:lnTo>
                  <a:lnTo>
                    <a:pt x="694829" y="1716697"/>
                  </a:lnTo>
                  <a:close/>
                  <a:moveTo>
                    <a:pt x="918918" y="1960129"/>
                  </a:moveTo>
                  <a:lnTo>
                    <a:pt x="918918" y="2198254"/>
                  </a:lnTo>
                  <a:lnTo>
                    <a:pt x="694829" y="2198254"/>
                  </a:lnTo>
                  <a:lnTo>
                    <a:pt x="694829" y="1960129"/>
                  </a:lnTo>
                  <a:close/>
                  <a:moveTo>
                    <a:pt x="918918" y="2205058"/>
                  </a:moveTo>
                  <a:lnTo>
                    <a:pt x="918918" y="2443183"/>
                  </a:lnTo>
                  <a:lnTo>
                    <a:pt x="694829" y="2443183"/>
                  </a:lnTo>
                  <a:lnTo>
                    <a:pt x="694829" y="2205058"/>
                  </a:lnTo>
                  <a:close/>
                  <a:moveTo>
                    <a:pt x="918918" y="2449986"/>
                  </a:moveTo>
                  <a:lnTo>
                    <a:pt x="918918" y="2686479"/>
                  </a:lnTo>
                  <a:lnTo>
                    <a:pt x="694829" y="2686479"/>
                  </a:lnTo>
                  <a:lnTo>
                    <a:pt x="694829" y="2449986"/>
                  </a:lnTo>
                  <a:close/>
                  <a:moveTo>
                    <a:pt x="918918" y="2693282"/>
                  </a:moveTo>
                  <a:lnTo>
                    <a:pt x="918918" y="2931407"/>
                  </a:lnTo>
                  <a:lnTo>
                    <a:pt x="694829" y="2931407"/>
                  </a:lnTo>
                  <a:lnTo>
                    <a:pt x="694829" y="2693282"/>
                  </a:lnTo>
                  <a:close/>
                  <a:moveTo>
                    <a:pt x="918918" y="2938211"/>
                  </a:moveTo>
                  <a:lnTo>
                    <a:pt x="918918" y="3176336"/>
                  </a:lnTo>
                  <a:lnTo>
                    <a:pt x="694829" y="3176336"/>
                  </a:lnTo>
                  <a:lnTo>
                    <a:pt x="694829" y="2938211"/>
                  </a:lnTo>
                  <a:close/>
                  <a:moveTo>
                    <a:pt x="918918" y="3183139"/>
                  </a:moveTo>
                  <a:lnTo>
                    <a:pt x="918918" y="3421264"/>
                  </a:lnTo>
                  <a:lnTo>
                    <a:pt x="694829" y="3421264"/>
                  </a:lnTo>
                  <a:lnTo>
                    <a:pt x="694829" y="3183139"/>
                  </a:lnTo>
                  <a:close/>
                  <a:moveTo>
                    <a:pt x="918918" y="3428068"/>
                  </a:moveTo>
                  <a:lnTo>
                    <a:pt x="918918" y="3664560"/>
                  </a:lnTo>
                  <a:lnTo>
                    <a:pt x="694829" y="3664560"/>
                  </a:lnTo>
                  <a:lnTo>
                    <a:pt x="694829" y="3428068"/>
                  </a:lnTo>
                  <a:close/>
                  <a:moveTo>
                    <a:pt x="918918" y="3671364"/>
                  </a:moveTo>
                  <a:lnTo>
                    <a:pt x="918918" y="3909489"/>
                  </a:lnTo>
                  <a:lnTo>
                    <a:pt x="694829" y="3909489"/>
                  </a:lnTo>
                  <a:lnTo>
                    <a:pt x="694829" y="3671364"/>
                  </a:lnTo>
                  <a:close/>
                  <a:moveTo>
                    <a:pt x="918918" y="3916292"/>
                  </a:moveTo>
                  <a:lnTo>
                    <a:pt x="918918" y="4154417"/>
                  </a:lnTo>
                  <a:lnTo>
                    <a:pt x="694829" y="4154417"/>
                  </a:lnTo>
                  <a:lnTo>
                    <a:pt x="694829" y="3916292"/>
                  </a:lnTo>
                  <a:close/>
                  <a:moveTo>
                    <a:pt x="918918" y="4161221"/>
                  </a:moveTo>
                  <a:lnTo>
                    <a:pt x="918918" y="4399346"/>
                  </a:lnTo>
                  <a:lnTo>
                    <a:pt x="694829" y="4399346"/>
                  </a:lnTo>
                  <a:lnTo>
                    <a:pt x="694829" y="4161221"/>
                  </a:lnTo>
                  <a:close/>
                  <a:moveTo>
                    <a:pt x="918918" y="4406149"/>
                  </a:moveTo>
                  <a:lnTo>
                    <a:pt x="918918" y="4642233"/>
                  </a:lnTo>
                  <a:lnTo>
                    <a:pt x="694829" y="4642233"/>
                  </a:lnTo>
                  <a:lnTo>
                    <a:pt x="694829" y="4405741"/>
                  </a:lnTo>
                  <a:close/>
                  <a:moveTo>
                    <a:pt x="918918" y="4649445"/>
                  </a:moveTo>
                  <a:lnTo>
                    <a:pt x="918918" y="4887162"/>
                  </a:lnTo>
                  <a:lnTo>
                    <a:pt x="694829" y="4887162"/>
                  </a:lnTo>
                  <a:lnTo>
                    <a:pt x="694829" y="4649037"/>
                  </a:lnTo>
                  <a:close/>
                  <a:moveTo>
                    <a:pt x="918918" y="4894374"/>
                  </a:moveTo>
                  <a:lnTo>
                    <a:pt x="918918" y="5132090"/>
                  </a:lnTo>
                  <a:lnTo>
                    <a:pt x="694829" y="5132090"/>
                  </a:lnTo>
                  <a:lnTo>
                    <a:pt x="694829" y="4893965"/>
                  </a:lnTo>
                  <a:close/>
                  <a:moveTo>
                    <a:pt x="918918" y="5139302"/>
                  </a:moveTo>
                  <a:lnTo>
                    <a:pt x="918918" y="5375795"/>
                  </a:lnTo>
                  <a:lnTo>
                    <a:pt x="694829" y="5375795"/>
                  </a:lnTo>
                  <a:lnTo>
                    <a:pt x="694829" y="5139302"/>
                  </a:lnTo>
                  <a:close/>
                  <a:moveTo>
                    <a:pt x="918918" y="5382598"/>
                  </a:moveTo>
                  <a:lnTo>
                    <a:pt x="918918" y="5620723"/>
                  </a:lnTo>
                  <a:lnTo>
                    <a:pt x="694829" y="5620723"/>
                  </a:lnTo>
                  <a:lnTo>
                    <a:pt x="694829" y="5382598"/>
                  </a:lnTo>
                  <a:close/>
                  <a:moveTo>
                    <a:pt x="918918" y="5627527"/>
                  </a:moveTo>
                  <a:lnTo>
                    <a:pt x="918918" y="5865652"/>
                  </a:lnTo>
                  <a:lnTo>
                    <a:pt x="694829" y="5865652"/>
                  </a:lnTo>
                  <a:lnTo>
                    <a:pt x="694829" y="5627527"/>
                  </a:lnTo>
                  <a:close/>
                  <a:moveTo>
                    <a:pt x="918918" y="5872455"/>
                  </a:moveTo>
                  <a:lnTo>
                    <a:pt x="918918" y="6110580"/>
                  </a:lnTo>
                  <a:lnTo>
                    <a:pt x="694829" y="6110580"/>
                  </a:lnTo>
                  <a:lnTo>
                    <a:pt x="694829" y="5872455"/>
                  </a:lnTo>
                  <a:close/>
                  <a:moveTo>
                    <a:pt x="925320" y="5872455"/>
                  </a:moveTo>
                  <a:lnTo>
                    <a:pt x="1149409" y="5872455"/>
                  </a:lnTo>
                  <a:lnTo>
                    <a:pt x="1149409" y="6110580"/>
                  </a:lnTo>
                  <a:lnTo>
                    <a:pt x="925320" y="6110580"/>
                  </a:lnTo>
                  <a:close/>
                  <a:moveTo>
                    <a:pt x="1155811" y="5872455"/>
                  </a:moveTo>
                  <a:lnTo>
                    <a:pt x="1379900" y="5872455"/>
                  </a:lnTo>
                  <a:lnTo>
                    <a:pt x="1379900" y="6110580"/>
                  </a:lnTo>
                  <a:lnTo>
                    <a:pt x="1155811" y="6110580"/>
                  </a:lnTo>
                  <a:close/>
                  <a:moveTo>
                    <a:pt x="1386302" y="5872455"/>
                  </a:moveTo>
                  <a:lnTo>
                    <a:pt x="1608598" y="5872455"/>
                  </a:lnTo>
                  <a:lnTo>
                    <a:pt x="1608598" y="6110580"/>
                  </a:lnTo>
                  <a:lnTo>
                    <a:pt x="1386046" y="6110580"/>
                  </a:lnTo>
                  <a:close/>
                  <a:moveTo>
                    <a:pt x="1615257" y="5872455"/>
                  </a:moveTo>
                  <a:lnTo>
                    <a:pt x="1839089" y="5872455"/>
                  </a:lnTo>
                  <a:lnTo>
                    <a:pt x="1839089" y="6110580"/>
                  </a:lnTo>
                  <a:lnTo>
                    <a:pt x="1615000" y="6110580"/>
                  </a:lnTo>
                  <a:close/>
                  <a:moveTo>
                    <a:pt x="1845748" y="5872455"/>
                  </a:moveTo>
                  <a:lnTo>
                    <a:pt x="2069580" y="5872455"/>
                  </a:lnTo>
                  <a:lnTo>
                    <a:pt x="2069580" y="6110580"/>
                  </a:lnTo>
                  <a:lnTo>
                    <a:pt x="1845491" y="6110580"/>
                  </a:lnTo>
                  <a:close/>
                  <a:moveTo>
                    <a:pt x="2076239" y="5872455"/>
                  </a:moveTo>
                  <a:lnTo>
                    <a:pt x="2298791" y="5872455"/>
                  </a:lnTo>
                  <a:lnTo>
                    <a:pt x="2298791" y="6110580"/>
                  </a:lnTo>
                  <a:lnTo>
                    <a:pt x="2075982" y="6110580"/>
                  </a:lnTo>
                  <a:close/>
                  <a:moveTo>
                    <a:pt x="2305193" y="5872455"/>
                  </a:moveTo>
                  <a:lnTo>
                    <a:pt x="2529282" y="5872455"/>
                  </a:lnTo>
                  <a:lnTo>
                    <a:pt x="2529282" y="6110580"/>
                  </a:lnTo>
                  <a:lnTo>
                    <a:pt x="2305193" y="6110580"/>
                  </a:lnTo>
                  <a:close/>
                  <a:moveTo>
                    <a:pt x="2535684" y="5872455"/>
                  </a:moveTo>
                  <a:lnTo>
                    <a:pt x="2759773" y="5872455"/>
                  </a:lnTo>
                  <a:lnTo>
                    <a:pt x="2759773" y="6110580"/>
                  </a:lnTo>
                  <a:lnTo>
                    <a:pt x="2535684" y="6110580"/>
                  </a:lnTo>
                  <a:close/>
                  <a:moveTo>
                    <a:pt x="2766175" y="5872455"/>
                  </a:moveTo>
                  <a:lnTo>
                    <a:pt x="2990264" y="5872455"/>
                  </a:lnTo>
                  <a:lnTo>
                    <a:pt x="2990264" y="6110580"/>
                  </a:lnTo>
                  <a:lnTo>
                    <a:pt x="2766175" y="6110580"/>
                  </a:lnTo>
                  <a:close/>
                  <a:moveTo>
                    <a:pt x="2996666" y="5872455"/>
                  </a:moveTo>
                  <a:lnTo>
                    <a:pt x="3219218" y="5872455"/>
                  </a:lnTo>
                  <a:lnTo>
                    <a:pt x="3219218" y="6110580"/>
                  </a:lnTo>
                  <a:lnTo>
                    <a:pt x="2996666" y="6110580"/>
                  </a:lnTo>
                  <a:close/>
                  <a:moveTo>
                    <a:pt x="3225621" y="5872455"/>
                  </a:moveTo>
                  <a:lnTo>
                    <a:pt x="3449709" y="5872455"/>
                  </a:lnTo>
                  <a:lnTo>
                    <a:pt x="3449709" y="6110580"/>
                  </a:lnTo>
                  <a:lnTo>
                    <a:pt x="3225621" y="6110580"/>
                  </a:lnTo>
                  <a:close/>
                  <a:moveTo>
                    <a:pt x="3456112" y="5872455"/>
                  </a:moveTo>
                  <a:lnTo>
                    <a:pt x="3680200" y="5872455"/>
                  </a:lnTo>
                  <a:lnTo>
                    <a:pt x="3680200" y="6110580"/>
                  </a:lnTo>
                  <a:lnTo>
                    <a:pt x="3456112" y="6110580"/>
                  </a:lnTo>
                  <a:close/>
                  <a:moveTo>
                    <a:pt x="3686603" y="5872455"/>
                  </a:moveTo>
                  <a:lnTo>
                    <a:pt x="3910691" y="5872455"/>
                  </a:lnTo>
                  <a:lnTo>
                    <a:pt x="3910691" y="6110580"/>
                  </a:lnTo>
                  <a:lnTo>
                    <a:pt x="3686603" y="6110580"/>
                  </a:lnTo>
                  <a:close/>
                  <a:moveTo>
                    <a:pt x="3917094" y="5872455"/>
                  </a:moveTo>
                  <a:lnTo>
                    <a:pt x="4139644" y="5872455"/>
                  </a:lnTo>
                  <a:lnTo>
                    <a:pt x="4139644" y="6110580"/>
                  </a:lnTo>
                  <a:lnTo>
                    <a:pt x="3917094" y="6110580"/>
                  </a:lnTo>
                  <a:close/>
                  <a:moveTo>
                    <a:pt x="4146047" y="5872455"/>
                  </a:moveTo>
                  <a:lnTo>
                    <a:pt x="4370135" y="5872455"/>
                  </a:lnTo>
                  <a:lnTo>
                    <a:pt x="4370135" y="6110580"/>
                  </a:lnTo>
                  <a:lnTo>
                    <a:pt x="4146047" y="6110580"/>
                  </a:lnTo>
                  <a:close/>
                  <a:moveTo>
                    <a:pt x="4376538" y="5872455"/>
                  </a:moveTo>
                  <a:lnTo>
                    <a:pt x="4600626" y="5872455"/>
                  </a:lnTo>
                  <a:lnTo>
                    <a:pt x="4600626" y="6110580"/>
                  </a:lnTo>
                  <a:lnTo>
                    <a:pt x="4376538" y="6110580"/>
                  </a:lnTo>
                  <a:close/>
                  <a:moveTo>
                    <a:pt x="4607029" y="5872455"/>
                  </a:moveTo>
                  <a:lnTo>
                    <a:pt x="4829582" y="5872455"/>
                  </a:lnTo>
                  <a:lnTo>
                    <a:pt x="4829582" y="6110580"/>
                  </a:lnTo>
                  <a:lnTo>
                    <a:pt x="4607029" y="6110580"/>
                  </a:lnTo>
                  <a:close/>
                  <a:moveTo>
                    <a:pt x="4835985" y="5872455"/>
                  </a:moveTo>
                  <a:lnTo>
                    <a:pt x="5060073" y="5872455"/>
                  </a:lnTo>
                  <a:lnTo>
                    <a:pt x="5060073" y="6110580"/>
                  </a:lnTo>
                  <a:lnTo>
                    <a:pt x="4835472" y="6110580"/>
                  </a:lnTo>
                  <a:close/>
                  <a:moveTo>
                    <a:pt x="5066476" y="5872455"/>
                  </a:moveTo>
                  <a:lnTo>
                    <a:pt x="5290564" y="5872455"/>
                  </a:lnTo>
                  <a:lnTo>
                    <a:pt x="5290564" y="6110580"/>
                  </a:lnTo>
                  <a:lnTo>
                    <a:pt x="5065963" y="6110580"/>
                  </a:lnTo>
                  <a:close/>
                  <a:moveTo>
                    <a:pt x="5296967" y="5872455"/>
                  </a:moveTo>
                  <a:lnTo>
                    <a:pt x="5521055" y="5872455"/>
                  </a:lnTo>
                  <a:lnTo>
                    <a:pt x="5521055" y="6110580"/>
                  </a:lnTo>
                  <a:lnTo>
                    <a:pt x="5296454" y="6110580"/>
                  </a:lnTo>
                  <a:close/>
                  <a:moveTo>
                    <a:pt x="5527458" y="5872455"/>
                  </a:moveTo>
                  <a:lnTo>
                    <a:pt x="5750008" y="5872455"/>
                  </a:lnTo>
                  <a:lnTo>
                    <a:pt x="5750008" y="6110580"/>
                  </a:lnTo>
                  <a:lnTo>
                    <a:pt x="5526945" y="6110580"/>
                  </a:lnTo>
                  <a:close/>
                  <a:moveTo>
                    <a:pt x="5756411" y="5872455"/>
                  </a:moveTo>
                  <a:lnTo>
                    <a:pt x="5980499" y="5872455"/>
                  </a:lnTo>
                  <a:lnTo>
                    <a:pt x="5980499" y="6110580"/>
                  </a:lnTo>
                  <a:lnTo>
                    <a:pt x="5756411" y="6110580"/>
                  </a:lnTo>
                  <a:close/>
                  <a:moveTo>
                    <a:pt x="5986902" y="5872455"/>
                  </a:moveTo>
                  <a:lnTo>
                    <a:pt x="6210990" y="5872455"/>
                  </a:lnTo>
                  <a:lnTo>
                    <a:pt x="6210990" y="6110580"/>
                  </a:lnTo>
                  <a:lnTo>
                    <a:pt x="5986902" y="6110580"/>
                  </a:lnTo>
                  <a:close/>
                  <a:moveTo>
                    <a:pt x="6217393" y="5872455"/>
                  </a:moveTo>
                  <a:lnTo>
                    <a:pt x="6439946" y="5872455"/>
                  </a:lnTo>
                  <a:lnTo>
                    <a:pt x="6439946" y="6110580"/>
                  </a:lnTo>
                  <a:lnTo>
                    <a:pt x="6217136" y="6110580"/>
                  </a:lnTo>
                  <a:close/>
                  <a:moveTo>
                    <a:pt x="6446349" y="5872455"/>
                  </a:moveTo>
                  <a:lnTo>
                    <a:pt x="6656863" y="5872455"/>
                  </a:lnTo>
                  <a:lnTo>
                    <a:pt x="6656863" y="6110580"/>
                  </a:lnTo>
                  <a:lnTo>
                    <a:pt x="6446349" y="6110580"/>
                  </a:lnTo>
                  <a:close/>
                  <a:moveTo>
                    <a:pt x="6663265" y="5872455"/>
                  </a:moveTo>
                  <a:lnTo>
                    <a:pt x="6887354" y="5872455"/>
                  </a:lnTo>
                  <a:lnTo>
                    <a:pt x="6887354" y="6110580"/>
                  </a:lnTo>
                  <a:lnTo>
                    <a:pt x="6663265" y="6110580"/>
                  </a:lnTo>
                  <a:close/>
                  <a:moveTo>
                    <a:pt x="6893756" y="5872455"/>
                  </a:moveTo>
                  <a:lnTo>
                    <a:pt x="7117845" y="5872455"/>
                  </a:lnTo>
                  <a:lnTo>
                    <a:pt x="7117845" y="6110580"/>
                  </a:lnTo>
                  <a:lnTo>
                    <a:pt x="6893756" y="6110580"/>
                  </a:lnTo>
                  <a:close/>
                  <a:moveTo>
                    <a:pt x="7124247" y="5872455"/>
                  </a:moveTo>
                  <a:lnTo>
                    <a:pt x="7346801" y="5872455"/>
                  </a:lnTo>
                  <a:lnTo>
                    <a:pt x="7346801" y="6110580"/>
                  </a:lnTo>
                  <a:lnTo>
                    <a:pt x="7124247" y="6110580"/>
                  </a:lnTo>
                  <a:close/>
                  <a:moveTo>
                    <a:pt x="7353204" y="5872455"/>
                  </a:moveTo>
                  <a:lnTo>
                    <a:pt x="7577292" y="5872455"/>
                  </a:lnTo>
                  <a:lnTo>
                    <a:pt x="7577292" y="6110580"/>
                  </a:lnTo>
                  <a:lnTo>
                    <a:pt x="7353204" y="6110580"/>
                  </a:lnTo>
                  <a:close/>
                  <a:moveTo>
                    <a:pt x="7583695" y="5872455"/>
                  </a:moveTo>
                  <a:lnTo>
                    <a:pt x="7807783" y="5872455"/>
                  </a:lnTo>
                  <a:lnTo>
                    <a:pt x="7807783" y="6110580"/>
                  </a:lnTo>
                  <a:lnTo>
                    <a:pt x="7583695" y="6110580"/>
                  </a:lnTo>
                  <a:close/>
                  <a:moveTo>
                    <a:pt x="7814186" y="5872455"/>
                  </a:moveTo>
                  <a:lnTo>
                    <a:pt x="8038274" y="5872455"/>
                  </a:lnTo>
                  <a:lnTo>
                    <a:pt x="8038274" y="6110580"/>
                  </a:lnTo>
                  <a:lnTo>
                    <a:pt x="7814186" y="6110580"/>
                  </a:lnTo>
                  <a:close/>
                  <a:moveTo>
                    <a:pt x="8044677" y="5872455"/>
                  </a:moveTo>
                  <a:lnTo>
                    <a:pt x="8267227" y="5872455"/>
                  </a:lnTo>
                  <a:lnTo>
                    <a:pt x="8267227" y="6110580"/>
                  </a:lnTo>
                  <a:lnTo>
                    <a:pt x="8044420" y="6110580"/>
                  </a:lnTo>
                  <a:close/>
                  <a:moveTo>
                    <a:pt x="8273629" y="5872455"/>
                  </a:moveTo>
                  <a:lnTo>
                    <a:pt x="8497718" y="5872455"/>
                  </a:lnTo>
                  <a:lnTo>
                    <a:pt x="8497718" y="6110580"/>
                  </a:lnTo>
                  <a:lnTo>
                    <a:pt x="8273629" y="6110580"/>
                  </a:lnTo>
                  <a:close/>
                  <a:moveTo>
                    <a:pt x="8504120" y="5872455"/>
                  </a:moveTo>
                  <a:lnTo>
                    <a:pt x="8728209" y="5872455"/>
                  </a:lnTo>
                  <a:lnTo>
                    <a:pt x="8728209" y="6110580"/>
                  </a:lnTo>
                  <a:lnTo>
                    <a:pt x="8504120" y="6110580"/>
                  </a:lnTo>
                  <a:close/>
                  <a:moveTo>
                    <a:pt x="8734611" y="5872455"/>
                  </a:moveTo>
                  <a:lnTo>
                    <a:pt x="8957162" y="5872455"/>
                  </a:lnTo>
                  <a:lnTo>
                    <a:pt x="8957162" y="6110580"/>
                  </a:lnTo>
                  <a:lnTo>
                    <a:pt x="8734611" y="6110580"/>
                  </a:lnTo>
                  <a:close/>
                  <a:moveTo>
                    <a:pt x="8963564" y="5872455"/>
                  </a:moveTo>
                  <a:lnTo>
                    <a:pt x="9187653" y="5872455"/>
                  </a:lnTo>
                  <a:lnTo>
                    <a:pt x="9187653" y="6110580"/>
                  </a:lnTo>
                  <a:lnTo>
                    <a:pt x="8963564" y="6110580"/>
                  </a:lnTo>
                  <a:close/>
                  <a:moveTo>
                    <a:pt x="9194055" y="5872455"/>
                  </a:moveTo>
                  <a:lnTo>
                    <a:pt x="9418144" y="5872455"/>
                  </a:lnTo>
                  <a:lnTo>
                    <a:pt x="9418144" y="6110580"/>
                  </a:lnTo>
                  <a:lnTo>
                    <a:pt x="9194055" y="6110580"/>
                  </a:lnTo>
                  <a:close/>
                  <a:moveTo>
                    <a:pt x="9424546" y="5872455"/>
                  </a:moveTo>
                  <a:lnTo>
                    <a:pt x="9648635" y="5872455"/>
                  </a:lnTo>
                  <a:lnTo>
                    <a:pt x="9648635" y="6110580"/>
                  </a:lnTo>
                  <a:lnTo>
                    <a:pt x="9424546" y="6110580"/>
                  </a:lnTo>
                  <a:close/>
                  <a:moveTo>
                    <a:pt x="9655037" y="5872455"/>
                  </a:moveTo>
                  <a:lnTo>
                    <a:pt x="9877591" y="5872455"/>
                  </a:lnTo>
                  <a:lnTo>
                    <a:pt x="9877591" y="6110580"/>
                  </a:lnTo>
                  <a:lnTo>
                    <a:pt x="9655037" y="6110580"/>
                  </a:lnTo>
                  <a:close/>
                  <a:moveTo>
                    <a:pt x="9883993" y="5872455"/>
                  </a:moveTo>
                  <a:lnTo>
                    <a:pt x="10108082" y="5872455"/>
                  </a:lnTo>
                  <a:lnTo>
                    <a:pt x="10108082" y="6110580"/>
                  </a:lnTo>
                  <a:lnTo>
                    <a:pt x="9883993" y="6110580"/>
                  </a:lnTo>
                  <a:close/>
                  <a:moveTo>
                    <a:pt x="10114484" y="5872455"/>
                  </a:moveTo>
                  <a:lnTo>
                    <a:pt x="10338573" y="5872455"/>
                  </a:lnTo>
                  <a:lnTo>
                    <a:pt x="10338573" y="6110580"/>
                  </a:lnTo>
                  <a:lnTo>
                    <a:pt x="10114484" y="6110580"/>
                  </a:lnTo>
                  <a:close/>
                  <a:moveTo>
                    <a:pt x="10344975" y="5872455"/>
                  </a:moveTo>
                  <a:lnTo>
                    <a:pt x="10569064" y="5872455"/>
                  </a:lnTo>
                  <a:lnTo>
                    <a:pt x="10569064" y="6110580"/>
                  </a:lnTo>
                  <a:lnTo>
                    <a:pt x="10344975" y="6110580"/>
                  </a:lnTo>
                  <a:close/>
                  <a:moveTo>
                    <a:pt x="10575466" y="5872455"/>
                  </a:moveTo>
                  <a:lnTo>
                    <a:pt x="10798016" y="5872455"/>
                  </a:lnTo>
                  <a:lnTo>
                    <a:pt x="10798016" y="6110580"/>
                  </a:lnTo>
                  <a:lnTo>
                    <a:pt x="10575466" y="6110580"/>
                  </a:lnTo>
                  <a:close/>
                  <a:moveTo>
                    <a:pt x="10804419" y="5872455"/>
                  </a:moveTo>
                  <a:lnTo>
                    <a:pt x="11028507" y="5872455"/>
                  </a:lnTo>
                  <a:lnTo>
                    <a:pt x="11028507" y="6110580"/>
                  </a:lnTo>
                  <a:lnTo>
                    <a:pt x="10804419" y="6110580"/>
                  </a:lnTo>
                  <a:close/>
                  <a:moveTo>
                    <a:pt x="11034910" y="5872455"/>
                  </a:moveTo>
                  <a:lnTo>
                    <a:pt x="11258998" y="5872455"/>
                  </a:lnTo>
                  <a:lnTo>
                    <a:pt x="11258998" y="6110580"/>
                  </a:lnTo>
                  <a:lnTo>
                    <a:pt x="11034910" y="6110580"/>
                  </a:lnTo>
                  <a:close/>
                  <a:moveTo>
                    <a:pt x="11265401" y="5872455"/>
                  </a:moveTo>
                  <a:lnTo>
                    <a:pt x="11487954" y="5872455"/>
                  </a:lnTo>
                  <a:lnTo>
                    <a:pt x="11487954" y="6110580"/>
                  </a:lnTo>
                  <a:lnTo>
                    <a:pt x="11265401" y="6110580"/>
                  </a:lnTo>
                  <a:close/>
                  <a:moveTo>
                    <a:pt x="11265401" y="5865652"/>
                  </a:moveTo>
                  <a:lnTo>
                    <a:pt x="11265401" y="5627527"/>
                  </a:lnTo>
                  <a:lnTo>
                    <a:pt x="11487954" y="5627527"/>
                  </a:lnTo>
                  <a:lnTo>
                    <a:pt x="11487954" y="5865652"/>
                  </a:lnTo>
                  <a:close/>
                  <a:moveTo>
                    <a:pt x="11265401" y="5620723"/>
                  </a:moveTo>
                  <a:lnTo>
                    <a:pt x="11265401" y="5382598"/>
                  </a:lnTo>
                  <a:lnTo>
                    <a:pt x="11487954" y="5382598"/>
                  </a:lnTo>
                  <a:lnTo>
                    <a:pt x="11487954" y="5620723"/>
                  </a:lnTo>
                  <a:close/>
                  <a:moveTo>
                    <a:pt x="11265401" y="5375795"/>
                  </a:moveTo>
                  <a:lnTo>
                    <a:pt x="11265401" y="5139302"/>
                  </a:lnTo>
                  <a:lnTo>
                    <a:pt x="11487954" y="5139302"/>
                  </a:lnTo>
                  <a:lnTo>
                    <a:pt x="11487954" y="5375795"/>
                  </a:lnTo>
                  <a:close/>
                  <a:moveTo>
                    <a:pt x="11265401" y="5132499"/>
                  </a:moveTo>
                  <a:lnTo>
                    <a:pt x="11265401" y="4894374"/>
                  </a:lnTo>
                  <a:lnTo>
                    <a:pt x="11487954" y="4894374"/>
                  </a:lnTo>
                  <a:lnTo>
                    <a:pt x="11487954" y="5132090"/>
                  </a:lnTo>
                  <a:close/>
                  <a:moveTo>
                    <a:pt x="11265401" y="4887570"/>
                  </a:moveTo>
                  <a:lnTo>
                    <a:pt x="11265401" y="4649445"/>
                  </a:lnTo>
                  <a:lnTo>
                    <a:pt x="11487954" y="4649445"/>
                  </a:lnTo>
                  <a:lnTo>
                    <a:pt x="11487954" y="4887162"/>
                  </a:lnTo>
                  <a:close/>
                  <a:moveTo>
                    <a:pt x="11265401" y="4642642"/>
                  </a:moveTo>
                  <a:lnTo>
                    <a:pt x="11265401" y="4406149"/>
                  </a:lnTo>
                  <a:lnTo>
                    <a:pt x="11487954" y="4406149"/>
                  </a:lnTo>
                  <a:lnTo>
                    <a:pt x="11487954" y="4642233"/>
                  </a:lnTo>
                  <a:close/>
                  <a:moveTo>
                    <a:pt x="11265401" y="4399346"/>
                  </a:moveTo>
                  <a:lnTo>
                    <a:pt x="11265401" y="4161221"/>
                  </a:lnTo>
                  <a:lnTo>
                    <a:pt x="11487954" y="4161221"/>
                  </a:lnTo>
                  <a:lnTo>
                    <a:pt x="11487954" y="4399346"/>
                  </a:lnTo>
                  <a:close/>
                  <a:moveTo>
                    <a:pt x="11265401" y="4154417"/>
                  </a:moveTo>
                  <a:lnTo>
                    <a:pt x="11265401" y="3916292"/>
                  </a:lnTo>
                  <a:lnTo>
                    <a:pt x="11487954" y="3916292"/>
                  </a:lnTo>
                  <a:lnTo>
                    <a:pt x="11487954" y="4154417"/>
                  </a:lnTo>
                  <a:close/>
                  <a:moveTo>
                    <a:pt x="11265401" y="3909489"/>
                  </a:moveTo>
                  <a:lnTo>
                    <a:pt x="11265401" y="3671364"/>
                  </a:lnTo>
                  <a:lnTo>
                    <a:pt x="11487954" y="3671364"/>
                  </a:lnTo>
                  <a:lnTo>
                    <a:pt x="11487954" y="3909489"/>
                  </a:lnTo>
                  <a:close/>
                  <a:moveTo>
                    <a:pt x="11265401" y="3664560"/>
                  </a:moveTo>
                  <a:lnTo>
                    <a:pt x="11265401" y="3428068"/>
                  </a:lnTo>
                  <a:lnTo>
                    <a:pt x="11487954" y="3428068"/>
                  </a:lnTo>
                  <a:lnTo>
                    <a:pt x="11487954" y="3664560"/>
                  </a:lnTo>
                  <a:close/>
                  <a:moveTo>
                    <a:pt x="11265401" y="3421264"/>
                  </a:moveTo>
                  <a:lnTo>
                    <a:pt x="11265401" y="3183139"/>
                  </a:lnTo>
                  <a:lnTo>
                    <a:pt x="11487954" y="3183139"/>
                  </a:lnTo>
                  <a:lnTo>
                    <a:pt x="11487954" y="3421264"/>
                  </a:lnTo>
                  <a:close/>
                  <a:moveTo>
                    <a:pt x="11265401" y="3176336"/>
                  </a:moveTo>
                  <a:lnTo>
                    <a:pt x="11265401" y="2938211"/>
                  </a:lnTo>
                  <a:lnTo>
                    <a:pt x="11487954" y="2938211"/>
                  </a:lnTo>
                  <a:lnTo>
                    <a:pt x="11487954" y="3176336"/>
                  </a:lnTo>
                  <a:close/>
                  <a:moveTo>
                    <a:pt x="11265401" y="2931407"/>
                  </a:moveTo>
                  <a:lnTo>
                    <a:pt x="11265401" y="2693282"/>
                  </a:lnTo>
                  <a:lnTo>
                    <a:pt x="11487954" y="2693282"/>
                  </a:lnTo>
                  <a:lnTo>
                    <a:pt x="11487954" y="2931407"/>
                  </a:lnTo>
                  <a:close/>
                  <a:moveTo>
                    <a:pt x="11265401" y="2686479"/>
                  </a:moveTo>
                  <a:lnTo>
                    <a:pt x="11265401" y="2449986"/>
                  </a:lnTo>
                  <a:lnTo>
                    <a:pt x="11487954" y="2449986"/>
                  </a:lnTo>
                  <a:lnTo>
                    <a:pt x="11487954" y="2686479"/>
                  </a:lnTo>
                  <a:close/>
                  <a:moveTo>
                    <a:pt x="11265401" y="2443183"/>
                  </a:moveTo>
                  <a:lnTo>
                    <a:pt x="11265401" y="2205058"/>
                  </a:lnTo>
                  <a:lnTo>
                    <a:pt x="11487954" y="2205058"/>
                  </a:lnTo>
                  <a:lnTo>
                    <a:pt x="11487954" y="2443183"/>
                  </a:lnTo>
                  <a:close/>
                  <a:moveTo>
                    <a:pt x="11265401" y="2198254"/>
                  </a:moveTo>
                  <a:lnTo>
                    <a:pt x="11265401" y="1960129"/>
                  </a:lnTo>
                  <a:lnTo>
                    <a:pt x="11487954" y="1960129"/>
                  </a:lnTo>
                  <a:lnTo>
                    <a:pt x="11487954" y="2198254"/>
                  </a:lnTo>
                  <a:close/>
                  <a:moveTo>
                    <a:pt x="11265401" y="1953326"/>
                  </a:moveTo>
                  <a:lnTo>
                    <a:pt x="11265401" y="1716697"/>
                  </a:lnTo>
                  <a:lnTo>
                    <a:pt x="11487954" y="1716697"/>
                  </a:lnTo>
                  <a:lnTo>
                    <a:pt x="11487954" y="1953189"/>
                  </a:lnTo>
                  <a:close/>
                  <a:moveTo>
                    <a:pt x="11265401" y="1710030"/>
                  </a:moveTo>
                  <a:lnTo>
                    <a:pt x="11265401" y="1471769"/>
                  </a:lnTo>
                  <a:lnTo>
                    <a:pt x="11487954" y="1471769"/>
                  </a:lnTo>
                  <a:lnTo>
                    <a:pt x="11487954" y="1709894"/>
                  </a:lnTo>
                  <a:close/>
                  <a:moveTo>
                    <a:pt x="11265401" y="1465101"/>
                  </a:moveTo>
                  <a:lnTo>
                    <a:pt x="11265401" y="1226840"/>
                  </a:lnTo>
                  <a:lnTo>
                    <a:pt x="11487954" y="1226840"/>
                  </a:lnTo>
                  <a:lnTo>
                    <a:pt x="11487954" y="1464965"/>
                  </a:lnTo>
                  <a:close/>
                  <a:moveTo>
                    <a:pt x="11265401" y="1220173"/>
                  </a:moveTo>
                  <a:lnTo>
                    <a:pt x="11265401" y="981911"/>
                  </a:lnTo>
                  <a:lnTo>
                    <a:pt x="11487954" y="981911"/>
                  </a:lnTo>
                  <a:lnTo>
                    <a:pt x="11487954" y="1220036"/>
                  </a:lnTo>
                  <a:close/>
                  <a:moveTo>
                    <a:pt x="11265401" y="975244"/>
                  </a:moveTo>
                  <a:lnTo>
                    <a:pt x="11265401" y="738752"/>
                  </a:lnTo>
                  <a:lnTo>
                    <a:pt x="11487954" y="738752"/>
                  </a:lnTo>
                  <a:lnTo>
                    <a:pt x="11487954" y="975244"/>
                  </a:lnTo>
                  <a:close/>
                  <a:moveTo>
                    <a:pt x="11265401" y="731948"/>
                  </a:moveTo>
                  <a:lnTo>
                    <a:pt x="11265401" y="493823"/>
                  </a:lnTo>
                  <a:lnTo>
                    <a:pt x="11487954" y="493823"/>
                  </a:lnTo>
                  <a:lnTo>
                    <a:pt x="11487954" y="731948"/>
                  </a:lnTo>
                  <a:close/>
                  <a:moveTo>
                    <a:pt x="11258998" y="731948"/>
                  </a:moveTo>
                  <a:lnTo>
                    <a:pt x="11034910" y="731948"/>
                  </a:lnTo>
                  <a:lnTo>
                    <a:pt x="11034910" y="493823"/>
                  </a:lnTo>
                  <a:lnTo>
                    <a:pt x="11258998" y="493823"/>
                  </a:lnTo>
                  <a:close/>
                  <a:moveTo>
                    <a:pt x="11028507" y="731948"/>
                  </a:moveTo>
                  <a:lnTo>
                    <a:pt x="10804419" y="731948"/>
                  </a:lnTo>
                  <a:lnTo>
                    <a:pt x="10804419" y="493823"/>
                  </a:lnTo>
                  <a:lnTo>
                    <a:pt x="11028507" y="493823"/>
                  </a:lnTo>
                  <a:close/>
                  <a:moveTo>
                    <a:pt x="10798016" y="731948"/>
                  </a:moveTo>
                  <a:lnTo>
                    <a:pt x="10575466" y="731948"/>
                  </a:lnTo>
                  <a:lnTo>
                    <a:pt x="10575466" y="493823"/>
                  </a:lnTo>
                  <a:lnTo>
                    <a:pt x="10798016" y="493823"/>
                  </a:lnTo>
                  <a:close/>
                  <a:moveTo>
                    <a:pt x="10569064" y="731948"/>
                  </a:moveTo>
                  <a:lnTo>
                    <a:pt x="10344975" y="731948"/>
                  </a:lnTo>
                  <a:lnTo>
                    <a:pt x="10344975" y="493823"/>
                  </a:lnTo>
                  <a:lnTo>
                    <a:pt x="10569064" y="493823"/>
                  </a:lnTo>
                  <a:close/>
                  <a:moveTo>
                    <a:pt x="10338573" y="731948"/>
                  </a:moveTo>
                  <a:lnTo>
                    <a:pt x="10114484" y="731948"/>
                  </a:lnTo>
                  <a:lnTo>
                    <a:pt x="10114484" y="493823"/>
                  </a:lnTo>
                  <a:lnTo>
                    <a:pt x="10338573" y="493823"/>
                  </a:lnTo>
                  <a:close/>
                  <a:moveTo>
                    <a:pt x="10108082" y="731948"/>
                  </a:moveTo>
                  <a:lnTo>
                    <a:pt x="9883993" y="731948"/>
                  </a:lnTo>
                  <a:lnTo>
                    <a:pt x="9883993" y="493823"/>
                  </a:lnTo>
                  <a:lnTo>
                    <a:pt x="10108082" y="493823"/>
                  </a:lnTo>
                  <a:close/>
                  <a:moveTo>
                    <a:pt x="9877591" y="731948"/>
                  </a:moveTo>
                  <a:lnTo>
                    <a:pt x="9655037" y="731948"/>
                  </a:lnTo>
                  <a:lnTo>
                    <a:pt x="9655037" y="493823"/>
                  </a:lnTo>
                  <a:lnTo>
                    <a:pt x="9877591" y="493823"/>
                  </a:lnTo>
                  <a:close/>
                  <a:moveTo>
                    <a:pt x="9648635" y="731948"/>
                  </a:moveTo>
                  <a:lnTo>
                    <a:pt x="9424546" y="731948"/>
                  </a:lnTo>
                  <a:lnTo>
                    <a:pt x="9424546" y="493823"/>
                  </a:lnTo>
                  <a:lnTo>
                    <a:pt x="9648635" y="493823"/>
                  </a:lnTo>
                  <a:close/>
                  <a:moveTo>
                    <a:pt x="9418144" y="731948"/>
                  </a:moveTo>
                  <a:lnTo>
                    <a:pt x="9194055" y="731948"/>
                  </a:lnTo>
                  <a:lnTo>
                    <a:pt x="9194055" y="493823"/>
                  </a:lnTo>
                  <a:lnTo>
                    <a:pt x="9418144" y="493823"/>
                  </a:lnTo>
                  <a:close/>
                  <a:moveTo>
                    <a:pt x="9187653" y="731948"/>
                  </a:moveTo>
                  <a:lnTo>
                    <a:pt x="8963564" y="731948"/>
                  </a:lnTo>
                  <a:lnTo>
                    <a:pt x="8963564" y="493823"/>
                  </a:lnTo>
                  <a:lnTo>
                    <a:pt x="9187653" y="493823"/>
                  </a:lnTo>
                  <a:close/>
                  <a:moveTo>
                    <a:pt x="8957162" y="731948"/>
                  </a:moveTo>
                  <a:lnTo>
                    <a:pt x="8734611" y="731948"/>
                  </a:lnTo>
                  <a:lnTo>
                    <a:pt x="8734611" y="493823"/>
                  </a:lnTo>
                  <a:lnTo>
                    <a:pt x="8957162" y="493823"/>
                  </a:lnTo>
                  <a:close/>
                  <a:moveTo>
                    <a:pt x="8728209" y="731948"/>
                  </a:moveTo>
                  <a:lnTo>
                    <a:pt x="8504120" y="731948"/>
                  </a:lnTo>
                  <a:lnTo>
                    <a:pt x="8504120" y="493823"/>
                  </a:lnTo>
                  <a:lnTo>
                    <a:pt x="8728209" y="493823"/>
                  </a:lnTo>
                  <a:close/>
                  <a:moveTo>
                    <a:pt x="8497718" y="731948"/>
                  </a:moveTo>
                  <a:lnTo>
                    <a:pt x="8273629" y="731948"/>
                  </a:lnTo>
                  <a:lnTo>
                    <a:pt x="8273629" y="493823"/>
                  </a:lnTo>
                  <a:lnTo>
                    <a:pt x="8497718" y="493823"/>
                  </a:lnTo>
                  <a:close/>
                  <a:moveTo>
                    <a:pt x="8267227" y="731948"/>
                  </a:moveTo>
                  <a:lnTo>
                    <a:pt x="8044420" y="731948"/>
                  </a:lnTo>
                  <a:lnTo>
                    <a:pt x="8044420" y="493823"/>
                  </a:lnTo>
                  <a:lnTo>
                    <a:pt x="8267227" y="493823"/>
                  </a:lnTo>
                  <a:close/>
                  <a:moveTo>
                    <a:pt x="8038274" y="731948"/>
                  </a:moveTo>
                  <a:lnTo>
                    <a:pt x="7814186" y="731948"/>
                  </a:lnTo>
                  <a:lnTo>
                    <a:pt x="7814186" y="493823"/>
                  </a:lnTo>
                  <a:lnTo>
                    <a:pt x="8038274" y="493823"/>
                  </a:lnTo>
                  <a:close/>
                  <a:moveTo>
                    <a:pt x="7807783" y="731948"/>
                  </a:moveTo>
                  <a:lnTo>
                    <a:pt x="7583695" y="731948"/>
                  </a:lnTo>
                  <a:lnTo>
                    <a:pt x="7583695" y="493823"/>
                  </a:lnTo>
                  <a:lnTo>
                    <a:pt x="7807783" y="493823"/>
                  </a:lnTo>
                  <a:close/>
                  <a:moveTo>
                    <a:pt x="7577292" y="731948"/>
                  </a:moveTo>
                  <a:lnTo>
                    <a:pt x="7353204" y="731948"/>
                  </a:lnTo>
                  <a:lnTo>
                    <a:pt x="7353204" y="493823"/>
                  </a:lnTo>
                  <a:lnTo>
                    <a:pt x="7577292" y="493823"/>
                  </a:lnTo>
                  <a:close/>
                  <a:moveTo>
                    <a:pt x="7346801" y="731948"/>
                  </a:moveTo>
                  <a:lnTo>
                    <a:pt x="7124247" y="731948"/>
                  </a:lnTo>
                  <a:lnTo>
                    <a:pt x="7124247" y="493823"/>
                  </a:lnTo>
                  <a:lnTo>
                    <a:pt x="7346801" y="493823"/>
                  </a:lnTo>
                  <a:close/>
                  <a:moveTo>
                    <a:pt x="7117845" y="731948"/>
                  </a:moveTo>
                  <a:lnTo>
                    <a:pt x="6893756" y="731948"/>
                  </a:lnTo>
                  <a:lnTo>
                    <a:pt x="6893756" y="493823"/>
                  </a:lnTo>
                  <a:lnTo>
                    <a:pt x="7117845" y="493823"/>
                  </a:lnTo>
                  <a:close/>
                  <a:moveTo>
                    <a:pt x="6887354" y="731948"/>
                  </a:moveTo>
                  <a:lnTo>
                    <a:pt x="6663265" y="731948"/>
                  </a:lnTo>
                  <a:lnTo>
                    <a:pt x="6663265" y="493823"/>
                  </a:lnTo>
                  <a:lnTo>
                    <a:pt x="6887354" y="493823"/>
                  </a:lnTo>
                  <a:close/>
                  <a:moveTo>
                    <a:pt x="6656863" y="731948"/>
                  </a:moveTo>
                  <a:lnTo>
                    <a:pt x="6446349" y="731948"/>
                  </a:lnTo>
                  <a:lnTo>
                    <a:pt x="6446349" y="493823"/>
                  </a:lnTo>
                  <a:lnTo>
                    <a:pt x="6656863" y="493823"/>
                  </a:lnTo>
                  <a:close/>
                  <a:moveTo>
                    <a:pt x="6439946" y="731948"/>
                  </a:moveTo>
                  <a:lnTo>
                    <a:pt x="6217136" y="731948"/>
                  </a:lnTo>
                  <a:lnTo>
                    <a:pt x="6217136" y="493823"/>
                  </a:lnTo>
                  <a:lnTo>
                    <a:pt x="6439690" y="493823"/>
                  </a:lnTo>
                  <a:close/>
                  <a:moveTo>
                    <a:pt x="6210990" y="731948"/>
                  </a:moveTo>
                  <a:lnTo>
                    <a:pt x="5986902" y="731948"/>
                  </a:lnTo>
                  <a:lnTo>
                    <a:pt x="5986902" y="493823"/>
                  </a:lnTo>
                  <a:lnTo>
                    <a:pt x="6210990" y="493823"/>
                  </a:lnTo>
                  <a:close/>
                  <a:moveTo>
                    <a:pt x="5980499" y="731948"/>
                  </a:moveTo>
                  <a:lnTo>
                    <a:pt x="5756411" y="731948"/>
                  </a:lnTo>
                  <a:lnTo>
                    <a:pt x="5756411" y="493823"/>
                  </a:lnTo>
                  <a:lnTo>
                    <a:pt x="5980499" y="493823"/>
                  </a:lnTo>
                  <a:close/>
                  <a:moveTo>
                    <a:pt x="5750008" y="731948"/>
                  </a:moveTo>
                  <a:lnTo>
                    <a:pt x="5526945" y="731948"/>
                  </a:lnTo>
                  <a:lnTo>
                    <a:pt x="5526945" y="493823"/>
                  </a:lnTo>
                  <a:lnTo>
                    <a:pt x="5749495" y="493823"/>
                  </a:lnTo>
                  <a:close/>
                  <a:moveTo>
                    <a:pt x="5521055" y="731948"/>
                  </a:moveTo>
                  <a:lnTo>
                    <a:pt x="5296454" y="731948"/>
                  </a:lnTo>
                  <a:lnTo>
                    <a:pt x="5296454" y="493823"/>
                  </a:lnTo>
                  <a:lnTo>
                    <a:pt x="5520542" y="493823"/>
                  </a:lnTo>
                  <a:close/>
                  <a:moveTo>
                    <a:pt x="5290564" y="731948"/>
                  </a:moveTo>
                  <a:lnTo>
                    <a:pt x="5065963" y="731948"/>
                  </a:lnTo>
                  <a:lnTo>
                    <a:pt x="5065963" y="493823"/>
                  </a:lnTo>
                  <a:lnTo>
                    <a:pt x="5290051" y="493823"/>
                  </a:lnTo>
                  <a:close/>
                  <a:moveTo>
                    <a:pt x="5060073" y="731948"/>
                  </a:moveTo>
                  <a:lnTo>
                    <a:pt x="4835472" y="731948"/>
                  </a:lnTo>
                  <a:lnTo>
                    <a:pt x="4835472" y="493823"/>
                  </a:lnTo>
                  <a:lnTo>
                    <a:pt x="5059560" y="493823"/>
                  </a:lnTo>
                  <a:close/>
                  <a:moveTo>
                    <a:pt x="4829582" y="731948"/>
                  </a:moveTo>
                  <a:lnTo>
                    <a:pt x="4607029" y="731948"/>
                  </a:lnTo>
                  <a:lnTo>
                    <a:pt x="4607029" y="493823"/>
                  </a:lnTo>
                  <a:lnTo>
                    <a:pt x="4829582" y="493823"/>
                  </a:lnTo>
                  <a:close/>
                  <a:moveTo>
                    <a:pt x="4600626" y="731948"/>
                  </a:moveTo>
                  <a:lnTo>
                    <a:pt x="4376538" y="731948"/>
                  </a:lnTo>
                  <a:lnTo>
                    <a:pt x="4376538" y="493823"/>
                  </a:lnTo>
                  <a:lnTo>
                    <a:pt x="4600626" y="493823"/>
                  </a:lnTo>
                  <a:close/>
                  <a:moveTo>
                    <a:pt x="4370135" y="731948"/>
                  </a:moveTo>
                  <a:lnTo>
                    <a:pt x="4146047" y="731948"/>
                  </a:lnTo>
                  <a:lnTo>
                    <a:pt x="4146047" y="493823"/>
                  </a:lnTo>
                  <a:lnTo>
                    <a:pt x="4370135" y="493823"/>
                  </a:lnTo>
                  <a:close/>
                  <a:moveTo>
                    <a:pt x="4139644" y="731948"/>
                  </a:moveTo>
                  <a:lnTo>
                    <a:pt x="3917094" y="731948"/>
                  </a:lnTo>
                  <a:lnTo>
                    <a:pt x="3917094" y="493823"/>
                  </a:lnTo>
                  <a:lnTo>
                    <a:pt x="4139644" y="493823"/>
                  </a:lnTo>
                  <a:close/>
                  <a:moveTo>
                    <a:pt x="3910691" y="731948"/>
                  </a:moveTo>
                  <a:lnTo>
                    <a:pt x="3686603" y="731948"/>
                  </a:lnTo>
                  <a:lnTo>
                    <a:pt x="3686603" y="493823"/>
                  </a:lnTo>
                  <a:lnTo>
                    <a:pt x="3910691" y="493823"/>
                  </a:lnTo>
                  <a:close/>
                  <a:moveTo>
                    <a:pt x="3680200" y="731948"/>
                  </a:moveTo>
                  <a:lnTo>
                    <a:pt x="3456112" y="731948"/>
                  </a:lnTo>
                  <a:lnTo>
                    <a:pt x="3456112" y="493823"/>
                  </a:lnTo>
                  <a:lnTo>
                    <a:pt x="3680200" y="493823"/>
                  </a:lnTo>
                  <a:close/>
                  <a:moveTo>
                    <a:pt x="3449709" y="731948"/>
                  </a:moveTo>
                  <a:lnTo>
                    <a:pt x="3225621" y="731948"/>
                  </a:lnTo>
                  <a:lnTo>
                    <a:pt x="3225621" y="493823"/>
                  </a:lnTo>
                  <a:lnTo>
                    <a:pt x="3449709" y="493823"/>
                  </a:lnTo>
                  <a:close/>
                  <a:moveTo>
                    <a:pt x="3219218" y="731948"/>
                  </a:moveTo>
                  <a:lnTo>
                    <a:pt x="2996666" y="731948"/>
                  </a:lnTo>
                  <a:lnTo>
                    <a:pt x="2996666" y="493823"/>
                  </a:lnTo>
                  <a:lnTo>
                    <a:pt x="3219218" y="493823"/>
                  </a:lnTo>
                  <a:close/>
                  <a:moveTo>
                    <a:pt x="2990264" y="731948"/>
                  </a:moveTo>
                  <a:lnTo>
                    <a:pt x="2766175" y="731948"/>
                  </a:lnTo>
                  <a:lnTo>
                    <a:pt x="2766175" y="493823"/>
                  </a:lnTo>
                  <a:lnTo>
                    <a:pt x="2990264" y="493823"/>
                  </a:lnTo>
                  <a:close/>
                  <a:moveTo>
                    <a:pt x="2759773" y="731948"/>
                  </a:moveTo>
                  <a:lnTo>
                    <a:pt x="2535684" y="731948"/>
                  </a:lnTo>
                  <a:lnTo>
                    <a:pt x="2535684" y="493823"/>
                  </a:lnTo>
                  <a:lnTo>
                    <a:pt x="2759773" y="493823"/>
                  </a:lnTo>
                  <a:close/>
                  <a:moveTo>
                    <a:pt x="2529282" y="731948"/>
                  </a:moveTo>
                  <a:lnTo>
                    <a:pt x="2305193" y="731948"/>
                  </a:lnTo>
                  <a:lnTo>
                    <a:pt x="2305193" y="493823"/>
                  </a:lnTo>
                  <a:lnTo>
                    <a:pt x="2529282" y="493823"/>
                  </a:lnTo>
                  <a:close/>
                  <a:moveTo>
                    <a:pt x="2298791" y="731948"/>
                  </a:moveTo>
                  <a:lnTo>
                    <a:pt x="2075982" y="731948"/>
                  </a:lnTo>
                  <a:lnTo>
                    <a:pt x="2075982" y="493823"/>
                  </a:lnTo>
                  <a:lnTo>
                    <a:pt x="2298534" y="493823"/>
                  </a:lnTo>
                  <a:close/>
                  <a:moveTo>
                    <a:pt x="2069836" y="731948"/>
                  </a:moveTo>
                  <a:lnTo>
                    <a:pt x="1845748" y="731948"/>
                  </a:lnTo>
                  <a:lnTo>
                    <a:pt x="1845748" y="493823"/>
                  </a:lnTo>
                  <a:lnTo>
                    <a:pt x="2069580" y="493823"/>
                  </a:lnTo>
                  <a:close/>
                  <a:moveTo>
                    <a:pt x="1839345" y="731948"/>
                  </a:moveTo>
                  <a:lnTo>
                    <a:pt x="1615257" y="731948"/>
                  </a:lnTo>
                  <a:lnTo>
                    <a:pt x="1615257" y="493823"/>
                  </a:lnTo>
                  <a:lnTo>
                    <a:pt x="1839089" y="493823"/>
                  </a:lnTo>
                  <a:close/>
                  <a:moveTo>
                    <a:pt x="1608854" y="731948"/>
                  </a:moveTo>
                  <a:lnTo>
                    <a:pt x="1386302" y="731948"/>
                  </a:lnTo>
                  <a:lnTo>
                    <a:pt x="1386302" y="493823"/>
                  </a:lnTo>
                  <a:lnTo>
                    <a:pt x="1608598" y="493823"/>
                  </a:lnTo>
                  <a:close/>
                  <a:moveTo>
                    <a:pt x="1379900" y="731948"/>
                  </a:moveTo>
                  <a:lnTo>
                    <a:pt x="1155811" y="731948"/>
                  </a:lnTo>
                  <a:lnTo>
                    <a:pt x="1155811" y="493823"/>
                  </a:lnTo>
                  <a:lnTo>
                    <a:pt x="1379900" y="493823"/>
                  </a:lnTo>
                  <a:close/>
                  <a:moveTo>
                    <a:pt x="1149409" y="731948"/>
                  </a:moveTo>
                  <a:lnTo>
                    <a:pt x="925320" y="731948"/>
                  </a:lnTo>
                  <a:lnTo>
                    <a:pt x="925320" y="493823"/>
                  </a:lnTo>
                  <a:lnTo>
                    <a:pt x="1149409" y="493823"/>
                  </a:lnTo>
                  <a:close/>
                  <a:moveTo>
                    <a:pt x="918918" y="731948"/>
                  </a:moveTo>
                  <a:lnTo>
                    <a:pt x="694829" y="731948"/>
                  </a:lnTo>
                  <a:lnTo>
                    <a:pt x="694829" y="493823"/>
                  </a:lnTo>
                  <a:lnTo>
                    <a:pt x="918918" y="493823"/>
                  </a:lnTo>
                  <a:close/>
                  <a:moveTo>
                    <a:pt x="688427" y="731948"/>
                  </a:moveTo>
                  <a:lnTo>
                    <a:pt x="465875" y="731948"/>
                  </a:lnTo>
                  <a:lnTo>
                    <a:pt x="465875" y="493823"/>
                  </a:lnTo>
                  <a:lnTo>
                    <a:pt x="688427" y="493823"/>
                  </a:lnTo>
                  <a:close/>
                  <a:moveTo>
                    <a:pt x="688427" y="738752"/>
                  </a:moveTo>
                  <a:lnTo>
                    <a:pt x="688427" y="975244"/>
                  </a:lnTo>
                  <a:lnTo>
                    <a:pt x="465875" y="975244"/>
                  </a:lnTo>
                  <a:lnTo>
                    <a:pt x="465875" y="738752"/>
                  </a:lnTo>
                  <a:close/>
                  <a:moveTo>
                    <a:pt x="688427" y="982048"/>
                  </a:moveTo>
                  <a:lnTo>
                    <a:pt x="688427" y="1220173"/>
                  </a:lnTo>
                  <a:lnTo>
                    <a:pt x="465875" y="1220173"/>
                  </a:lnTo>
                  <a:lnTo>
                    <a:pt x="465875" y="981911"/>
                  </a:lnTo>
                  <a:close/>
                  <a:moveTo>
                    <a:pt x="688427" y="1226976"/>
                  </a:moveTo>
                  <a:lnTo>
                    <a:pt x="688427" y="1465101"/>
                  </a:lnTo>
                  <a:lnTo>
                    <a:pt x="465875" y="1465101"/>
                  </a:lnTo>
                  <a:lnTo>
                    <a:pt x="465875" y="1226840"/>
                  </a:lnTo>
                  <a:close/>
                  <a:moveTo>
                    <a:pt x="688427" y="1471905"/>
                  </a:moveTo>
                  <a:lnTo>
                    <a:pt x="688427" y="1710030"/>
                  </a:lnTo>
                  <a:lnTo>
                    <a:pt x="465875" y="1710030"/>
                  </a:lnTo>
                  <a:lnTo>
                    <a:pt x="465875" y="1471769"/>
                  </a:lnTo>
                  <a:close/>
                  <a:moveTo>
                    <a:pt x="688427" y="1716833"/>
                  </a:moveTo>
                  <a:lnTo>
                    <a:pt x="688427" y="1953326"/>
                  </a:lnTo>
                  <a:lnTo>
                    <a:pt x="465875" y="1953326"/>
                  </a:lnTo>
                  <a:lnTo>
                    <a:pt x="465875" y="1716697"/>
                  </a:lnTo>
                  <a:close/>
                  <a:moveTo>
                    <a:pt x="688427" y="1960129"/>
                  </a:moveTo>
                  <a:lnTo>
                    <a:pt x="688427" y="2198254"/>
                  </a:lnTo>
                  <a:lnTo>
                    <a:pt x="465875" y="2198254"/>
                  </a:lnTo>
                  <a:lnTo>
                    <a:pt x="465875" y="1960129"/>
                  </a:lnTo>
                  <a:close/>
                  <a:moveTo>
                    <a:pt x="688427" y="2205058"/>
                  </a:moveTo>
                  <a:lnTo>
                    <a:pt x="688427" y="2443183"/>
                  </a:lnTo>
                  <a:lnTo>
                    <a:pt x="465875" y="2443183"/>
                  </a:lnTo>
                  <a:lnTo>
                    <a:pt x="465875" y="2205058"/>
                  </a:lnTo>
                  <a:close/>
                  <a:moveTo>
                    <a:pt x="688427" y="2449986"/>
                  </a:moveTo>
                  <a:lnTo>
                    <a:pt x="688427" y="2686479"/>
                  </a:lnTo>
                  <a:lnTo>
                    <a:pt x="465875" y="2686479"/>
                  </a:lnTo>
                  <a:lnTo>
                    <a:pt x="465875" y="2449986"/>
                  </a:lnTo>
                  <a:close/>
                  <a:moveTo>
                    <a:pt x="688427" y="2693282"/>
                  </a:moveTo>
                  <a:lnTo>
                    <a:pt x="688427" y="2931407"/>
                  </a:lnTo>
                  <a:lnTo>
                    <a:pt x="465875" y="2931407"/>
                  </a:lnTo>
                  <a:lnTo>
                    <a:pt x="465875" y="2693282"/>
                  </a:lnTo>
                  <a:close/>
                  <a:moveTo>
                    <a:pt x="688427" y="2938211"/>
                  </a:moveTo>
                  <a:lnTo>
                    <a:pt x="688427" y="3176336"/>
                  </a:lnTo>
                  <a:lnTo>
                    <a:pt x="465875" y="3176336"/>
                  </a:lnTo>
                  <a:lnTo>
                    <a:pt x="465875" y="2938211"/>
                  </a:lnTo>
                  <a:close/>
                  <a:moveTo>
                    <a:pt x="688427" y="3183139"/>
                  </a:moveTo>
                  <a:lnTo>
                    <a:pt x="688427" y="3421264"/>
                  </a:lnTo>
                  <a:lnTo>
                    <a:pt x="465875" y="3421264"/>
                  </a:lnTo>
                  <a:lnTo>
                    <a:pt x="465875" y="3183139"/>
                  </a:lnTo>
                  <a:close/>
                  <a:moveTo>
                    <a:pt x="688427" y="3428068"/>
                  </a:moveTo>
                  <a:lnTo>
                    <a:pt x="688427" y="3664560"/>
                  </a:lnTo>
                  <a:lnTo>
                    <a:pt x="465875" y="3664560"/>
                  </a:lnTo>
                  <a:lnTo>
                    <a:pt x="465875" y="3428068"/>
                  </a:lnTo>
                  <a:close/>
                  <a:moveTo>
                    <a:pt x="688427" y="3671364"/>
                  </a:moveTo>
                  <a:lnTo>
                    <a:pt x="688427" y="3909489"/>
                  </a:lnTo>
                  <a:lnTo>
                    <a:pt x="465875" y="3909489"/>
                  </a:lnTo>
                  <a:lnTo>
                    <a:pt x="465875" y="3671364"/>
                  </a:lnTo>
                  <a:close/>
                  <a:moveTo>
                    <a:pt x="688427" y="3916292"/>
                  </a:moveTo>
                  <a:lnTo>
                    <a:pt x="688427" y="4154417"/>
                  </a:lnTo>
                  <a:lnTo>
                    <a:pt x="465875" y="4154417"/>
                  </a:lnTo>
                  <a:lnTo>
                    <a:pt x="465875" y="3916292"/>
                  </a:lnTo>
                  <a:close/>
                  <a:moveTo>
                    <a:pt x="688427" y="4161221"/>
                  </a:moveTo>
                  <a:lnTo>
                    <a:pt x="688427" y="4399346"/>
                  </a:lnTo>
                  <a:lnTo>
                    <a:pt x="465875" y="4399346"/>
                  </a:lnTo>
                  <a:lnTo>
                    <a:pt x="465875" y="4161221"/>
                  </a:lnTo>
                  <a:close/>
                  <a:moveTo>
                    <a:pt x="688427" y="4406149"/>
                  </a:moveTo>
                  <a:lnTo>
                    <a:pt x="688427" y="4642233"/>
                  </a:lnTo>
                  <a:lnTo>
                    <a:pt x="465875" y="4642233"/>
                  </a:lnTo>
                  <a:lnTo>
                    <a:pt x="465875" y="4405741"/>
                  </a:lnTo>
                  <a:close/>
                  <a:moveTo>
                    <a:pt x="688427" y="4649445"/>
                  </a:moveTo>
                  <a:lnTo>
                    <a:pt x="688427" y="4887162"/>
                  </a:lnTo>
                  <a:lnTo>
                    <a:pt x="465875" y="4887162"/>
                  </a:lnTo>
                  <a:lnTo>
                    <a:pt x="465875" y="4649037"/>
                  </a:lnTo>
                  <a:close/>
                  <a:moveTo>
                    <a:pt x="688427" y="4894374"/>
                  </a:moveTo>
                  <a:lnTo>
                    <a:pt x="688427" y="5132090"/>
                  </a:lnTo>
                  <a:lnTo>
                    <a:pt x="465875" y="5132090"/>
                  </a:lnTo>
                  <a:lnTo>
                    <a:pt x="465875" y="4893965"/>
                  </a:lnTo>
                  <a:close/>
                  <a:moveTo>
                    <a:pt x="688427" y="5139302"/>
                  </a:moveTo>
                  <a:lnTo>
                    <a:pt x="688427" y="5375795"/>
                  </a:lnTo>
                  <a:lnTo>
                    <a:pt x="465875" y="5375795"/>
                  </a:lnTo>
                  <a:lnTo>
                    <a:pt x="465875" y="5139302"/>
                  </a:lnTo>
                  <a:close/>
                  <a:moveTo>
                    <a:pt x="688427" y="5382598"/>
                  </a:moveTo>
                  <a:lnTo>
                    <a:pt x="688427" y="5620723"/>
                  </a:lnTo>
                  <a:lnTo>
                    <a:pt x="465875" y="5620723"/>
                  </a:lnTo>
                  <a:lnTo>
                    <a:pt x="465875" y="5382598"/>
                  </a:lnTo>
                  <a:close/>
                  <a:moveTo>
                    <a:pt x="688427" y="5627527"/>
                  </a:moveTo>
                  <a:lnTo>
                    <a:pt x="688427" y="5865652"/>
                  </a:lnTo>
                  <a:lnTo>
                    <a:pt x="465875" y="5865652"/>
                  </a:lnTo>
                  <a:lnTo>
                    <a:pt x="465875" y="5627527"/>
                  </a:lnTo>
                  <a:close/>
                  <a:moveTo>
                    <a:pt x="688427" y="5872455"/>
                  </a:moveTo>
                  <a:lnTo>
                    <a:pt x="688427" y="6110580"/>
                  </a:lnTo>
                  <a:lnTo>
                    <a:pt x="465875" y="6110580"/>
                  </a:lnTo>
                  <a:lnTo>
                    <a:pt x="465875" y="5872455"/>
                  </a:lnTo>
                  <a:close/>
                  <a:moveTo>
                    <a:pt x="688427" y="6117384"/>
                  </a:moveTo>
                  <a:lnTo>
                    <a:pt x="688427" y="6353876"/>
                  </a:lnTo>
                  <a:lnTo>
                    <a:pt x="465875" y="6353876"/>
                  </a:lnTo>
                  <a:lnTo>
                    <a:pt x="465875" y="6117384"/>
                  </a:lnTo>
                  <a:close/>
                  <a:moveTo>
                    <a:pt x="694829" y="6117384"/>
                  </a:moveTo>
                  <a:lnTo>
                    <a:pt x="918918" y="6117384"/>
                  </a:lnTo>
                  <a:lnTo>
                    <a:pt x="918918" y="6353876"/>
                  </a:lnTo>
                  <a:lnTo>
                    <a:pt x="694829" y="6353876"/>
                  </a:lnTo>
                  <a:close/>
                  <a:moveTo>
                    <a:pt x="925320" y="6117384"/>
                  </a:moveTo>
                  <a:lnTo>
                    <a:pt x="1149409" y="6117384"/>
                  </a:lnTo>
                  <a:lnTo>
                    <a:pt x="1149409" y="6353876"/>
                  </a:lnTo>
                  <a:lnTo>
                    <a:pt x="925320" y="6353876"/>
                  </a:lnTo>
                  <a:close/>
                  <a:moveTo>
                    <a:pt x="1155811" y="6117384"/>
                  </a:moveTo>
                  <a:lnTo>
                    <a:pt x="1379900" y="6117384"/>
                  </a:lnTo>
                  <a:lnTo>
                    <a:pt x="1379900" y="6353876"/>
                  </a:lnTo>
                  <a:lnTo>
                    <a:pt x="1155811" y="6353876"/>
                  </a:lnTo>
                  <a:close/>
                  <a:moveTo>
                    <a:pt x="1386302" y="6117384"/>
                  </a:moveTo>
                  <a:lnTo>
                    <a:pt x="1608598" y="6117384"/>
                  </a:lnTo>
                  <a:lnTo>
                    <a:pt x="1608598" y="6353876"/>
                  </a:lnTo>
                  <a:lnTo>
                    <a:pt x="1386046" y="6353876"/>
                  </a:lnTo>
                  <a:close/>
                  <a:moveTo>
                    <a:pt x="1615257" y="6117384"/>
                  </a:moveTo>
                  <a:lnTo>
                    <a:pt x="1839089" y="6117384"/>
                  </a:lnTo>
                  <a:lnTo>
                    <a:pt x="1839089" y="6353876"/>
                  </a:lnTo>
                  <a:lnTo>
                    <a:pt x="1615000" y="6353876"/>
                  </a:lnTo>
                  <a:close/>
                  <a:moveTo>
                    <a:pt x="1845748" y="6117384"/>
                  </a:moveTo>
                  <a:lnTo>
                    <a:pt x="2069580" y="6117384"/>
                  </a:lnTo>
                  <a:lnTo>
                    <a:pt x="2069580" y="6353876"/>
                  </a:lnTo>
                  <a:lnTo>
                    <a:pt x="1845491" y="6353876"/>
                  </a:lnTo>
                  <a:close/>
                  <a:moveTo>
                    <a:pt x="2076239" y="6117384"/>
                  </a:moveTo>
                  <a:lnTo>
                    <a:pt x="2298791" y="6117384"/>
                  </a:lnTo>
                  <a:lnTo>
                    <a:pt x="2298791" y="6353876"/>
                  </a:lnTo>
                  <a:lnTo>
                    <a:pt x="2075982" y="6353876"/>
                  </a:lnTo>
                  <a:close/>
                  <a:moveTo>
                    <a:pt x="2305193" y="6117384"/>
                  </a:moveTo>
                  <a:lnTo>
                    <a:pt x="2529282" y="6117384"/>
                  </a:lnTo>
                  <a:lnTo>
                    <a:pt x="2529282" y="6353876"/>
                  </a:lnTo>
                  <a:lnTo>
                    <a:pt x="2305193" y="6353876"/>
                  </a:lnTo>
                  <a:close/>
                  <a:moveTo>
                    <a:pt x="2535684" y="6117384"/>
                  </a:moveTo>
                  <a:lnTo>
                    <a:pt x="2759773" y="6117384"/>
                  </a:lnTo>
                  <a:lnTo>
                    <a:pt x="2759773" y="6353876"/>
                  </a:lnTo>
                  <a:lnTo>
                    <a:pt x="2535684" y="6353876"/>
                  </a:lnTo>
                  <a:close/>
                  <a:moveTo>
                    <a:pt x="2766175" y="6117384"/>
                  </a:moveTo>
                  <a:lnTo>
                    <a:pt x="2990264" y="6117384"/>
                  </a:lnTo>
                  <a:lnTo>
                    <a:pt x="2990264" y="6353876"/>
                  </a:lnTo>
                  <a:lnTo>
                    <a:pt x="2766175" y="6353876"/>
                  </a:lnTo>
                  <a:close/>
                  <a:moveTo>
                    <a:pt x="2996666" y="6117384"/>
                  </a:moveTo>
                  <a:lnTo>
                    <a:pt x="3219218" y="6117384"/>
                  </a:lnTo>
                  <a:lnTo>
                    <a:pt x="3219218" y="6353876"/>
                  </a:lnTo>
                  <a:lnTo>
                    <a:pt x="2996666" y="6353876"/>
                  </a:lnTo>
                  <a:close/>
                  <a:moveTo>
                    <a:pt x="3225621" y="6117384"/>
                  </a:moveTo>
                  <a:lnTo>
                    <a:pt x="3449709" y="6117384"/>
                  </a:lnTo>
                  <a:lnTo>
                    <a:pt x="3449709" y="6353876"/>
                  </a:lnTo>
                  <a:lnTo>
                    <a:pt x="3225621" y="6353876"/>
                  </a:lnTo>
                  <a:close/>
                  <a:moveTo>
                    <a:pt x="3456112" y="6117384"/>
                  </a:moveTo>
                  <a:lnTo>
                    <a:pt x="3680200" y="6117384"/>
                  </a:lnTo>
                  <a:lnTo>
                    <a:pt x="3680200" y="6353876"/>
                  </a:lnTo>
                  <a:lnTo>
                    <a:pt x="3456112" y="6353876"/>
                  </a:lnTo>
                  <a:close/>
                  <a:moveTo>
                    <a:pt x="3686603" y="6117384"/>
                  </a:moveTo>
                  <a:lnTo>
                    <a:pt x="3910691" y="6117384"/>
                  </a:lnTo>
                  <a:lnTo>
                    <a:pt x="3910691" y="6353876"/>
                  </a:lnTo>
                  <a:lnTo>
                    <a:pt x="3686603" y="6353876"/>
                  </a:lnTo>
                  <a:close/>
                  <a:moveTo>
                    <a:pt x="3917094" y="6117384"/>
                  </a:moveTo>
                  <a:lnTo>
                    <a:pt x="4139644" y="6117384"/>
                  </a:lnTo>
                  <a:lnTo>
                    <a:pt x="4139644" y="6353876"/>
                  </a:lnTo>
                  <a:lnTo>
                    <a:pt x="3917094" y="6353876"/>
                  </a:lnTo>
                  <a:close/>
                  <a:moveTo>
                    <a:pt x="4146047" y="6117384"/>
                  </a:moveTo>
                  <a:lnTo>
                    <a:pt x="4370135" y="6117384"/>
                  </a:lnTo>
                  <a:lnTo>
                    <a:pt x="4370135" y="6353876"/>
                  </a:lnTo>
                  <a:lnTo>
                    <a:pt x="4146047" y="6353876"/>
                  </a:lnTo>
                  <a:close/>
                  <a:moveTo>
                    <a:pt x="4376538" y="6117384"/>
                  </a:moveTo>
                  <a:lnTo>
                    <a:pt x="4600626" y="6117384"/>
                  </a:lnTo>
                  <a:lnTo>
                    <a:pt x="4600626" y="6353876"/>
                  </a:lnTo>
                  <a:lnTo>
                    <a:pt x="4376538" y="6353876"/>
                  </a:lnTo>
                  <a:close/>
                  <a:moveTo>
                    <a:pt x="4607029" y="6117384"/>
                  </a:moveTo>
                  <a:lnTo>
                    <a:pt x="4829582" y="6117384"/>
                  </a:lnTo>
                  <a:lnTo>
                    <a:pt x="4829582" y="6353876"/>
                  </a:lnTo>
                  <a:lnTo>
                    <a:pt x="4607029" y="6353876"/>
                  </a:lnTo>
                  <a:close/>
                  <a:moveTo>
                    <a:pt x="4835985" y="6117384"/>
                  </a:moveTo>
                  <a:lnTo>
                    <a:pt x="5060073" y="6117384"/>
                  </a:lnTo>
                  <a:lnTo>
                    <a:pt x="5060073" y="6353876"/>
                  </a:lnTo>
                  <a:lnTo>
                    <a:pt x="4835472" y="6353876"/>
                  </a:lnTo>
                  <a:close/>
                  <a:moveTo>
                    <a:pt x="5066476" y="6117384"/>
                  </a:moveTo>
                  <a:lnTo>
                    <a:pt x="5290564" y="6117384"/>
                  </a:lnTo>
                  <a:lnTo>
                    <a:pt x="5290564" y="6353876"/>
                  </a:lnTo>
                  <a:lnTo>
                    <a:pt x="5065963" y="6353876"/>
                  </a:lnTo>
                  <a:close/>
                  <a:moveTo>
                    <a:pt x="5296967" y="6117384"/>
                  </a:moveTo>
                  <a:lnTo>
                    <a:pt x="5521055" y="6117384"/>
                  </a:lnTo>
                  <a:lnTo>
                    <a:pt x="5521055" y="6353876"/>
                  </a:lnTo>
                  <a:lnTo>
                    <a:pt x="5296454" y="6353876"/>
                  </a:lnTo>
                  <a:close/>
                  <a:moveTo>
                    <a:pt x="5527458" y="6117384"/>
                  </a:moveTo>
                  <a:lnTo>
                    <a:pt x="5750008" y="6117384"/>
                  </a:lnTo>
                  <a:lnTo>
                    <a:pt x="5750008" y="6353876"/>
                  </a:lnTo>
                  <a:lnTo>
                    <a:pt x="5526945" y="6353876"/>
                  </a:lnTo>
                  <a:close/>
                  <a:moveTo>
                    <a:pt x="5756411" y="6117384"/>
                  </a:moveTo>
                  <a:lnTo>
                    <a:pt x="5980499" y="6117384"/>
                  </a:lnTo>
                  <a:lnTo>
                    <a:pt x="5980499" y="6353876"/>
                  </a:lnTo>
                  <a:lnTo>
                    <a:pt x="5756411" y="6353876"/>
                  </a:lnTo>
                  <a:close/>
                  <a:moveTo>
                    <a:pt x="5986902" y="6117384"/>
                  </a:moveTo>
                  <a:lnTo>
                    <a:pt x="6210990" y="6117384"/>
                  </a:lnTo>
                  <a:lnTo>
                    <a:pt x="6210990" y="6353876"/>
                  </a:lnTo>
                  <a:lnTo>
                    <a:pt x="5986902" y="6353876"/>
                  </a:lnTo>
                  <a:close/>
                  <a:moveTo>
                    <a:pt x="6217393" y="6117384"/>
                  </a:moveTo>
                  <a:lnTo>
                    <a:pt x="6439946" y="6117384"/>
                  </a:lnTo>
                  <a:lnTo>
                    <a:pt x="6439946" y="6353876"/>
                  </a:lnTo>
                  <a:lnTo>
                    <a:pt x="6217136" y="6353876"/>
                  </a:lnTo>
                  <a:close/>
                  <a:moveTo>
                    <a:pt x="6446349" y="6117384"/>
                  </a:moveTo>
                  <a:lnTo>
                    <a:pt x="6656863" y="6117384"/>
                  </a:lnTo>
                  <a:lnTo>
                    <a:pt x="6656863" y="6353876"/>
                  </a:lnTo>
                  <a:lnTo>
                    <a:pt x="6446349" y="6353876"/>
                  </a:lnTo>
                  <a:close/>
                  <a:moveTo>
                    <a:pt x="6663265" y="6117384"/>
                  </a:moveTo>
                  <a:lnTo>
                    <a:pt x="6887354" y="6117384"/>
                  </a:lnTo>
                  <a:lnTo>
                    <a:pt x="6887354" y="6353876"/>
                  </a:lnTo>
                  <a:lnTo>
                    <a:pt x="6663265" y="6353876"/>
                  </a:lnTo>
                  <a:close/>
                  <a:moveTo>
                    <a:pt x="6893756" y="6117384"/>
                  </a:moveTo>
                  <a:lnTo>
                    <a:pt x="7117845" y="6117384"/>
                  </a:lnTo>
                  <a:lnTo>
                    <a:pt x="7117845" y="6353876"/>
                  </a:lnTo>
                  <a:lnTo>
                    <a:pt x="6893756" y="6353876"/>
                  </a:lnTo>
                  <a:close/>
                  <a:moveTo>
                    <a:pt x="7124247" y="6117384"/>
                  </a:moveTo>
                  <a:lnTo>
                    <a:pt x="7346801" y="6117384"/>
                  </a:lnTo>
                  <a:lnTo>
                    <a:pt x="7346801" y="6353876"/>
                  </a:lnTo>
                  <a:lnTo>
                    <a:pt x="7124247" y="6353876"/>
                  </a:lnTo>
                  <a:close/>
                  <a:moveTo>
                    <a:pt x="7353204" y="6117384"/>
                  </a:moveTo>
                  <a:lnTo>
                    <a:pt x="7577292" y="6117384"/>
                  </a:lnTo>
                  <a:lnTo>
                    <a:pt x="7577292" y="6353876"/>
                  </a:lnTo>
                  <a:lnTo>
                    <a:pt x="7353204" y="6353876"/>
                  </a:lnTo>
                  <a:close/>
                  <a:moveTo>
                    <a:pt x="7583695" y="6117384"/>
                  </a:moveTo>
                  <a:lnTo>
                    <a:pt x="7807783" y="6117384"/>
                  </a:lnTo>
                  <a:lnTo>
                    <a:pt x="7807783" y="6353876"/>
                  </a:lnTo>
                  <a:lnTo>
                    <a:pt x="7583695" y="6353876"/>
                  </a:lnTo>
                  <a:close/>
                  <a:moveTo>
                    <a:pt x="7814186" y="6117384"/>
                  </a:moveTo>
                  <a:lnTo>
                    <a:pt x="8038274" y="6117384"/>
                  </a:lnTo>
                  <a:lnTo>
                    <a:pt x="8038274" y="6353876"/>
                  </a:lnTo>
                  <a:lnTo>
                    <a:pt x="7814186" y="6353876"/>
                  </a:lnTo>
                  <a:close/>
                  <a:moveTo>
                    <a:pt x="8044677" y="6117384"/>
                  </a:moveTo>
                  <a:lnTo>
                    <a:pt x="8267227" y="6117384"/>
                  </a:lnTo>
                  <a:lnTo>
                    <a:pt x="8267227" y="6353876"/>
                  </a:lnTo>
                  <a:lnTo>
                    <a:pt x="8044420" y="6353876"/>
                  </a:lnTo>
                  <a:close/>
                  <a:moveTo>
                    <a:pt x="8273629" y="6117384"/>
                  </a:moveTo>
                  <a:lnTo>
                    <a:pt x="8497718" y="6117384"/>
                  </a:lnTo>
                  <a:lnTo>
                    <a:pt x="8497718" y="6353876"/>
                  </a:lnTo>
                  <a:lnTo>
                    <a:pt x="8273629" y="6353876"/>
                  </a:lnTo>
                  <a:close/>
                  <a:moveTo>
                    <a:pt x="8504120" y="6117384"/>
                  </a:moveTo>
                  <a:lnTo>
                    <a:pt x="8728209" y="6117384"/>
                  </a:lnTo>
                  <a:lnTo>
                    <a:pt x="8728209" y="6353876"/>
                  </a:lnTo>
                  <a:lnTo>
                    <a:pt x="8504120" y="6353876"/>
                  </a:lnTo>
                  <a:close/>
                  <a:moveTo>
                    <a:pt x="8734611" y="6117384"/>
                  </a:moveTo>
                  <a:lnTo>
                    <a:pt x="8957162" y="6117384"/>
                  </a:lnTo>
                  <a:lnTo>
                    <a:pt x="8957162" y="6353876"/>
                  </a:lnTo>
                  <a:lnTo>
                    <a:pt x="8734611" y="6353876"/>
                  </a:lnTo>
                  <a:close/>
                  <a:moveTo>
                    <a:pt x="8963564" y="6117384"/>
                  </a:moveTo>
                  <a:lnTo>
                    <a:pt x="9187653" y="6117384"/>
                  </a:lnTo>
                  <a:lnTo>
                    <a:pt x="9187653" y="6353876"/>
                  </a:lnTo>
                  <a:lnTo>
                    <a:pt x="8963564" y="6353876"/>
                  </a:lnTo>
                  <a:close/>
                  <a:moveTo>
                    <a:pt x="9194055" y="6117384"/>
                  </a:moveTo>
                  <a:lnTo>
                    <a:pt x="9418144" y="6117384"/>
                  </a:lnTo>
                  <a:lnTo>
                    <a:pt x="9418144" y="6353876"/>
                  </a:lnTo>
                  <a:lnTo>
                    <a:pt x="9194055" y="6353876"/>
                  </a:lnTo>
                  <a:close/>
                  <a:moveTo>
                    <a:pt x="9424546" y="6117384"/>
                  </a:moveTo>
                  <a:lnTo>
                    <a:pt x="9648635" y="6117384"/>
                  </a:lnTo>
                  <a:lnTo>
                    <a:pt x="9648635" y="6353876"/>
                  </a:lnTo>
                  <a:lnTo>
                    <a:pt x="9424546" y="6353876"/>
                  </a:lnTo>
                  <a:close/>
                  <a:moveTo>
                    <a:pt x="9655037" y="6117384"/>
                  </a:moveTo>
                  <a:lnTo>
                    <a:pt x="9877591" y="6117384"/>
                  </a:lnTo>
                  <a:lnTo>
                    <a:pt x="9877591" y="6353876"/>
                  </a:lnTo>
                  <a:lnTo>
                    <a:pt x="9655037" y="6353876"/>
                  </a:lnTo>
                  <a:close/>
                  <a:moveTo>
                    <a:pt x="9883993" y="6117384"/>
                  </a:moveTo>
                  <a:lnTo>
                    <a:pt x="10108082" y="6117384"/>
                  </a:lnTo>
                  <a:lnTo>
                    <a:pt x="10108082" y="6353876"/>
                  </a:lnTo>
                  <a:lnTo>
                    <a:pt x="9883993" y="6353876"/>
                  </a:lnTo>
                  <a:close/>
                  <a:moveTo>
                    <a:pt x="10114484" y="6117384"/>
                  </a:moveTo>
                  <a:lnTo>
                    <a:pt x="10338573" y="6117384"/>
                  </a:lnTo>
                  <a:lnTo>
                    <a:pt x="10338573" y="6353876"/>
                  </a:lnTo>
                  <a:lnTo>
                    <a:pt x="10114484" y="6353876"/>
                  </a:lnTo>
                  <a:close/>
                  <a:moveTo>
                    <a:pt x="10344975" y="6117384"/>
                  </a:moveTo>
                  <a:lnTo>
                    <a:pt x="10569064" y="6117384"/>
                  </a:lnTo>
                  <a:lnTo>
                    <a:pt x="10569064" y="6353876"/>
                  </a:lnTo>
                  <a:lnTo>
                    <a:pt x="10344975" y="6353876"/>
                  </a:lnTo>
                  <a:close/>
                  <a:moveTo>
                    <a:pt x="10575466" y="6117384"/>
                  </a:moveTo>
                  <a:lnTo>
                    <a:pt x="10798016" y="6117384"/>
                  </a:lnTo>
                  <a:lnTo>
                    <a:pt x="10798016" y="6353876"/>
                  </a:lnTo>
                  <a:lnTo>
                    <a:pt x="10575466" y="6353876"/>
                  </a:lnTo>
                  <a:close/>
                  <a:moveTo>
                    <a:pt x="10804419" y="6117384"/>
                  </a:moveTo>
                  <a:lnTo>
                    <a:pt x="11028507" y="6117384"/>
                  </a:lnTo>
                  <a:lnTo>
                    <a:pt x="11028507" y="6353876"/>
                  </a:lnTo>
                  <a:lnTo>
                    <a:pt x="10804419" y="6353876"/>
                  </a:lnTo>
                  <a:close/>
                  <a:moveTo>
                    <a:pt x="11034910" y="6117384"/>
                  </a:moveTo>
                  <a:lnTo>
                    <a:pt x="11258998" y="6117384"/>
                  </a:lnTo>
                  <a:lnTo>
                    <a:pt x="11258998" y="6353876"/>
                  </a:lnTo>
                  <a:lnTo>
                    <a:pt x="11034910" y="6353876"/>
                  </a:lnTo>
                  <a:close/>
                  <a:moveTo>
                    <a:pt x="11265401" y="6117384"/>
                  </a:moveTo>
                  <a:lnTo>
                    <a:pt x="11487954" y="6117384"/>
                  </a:lnTo>
                  <a:lnTo>
                    <a:pt x="11487954" y="6353876"/>
                  </a:lnTo>
                  <a:lnTo>
                    <a:pt x="11265401" y="6353876"/>
                  </a:lnTo>
                  <a:close/>
                  <a:moveTo>
                    <a:pt x="11494357" y="6117384"/>
                  </a:moveTo>
                  <a:lnTo>
                    <a:pt x="11718445" y="6117384"/>
                  </a:lnTo>
                  <a:lnTo>
                    <a:pt x="11718445" y="6353876"/>
                  </a:lnTo>
                  <a:lnTo>
                    <a:pt x="11494101" y="6353876"/>
                  </a:lnTo>
                  <a:close/>
                  <a:moveTo>
                    <a:pt x="11494357" y="6110580"/>
                  </a:moveTo>
                  <a:lnTo>
                    <a:pt x="11494357" y="5872455"/>
                  </a:lnTo>
                  <a:lnTo>
                    <a:pt x="11718445" y="5872455"/>
                  </a:lnTo>
                  <a:lnTo>
                    <a:pt x="11718445" y="6110580"/>
                  </a:lnTo>
                  <a:close/>
                  <a:moveTo>
                    <a:pt x="11494357" y="5865652"/>
                  </a:moveTo>
                  <a:lnTo>
                    <a:pt x="11494357" y="5627527"/>
                  </a:lnTo>
                  <a:lnTo>
                    <a:pt x="11718445" y="5627527"/>
                  </a:lnTo>
                  <a:lnTo>
                    <a:pt x="11718445" y="5865652"/>
                  </a:lnTo>
                  <a:close/>
                  <a:moveTo>
                    <a:pt x="11494357" y="5620723"/>
                  </a:moveTo>
                  <a:lnTo>
                    <a:pt x="11494357" y="5382598"/>
                  </a:lnTo>
                  <a:lnTo>
                    <a:pt x="11718445" y="5382598"/>
                  </a:lnTo>
                  <a:lnTo>
                    <a:pt x="11718445" y="5620723"/>
                  </a:lnTo>
                  <a:close/>
                  <a:moveTo>
                    <a:pt x="11494357" y="5375795"/>
                  </a:moveTo>
                  <a:lnTo>
                    <a:pt x="11494357" y="5139302"/>
                  </a:lnTo>
                  <a:lnTo>
                    <a:pt x="11718445" y="5139302"/>
                  </a:lnTo>
                  <a:lnTo>
                    <a:pt x="11718445" y="5375795"/>
                  </a:lnTo>
                  <a:close/>
                  <a:moveTo>
                    <a:pt x="11494357" y="5132499"/>
                  </a:moveTo>
                  <a:lnTo>
                    <a:pt x="11494357" y="4894374"/>
                  </a:lnTo>
                  <a:lnTo>
                    <a:pt x="11718445" y="4894374"/>
                  </a:lnTo>
                  <a:lnTo>
                    <a:pt x="11718445" y="5132090"/>
                  </a:lnTo>
                  <a:close/>
                  <a:moveTo>
                    <a:pt x="11494357" y="4887570"/>
                  </a:moveTo>
                  <a:lnTo>
                    <a:pt x="11494357" y="4649445"/>
                  </a:lnTo>
                  <a:lnTo>
                    <a:pt x="11718445" y="4649445"/>
                  </a:lnTo>
                  <a:lnTo>
                    <a:pt x="11718445" y="4887162"/>
                  </a:lnTo>
                  <a:close/>
                  <a:moveTo>
                    <a:pt x="11494357" y="4642642"/>
                  </a:moveTo>
                  <a:lnTo>
                    <a:pt x="11494357" y="4406149"/>
                  </a:lnTo>
                  <a:lnTo>
                    <a:pt x="11718445" y="4406149"/>
                  </a:lnTo>
                  <a:lnTo>
                    <a:pt x="11718445" y="4642233"/>
                  </a:lnTo>
                  <a:close/>
                  <a:moveTo>
                    <a:pt x="11494357" y="4399346"/>
                  </a:moveTo>
                  <a:lnTo>
                    <a:pt x="11494357" y="4161221"/>
                  </a:lnTo>
                  <a:lnTo>
                    <a:pt x="11718445" y="4161221"/>
                  </a:lnTo>
                  <a:lnTo>
                    <a:pt x="11718445" y="4399346"/>
                  </a:lnTo>
                  <a:close/>
                  <a:moveTo>
                    <a:pt x="11494357" y="4154417"/>
                  </a:moveTo>
                  <a:lnTo>
                    <a:pt x="11494357" y="3916292"/>
                  </a:lnTo>
                  <a:lnTo>
                    <a:pt x="11718445" y="3916292"/>
                  </a:lnTo>
                  <a:lnTo>
                    <a:pt x="11718445" y="4154417"/>
                  </a:lnTo>
                  <a:close/>
                  <a:moveTo>
                    <a:pt x="11494357" y="3909489"/>
                  </a:moveTo>
                  <a:lnTo>
                    <a:pt x="11494357" y="3671364"/>
                  </a:lnTo>
                  <a:lnTo>
                    <a:pt x="11718445" y="3671364"/>
                  </a:lnTo>
                  <a:lnTo>
                    <a:pt x="11718445" y="3909489"/>
                  </a:lnTo>
                  <a:close/>
                  <a:moveTo>
                    <a:pt x="11494357" y="3664560"/>
                  </a:moveTo>
                  <a:lnTo>
                    <a:pt x="11494357" y="3428068"/>
                  </a:lnTo>
                  <a:lnTo>
                    <a:pt x="11718445" y="3428068"/>
                  </a:lnTo>
                  <a:lnTo>
                    <a:pt x="11718445" y="3664560"/>
                  </a:lnTo>
                  <a:close/>
                  <a:moveTo>
                    <a:pt x="11494357" y="3421264"/>
                  </a:moveTo>
                  <a:lnTo>
                    <a:pt x="11494357" y="3183139"/>
                  </a:lnTo>
                  <a:lnTo>
                    <a:pt x="11718445" y="3183139"/>
                  </a:lnTo>
                  <a:lnTo>
                    <a:pt x="11718445" y="3421264"/>
                  </a:lnTo>
                  <a:close/>
                  <a:moveTo>
                    <a:pt x="11494357" y="3176336"/>
                  </a:moveTo>
                  <a:lnTo>
                    <a:pt x="11494357" y="2938211"/>
                  </a:lnTo>
                  <a:lnTo>
                    <a:pt x="11718445" y="2938211"/>
                  </a:lnTo>
                  <a:lnTo>
                    <a:pt x="11718445" y="3176336"/>
                  </a:lnTo>
                  <a:close/>
                  <a:moveTo>
                    <a:pt x="11494357" y="2931407"/>
                  </a:moveTo>
                  <a:lnTo>
                    <a:pt x="11494357" y="2693282"/>
                  </a:lnTo>
                  <a:lnTo>
                    <a:pt x="11718445" y="2693282"/>
                  </a:lnTo>
                  <a:lnTo>
                    <a:pt x="11718445" y="2931407"/>
                  </a:lnTo>
                  <a:close/>
                  <a:moveTo>
                    <a:pt x="11494357" y="2686479"/>
                  </a:moveTo>
                  <a:lnTo>
                    <a:pt x="11494357" y="2449986"/>
                  </a:lnTo>
                  <a:lnTo>
                    <a:pt x="11718445" y="2449986"/>
                  </a:lnTo>
                  <a:lnTo>
                    <a:pt x="11718445" y="2686479"/>
                  </a:lnTo>
                  <a:close/>
                  <a:moveTo>
                    <a:pt x="11494357" y="2443183"/>
                  </a:moveTo>
                  <a:lnTo>
                    <a:pt x="11494357" y="2205058"/>
                  </a:lnTo>
                  <a:lnTo>
                    <a:pt x="11718445" y="2205058"/>
                  </a:lnTo>
                  <a:lnTo>
                    <a:pt x="11718445" y="2443183"/>
                  </a:lnTo>
                  <a:close/>
                  <a:moveTo>
                    <a:pt x="11494357" y="2198254"/>
                  </a:moveTo>
                  <a:lnTo>
                    <a:pt x="11494357" y="1960129"/>
                  </a:lnTo>
                  <a:lnTo>
                    <a:pt x="11718445" y="1960129"/>
                  </a:lnTo>
                  <a:lnTo>
                    <a:pt x="11718445" y="2198254"/>
                  </a:lnTo>
                  <a:close/>
                  <a:moveTo>
                    <a:pt x="11494357" y="1953326"/>
                  </a:moveTo>
                  <a:lnTo>
                    <a:pt x="11494357" y="1716697"/>
                  </a:lnTo>
                  <a:lnTo>
                    <a:pt x="11718445" y="1716697"/>
                  </a:lnTo>
                  <a:lnTo>
                    <a:pt x="11718445" y="1953189"/>
                  </a:lnTo>
                  <a:close/>
                  <a:moveTo>
                    <a:pt x="11494357" y="1710030"/>
                  </a:moveTo>
                  <a:lnTo>
                    <a:pt x="11494357" y="1471769"/>
                  </a:lnTo>
                  <a:lnTo>
                    <a:pt x="11718445" y="1471769"/>
                  </a:lnTo>
                  <a:lnTo>
                    <a:pt x="11718445" y="1709894"/>
                  </a:lnTo>
                  <a:close/>
                  <a:moveTo>
                    <a:pt x="11494357" y="1465101"/>
                  </a:moveTo>
                  <a:lnTo>
                    <a:pt x="11494357" y="1226840"/>
                  </a:lnTo>
                  <a:lnTo>
                    <a:pt x="11718445" y="1226840"/>
                  </a:lnTo>
                  <a:lnTo>
                    <a:pt x="11718445" y="1464965"/>
                  </a:lnTo>
                  <a:close/>
                  <a:moveTo>
                    <a:pt x="11494357" y="1220173"/>
                  </a:moveTo>
                  <a:lnTo>
                    <a:pt x="11494357" y="981911"/>
                  </a:lnTo>
                  <a:lnTo>
                    <a:pt x="11718445" y="981911"/>
                  </a:lnTo>
                  <a:lnTo>
                    <a:pt x="11718445" y="1220036"/>
                  </a:lnTo>
                  <a:close/>
                  <a:moveTo>
                    <a:pt x="11494357" y="975244"/>
                  </a:moveTo>
                  <a:lnTo>
                    <a:pt x="11494357" y="738752"/>
                  </a:lnTo>
                  <a:lnTo>
                    <a:pt x="11718445" y="738752"/>
                  </a:lnTo>
                  <a:lnTo>
                    <a:pt x="11718445" y="975244"/>
                  </a:lnTo>
                  <a:close/>
                  <a:moveTo>
                    <a:pt x="11494357" y="731948"/>
                  </a:moveTo>
                  <a:lnTo>
                    <a:pt x="11494357" y="493823"/>
                  </a:lnTo>
                  <a:lnTo>
                    <a:pt x="11718445" y="493823"/>
                  </a:lnTo>
                  <a:lnTo>
                    <a:pt x="11718445" y="731948"/>
                  </a:lnTo>
                  <a:close/>
                  <a:moveTo>
                    <a:pt x="11494357" y="487020"/>
                  </a:moveTo>
                  <a:lnTo>
                    <a:pt x="11494357" y="248895"/>
                  </a:lnTo>
                  <a:lnTo>
                    <a:pt x="11718445" y="248895"/>
                  </a:lnTo>
                  <a:lnTo>
                    <a:pt x="11718445" y="487020"/>
                  </a:lnTo>
                  <a:close/>
                  <a:moveTo>
                    <a:pt x="11487954" y="487020"/>
                  </a:moveTo>
                  <a:lnTo>
                    <a:pt x="11265401" y="487020"/>
                  </a:lnTo>
                  <a:lnTo>
                    <a:pt x="11265401" y="248895"/>
                  </a:lnTo>
                  <a:lnTo>
                    <a:pt x="11487954" y="248895"/>
                  </a:lnTo>
                  <a:close/>
                  <a:moveTo>
                    <a:pt x="11258998" y="487020"/>
                  </a:moveTo>
                  <a:lnTo>
                    <a:pt x="11034910" y="487020"/>
                  </a:lnTo>
                  <a:lnTo>
                    <a:pt x="11034910" y="248895"/>
                  </a:lnTo>
                  <a:lnTo>
                    <a:pt x="11258998" y="248895"/>
                  </a:lnTo>
                  <a:close/>
                  <a:moveTo>
                    <a:pt x="11028507" y="487020"/>
                  </a:moveTo>
                  <a:lnTo>
                    <a:pt x="10804419" y="487020"/>
                  </a:lnTo>
                  <a:lnTo>
                    <a:pt x="10804419" y="248895"/>
                  </a:lnTo>
                  <a:lnTo>
                    <a:pt x="11028507" y="248895"/>
                  </a:lnTo>
                  <a:close/>
                  <a:moveTo>
                    <a:pt x="10798016" y="487020"/>
                  </a:moveTo>
                  <a:lnTo>
                    <a:pt x="10575466" y="487020"/>
                  </a:lnTo>
                  <a:lnTo>
                    <a:pt x="10575466" y="248895"/>
                  </a:lnTo>
                  <a:lnTo>
                    <a:pt x="10798016" y="248895"/>
                  </a:lnTo>
                  <a:close/>
                  <a:moveTo>
                    <a:pt x="10569064" y="487020"/>
                  </a:moveTo>
                  <a:lnTo>
                    <a:pt x="10344975" y="487020"/>
                  </a:lnTo>
                  <a:lnTo>
                    <a:pt x="10344975" y="248895"/>
                  </a:lnTo>
                  <a:lnTo>
                    <a:pt x="10569064" y="248895"/>
                  </a:lnTo>
                  <a:close/>
                  <a:moveTo>
                    <a:pt x="10338573" y="487020"/>
                  </a:moveTo>
                  <a:lnTo>
                    <a:pt x="10114484" y="487020"/>
                  </a:lnTo>
                  <a:lnTo>
                    <a:pt x="10114484" y="248895"/>
                  </a:lnTo>
                  <a:lnTo>
                    <a:pt x="10338573" y="248895"/>
                  </a:lnTo>
                  <a:close/>
                  <a:moveTo>
                    <a:pt x="10108082" y="487020"/>
                  </a:moveTo>
                  <a:lnTo>
                    <a:pt x="9883993" y="487020"/>
                  </a:lnTo>
                  <a:lnTo>
                    <a:pt x="9883993" y="248895"/>
                  </a:lnTo>
                  <a:lnTo>
                    <a:pt x="10108082" y="248895"/>
                  </a:lnTo>
                  <a:close/>
                  <a:moveTo>
                    <a:pt x="9877591" y="487020"/>
                  </a:moveTo>
                  <a:lnTo>
                    <a:pt x="9655037" y="487020"/>
                  </a:lnTo>
                  <a:lnTo>
                    <a:pt x="9655037" y="248895"/>
                  </a:lnTo>
                  <a:lnTo>
                    <a:pt x="9877591" y="248895"/>
                  </a:lnTo>
                  <a:close/>
                  <a:moveTo>
                    <a:pt x="9648635" y="487020"/>
                  </a:moveTo>
                  <a:lnTo>
                    <a:pt x="9424546" y="487020"/>
                  </a:lnTo>
                  <a:lnTo>
                    <a:pt x="9424546" y="248895"/>
                  </a:lnTo>
                  <a:lnTo>
                    <a:pt x="9648635" y="248895"/>
                  </a:lnTo>
                  <a:close/>
                  <a:moveTo>
                    <a:pt x="9418144" y="487020"/>
                  </a:moveTo>
                  <a:lnTo>
                    <a:pt x="9194055" y="487020"/>
                  </a:lnTo>
                  <a:lnTo>
                    <a:pt x="9194055" y="248895"/>
                  </a:lnTo>
                  <a:lnTo>
                    <a:pt x="9418144" y="248895"/>
                  </a:lnTo>
                  <a:close/>
                  <a:moveTo>
                    <a:pt x="9187653" y="487020"/>
                  </a:moveTo>
                  <a:lnTo>
                    <a:pt x="8963564" y="487020"/>
                  </a:lnTo>
                  <a:lnTo>
                    <a:pt x="8963564" y="248895"/>
                  </a:lnTo>
                  <a:lnTo>
                    <a:pt x="9187653" y="248895"/>
                  </a:lnTo>
                  <a:close/>
                  <a:moveTo>
                    <a:pt x="8957162" y="487020"/>
                  </a:moveTo>
                  <a:lnTo>
                    <a:pt x="8734611" y="487020"/>
                  </a:lnTo>
                  <a:lnTo>
                    <a:pt x="8734611" y="248895"/>
                  </a:lnTo>
                  <a:lnTo>
                    <a:pt x="8957162" y="248895"/>
                  </a:lnTo>
                  <a:close/>
                  <a:moveTo>
                    <a:pt x="8728209" y="487020"/>
                  </a:moveTo>
                  <a:lnTo>
                    <a:pt x="8504120" y="487020"/>
                  </a:lnTo>
                  <a:lnTo>
                    <a:pt x="8504120" y="248895"/>
                  </a:lnTo>
                  <a:lnTo>
                    <a:pt x="8728209" y="248895"/>
                  </a:lnTo>
                  <a:close/>
                  <a:moveTo>
                    <a:pt x="8497718" y="487020"/>
                  </a:moveTo>
                  <a:lnTo>
                    <a:pt x="8273629" y="487020"/>
                  </a:lnTo>
                  <a:lnTo>
                    <a:pt x="8273629" y="248895"/>
                  </a:lnTo>
                  <a:lnTo>
                    <a:pt x="8497718" y="248895"/>
                  </a:lnTo>
                  <a:close/>
                  <a:moveTo>
                    <a:pt x="8267227" y="487020"/>
                  </a:moveTo>
                  <a:lnTo>
                    <a:pt x="8044420" y="487020"/>
                  </a:lnTo>
                  <a:lnTo>
                    <a:pt x="8044420" y="248895"/>
                  </a:lnTo>
                  <a:lnTo>
                    <a:pt x="8267227" y="248895"/>
                  </a:lnTo>
                  <a:close/>
                  <a:moveTo>
                    <a:pt x="8038274" y="487020"/>
                  </a:moveTo>
                  <a:lnTo>
                    <a:pt x="7814186" y="487020"/>
                  </a:lnTo>
                  <a:lnTo>
                    <a:pt x="7814186" y="248895"/>
                  </a:lnTo>
                  <a:lnTo>
                    <a:pt x="8038274" y="248895"/>
                  </a:lnTo>
                  <a:close/>
                  <a:moveTo>
                    <a:pt x="7807783" y="487020"/>
                  </a:moveTo>
                  <a:lnTo>
                    <a:pt x="7583695" y="487020"/>
                  </a:lnTo>
                  <a:lnTo>
                    <a:pt x="7583695" y="248895"/>
                  </a:lnTo>
                  <a:lnTo>
                    <a:pt x="7807783" y="248895"/>
                  </a:lnTo>
                  <a:close/>
                  <a:moveTo>
                    <a:pt x="7577292" y="487020"/>
                  </a:moveTo>
                  <a:lnTo>
                    <a:pt x="7353204" y="487020"/>
                  </a:lnTo>
                  <a:lnTo>
                    <a:pt x="7353204" y="248895"/>
                  </a:lnTo>
                  <a:lnTo>
                    <a:pt x="7577292" y="248895"/>
                  </a:lnTo>
                  <a:close/>
                  <a:moveTo>
                    <a:pt x="7346801" y="487020"/>
                  </a:moveTo>
                  <a:lnTo>
                    <a:pt x="7124247" y="487020"/>
                  </a:lnTo>
                  <a:lnTo>
                    <a:pt x="7124247" y="248895"/>
                  </a:lnTo>
                  <a:lnTo>
                    <a:pt x="7346801" y="248895"/>
                  </a:lnTo>
                  <a:close/>
                  <a:moveTo>
                    <a:pt x="7117845" y="487020"/>
                  </a:moveTo>
                  <a:lnTo>
                    <a:pt x="6893756" y="487020"/>
                  </a:lnTo>
                  <a:lnTo>
                    <a:pt x="6893756" y="248895"/>
                  </a:lnTo>
                  <a:lnTo>
                    <a:pt x="7117845" y="248895"/>
                  </a:lnTo>
                  <a:close/>
                  <a:moveTo>
                    <a:pt x="6887354" y="487020"/>
                  </a:moveTo>
                  <a:lnTo>
                    <a:pt x="6663265" y="487020"/>
                  </a:lnTo>
                  <a:lnTo>
                    <a:pt x="6663265" y="248895"/>
                  </a:lnTo>
                  <a:lnTo>
                    <a:pt x="6887354" y="248895"/>
                  </a:lnTo>
                  <a:close/>
                  <a:moveTo>
                    <a:pt x="6656863" y="487020"/>
                  </a:moveTo>
                  <a:lnTo>
                    <a:pt x="6446349" y="487020"/>
                  </a:lnTo>
                  <a:lnTo>
                    <a:pt x="6446349" y="248895"/>
                  </a:lnTo>
                  <a:lnTo>
                    <a:pt x="6656863" y="248895"/>
                  </a:lnTo>
                  <a:close/>
                  <a:moveTo>
                    <a:pt x="6439946" y="487020"/>
                  </a:moveTo>
                  <a:lnTo>
                    <a:pt x="6217136" y="487020"/>
                  </a:lnTo>
                  <a:lnTo>
                    <a:pt x="6217136" y="248895"/>
                  </a:lnTo>
                  <a:lnTo>
                    <a:pt x="6439690" y="248895"/>
                  </a:lnTo>
                  <a:close/>
                  <a:moveTo>
                    <a:pt x="6210990" y="487020"/>
                  </a:moveTo>
                  <a:lnTo>
                    <a:pt x="5986902" y="487020"/>
                  </a:lnTo>
                  <a:lnTo>
                    <a:pt x="5986902" y="248895"/>
                  </a:lnTo>
                  <a:lnTo>
                    <a:pt x="6210990" y="248895"/>
                  </a:lnTo>
                  <a:close/>
                  <a:moveTo>
                    <a:pt x="5980499" y="487020"/>
                  </a:moveTo>
                  <a:lnTo>
                    <a:pt x="5756411" y="487020"/>
                  </a:lnTo>
                  <a:lnTo>
                    <a:pt x="5756411" y="248895"/>
                  </a:lnTo>
                  <a:lnTo>
                    <a:pt x="5980499" y="248895"/>
                  </a:lnTo>
                  <a:close/>
                  <a:moveTo>
                    <a:pt x="5750008" y="487020"/>
                  </a:moveTo>
                  <a:lnTo>
                    <a:pt x="5526945" y="487020"/>
                  </a:lnTo>
                  <a:lnTo>
                    <a:pt x="5526945" y="248895"/>
                  </a:lnTo>
                  <a:lnTo>
                    <a:pt x="5749495" y="248895"/>
                  </a:lnTo>
                  <a:close/>
                  <a:moveTo>
                    <a:pt x="5521055" y="487020"/>
                  </a:moveTo>
                  <a:lnTo>
                    <a:pt x="5296454" y="487020"/>
                  </a:lnTo>
                  <a:lnTo>
                    <a:pt x="5296454" y="248895"/>
                  </a:lnTo>
                  <a:lnTo>
                    <a:pt x="5520542" y="248895"/>
                  </a:lnTo>
                  <a:close/>
                  <a:moveTo>
                    <a:pt x="5290564" y="487020"/>
                  </a:moveTo>
                  <a:lnTo>
                    <a:pt x="5065963" y="487020"/>
                  </a:lnTo>
                  <a:lnTo>
                    <a:pt x="5065963" y="248895"/>
                  </a:lnTo>
                  <a:lnTo>
                    <a:pt x="5290051" y="248895"/>
                  </a:lnTo>
                  <a:close/>
                  <a:moveTo>
                    <a:pt x="5060073" y="487020"/>
                  </a:moveTo>
                  <a:lnTo>
                    <a:pt x="4835472" y="487020"/>
                  </a:lnTo>
                  <a:lnTo>
                    <a:pt x="4835472" y="248895"/>
                  </a:lnTo>
                  <a:lnTo>
                    <a:pt x="5059560" y="248895"/>
                  </a:lnTo>
                  <a:close/>
                  <a:moveTo>
                    <a:pt x="4829582" y="487020"/>
                  </a:moveTo>
                  <a:lnTo>
                    <a:pt x="4607029" y="487020"/>
                  </a:lnTo>
                  <a:lnTo>
                    <a:pt x="4607029" y="248895"/>
                  </a:lnTo>
                  <a:lnTo>
                    <a:pt x="4829582" y="248895"/>
                  </a:lnTo>
                  <a:close/>
                  <a:moveTo>
                    <a:pt x="4600626" y="487020"/>
                  </a:moveTo>
                  <a:lnTo>
                    <a:pt x="4376538" y="487020"/>
                  </a:lnTo>
                  <a:lnTo>
                    <a:pt x="4376538" y="248895"/>
                  </a:lnTo>
                  <a:lnTo>
                    <a:pt x="4600626" y="248895"/>
                  </a:lnTo>
                  <a:close/>
                  <a:moveTo>
                    <a:pt x="4370135" y="487020"/>
                  </a:moveTo>
                  <a:lnTo>
                    <a:pt x="4146047" y="487020"/>
                  </a:lnTo>
                  <a:lnTo>
                    <a:pt x="4146047" y="248895"/>
                  </a:lnTo>
                  <a:lnTo>
                    <a:pt x="4370135" y="248895"/>
                  </a:lnTo>
                  <a:close/>
                  <a:moveTo>
                    <a:pt x="4139644" y="487020"/>
                  </a:moveTo>
                  <a:lnTo>
                    <a:pt x="3917094" y="487020"/>
                  </a:lnTo>
                  <a:lnTo>
                    <a:pt x="3917094" y="248895"/>
                  </a:lnTo>
                  <a:lnTo>
                    <a:pt x="4139644" y="248895"/>
                  </a:lnTo>
                  <a:close/>
                  <a:moveTo>
                    <a:pt x="3910691" y="487020"/>
                  </a:moveTo>
                  <a:lnTo>
                    <a:pt x="3686603" y="487020"/>
                  </a:lnTo>
                  <a:lnTo>
                    <a:pt x="3686603" y="248895"/>
                  </a:lnTo>
                  <a:lnTo>
                    <a:pt x="3910691" y="248895"/>
                  </a:lnTo>
                  <a:close/>
                  <a:moveTo>
                    <a:pt x="3680200" y="487020"/>
                  </a:moveTo>
                  <a:lnTo>
                    <a:pt x="3456112" y="487020"/>
                  </a:lnTo>
                  <a:lnTo>
                    <a:pt x="3456112" y="248895"/>
                  </a:lnTo>
                  <a:lnTo>
                    <a:pt x="3680200" y="248895"/>
                  </a:lnTo>
                  <a:close/>
                  <a:moveTo>
                    <a:pt x="3449709" y="487020"/>
                  </a:moveTo>
                  <a:lnTo>
                    <a:pt x="3225621" y="487020"/>
                  </a:lnTo>
                  <a:lnTo>
                    <a:pt x="3225621" y="248895"/>
                  </a:lnTo>
                  <a:lnTo>
                    <a:pt x="3449709" y="248895"/>
                  </a:lnTo>
                  <a:close/>
                  <a:moveTo>
                    <a:pt x="3219218" y="487020"/>
                  </a:moveTo>
                  <a:lnTo>
                    <a:pt x="2996666" y="487020"/>
                  </a:lnTo>
                  <a:lnTo>
                    <a:pt x="2996666" y="248895"/>
                  </a:lnTo>
                  <a:lnTo>
                    <a:pt x="3219218" y="248895"/>
                  </a:lnTo>
                  <a:close/>
                  <a:moveTo>
                    <a:pt x="2990264" y="487020"/>
                  </a:moveTo>
                  <a:lnTo>
                    <a:pt x="2766175" y="487020"/>
                  </a:lnTo>
                  <a:lnTo>
                    <a:pt x="2766175" y="248895"/>
                  </a:lnTo>
                  <a:lnTo>
                    <a:pt x="2990264" y="248895"/>
                  </a:lnTo>
                  <a:close/>
                  <a:moveTo>
                    <a:pt x="2759773" y="487020"/>
                  </a:moveTo>
                  <a:lnTo>
                    <a:pt x="2535684" y="487020"/>
                  </a:lnTo>
                  <a:lnTo>
                    <a:pt x="2535684" y="248895"/>
                  </a:lnTo>
                  <a:lnTo>
                    <a:pt x="2759773" y="248895"/>
                  </a:lnTo>
                  <a:close/>
                  <a:moveTo>
                    <a:pt x="2529282" y="487020"/>
                  </a:moveTo>
                  <a:lnTo>
                    <a:pt x="2305193" y="487020"/>
                  </a:lnTo>
                  <a:lnTo>
                    <a:pt x="2305193" y="248895"/>
                  </a:lnTo>
                  <a:lnTo>
                    <a:pt x="2529282" y="248895"/>
                  </a:lnTo>
                  <a:close/>
                  <a:moveTo>
                    <a:pt x="2298791" y="487020"/>
                  </a:moveTo>
                  <a:lnTo>
                    <a:pt x="2075982" y="487020"/>
                  </a:lnTo>
                  <a:lnTo>
                    <a:pt x="2075982" y="248895"/>
                  </a:lnTo>
                  <a:lnTo>
                    <a:pt x="2298534" y="248895"/>
                  </a:lnTo>
                  <a:close/>
                  <a:moveTo>
                    <a:pt x="2069836" y="487020"/>
                  </a:moveTo>
                  <a:lnTo>
                    <a:pt x="1845748" y="487020"/>
                  </a:lnTo>
                  <a:lnTo>
                    <a:pt x="1845748" y="248895"/>
                  </a:lnTo>
                  <a:lnTo>
                    <a:pt x="2069580" y="248895"/>
                  </a:lnTo>
                  <a:close/>
                  <a:moveTo>
                    <a:pt x="1839345" y="487020"/>
                  </a:moveTo>
                  <a:lnTo>
                    <a:pt x="1615257" y="487020"/>
                  </a:lnTo>
                  <a:lnTo>
                    <a:pt x="1615257" y="248895"/>
                  </a:lnTo>
                  <a:lnTo>
                    <a:pt x="1839089" y="248895"/>
                  </a:lnTo>
                  <a:close/>
                  <a:moveTo>
                    <a:pt x="1608854" y="487020"/>
                  </a:moveTo>
                  <a:lnTo>
                    <a:pt x="1386302" y="487020"/>
                  </a:lnTo>
                  <a:lnTo>
                    <a:pt x="1386302" y="248895"/>
                  </a:lnTo>
                  <a:lnTo>
                    <a:pt x="1608598" y="248895"/>
                  </a:lnTo>
                  <a:close/>
                  <a:moveTo>
                    <a:pt x="1379900" y="487020"/>
                  </a:moveTo>
                  <a:lnTo>
                    <a:pt x="1155811" y="487020"/>
                  </a:lnTo>
                  <a:lnTo>
                    <a:pt x="1155811" y="248895"/>
                  </a:lnTo>
                  <a:lnTo>
                    <a:pt x="1379900" y="248895"/>
                  </a:lnTo>
                  <a:close/>
                  <a:moveTo>
                    <a:pt x="1149409" y="487020"/>
                  </a:moveTo>
                  <a:lnTo>
                    <a:pt x="925320" y="487020"/>
                  </a:lnTo>
                  <a:lnTo>
                    <a:pt x="925320" y="248895"/>
                  </a:lnTo>
                  <a:lnTo>
                    <a:pt x="1149409" y="248895"/>
                  </a:lnTo>
                  <a:close/>
                  <a:moveTo>
                    <a:pt x="918918" y="487020"/>
                  </a:moveTo>
                  <a:lnTo>
                    <a:pt x="694829" y="487020"/>
                  </a:lnTo>
                  <a:lnTo>
                    <a:pt x="694829" y="248895"/>
                  </a:lnTo>
                  <a:lnTo>
                    <a:pt x="918918" y="248895"/>
                  </a:lnTo>
                  <a:close/>
                  <a:moveTo>
                    <a:pt x="688427" y="487020"/>
                  </a:moveTo>
                  <a:lnTo>
                    <a:pt x="465875" y="487020"/>
                  </a:lnTo>
                  <a:lnTo>
                    <a:pt x="465875" y="248895"/>
                  </a:lnTo>
                  <a:lnTo>
                    <a:pt x="688427" y="248895"/>
                  </a:lnTo>
                  <a:close/>
                  <a:moveTo>
                    <a:pt x="459472" y="487020"/>
                  </a:moveTo>
                  <a:lnTo>
                    <a:pt x="235384" y="487020"/>
                  </a:lnTo>
                  <a:lnTo>
                    <a:pt x="235384" y="248895"/>
                  </a:lnTo>
                  <a:lnTo>
                    <a:pt x="459472" y="248895"/>
                  </a:lnTo>
                  <a:close/>
                  <a:moveTo>
                    <a:pt x="459472" y="493823"/>
                  </a:moveTo>
                  <a:lnTo>
                    <a:pt x="459472" y="731948"/>
                  </a:lnTo>
                  <a:lnTo>
                    <a:pt x="235384" y="731948"/>
                  </a:lnTo>
                  <a:lnTo>
                    <a:pt x="235384" y="493823"/>
                  </a:lnTo>
                  <a:close/>
                  <a:moveTo>
                    <a:pt x="459472" y="738752"/>
                  </a:moveTo>
                  <a:lnTo>
                    <a:pt x="459472" y="975244"/>
                  </a:lnTo>
                  <a:lnTo>
                    <a:pt x="235384" y="975244"/>
                  </a:lnTo>
                  <a:lnTo>
                    <a:pt x="235384" y="738752"/>
                  </a:lnTo>
                  <a:close/>
                  <a:moveTo>
                    <a:pt x="459472" y="982048"/>
                  </a:moveTo>
                  <a:lnTo>
                    <a:pt x="459472" y="1220173"/>
                  </a:lnTo>
                  <a:lnTo>
                    <a:pt x="235384" y="1220173"/>
                  </a:lnTo>
                  <a:lnTo>
                    <a:pt x="235384" y="981911"/>
                  </a:lnTo>
                  <a:close/>
                  <a:moveTo>
                    <a:pt x="459472" y="1226976"/>
                  </a:moveTo>
                  <a:lnTo>
                    <a:pt x="459472" y="1465101"/>
                  </a:lnTo>
                  <a:lnTo>
                    <a:pt x="235384" y="1465101"/>
                  </a:lnTo>
                  <a:lnTo>
                    <a:pt x="235384" y="1226840"/>
                  </a:lnTo>
                  <a:close/>
                  <a:moveTo>
                    <a:pt x="459472" y="1471905"/>
                  </a:moveTo>
                  <a:lnTo>
                    <a:pt x="459472" y="1710030"/>
                  </a:lnTo>
                  <a:lnTo>
                    <a:pt x="235384" y="1710030"/>
                  </a:lnTo>
                  <a:lnTo>
                    <a:pt x="235384" y="1471769"/>
                  </a:lnTo>
                  <a:close/>
                  <a:moveTo>
                    <a:pt x="459472" y="1716833"/>
                  </a:moveTo>
                  <a:lnTo>
                    <a:pt x="459472" y="1953326"/>
                  </a:lnTo>
                  <a:lnTo>
                    <a:pt x="235384" y="1953326"/>
                  </a:lnTo>
                  <a:lnTo>
                    <a:pt x="235384" y="1716697"/>
                  </a:lnTo>
                  <a:close/>
                  <a:moveTo>
                    <a:pt x="459472" y="1960129"/>
                  </a:moveTo>
                  <a:lnTo>
                    <a:pt x="459472" y="2198254"/>
                  </a:lnTo>
                  <a:lnTo>
                    <a:pt x="235384" y="2198254"/>
                  </a:lnTo>
                  <a:lnTo>
                    <a:pt x="235384" y="1960129"/>
                  </a:lnTo>
                  <a:close/>
                  <a:moveTo>
                    <a:pt x="459472" y="2205058"/>
                  </a:moveTo>
                  <a:lnTo>
                    <a:pt x="459472" y="2443183"/>
                  </a:lnTo>
                  <a:lnTo>
                    <a:pt x="235384" y="2443183"/>
                  </a:lnTo>
                  <a:lnTo>
                    <a:pt x="235384" y="2205058"/>
                  </a:lnTo>
                  <a:close/>
                  <a:moveTo>
                    <a:pt x="459472" y="2449986"/>
                  </a:moveTo>
                  <a:lnTo>
                    <a:pt x="459472" y="2686479"/>
                  </a:lnTo>
                  <a:lnTo>
                    <a:pt x="235384" y="2686479"/>
                  </a:lnTo>
                  <a:lnTo>
                    <a:pt x="235384" y="2449986"/>
                  </a:lnTo>
                  <a:close/>
                  <a:moveTo>
                    <a:pt x="459472" y="2693282"/>
                  </a:moveTo>
                  <a:lnTo>
                    <a:pt x="459472" y="2931407"/>
                  </a:lnTo>
                  <a:lnTo>
                    <a:pt x="235384" y="2931407"/>
                  </a:lnTo>
                  <a:lnTo>
                    <a:pt x="235384" y="2693282"/>
                  </a:lnTo>
                  <a:close/>
                  <a:moveTo>
                    <a:pt x="459472" y="2938211"/>
                  </a:moveTo>
                  <a:lnTo>
                    <a:pt x="459472" y="3176336"/>
                  </a:lnTo>
                  <a:lnTo>
                    <a:pt x="235384" y="3176336"/>
                  </a:lnTo>
                  <a:lnTo>
                    <a:pt x="235384" y="2938211"/>
                  </a:lnTo>
                  <a:close/>
                  <a:moveTo>
                    <a:pt x="459472" y="3183139"/>
                  </a:moveTo>
                  <a:lnTo>
                    <a:pt x="459472" y="3421264"/>
                  </a:lnTo>
                  <a:lnTo>
                    <a:pt x="235384" y="3421264"/>
                  </a:lnTo>
                  <a:lnTo>
                    <a:pt x="235384" y="3183139"/>
                  </a:lnTo>
                  <a:close/>
                  <a:moveTo>
                    <a:pt x="459472" y="3428068"/>
                  </a:moveTo>
                  <a:lnTo>
                    <a:pt x="459472" y="3664560"/>
                  </a:lnTo>
                  <a:lnTo>
                    <a:pt x="235384" y="3664560"/>
                  </a:lnTo>
                  <a:lnTo>
                    <a:pt x="235384" y="3428068"/>
                  </a:lnTo>
                  <a:close/>
                  <a:moveTo>
                    <a:pt x="459472" y="3671364"/>
                  </a:moveTo>
                  <a:lnTo>
                    <a:pt x="459472" y="3909489"/>
                  </a:lnTo>
                  <a:lnTo>
                    <a:pt x="235384" y="3909489"/>
                  </a:lnTo>
                  <a:lnTo>
                    <a:pt x="235384" y="3671364"/>
                  </a:lnTo>
                  <a:close/>
                  <a:moveTo>
                    <a:pt x="459472" y="3916292"/>
                  </a:moveTo>
                  <a:lnTo>
                    <a:pt x="459472" y="4154417"/>
                  </a:lnTo>
                  <a:lnTo>
                    <a:pt x="235384" y="4154417"/>
                  </a:lnTo>
                  <a:lnTo>
                    <a:pt x="235384" y="3916292"/>
                  </a:lnTo>
                  <a:close/>
                  <a:moveTo>
                    <a:pt x="459472" y="4161221"/>
                  </a:moveTo>
                  <a:lnTo>
                    <a:pt x="459472" y="4399346"/>
                  </a:lnTo>
                  <a:lnTo>
                    <a:pt x="235384" y="4399346"/>
                  </a:lnTo>
                  <a:lnTo>
                    <a:pt x="235384" y="4161221"/>
                  </a:lnTo>
                  <a:close/>
                  <a:moveTo>
                    <a:pt x="459472" y="4406149"/>
                  </a:moveTo>
                  <a:lnTo>
                    <a:pt x="459472" y="4642233"/>
                  </a:lnTo>
                  <a:lnTo>
                    <a:pt x="235384" y="4642233"/>
                  </a:lnTo>
                  <a:lnTo>
                    <a:pt x="235384" y="4405741"/>
                  </a:lnTo>
                  <a:close/>
                  <a:moveTo>
                    <a:pt x="459472" y="4649445"/>
                  </a:moveTo>
                  <a:lnTo>
                    <a:pt x="459472" y="4887162"/>
                  </a:lnTo>
                  <a:lnTo>
                    <a:pt x="235384" y="4887162"/>
                  </a:lnTo>
                  <a:lnTo>
                    <a:pt x="235384" y="4649037"/>
                  </a:lnTo>
                  <a:close/>
                  <a:moveTo>
                    <a:pt x="459472" y="4894374"/>
                  </a:moveTo>
                  <a:lnTo>
                    <a:pt x="459472" y="5132090"/>
                  </a:lnTo>
                  <a:lnTo>
                    <a:pt x="235384" y="5132090"/>
                  </a:lnTo>
                  <a:lnTo>
                    <a:pt x="235384" y="4893965"/>
                  </a:lnTo>
                  <a:close/>
                  <a:moveTo>
                    <a:pt x="459472" y="5139302"/>
                  </a:moveTo>
                  <a:lnTo>
                    <a:pt x="459472" y="5375795"/>
                  </a:lnTo>
                  <a:lnTo>
                    <a:pt x="235384" y="5375795"/>
                  </a:lnTo>
                  <a:lnTo>
                    <a:pt x="235384" y="5139302"/>
                  </a:lnTo>
                  <a:close/>
                  <a:moveTo>
                    <a:pt x="459472" y="5382598"/>
                  </a:moveTo>
                  <a:lnTo>
                    <a:pt x="459472" y="5620723"/>
                  </a:lnTo>
                  <a:lnTo>
                    <a:pt x="235384" y="5620723"/>
                  </a:lnTo>
                  <a:lnTo>
                    <a:pt x="235384" y="5382598"/>
                  </a:lnTo>
                  <a:close/>
                  <a:moveTo>
                    <a:pt x="459472" y="5627527"/>
                  </a:moveTo>
                  <a:lnTo>
                    <a:pt x="459472" y="5865652"/>
                  </a:lnTo>
                  <a:lnTo>
                    <a:pt x="235384" y="5865652"/>
                  </a:lnTo>
                  <a:lnTo>
                    <a:pt x="235384" y="5627527"/>
                  </a:lnTo>
                  <a:close/>
                  <a:moveTo>
                    <a:pt x="459472" y="5872455"/>
                  </a:moveTo>
                  <a:lnTo>
                    <a:pt x="459472" y="6110580"/>
                  </a:lnTo>
                  <a:lnTo>
                    <a:pt x="235384" y="6110580"/>
                  </a:lnTo>
                  <a:lnTo>
                    <a:pt x="235384" y="5872455"/>
                  </a:lnTo>
                  <a:close/>
                  <a:moveTo>
                    <a:pt x="459472" y="6117384"/>
                  </a:moveTo>
                  <a:lnTo>
                    <a:pt x="459472" y="6353876"/>
                  </a:lnTo>
                  <a:lnTo>
                    <a:pt x="235384" y="6353876"/>
                  </a:lnTo>
                  <a:lnTo>
                    <a:pt x="235384" y="6117384"/>
                  </a:lnTo>
                  <a:close/>
                  <a:moveTo>
                    <a:pt x="459472" y="6360680"/>
                  </a:moveTo>
                  <a:lnTo>
                    <a:pt x="459472" y="6598805"/>
                  </a:lnTo>
                  <a:lnTo>
                    <a:pt x="235384" y="6598805"/>
                  </a:lnTo>
                  <a:lnTo>
                    <a:pt x="235384" y="6360680"/>
                  </a:lnTo>
                  <a:close/>
                  <a:moveTo>
                    <a:pt x="465875" y="6360680"/>
                  </a:moveTo>
                  <a:lnTo>
                    <a:pt x="688427" y="6360680"/>
                  </a:lnTo>
                  <a:lnTo>
                    <a:pt x="688427" y="6598805"/>
                  </a:lnTo>
                  <a:lnTo>
                    <a:pt x="465875" y="6598805"/>
                  </a:lnTo>
                  <a:close/>
                  <a:moveTo>
                    <a:pt x="694829" y="6360680"/>
                  </a:moveTo>
                  <a:lnTo>
                    <a:pt x="918918" y="6360680"/>
                  </a:lnTo>
                  <a:lnTo>
                    <a:pt x="918918" y="6598805"/>
                  </a:lnTo>
                  <a:lnTo>
                    <a:pt x="694829" y="6598805"/>
                  </a:lnTo>
                  <a:close/>
                  <a:moveTo>
                    <a:pt x="925320" y="6360680"/>
                  </a:moveTo>
                  <a:lnTo>
                    <a:pt x="1149409" y="6360680"/>
                  </a:lnTo>
                  <a:lnTo>
                    <a:pt x="1149409" y="6598805"/>
                  </a:lnTo>
                  <a:lnTo>
                    <a:pt x="925320" y="6598805"/>
                  </a:lnTo>
                  <a:close/>
                  <a:moveTo>
                    <a:pt x="1155811" y="6360680"/>
                  </a:moveTo>
                  <a:lnTo>
                    <a:pt x="1379900" y="6360680"/>
                  </a:lnTo>
                  <a:lnTo>
                    <a:pt x="1379900" y="6598805"/>
                  </a:lnTo>
                  <a:lnTo>
                    <a:pt x="1155811" y="6598805"/>
                  </a:lnTo>
                  <a:close/>
                  <a:moveTo>
                    <a:pt x="1386302" y="6360680"/>
                  </a:moveTo>
                  <a:lnTo>
                    <a:pt x="1608598" y="6360680"/>
                  </a:lnTo>
                  <a:lnTo>
                    <a:pt x="1608598" y="6598805"/>
                  </a:lnTo>
                  <a:lnTo>
                    <a:pt x="1386046" y="6598805"/>
                  </a:lnTo>
                  <a:close/>
                  <a:moveTo>
                    <a:pt x="1615257" y="6360680"/>
                  </a:moveTo>
                  <a:lnTo>
                    <a:pt x="1839089" y="6360680"/>
                  </a:lnTo>
                  <a:lnTo>
                    <a:pt x="1839089" y="6598805"/>
                  </a:lnTo>
                  <a:lnTo>
                    <a:pt x="1615000" y="6598805"/>
                  </a:lnTo>
                  <a:close/>
                  <a:moveTo>
                    <a:pt x="1845748" y="6360680"/>
                  </a:moveTo>
                  <a:lnTo>
                    <a:pt x="2069580" y="6360680"/>
                  </a:lnTo>
                  <a:lnTo>
                    <a:pt x="2069580" y="6598805"/>
                  </a:lnTo>
                  <a:lnTo>
                    <a:pt x="1845491" y="6598805"/>
                  </a:lnTo>
                  <a:close/>
                  <a:moveTo>
                    <a:pt x="2076239" y="6360680"/>
                  </a:moveTo>
                  <a:lnTo>
                    <a:pt x="2298791" y="6360680"/>
                  </a:lnTo>
                  <a:lnTo>
                    <a:pt x="2298791" y="6598805"/>
                  </a:lnTo>
                  <a:lnTo>
                    <a:pt x="2075982" y="6598805"/>
                  </a:lnTo>
                  <a:close/>
                  <a:moveTo>
                    <a:pt x="2305193" y="6360680"/>
                  </a:moveTo>
                  <a:lnTo>
                    <a:pt x="2529282" y="6360680"/>
                  </a:lnTo>
                  <a:lnTo>
                    <a:pt x="2529282" y="6598805"/>
                  </a:lnTo>
                  <a:lnTo>
                    <a:pt x="2305193" y="6598805"/>
                  </a:lnTo>
                  <a:close/>
                  <a:moveTo>
                    <a:pt x="2535684" y="6360680"/>
                  </a:moveTo>
                  <a:lnTo>
                    <a:pt x="2759773" y="6360680"/>
                  </a:lnTo>
                  <a:lnTo>
                    <a:pt x="2759773" y="6598805"/>
                  </a:lnTo>
                  <a:lnTo>
                    <a:pt x="2535684" y="6598805"/>
                  </a:lnTo>
                  <a:close/>
                  <a:moveTo>
                    <a:pt x="2766175" y="6360680"/>
                  </a:moveTo>
                  <a:lnTo>
                    <a:pt x="2990264" y="6360680"/>
                  </a:lnTo>
                  <a:lnTo>
                    <a:pt x="2990264" y="6598805"/>
                  </a:lnTo>
                  <a:lnTo>
                    <a:pt x="2766175" y="6598805"/>
                  </a:lnTo>
                  <a:close/>
                  <a:moveTo>
                    <a:pt x="2996666" y="6360680"/>
                  </a:moveTo>
                  <a:lnTo>
                    <a:pt x="3219218" y="6360680"/>
                  </a:lnTo>
                  <a:lnTo>
                    <a:pt x="3219218" y="6598805"/>
                  </a:lnTo>
                  <a:lnTo>
                    <a:pt x="2996666" y="6598805"/>
                  </a:lnTo>
                  <a:close/>
                  <a:moveTo>
                    <a:pt x="3225621" y="6360680"/>
                  </a:moveTo>
                  <a:lnTo>
                    <a:pt x="3449709" y="6360680"/>
                  </a:lnTo>
                  <a:lnTo>
                    <a:pt x="3449709" y="6598805"/>
                  </a:lnTo>
                  <a:lnTo>
                    <a:pt x="3225621" y="6598805"/>
                  </a:lnTo>
                  <a:close/>
                  <a:moveTo>
                    <a:pt x="3456112" y="6360680"/>
                  </a:moveTo>
                  <a:lnTo>
                    <a:pt x="3680200" y="6360680"/>
                  </a:lnTo>
                  <a:lnTo>
                    <a:pt x="3680200" y="6598805"/>
                  </a:lnTo>
                  <a:lnTo>
                    <a:pt x="3456112" y="6598805"/>
                  </a:lnTo>
                  <a:close/>
                  <a:moveTo>
                    <a:pt x="3686603" y="6360680"/>
                  </a:moveTo>
                  <a:lnTo>
                    <a:pt x="3910691" y="6360680"/>
                  </a:lnTo>
                  <a:lnTo>
                    <a:pt x="3910691" y="6598805"/>
                  </a:lnTo>
                  <a:lnTo>
                    <a:pt x="3686603" y="6598805"/>
                  </a:lnTo>
                  <a:close/>
                  <a:moveTo>
                    <a:pt x="3917094" y="6360680"/>
                  </a:moveTo>
                  <a:lnTo>
                    <a:pt x="4139644" y="6360680"/>
                  </a:lnTo>
                  <a:lnTo>
                    <a:pt x="4139644" y="6598805"/>
                  </a:lnTo>
                  <a:lnTo>
                    <a:pt x="3917094" y="6598805"/>
                  </a:lnTo>
                  <a:close/>
                  <a:moveTo>
                    <a:pt x="4146047" y="6360680"/>
                  </a:moveTo>
                  <a:lnTo>
                    <a:pt x="4370135" y="6360680"/>
                  </a:lnTo>
                  <a:lnTo>
                    <a:pt x="4370135" y="6598805"/>
                  </a:lnTo>
                  <a:lnTo>
                    <a:pt x="4146047" y="6598805"/>
                  </a:lnTo>
                  <a:close/>
                  <a:moveTo>
                    <a:pt x="4376538" y="6360680"/>
                  </a:moveTo>
                  <a:lnTo>
                    <a:pt x="4600626" y="6360680"/>
                  </a:lnTo>
                  <a:lnTo>
                    <a:pt x="4600626" y="6598805"/>
                  </a:lnTo>
                  <a:lnTo>
                    <a:pt x="4376538" y="6598805"/>
                  </a:lnTo>
                  <a:close/>
                  <a:moveTo>
                    <a:pt x="4607029" y="6360680"/>
                  </a:moveTo>
                  <a:lnTo>
                    <a:pt x="4829582" y="6360680"/>
                  </a:lnTo>
                  <a:lnTo>
                    <a:pt x="4829582" y="6598805"/>
                  </a:lnTo>
                  <a:lnTo>
                    <a:pt x="4607029" y="6598805"/>
                  </a:lnTo>
                  <a:close/>
                  <a:moveTo>
                    <a:pt x="4835985" y="6360680"/>
                  </a:moveTo>
                  <a:lnTo>
                    <a:pt x="5060073" y="6360680"/>
                  </a:lnTo>
                  <a:lnTo>
                    <a:pt x="5060073" y="6598805"/>
                  </a:lnTo>
                  <a:lnTo>
                    <a:pt x="4835472" y="6598805"/>
                  </a:lnTo>
                  <a:close/>
                  <a:moveTo>
                    <a:pt x="5066476" y="6360680"/>
                  </a:moveTo>
                  <a:lnTo>
                    <a:pt x="5290564" y="6360680"/>
                  </a:lnTo>
                  <a:lnTo>
                    <a:pt x="5290564" y="6598805"/>
                  </a:lnTo>
                  <a:lnTo>
                    <a:pt x="5065963" y="6598805"/>
                  </a:lnTo>
                  <a:close/>
                  <a:moveTo>
                    <a:pt x="5296967" y="6360680"/>
                  </a:moveTo>
                  <a:lnTo>
                    <a:pt x="5521055" y="6360680"/>
                  </a:lnTo>
                  <a:lnTo>
                    <a:pt x="5521055" y="6598805"/>
                  </a:lnTo>
                  <a:lnTo>
                    <a:pt x="5296454" y="6598805"/>
                  </a:lnTo>
                  <a:close/>
                  <a:moveTo>
                    <a:pt x="5527458" y="6360680"/>
                  </a:moveTo>
                  <a:lnTo>
                    <a:pt x="5750008" y="6360680"/>
                  </a:lnTo>
                  <a:lnTo>
                    <a:pt x="5750008" y="6598805"/>
                  </a:lnTo>
                  <a:lnTo>
                    <a:pt x="5526945" y="6598805"/>
                  </a:lnTo>
                  <a:close/>
                  <a:moveTo>
                    <a:pt x="5756411" y="6360680"/>
                  </a:moveTo>
                  <a:lnTo>
                    <a:pt x="5980499" y="6360680"/>
                  </a:lnTo>
                  <a:lnTo>
                    <a:pt x="5980499" y="6598805"/>
                  </a:lnTo>
                  <a:lnTo>
                    <a:pt x="5756411" y="6598805"/>
                  </a:lnTo>
                  <a:close/>
                  <a:moveTo>
                    <a:pt x="5986902" y="6360680"/>
                  </a:moveTo>
                  <a:lnTo>
                    <a:pt x="6210990" y="6360680"/>
                  </a:lnTo>
                  <a:lnTo>
                    <a:pt x="6210990" y="6598805"/>
                  </a:lnTo>
                  <a:lnTo>
                    <a:pt x="5986902" y="6598805"/>
                  </a:lnTo>
                  <a:close/>
                  <a:moveTo>
                    <a:pt x="6217393" y="6360680"/>
                  </a:moveTo>
                  <a:lnTo>
                    <a:pt x="6439946" y="6360680"/>
                  </a:lnTo>
                  <a:lnTo>
                    <a:pt x="6439946" y="6598805"/>
                  </a:lnTo>
                  <a:lnTo>
                    <a:pt x="6217136" y="6598805"/>
                  </a:lnTo>
                  <a:close/>
                  <a:moveTo>
                    <a:pt x="6446349" y="6360680"/>
                  </a:moveTo>
                  <a:lnTo>
                    <a:pt x="6656863" y="6360680"/>
                  </a:lnTo>
                  <a:lnTo>
                    <a:pt x="6656863" y="6598805"/>
                  </a:lnTo>
                  <a:lnTo>
                    <a:pt x="6446349" y="6598805"/>
                  </a:lnTo>
                  <a:close/>
                  <a:moveTo>
                    <a:pt x="6663265" y="6360680"/>
                  </a:moveTo>
                  <a:lnTo>
                    <a:pt x="6887354" y="6360680"/>
                  </a:lnTo>
                  <a:lnTo>
                    <a:pt x="6887354" y="6598805"/>
                  </a:lnTo>
                  <a:lnTo>
                    <a:pt x="6663265" y="6598805"/>
                  </a:lnTo>
                  <a:close/>
                  <a:moveTo>
                    <a:pt x="6893756" y="6360680"/>
                  </a:moveTo>
                  <a:lnTo>
                    <a:pt x="7117845" y="6360680"/>
                  </a:lnTo>
                  <a:lnTo>
                    <a:pt x="7117845" y="6598805"/>
                  </a:lnTo>
                  <a:lnTo>
                    <a:pt x="6893756" y="6598805"/>
                  </a:lnTo>
                  <a:close/>
                  <a:moveTo>
                    <a:pt x="7124247" y="6360680"/>
                  </a:moveTo>
                  <a:lnTo>
                    <a:pt x="7346801" y="6360680"/>
                  </a:lnTo>
                  <a:lnTo>
                    <a:pt x="7346801" y="6598805"/>
                  </a:lnTo>
                  <a:lnTo>
                    <a:pt x="7124247" y="6598805"/>
                  </a:lnTo>
                  <a:close/>
                  <a:moveTo>
                    <a:pt x="7353204" y="6360680"/>
                  </a:moveTo>
                  <a:lnTo>
                    <a:pt x="7577292" y="6360680"/>
                  </a:lnTo>
                  <a:lnTo>
                    <a:pt x="7577292" y="6598805"/>
                  </a:lnTo>
                  <a:lnTo>
                    <a:pt x="7353204" y="6598805"/>
                  </a:lnTo>
                  <a:close/>
                  <a:moveTo>
                    <a:pt x="7583695" y="6360680"/>
                  </a:moveTo>
                  <a:lnTo>
                    <a:pt x="7807783" y="6360680"/>
                  </a:lnTo>
                  <a:lnTo>
                    <a:pt x="7807783" y="6598805"/>
                  </a:lnTo>
                  <a:lnTo>
                    <a:pt x="7583695" y="6598805"/>
                  </a:lnTo>
                  <a:close/>
                  <a:moveTo>
                    <a:pt x="7814186" y="6360680"/>
                  </a:moveTo>
                  <a:lnTo>
                    <a:pt x="8038274" y="6360680"/>
                  </a:lnTo>
                  <a:lnTo>
                    <a:pt x="8038274" y="6598805"/>
                  </a:lnTo>
                  <a:lnTo>
                    <a:pt x="7814186" y="6598805"/>
                  </a:lnTo>
                  <a:close/>
                  <a:moveTo>
                    <a:pt x="8044677" y="6360680"/>
                  </a:moveTo>
                  <a:lnTo>
                    <a:pt x="8267227" y="6360680"/>
                  </a:lnTo>
                  <a:lnTo>
                    <a:pt x="8267227" y="6598805"/>
                  </a:lnTo>
                  <a:lnTo>
                    <a:pt x="8044420" y="6598805"/>
                  </a:lnTo>
                  <a:close/>
                  <a:moveTo>
                    <a:pt x="8273629" y="6360680"/>
                  </a:moveTo>
                  <a:lnTo>
                    <a:pt x="8497718" y="6360680"/>
                  </a:lnTo>
                  <a:lnTo>
                    <a:pt x="8497718" y="6598805"/>
                  </a:lnTo>
                  <a:lnTo>
                    <a:pt x="8273629" y="6598805"/>
                  </a:lnTo>
                  <a:close/>
                  <a:moveTo>
                    <a:pt x="8504120" y="6360680"/>
                  </a:moveTo>
                  <a:lnTo>
                    <a:pt x="8728209" y="6360680"/>
                  </a:lnTo>
                  <a:lnTo>
                    <a:pt x="8728209" y="6598805"/>
                  </a:lnTo>
                  <a:lnTo>
                    <a:pt x="8504120" y="6598805"/>
                  </a:lnTo>
                  <a:close/>
                  <a:moveTo>
                    <a:pt x="8734611" y="6360680"/>
                  </a:moveTo>
                  <a:lnTo>
                    <a:pt x="8957162" y="6360680"/>
                  </a:lnTo>
                  <a:lnTo>
                    <a:pt x="8957162" y="6598805"/>
                  </a:lnTo>
                  <a:lnTo>
                    <a:pt x="8734611" y="6598805"/>
                  </a:lnTo>
                  <a:close/>
                  <a:moveTo>
                    <a:pt x="8963564" y="6360680"/>
                  </a:moveTo>
                  <a:lnTo>
                    <a:pt x="9187653" y="6360680"/>
                  </a:lnTo>
                  <a:lnTo>
                    <a:pt x="9187653" y="6598805"/>
                  </a:lnTo>
                  <a:lnTo>
                    <a:pt x="8963564" y="6598805"/>
                  </a:lnTo>
                  <a:close/>
                  <a:moveTo>
                    <a:pt x="9194055" y="6360680"/>
                  </a:moveTo>
                  <a:lnTo>
                    <a:pt x="9418144" y="6360680"/>
                  </a:lnTo>
                  <a:lnTo>
                    <a:pt x="9418144" y="6598805"/>
                  </a:lnTo>
                  <a:lnTo>
                    <a:pt x="9194055" y="6598805"/>
                  </a:lnTo>
                  <a:close/>
                  <a:moveTo>
                    <a:pt x="9424546" y="6360680"/>
                  </a:moveTo>
                  <a:lnTo>
                    <a:pt x="9648635" y="6360680"/>
                  </a:lnTo>
                  <a:lnTo>
                    <a:pt x="9648635" y="6598805"/>
                  </a:lnTo>
                  <a:lnTo>
                    <a:pt x="9424546" y="6598805"/>
                  </a:lnTo>
                  <a:close/>
                  <a:moveTo>
                    <a:pt x="9655037" y="6360680"/>
                  </a:moveTo>
                  <a:lnTo>
                    <a:pt x="9877591" y="6360680"/>
                  </a:lnTo>
                  <a:lnTo>
                    <a:pt x="9877591" y="6598805"/>
                  </a:lnTo>
                  <a:lnTo>
                    <a:pt x="9655037" y="6598805"/>
                  </a:lnTo>
                  <a:close/>
                  <a:moveTo>
                    <a:pt x="9883993" y="6360680"/>
                  </a:moveTo>
                  <a:lnTo>
                    <a:pt x="10108082" y="6360680"/>
                  </a:lnTo>
                  <a:lnTo>
                    <a:pt x="10108082" y="6598805"/>
                  </a:lnTo>
                  <a:lnTo>
                    <a:pt x="9883993" y="6598805"/>
                  </a:lnTo>
                  <a:close/>
                  <a:moveTo>
                    <a:pt x="10114484" y="6360680"/>
                  </a:moveTo>
                  <a:lnTo>
                    <a:pt x="10338573" y="6360680"/>
                  </a:lnTo>
                  <a:lnTo>
                    <a:pt x="10338573" y="6598805"/>
                  </a:lnTo>
                  <a:lnTo>
                    <a:pt x="10114484" y="6598805"/>
                  </a:lnTo>
                  <a:close/>
                  <a:moveTo>
                    <a:pt x="10344975" y="6360680"/>
                  </a:moveTo>
                  <a:lnTo>
                    <a:pt x="10569064" y="6360680"/>
                  </a:lnTo>
                  <a:lnTo>
                    <a:pt x="10569064" y="6598805"/>
                  </a:lnTo>
                  <a:lnTo>
                    <a:pt x="10344975" y="6598805"/>
                  </a:lnTo>
                  <a:close/>
                  <a:moveTo>
                    <a:pt x="10575466" y="6360680"/>
                  </a:moveTo>
                  <a:lnTo>
                    <a:pt x="10798016" y="6360680"/>
                  </a:lnTo>
                  <a:lnTo>
                    <a:pt x="10798016" y="6598805"/>
                  </a:lnTo>
                  <a:lnTo>
                    <a:pt x="10575466" y="6598805"/>
                  </a:lnTo>
                  <a:close/>
                  <a:moveTo>
                    <a:pt x="10804419" y="6360680"/>
                  </a:moveTo>
                  <a:lnTo>
                    <a:pt x="11028507" y="6360680"/>
                  </a:lnTo>
                  <a:lnTo>
                    <a:pt x="11028507" y="6598805"/>
                  </a:lnTo>
                  <a:lnTo>
                    <a:pt x="10804419" y="6598805"/>
                  </a:lnTo>
                  <a:close/>
                  <a:moveTo>
                    <a:pt x="11034910" y="6360680"/>
                  </a:moveTo>
                  <a:lnTo>
                    <a:pt x="11258998" y="6360680"/>
                  </a:lnTo>
                  <a:lnTo>
                    <a:pt x="11258998" y="6598805"/>
                  </a:lnTo>
                  <a:lnTo>
                    <a:pt x="11034910" y="6598805"/>
                  </a:lnTo>
                  <a:close/>
                  <a:moveTo>
                    <a:pt x="11265401" y="6360680"/>
                  </a:moveTo>
                  <a:lnTo>
                    <a:pt x="11487954" y="6360680"/>
                  </a:lnTo>
                  <a:lnTo>
                    <a:pt x="11487954" y="6598805"/>
                  </a:lnTo>
                  <a:lnTo>
                    <a:pt x="11265401" y="6598805"/>
                  </a:lnTo>
                  <a:close/>
                  <a:moveTo>
                    <a:pt x="11494357" y="6360680"/>
                  </a:moveTo>
                  <a:lnTo>
                    <a:pt x="11718445" y="6360680"/>
                  </a:lnTo>
                  <a:lnTo>
                    <a:pt x="11718445" y="6598805"/>
                  </a:lnTo>
                  <a:lnTo>
                    <a:pt x="11494101" y="6598805"/>
                  </a:lnTo>
                  <a:close/>
                  <a:moveTo>
                    <a:pt x="11724848" y="6360680"/>
                  </a:moveTo>
                  <a:lnTo>
                    <a:pt x="11948936" y="6360680"/>
                  </a:lnTo>
                  <a:lnTo>
                    <a:pt x="11948936" y="6598805"/>
                  </a:lnTo>
                  <a:lnTo>
                    <a:pt x="11724592" y="6598805"/>
                  </a:lnTo>
                  <a:close/>
                  <a:moveTo>
                    <a:pt x="11724848" y="6353876"/>
                  </a:moveTo>
                  <a:lnTo>
                    <a:pt x="11724848" y="6117384"/>
                  </a:lnTo>
                  <a:lnTo>
                    <a:pt x="11948936" y="6117384"/>
                  </a:lnTo>
                  <a:lnTo>
                    <a:pt x="11948936" y="6353876"/>
                  </a:lnTo>
                  <a:close/>
                  <a:moveTo>
                    <a:pt x="11724848" y="6110580"/>
                  </a:moveTo>
                  <a:lnTo>
                    <a:pt x="11724848" y="5872455"/>
                  </a:lnTo>
                  <a:lnTo>
                    <a:pt x="11948936" y="5872455"/>
                  </a:lnTo>
                  <a:lnTo>
                    <a:pt x="11948936" y="6110580"/>
                  </a:lnTo>
                  <a:close/>
                  <a:moveTo>
                    <a:pt x="11724848" y="5865652"/>
                  </a:moveTo>
                  <a:lnTo>
                    <a:pt x="11724848" y="5627527"/>
                  </a:lnTo>
                  <a:lnTo>
                    <a:pt x="11948936" y="5627527"/>
                  </a:lnTo>
                  <a:lnTo>
                    <a:pt x="11948936" y="5865652"/>
                  </a:lnTo>
                  <a:close/>
                  <a:moveTo>
                    <a:pt x="11724848" y="5620723"/>
                  </a:moveTo>
                  <a:lnTo>
                    <a:pt x="11724848" y="5382598"/>
                  </a:lnTo>
                  <a:lnTo>
                    <a:pt x="11948936" y="5382598"/>
                  </a:lnTo>
                  <a:lnTo>
                    <a:pt x="11948936" y="5620723"/>
                  </a:lnTo>
                  <a:close/>
                  <a:moveTo>
                    <a:pt x="11724848" y="5375795"/>
                  </a:moveTo>
                  <a:lnTo>
                    <a:pt x="11724848" y="5139302"/>
                  </a:lnTo>
                  <a:lnTo>
                    <a:pt x="11948936" y="5139302"/>
                  </a:lnTo>
                  <a:lnTo>
                    <a:pt x="11948936" y="5375795"/>
                  </a:lnTo>
                  <a:close/>
                  <a:moveTo>
                    <a:pt x="11724848" y="5132499"/>
                  </a:moveTo>
                  <a:lnTo>
                    <a:pt x="11724848" y="4894374"/>
                  </a:lnTo>
                  <a:lnTo>
                    <a:pt x="11948936" y="4894374"/>
                  </a:lnTo>
                  <a:lnTo>
                    <a:pt x="11948936" y="5132090"/>
                  </a:lnTo>
                  <a:close/>
                  <a:moveTo>
                    <a:pt x="11724848" y="4887570"/>
                  </a:moveTo>
                  <a:lnTo>
                    <a:pt x="11724848" y="4649445"/>
                  </a:lnTo>
                  <a:lnTo>
                    <a:pt x="11948936" y="4649445"/>
                  </a:lnTo>
                  <a:lnTo>
                    <a:pt x="11948936" y="4887162"/>
                  </a:lnTo>
                  <a:close/>
                  <a:moveTo>
                    <a:pt x="11724848" y="4642642"/>
                  </a:moveTo>
                  <a:lnTo>
                    <a:pt x="11724848" y="4406149"/>
                  </a:lnTo>
                  <a:lnTo>
                    <a:pt x="11948936" y="4406149"/>
                  </a:lnTo>
                  <a:lnTo>
                    <a:pt x="11948936" y="4642233"/>
                  </a:lnTo>
                  <a:close/>
                  <a:moveTo>
                    <a:pt x="11724848" y="4399346"/>
                  </a:moveTo>
                  <a:lnTo>
                    <a:pt x="11724848" y="4161221"/>
                  </a:lnTo>
                  <a:lnTo>
                    <a:pt x="11948936" y="4161221"/>
                  </a:lnTo>
                  <a:lnTo>
                    <a:pt x="11948936" y="4399346"/>
                  </a:lnTo>
                  <a:close/>
                  <a:moveTo>
                    <a:pt x="11724848" y="4154417"/>
                  </a:moveTo>
                  <a:lnTo>
                    <a:pt x="11724848" y="3916292"/>
                  </a:lnTo>
                  <a:lnTo>
                    <a:pt x="11948936" y="3916292"/>
                  </a:lnTo>
                  <a:lnTo>
                    <a:pt x="11948936" y="4154417"/>
                  </a:lnTo>
                  <a:close/>
                  <a:moveTo>
                    <a:pt x="11724848" y="3909489"/>
                  </a:moveTo>
                  <a:lnTo>
                    <a:pt x="11724848" y="3671364"/>
                  </a:lnTo>
                  <a:lnTo>
                    <a:pt x="11948936" y="3671364"/>
                  </a:lnTo>
                  <a:lnTo>
                    <a:pt x="11948936" y="3909489"/>
                  </a:lnTo>
                  <a:close/>
                  <a:moveTo>
                    <a:pt x="11724848" y="3664560"/>
                  </a:moveTo>
                  <a:lnTo>
                    <a:pt x="11724848" y="3428068"/>
                  </a:lnTo>
                  <a:lnTo>
                    <a:pt x="11948936" y="3428068"/>
                  </a:lnTo>
                  <a:lnTo>
                    <a:pt x="11948936" y="3664560"/>
                  </a:lnTo>
                  <a:close/>
                  <a:moveTo>
                    <a:pt x="11724848" y="3421264"/>
                  </a:moveTo>
                  <a:lnTo>
                    <a:pt x="11724848" y="3183139"/>
                  </a:lnTo>
                  <a:lnTo>
                    <a:pt x="11948936" y="3183139"/>
                  </a:lnTo>
                  <a:lnTo>
                    <a:pt x="11948936" y="3421264"/>
                  </a:lnTo>
                  <a:close/>
                  <a:moveTo>
                    <a:pt x="11724848" y="3176336"/>
                  </a:moveTo>
                  <a:lnTo>
                    <a:pt x="11724848" y="2938211"/>
                  </a:lnTo>
                  <a:lnTo>
                    <a:pt x="11948936" y="2938211"/>
                  </a:lnTo>
                  <a:lnTo>
                    <a:pt x="11948936" y="3176336"/>
                  </a:lnTo>
                  <a:close/>
                  <a:moveTo>
                    <a:pt x="11724848" y="2931407"/>
                  </a:moveTo>
                  <a:lnTo>
                    <a:pt x="11724848" y="2693282"/>
                  </a:lnTo>
                  <a:lnTo>
                    <a:pt x="11948936" y="2693282"/>
                  </a:lnTo>
                  <a:lnTo>
                    <a:pt x="11948936" y="2931407"/>
                  </a:lnTo>
                  <a:close/>
                  <a:moveTo>
                    <a:pt x="11724848" y="2686479"/>
                  </a:moveTo>
                  <a:lnTo>
                    <a:pt x="11724848" y="2449986"/>
                  </a:lnTo>
                  <a:lnTo>
                    <a:pt x="11948936" y="2449986"/>
                  </a:lnTo>
                  <a:lnTo>
                    <a:pt x="11948936" y="2686479"/>
                  </a:lnTo>
                  <a:close/>
                  <a:moveTo>
                    <a:pt x="11724848" y="2443183"/>
                  </a:moveTo>
                  <a:lnTo>
                    <a:pt x="11724848" y="2205058"/>
                  </a:lnTo>
                  <a:lnTo>
                    <a:pt x="11948936" y="2205058"/>
                  </a:lnTo>
                  <a:lnTo>
                    <a:pt x="11948936" y="2443183"/>
                  </a:lnTo>
                  <a:close/>
                  <a:moveTo>
                    <a:pt x="11724848" y="2198254"/>
                  </a:moveTo>
                  <a:lnTo>
                    <a:pt x="11724848" y="1960129"/>
                  </a:lnTo>
                  <a:lnTo>
                    <a:pt x="11948936" y="1960129"/>
                  </a:lnTo>
                  <a:lnTo>
                    <a:pt x="11948936" y="2198254"/>
                  </a:lnTo>
                  <a:close/>
                  <a:moveTo>
                    <a:pt x="11724848" y="1953326"/>
                  </a:moveTo>
                  <a:lnTo>
                    <a:pt x="11724848" y="1716697"/>
                  </a:lnTo>
                  <a:lnTo>
                    <a:pt x="11948936" y="1716697"/>
                  </a:lnTo>
                  <a:lnTo>
                    <a:pt x="11948936" y="1953189"/>
                  </a:lnTo>
                  <a:close/>
                  <a:moveTo>
                    <a:pt x="11724848" y="1710030"/>
                  </a:moveTo>
                  <a:lnTo>
                    <a:pt x="11724848" y="1471769"/>
                  </a:lnTo>
                  <a:lnTo>
                    <a:pt x="11948936" y="1471769"/>
                  </a:lnTo>
                  <a:lnTo>
                    <a:pt x="11948936" y="1709894"/>
                  </a:lnTo>
                  <a:close/>
                  <a:moveTo>
                    <a:pt x="11724848" y="1465101"/>
                  </a:moveTo>
                  <a:lnTo>
                    <a:pt x="11724848" y="1226840"/>
                  </a:lnTo>
                  <a:lnTo>
                    <a:pt x="11948936" y="1226840"/>
                  </a:lnTo>
                  <a:lnTo>
                    <a:pt x="11948936" y="1464965"/>
                  </a:lnTo>
                  <a:close/>
                  <a:moveTo>
                    <a:pt x="11724848" y="1220173"/>
                  </a:moveTo>
                  <a:lnTo>
                    <a:pt x="11724848" y="981911"/>
                  </a:lnTo>
                  <a:lnTo>
                    <a:pt x="11948936" y="981911"/>
                  </a:lnTo>
                  <a:lnTo>
                    <a:pt x="11948936" y="1220036"/>
                  </a:lnTo>
                  <a:close/>
                  <a:moveTo>
                    <a:pt x="11724848" y="975244"/>
                  </a:moveTo>
                  <a:lnTo>
                    <a:pt x="11724848" y="738752"/>
                  </a:lnTo>
                  <a:lnTo>
                    <a:pt x="11948936" y="738752"/>
                  </a:lnTo>
                  <a:lnTo>
                    <a:pt x="11948936" y="975244"/>
                  </a:lnTo>
                  <a:close/>
                  <a:moveTo>
                    <a:pt x="11724848" y="731948"/>
                  </a:moveTo>
                  <a:lnTo>
                    <a:pt x="11724848" y="493823"/>
                  </a:lnTo>
                  <a:lnTo>
                    <a:pt x="11948936" y="493823"/>
                  </a:lnTo>
                  <a:lnTo>
                    <a:pt x="11948936" y="731948"/>
                  </a:lnTo>
                  <a:close/>
                  <a:moveTo>
                    <a:pt x="11724848" y="487020"/>
                  </a:moveTo>
                  <a:lnTo>
                    <a:pt x="11724848" y="248895"/>
                  </a:lnTo>
                  <a:lnTo>
                    <a:pt x="11948936" y="248895"/>
                  </a:lnTo>
                  <a:lnTo>
                    <a:pt x="11948936" y="487020"/>
                  </a:lnTo>
                  <a:close/>
                  <a:moveTo>
                    <a:pt x="11724848" y="242091"/>
                  </a:moveTo>
                  <a:lnTo>
                    <a:pt x="11724848" y="5599"/>
                  </a:lnTo>
                  <a:lnTo>
                    <a:pt x="11948936" y="5599"/>
                  </a:lnTo>
                  <a:lnTo>
                    <a:pt x="11948936" y="242091"/>
                  </a:lnTo>
                  <a:close/>
                  <a:moveTo>
                    <a:pt x="11718445" y="242091"/>
                  </a:moveTo>
                  <a:lnTo>
                    <a:pt x="11494101" y="242091"/>
                  </a:lnTo>
                  <a:lnTo>
                    <a:pt x="11494101" y="5599"/>
                  </a:lnTo>
                  <a:lnTo>
                    <a:pt x="11718189" y="5599"/>
                  </a:lnTo>
                  <a:close/>
                  <a:moveTo>
                    <a:pt x="11487954" y="242091"/>
                  </a:moveTo>
                  <a:lnTo>
                    <a:pt x="11265401" y="242091"/>
                  </a:lnTo>
                  <a:lnTo>
                    <a:pt x="11265401" y="5599"/>
                  </a:lnTo>
                  <a:lnTo>
                    <a:pt x="11487954" y="5599"/>
                  </a:lnTo>
                  <a:close/>
                  <a:moveTo>
                    <a:pt x="11258998" y="242091"/>
                  </a:moveTo>
                  <a:lnTo>
                    <a:pt x="11034910" y="242091"/>
                  </a:lnTo>
                  <a:lnTo>
                    <a:pt x="11034910" y="5599"/>
                  </a:lnTo>
                  <a:lnTo>
                    <a:pt x="11258998" y="5599"/>
                  </a:lnTo>
                  <a:close/>
                  <a:moveTo>
                    <a:pt x="11028507" y="242091"/>
                  </a:moveTo>
                  <a:lnTo>
                    <a:pt x="10804419" y="242091"/>
                  </a:lnTo>
                  <a:lnTo>
                    <a:pt x="10804419" y="5599"/>
                  </a:lnTo>
                  <a:lnTo>
                    <a:pt x="11028507" y="5599"/>
                  </a:lnTo>
                  <a:close/>
                  <a:moveTo>
                    <a:pt x="10798016" y="242091"/>
                  </a:moveTo>
                  <a:lnTo>
                    <a:pt x="10575466" y="242091"/>
                  </a:lnTo>
                  <a:lnTo>
                    <a:pt x="10575466" y="5599"/>
                  </a:lnTo>
                  <a:lnTo>
                    <a:pt x="10798016" y="5599"/>
                  </a:lnTo>
                  <a:close/>
                  <a:moveTo>
                    <a:pt x="10569064" y="242091"/>
                  </a:moveTo>
                  <a:lnTo>
                    <a:pt x="10344975" y="242091"/>
                  </a:lnTo>
                  <a:lnTo>
                    <a:pt x="10344975" y="5599"/>
                  </a:lnTo>
                  <a:lnTo>
                    <a:pt x="10569064" y="5599"/>
                  </a:lnTo>
                  <a:close/>
                  <a:moveTo>
                    <a:pt x="10338573" y="242091"/>
                  </a:moveTo>
                  <a:lnTo>
                    <a:pt x="10114484" y="242091"/>
                  </a:lnTo>
                  <a:lnTo>
                    <a:pt x="10114484" y="5599"/>
                  </a:lnTo>
                  <a:lnTo>
                    <a:pt x="10338573" y="5599"/>
                  </a:lnTo>
                  <a:close/>
                  <a:moveTo>
                    <a:pt x="10108082" y="242091"/>
                  </a:moveTo>
                  <a:lnTo>
                    <a:pt x="9883993" y="242091"/>
                  </a:lnTo>
                  <a:lnTo>
                    <a:pt x="9883993" y="5599"/>
                  </a:lnTo>
                  <a:lnTo>
                    <a:pt x="10108082" y="5599"/>
                  </a:lnTo>
                  <a:close/>
                  <a:moveTo>
                    <a:pt x="9877591" y="242091"/>
                  </a:moveTo>
                  <a:lnTo>
                    <a:pt x="9655037" y="242091"/>
                  </a:lnTo>
                  <a:lnTo>
                    <a:pt x="9655037" y="5599"/>
                  </a:lnTo>
                  <a:lnTo>
                    <a:pt x="9877591" y="5599"/>
                  </a:lnTo>
                  <a:close/>
                  <a:moveTo>
                    <a:pt x="9648635" y="242091"/>
                  </a:moveTo>
                  <a:lnTo>
                    <a:pt x="9424546" y="242091"/>
                  </a:lnTo>
                  <a:lnTo>
                    <a:pt x="9424546" y="5599"/>
                  </a:lnTo>
                  <a:lnTo>
                    <a:pt x="9648635" y="5599"/>
                  </a:lnTo>
                  <a:close/>
                  <a:moveTo>
                    <a:pt x="9418144" y="242091"/>
                  </a:moveTo>
                  <a:lnTo>
                    <a:pt x="9194055" y="242091"/>
                  </a:lnTo>
                  <a:lnTo>
                    <a:pt x="9194055" y="5599"/>
                  </a:lnTo>
                  <a:lnTo>
                    <a:pt x="9418144" y="5599"/>
                  </a:lnTo>
                  <a:close/>
                  <a:moveTo>
                    <a:pt x="9187653" y="242091"/>
                  </a:moveTo>
                  <a:lnTo>
                    <a:pt x="8963564" y="242091"/>
                  </a:lnTo>
                  <a:lnTo>
                    <a:pt x="8963564" y="5599"/>
                  </a:lnTo>
                  <a:lnTo>
                    <a:pt x="9187653" y="5599"/>
                  </a:lnTo>
                  <a:close/>
                  <a:moveTo>
                    <a:pt x="8957162" y="242091"/>
                  </a:moveTo>
                  <a:lnTo>
                    <a:pt x="8734611" y="242091"/>
                  </a:lnTo>
                  <a:lnTo>
                    <a:pt x="8734611" y="5599"/>
                  </a:lnTo>
                  <a:lnTo>
                    <a:pt x="8957162" y="5599"/>
                  </a:lnTo>
                  <a:close/>
                  <a:moveTo>
                    <a:pt x="8728209" y="242091"/>
                  </a:moveTo>
                  <a:lnTo>
                    <a:pt x="8504120" y="242091"/>
                  </a:lnTo>
                  <a:lnTo>
                    <a:pt x="8504120" y="5599"/>
                  </a:lnTo>
                  <a:lnTo>
                    <a:pt x="8728209" y="5599"/>
                  </a:lnTo>
                  <a:close/>
                  <a:moveTo>
                    <a:pt x="8497718" y="242091"/>
                  </a:moveTo>
                  <a:lnTo>
                    <a:pt x="8273629" y="242091"/>
                  </a:lnTo>
                  <a:lnTo>
                    <a:pt x="8273629" y="5599"/>
                  </a:lnTo>
                  <a:lnTo>
                    <a:pt x="8497718" y="5599"/>
                  </a:lnTo>
                  <a:close/>
                  <a:moveTo>
                    <a:pt x="8267227" y="242091"/>
                  </a:moveTo>
                  <a:lnTo>
                    <a:pt x="8044420" y="242091"/>
                  </a:lnTo>
                  <a:lnTo>
                    <a:pt x="8044420" y="5599"/>
                  </a:lnTo>
                  <a:lnTo>
                    <a:pt x="8267227" y="5599"/>
                  </a:lnTo>
                  <a:close/>
                  <a:moveTo>
                    <a:pt x="8038274" y="242091"/>
                  </a:moveTo>
                  <a:lnTo>
                    <a:pt x="7814186" y="242091"/>
                  </a:lnTo>
                  <a:lnTo>
                    <a:pt x="7814186" y="5599"/>
                  </a:lnTo>
                  <a:lnTo>
                    <a:pt x="8038274" y="5599"/>
                  </a:lnTo>
                  <a:close/>
                  <a:moveTo>
                    <a:pt x="7807783" y="242091"/>
                  </a:moveTo>
                  <a:lnTo>
                    <a:pt x="7583695" y="242091"/>
                  </a:lnTo>
                  <a:lnTo>
                    <a:pt x="7583695" y="5599"/>
                  </a:lnTo>
                  <a:lnTo>
                    <a:pt x="7807783" y="5599"/>
                  </a:lnTo>
                  <a:close/>
                  <a:moveTo>
                    <a:pt x="7577292" y="242091"/>
                  </a:moveTo>
                  <a:lnTo>
                    <a:pt x="7353204" y="242091"/>
                  </a:lnTo>
                  <a:lnTo>
                    <a:pt x="7353204" y="5599"/>
                  </a:lnTo>
                  <a:lnTo>
                    <a:pt x="7577292" y="5599"/>
                  </a:lnTo>
                  <a:close/>
                  <a:moveTo>
                    <a:pt x="7346801" y="242091"/>
                  </a:moveTo>
                  <a:lnTo>
                    <a:pt x="7124247" y="242091"/>
                  </a:lnTo>
                  <a:lnTo>
                    <a:pt x="7124247" y="5599"/>
                  </a:lnTo>
                  <a:lnTo>
                    <a:pt x="7346801" y="5599"/>
                  </a:lnTo>
                  <a:close/>
                  <a:moveTo>
                    <a:pt x="7117845" y="242091"/>
                  </a:moveTo>
                  <a:lnTo>
                    <a:pt x="6893756" y="242091"/>
                  </a:lnTo>
                  <a:lnTo>
                    <a:pt x="6893756" y="5599"/>
                  </a:lnTo>
                  <a:lnTo>
                    <a:pt x="7117845" y="5599"/>
                  </a:lnTo>
                  <a:close/>
                  <a:moveTo>
                    <a:pt x="6887354" y="242091"/>
                  </a:moveTo>
                  <a:lnTo>
                    <a:pt x="6663265" y="242091"/>
                  </a:lnTo>
                  <a:lnTo>
                    <a:pt x="6663265" y="5599"/>
                  </a:lnTo>
                  <a:lnTo>
                    <a:pt x="6887354" y="5599"/>
                  </a:lnTo>
                  <a:close/>
                  <a:moveTo>
                    <a:pt x="6656863" y="242091"/>
                  </a:moveTo>
                  <a:lnTo>
                    <a:pt x="6446349" y="242091"/>
                  </a:lnTo>
                  <a:lnTo>
                    <a:pt x="6446349" y="5599"/>
                  </a:lnTo>
                  <a:lnTo>
                    <a:pt x="6656863" y="5599"/>
                  </a:lnTo>
                  <a:close/>
                  <a:moveTo>
                    <a:pt x="6439946" y="242091"/>
                  </a:moveTo>
                  <a:lnTo>
                    <a:pt x="6217136" y="242091"/>
                  </a:lnTo>
                  <a:lnTo>
                    <a:pt x="6217136" y="5599"/>
                  </a:lnTo>
                  <a:lnTo>
                    <a:pt x="6439690" y="5599"/>
                  </a:lnTo>
                  <a:close/>
                  <a:moveTo>
                    <a:pt x="6210990" y="242091"/>
                  </a:moveTo>
                  <a:lnTo>
                    <a:pt x="5986902" y="242091"/>
                  </a:lnTo>
                  <a:lnTo>
                    <a:pt x="5986902" y="5599"/>
                  </a:lnTo>
                  <a:lnTo>
                    <a:pt x="6210990" y="5599"/>
                  </a:lnTo>
                  <a:close/>
                  <a:moveTo>
                    <a:pt x="5980499" y="242091"/>
                  </a:moveTo>
                  <a:lnTo>
                    <a:pt x="5756411" y="242091"/>
                  </a:lnTo>
                  <a:lnTo>
                    <a:pt x="5756411" y="5599"/>
                  </a:lnTo>
                  <a:lnTo>
                    <a:pt x="5980499" y="5599"/>
                  </a:lnTo>
                  <a:close/>
                  <a:moveTo>
                    <a:pt x="5750008" y="242091"/>
                  </a:moveTo>
                  <a:lnTo>
                    <a:pt x="5526945" y="242091"/>
                  </a:lnTo>
                  <a:lnTo>
                    <a:pt x="5526945" y="5599"/>
                  </a:lnTo>
                  <a:lnTo>
                    <a:pt x="5749495" y="5599"/>
                  </a:lnTo>
                  <a:close/>
                  <a:moveTo>
                    <a:pt x="5521055" y="242091"/>
                  </a:moveTo>
                  <a:lnTo>
                    <a:pt x="5296454" y="242091"/>
                  </a:lnTo>
                  <a:lnTo>
                    <a:pt x="5296454" y="5599"/>
                  </a:lnTo>
                  <a:lnTo>
                    <a:pt x="5520542" y="5599"/>
                  </a:lnTo>
                  <a:close/>
                  <a:moveTo>
                    <a:pt x="5290564" y="242091"/>
                  </a:moveTo>
                  <a:lnTo>
                    <a:pt x="5065963" y="242091"/>
                  </a:lnTo>
                  <a:lnTo>
                    <a:pt x="5065963" y="5599"/>
                  </a:lnTo>
                  <a:lnTo>
                    <a:pt x="5290051" y="5599"/>
                  </a:lnTo>
                  <a:close/>
                  <a:moveTo>
                    <a:pt x="5060073" y="242091"/>
                  </a:moveTo>
                  <a:lnTo>
                    <a:pt x="4835472" y="242091"/>
                  </a:lnTo>
                  <a:lnTo>
                    <a:pt x="4835472" y="5599"/>
                  </a:lnTo>
                  <a:lnTo>
                    <a:pt x="5059560" y="5599"/>
                  </a:lnTo>
                  <a:close/>
                  <a:moveTo>
                    <a:pt x="4829582" y="242091"/>
                  </a:moveTo>
                  <a:lnTo>
                    <a:pt x="4607029" y="242091"/>
                  </a:lnTo>
                  <a:lnTo>
                    <a:pt x="4607029" y="5599"/>
                  </a:lnTo>
                  <a:lnTo>
                    <a:pt x="4829582" y="5599"/>
                  </a:lnTo>
                  <a:close/>
                  <a:moveTo>
                    <a:pt x="4600626" y="242091"/>
                  </a:moveTo>
                  <a:lnTo>
                    <a:pt x="4376538" y="242091"/>
                  </a:lnTo>
                  <a:lnTo>
                    <a:pt x="4376538" y="5599"/>
                  </a:lnTo>
                  <a:lnTo>
                    <a:pt x="4600626" y="5599"/>
                  </a:lnTo>
                  <a:close/>
                  <a:moveTo>
                    <a:pt x="4370135" y="242091"/>
                  </a:moveTo>
                  <a:lnTo>
                    <a:pt x="4146047" y="242091"/>
                  </a:lnTo>
                  <a:lnTo>
                    <a:pt x="4146047" y="5599"/>
                  </a:lnTo>
                  <a:lnTo>
                    <a:pt x="4370135" y="5599"/>
                  </a:lnTo>
                  <a:close/>
                  <a:moveTo>
                    <a:pt x="4139644" y="242091"/>
                  </a:moveTo>
                  <a:lnTo>
                    <a:pt x="3917094" y="242091"/>
                  </a:lnTo>
                  <a:lnTo>
                    <a:pt x="3917094" y="5599"/>
                  </a:lnTo>
                  <a:lnTo>
                    <a:pt x="4139644" y="5599"/>
                  </a:lnTo>
                  <a:close/>
                  <a:moveTo>
                    <a:pt x="3910691" y="242091"/>
                  </a:moveTo>
                  <a:lnTo>
                    <a:pt x="3686603" y="242091"/>
                  </a:lnTo>
                  <a:lnTo>
                    <a:pt x="3686603" y="5599"/>
                  </a:lnTo>
                  <a:lnTo>
                    <a:pt x="3910691" y="5599"/>
                  </a:lnTo>
                  <a:close/>
                  <a:moveTo>
                    <a:pt x="3680200" y="242091"/>
                  </a:moveTo>
                  <a:lnTo>
                    <a:pt x="3456112" y="242091"/>
                  </a:lnTo>
                  <a:lnTo>
                    <a:pt x="3456112" y="5599"/>
                  </a:lnTo>
                  <a:lnTo>
                    <a:pt x="3680200" y="5599"/>
                  </a:lnTo>
                  <a:close/>
                  <a:moveTo>
                    <a:pt x="3449709" y="242091"/>
                  </a:moveTo>
                  <a:lnTo>
                    <a:pt x="3225621" y="242091"/>
                  </a:lnTo>
                  <a:lnTo>
                    <a:pt x="3225621" y="5599"/>
                  </a:lnTo>
                  <a:lnTo>
                    <a:pt x="3449709" y="5599"/>
                  </a:lnTo>
                  <a:close/>
                  <a:moveTo>
                    <a:pt x="3219218" y="242091"/>
                  </a:moveTo>
                  <a:lnTo>
                    <a:pt x="2996666" y="242091"/>
                  </a:lnTo>
                  <a:lnTo>
                    <a:pt x="2996666" y="5599"/>
                  </a:lnTo>
                  <a:lnTo>
                    <a:pt x="3219218" y="5599"/>
                  </a:lnTo>
                  <a:close/>
                  <a:moveTo>
                    <a:pt x="2990264" y="242091"/>
                  </a:moveTo>
                  <a:lnTo>
                    <a:pt x="2766175" y="242091"/>
                  </a:lnTo>
                  <a:lnTo>
                    <a:pt x="2766175" y="5599"/>
                  </a:lnTo>
                  <a:lnTo>
                    <a:pt x="2990264" y="5599"/>
                  </a:lnTo>
                  <a:close/>
                  <a:moveTo>
                    <a:pt x="2759773" y="242091"/>
                  </a:moveTo>
                  <a:lnTo>
                    <a:pt x="2535684" y="242091"/>
                  </a:lnTo>
                  <a:lnTo>
                    <a:pt x="2535684" y="5599"/>
                  </a:lnTo>
                  <a:lnTo>
                    <a:pt x="2759773" y="5599"/>
                  </a:lnTo>
                  <a:close/>
                  <a:moveTo>
                    <a:pt x="2529282" y="242091"/>
                  </a:moveTo>
                  <a:lnTo>
                    <a:pt x="2305193" y="242091"/>
                  </a:lnTo>
                  <a:lnTo>
                    <a:pt x="2305193" y="5599"/>
                  </a:lnTo>
                  <a:lnTo>
                    <a:pt x="2529282" y="5599"/>
                  </a:lnTo>
                  <a:close/>
                  <a:moveTo>
                    <a:pt x="2298791" y="242091"/>
                  </a:moveTo>
                  <a:lnTo>
                    <a:pt x="2075982" y="242091"/>
                  </a:lnTo>
                  <a:lnTo>
                    <a:pt x="2075982" y="5599"/>
                  </a:lnTo>
                  <a:lnTo>
                    <a:pt x="2298534" y="5599"/>
                  </a:lnTo>
                  <a:close/>
                  <a:moveTo>
                    <a:pt x="2069836" y="242091"/>
                  </a:moveTo>
                  <a:lnTo>
                    <a:pt x="1845748" y="242091"/>
                  </a:lnTo>
                  <a:lnTo>
                    <a:pt x="1845748" y="5599"/>
                  </a:lnTo>
                  <a:lnTo>
                    <a:pt x="2069580" y="5599"/>
                  </a:lnTo>
                  <a:close/>
                  <a:moveTo>
                    <a:pt x="1839345" y="242091"/>
                  </a:moveTo>
                  <a:lnTo>
                    <a:pt x="1615257" y="242091"/>
                  </a:lnTo>
                  <a:lnTo>
                    <a:pt x="1615257" y="5599"/>
                  </a:lnTo>
                  <a:lnTo>
                    <a:pt x="1839089" y="5599"/>
                  </a:lnTo>
                  <a:close/>
                  <a:moveTo>
                    <a:pt x="1608854" y="242091"/>
                  </a:moveTo>
                  <a:lnTo>
                    <a:pt x="1386302" y="242091"/>
                  </a:lnTo>
                  <a:lnTo>
                    <a:pt x="1386302" y="5599"/>
                  </a:lnTo>
                  <a:lnTo>
                    <a:pt x="1608598" y="5599"/>
                  </a:lnTo>
                  <a:close/>
                  <a:moveTo>
                    <a:pt x="1379900" y="242091"/>
                  </a:moveTo>
                  <a:lnTo>
                    <a:pt x="1155811" y="242091"/>
                  </a:lnTo>
                  <a:lnTo>
                    <a:pt x="1155811" y="5599"/>
                  </a:lnTo>
                  <a:lnTo>
                    <a:pt x="1379900" y="5599"/>
                  </a:lnTo>
                  <a:close/>
                  <a:moveTo>
                    <a:pt x="1149409" y="242091"/>
                  </a:moveTo>
                  <a:lnTo>
                    <a:pt x="925320" y="242091"/>
                  </a:lnTo>
                  <a:lnTo>
                    <a:pt x="925320" y="5599"/>
                  </a:lnTo>
                  <a:lnTo>
                    <a:pt x="1149409" y="5599"/>
                  </a:lnTo>
                  <a:close/>
                  <a:moveTo>
                    <a:pt x="918918" y="242091"/>
                  </a:moveTo>
                  <a:lnTo>
                    <a:pt x="694829" y="242091"/>
                  </a:lnTo>
                  <a:lnTo>
                    <a:pt x="694829" y="5599"/>
                  </a:lnTo>
                  <a:lnTo>
                    <a:pt x="918918" y="5599"/>
                  </a:lnTo>
                  <a:close/>
                  <a:moveTo>
                    <a:pt x="688427" y="242091"/>
                  </a:moveTo>
                  <a:lnTo>
                    <a:pt x="465875" y="242091"/>
                  </a:lnTo>
                  <a:lnTo>
                    <a:pt x="465875" y="5599"/>
                  </a:lnTo>
                  <a:lnTo>
                    <a:pt x="688427" y="5599"/>
                  </a:lnTo>
                  <a:close/>
                  <a:moveTo>
                    <a:pt x="459472" y="242091"/>
                  </a:moveTo>
                  <a:lnTo>
                    <a:pt x="235384" y="242091"/>
                  </a:lnTo>
                  <a:lnTo>
                    <a:pt x="235384" y="5599"/>
                  </a:lnTo>
                  <a:lnTo>
                    <a:pt x="459472" y="5599"/>
                  </a:lnTo>
                  <a:close/>
                  <a:moveTo>
                    <a:pt x="228981" y="242091"/>
                  </a:moveTo>
                  <a:lnTo>
                    <a:pt x="4893" y="242091"/>
                  </a:lnTo>
                  <a:lnTo>
                    <a:pt x="4893" y="5599"/>
                  </a:lnTo>
                  <a:lnTo>
                    <a:pt x="228981" y="5599"/>
                  </a:lnTo>
                  <a:close/>
                  <a:moveTo>
                    <a:pt x="228981" y="248895"/>
                  </a:moveTo>
                  <a:lnTo>
                    <a:pt x="228981" y="487020"/>
                  </a:lnTo>
                  <a:lnTo>
                    <a:pt x="4893" y="487020"/>
                  </a:lnTo>
                  <a:lnTo>
                    <a:pt x="4893" y="248895"/>
                  </a:lnTo>
                  <a:close/>
                  <a:moveTo>
                    <a:pt x="228981" y="493823"/>
                  </a:moveTo>
                  <a:lnTo>
                    <a:pt x="228981" y="731948"/>
                  </a:lnTo>
                  <a:lnTo>
                    <a:pt x="4893" y="731948"/>
                  </a:lnTo>
                  <a:lnTo>
                    <a:pt x="4893" y="493823"/>
                  </a:lnTo>
                  <a:close/>
                  <a:moveTo>
                    <a:pt x="228981" y="738752"/>
                  </a:moveTo>
                  <a:lnTo>
                    <a:pt x="228981" y="975244"/>
                  </a:lnTo>
                  <a:lnTo>
                    <a:pt x="4893" y="975244"/>
                  </a:lnTo>
                  <a:lnTo>
                    <a:pt x="4893" y="738752"/>
                  </a:lnTo>
                  <a:close/>
                  <a:moveTo>
                    <a:pt x="228981" y="982048"/>
                  </a:moveTo>
                  <a:lnTo>
                    <a:pt x="228981" y="1220173"/>
                  </a:lnTo>
                  <a:lnTo>
                    <a:pt x="4893" y="1220173"/>
                  </a:lnTo>
                  <a:lnTo>
                    <a:pt x="4893" y="981911"/>
                  </a:lnTo>
                  <a:close/>
                  <a:moveTo>
                    <a:pt x="228981" y="1226976"/>
                  </a:moveTo>
                  <a:lnTo>
                    <a:pt x="228981" y="1465101"/>
                  </a:lnTo>
                  <a:lnTo>
                    <a:pt x="4893" y="1465101"/>
                  </a:lnTo>
                  <a:lnTo>
                    <a:pt x="4893" y="1226840"/>
                  </a:lnTo>
                  <a:close/>
                  <a:moveTo>
                    <a:pt x="228981" y="1471905"/>
                  </a:moveTo>
                  <a:lnTo>
                    <a:pt x="228981" y="1710030"/>
                  </a:lnTo>
                  <a:lnTo>
                    <a:pt x="4893" y="1710030"/>
                  </a:lnTo>
                  <a:lnTo>
                    <a:pt x="4893" y="1471769"/>
                  </a:lnTo>
                  <a:close/>
                  <a:moveTo>
                    <a:pt x="228981" y="1716833"/>
                  </a:moveTo>
                  <a:lnTo>
                    <a:pt x="228981" y="1953326"/>
                  </a:lnTo>
                  <a:lnTo>
                    <a:pt x="4893" y="1953326"/>
                  </a:lnTo>
                  <a:lnTo>
                    <a:pt x="4893" y="1716697"/>
                  </a:lnTo>
                  <a:close/>
                  <a:moveTo>
                    <a:pt x="228981" y="1960129"/>
                  </a:moveTo>
                  <a:lnTo>
                    <a:pt x="228981" y="2198254"/>
                  </a:lnTo>
                  <a:lnTo>
                    <a:pt x="4893" y="2198254"/>
                  </a:lnTo>
                  <a:lnTo>
                    <a:pt x="4893" y="1960129"/>
                  </a:lnTo>
                  <a:close/>
                  <a:moveTo>
                    <a:pt x="228981" y="2205058"/>
                  </a:moveTo>
                  <a:lnTo>
                    <a:pt x="228981" y="2443183"/>
                  </a:lnTo>
                  <a:lnTo>
                    <a:pt x="4893" y="2443183"/>
                  </a:lnTo>
                  <a:lnTo>
                    <a:pt x="4893" y="2205058"/>
                  </a:lnTo>
                  <a:close/>
                  <a:moveTo>
                    <a:pt x="228981" y="2449986"/>
                  </a:moveTo>
                  <a:lnTo>
                    <a:pt x="228981" y="2686479"/>
                  </a:lnTo>
                  <a:lnTo>
                    <a:pt x="4893" y="2686479"/>
                  </a:lnTo>
                  <a:lnTo>
                    <a:pt x="4893" y="2449986"/>
                  </a:lnTo>
                  <a:close/>
                  <a:moveTo>
                    <a:pt x="228981" y="2693282"/>
                  </a:moveTo>
                  <a:lnTo>
                    <a:pt x="228981" y="2931407"/>
                  </a:lnTo>
                  <a:lnTo>
                    <a:pt x="4893" y="2931407"/>
                  </a:lnTo>
                  <a:lnTo>
                    <a:pt x="4893" y="2693282"/>
                  </a:lnTo>
                  <a:close/>
                  <a:moveTo>
                    <a:pt x="228981" y="2938211"/>
                  </a:moveTo>
                  <a:lnTo>
                    <a:pt x="228981" y="3176336"/>
                  </a:lnTo>
                  <a:lnTo>
                    <a:pt x="4893" y="3176336"/>
                  </a:lnTo>
                  <a:lnTo>
                    <a:pt x="4893" y="2938211"/>
                  </a:lnTo>
                  <a:close/>
                  <a:moveTo>
                    <a:pt x="228981" y="3183139"/>
                  </a:moveTo>
                  <a:lnTo>
                    <a:pt x="228981" y="3421264"/>
                  </a:lnTo>
                  <a:lnTo>
                    <a:pt x="4893" y="3421264"/>
                  </a:lnTo>
                  <a:lnTo>
                    <a:pt x="4893" y="3183139"/>
                  </a:lnTo>
                  <a:close/>
                  <a:moveTo>
                    <a:pt x="228981" y="3428068"/>
                  </a:moveTo>
                  <a:lnTo>
                    <a:pt x="228981" y="3664560"/>
                  </a:lnTo>
                  <a:lnTo>
                    <a:pt x="4893" y="3664560"/>
                  </a:lnTo>
                  <a:lnTo>
                    <a:pt x="4893" y="3428068"/>
                  </a:lnTo>
                  <a:close/>
                  <a:moveTo>
                    <a:pt x="228981" y="3671364"/>
                  </a:moveTo>
                  <a:lnTo>
                    <a:pt x="228981" y="3909489"/>
                  </a:lnTo>
                  <a:lnTo>
                    <a:pt x="4893" y="3909489"/>
                  </a:lnTo>
                  <a:lnTo>
                    <a:pt x="4893" y="3671364"/>
                  </a:lnTo>
                  <a:close/>
                  <a:moveTo>
                    <a:pt x="228981" y="3916292"/>
                  </a:moveTo>
                  <a:lnTo>
                    <a:pt x="228981" y="4154417"/>
                  </a:lnTo>
                  <a:lnTo>
                    <a:pt x="4893" y="4154417"/>
                  </a:lnTo>
                  <a:lnTo>
                    <a:pt x="4893" y="3916292"/>
                  </a:lnTo>
                  <a:close/>
                  <a:moveTo>
                    <a:pt x="228981" y="4161221"/>
                  </a:moveTo>
                  <a:lnTo>
                    <a:pt x="228981" y="4399346"/>
                  </a:lnTo>
                  <a:lnTo>
                    <a:pt x="4893" y="4399346"/>
                  </a:lnTo>
                  <a:lnTo>
                    <a:pt x="4893" y="4161221"/>
                  </a:lnTo>
                  <a:close/>
                  <a:moveTo>
                    <a:pt x="228981" y="4406149"/>
                  </a:moveTo>
                  <a:lnTo>
                    <a:pt x="228981" y="4642233"/>
                  </a:lnTo>
                  <a:lnTo>
                    <a:pt x="4893" y="4642233"/>
                  </a:lnTo>
                  <a:lnTo>
                    <a:pt x="4893" y="4405741"/>
                  </a:lnTo>
                  <a:close/>
                  <a:moveTo>
                    <a:pt x="228981" y="4649445"/>
                  </a:moveTo>
                  <a:lnTo>
                    <a:pt x="228981" y="4887162"/>
                  </a:lnTo>
                  <a:lnTo>
                    <a:pt x="4893" y="4887162"/>
                  </a:lnTo>
                  <a:lnTo>
                    <a:pt x="4893" y="4649037"/>
                  </a:lnTo>
                  <a:close/>
                  <a:moveTo>
                    <a:pt x="228981" y="4894374"/>
                  </a:moveTo>
                  <a:lnTo>
                    <a:pt x="228981" y="5132090"/>
                  </a:lnTo>
                  <a:lnTo>
                    <a:pt x="4893" y="5132090"/>
                  </a:lnTo>
                  <a:lnTo>
                    <a:pt x="4893" y="4893965"/>
                  </a:lnTo>
                  <a:close/>
                  <a:moveTo>
                    <a:pt x="228981" y="5139302"/>
                  </a:moveTo>
                  <a:lnTo>
                    <a:pt x="228981" y="5375795"/>
                  </a:lnTo>
                  <a:lnTo>
                    <a:pt x="4893" y="5375795"/>
                  </a:lnTo>
                  <a:lnTo>
                    <a:pt x="4893" y="5139302"/>
                  </a:lnTo>
                  <a:close/>
                  <a:moveTo>
                    <a:pt x="228981" y="5382598"/>
                  </a:moveTo>
                  <a:lnTo>
                    <a:pt x="228981" y="5620723"/>
                  </a:lnTo>
                  <a:lnTo>
                    <a:pt x="4893" y="5620723"/>
                  </a:lnTo>
                  <a:lnTo>
                    <a:pt x="4893" y="5382598"/>
                  </a:lnTo>
                  <a:close/>
                  <a:moveTo>
                    <a:pt x="228981" y="5627527"/>
                  </a:moveTo>
                  <a:lnTo>
                    <a:pt x="228981" y="5865652"/>
                  </a:lnTo>
                  <a:lnTo>
                    <a:pt x="4893" y="5865652"/>
                  </a:lnTo>
                  <a:lnTo>
                    <a:pt x="4893" y="5627527"/>
                  </a:lnTo>
                  <a:close/>
                  <a:moveTo>
                    <a:pt x="228981" y="5872455"/>
                  </a:moveTo>
                  <a:lnTo>
                    <a:pt x="228981" y="6110580"/>
                  </a:lnTo>
                  <a:lnTo>
                    <a:pt x="4893" y="6110580"/>
                  </a:lnTo>
                  <a:lnTo>
                    <a:pt x="4893" y="5872455"/>
                  </a:lnTo>
                  <a:close/>
                  <a:moveTo>
                    <a:pt x="228981" y="6117384"/>
                  </a:moveTo>
                  <a:lnTo>
                    <a:pt x="228981" y="6353876"/>
                  </a:lnTo>
                  <a:lnTo>
                    <a:pt x="4893" y="6353876"/>
                  </a:lnTo>
                  <a:lnTo>
                    <a:pt x="4893" y="6117384"/>
                  </a:lnTo>
                  <a:close/>
                  <a:moveTo>
                    <a:pt x="228981" y="6360680"/>
                  </a:moveTo>
                  <a:lnTo>
                    <a:pt x="228981" y="6598805"/>
                  </a:lnTo>
                  <a:lnTo>
                    <a:pt x="4893" y="6598805"/>
                  </a:lnTo>
                  <a:lnTo>
                    <a:pt x="4893" y="6360680"/>
                  </a:lnTo>
                  <a:close/>
                  <a:moveTo>
                    <a:pt x="228981" y="6605608"/>
                  </a:moveTo>
                  <a:lnTo>
                    <a:pt x="228981" y="6843733"/>
                  </a:lnTo>
                  <a:lnTo>
                    <a:pt x="4893" y="6843733"/>
                  </a:lnTo>
                  <a:lnTo>
                    <a:pt x="4893" y="6605608"/>
                  </a:lnTo>
                  <a:close/>
                  <a:moveTo>
                    <a:pt x="235384" y="6605608"/>
                  </a:moveTo>
                  <a:lnTo>
                    <a:pt x="459472" y="6605608"/>
                  </a:lnTo>
                  <a:lnTo>
                    <a:pt x="459472" y="6843733"/>
                  </a:lnTo>
                  <a:lnTo>
                    <a:pt x="235384" y="6843733"/>
                  </a:lnTo>
                  <a:close/>
                  <a:moveTo>
                    <a:pt x="465875" y="6605608"/>
                  </a:moveTo>
                  <a:lnTo>
                    <a:pt x="688427" y="6605608"/>
                  </a:lnTo>
                  <a:lnTo>
                    <a:pt x="688427" y="6843733"/>
                  </a:lnTo>
                  <a:lnTo>
                    <a:pt x="465875" y="6843733"/>
                  </a:lnTo>
                  <a:close/>
                  <a:moveTo>
                    <a:pt x="694829" y="6605608"/>
                  </a:moveTo>
                  <a:lnTo>
                    <a:pt x="918918" y="6605608"/>
                  </a:lnTo>
                  <a:lnTo>
                    <a:pt x="918918" y="6843733"/>
                  </a:lnTo>
                  <a:lnTo>
                    <a:pt x="694829" y="6843733"/>
                  </a:lnTo>
                  <a:close/>
                  <a:moveTo>
                    <a:pt x="925320" y="6605608"/>
                  </a:moveTo>
                  <a:lnTo>
                    <a:pt x="1149409" y="6605608"/>
                  </a:lnTo>
                  <a:lnTo>
                    <a:pt x="1149409" y="6843733"/>
                  </a:lnTo>
                  <a:lnTo>
                    <a:pt x="925320" y="6843733"/>
                  </a:lnTo>
                  <a:close/>
                  <a:moveTo>
                    <a:pt x="1155811" y="6605608"/>
                  </a:moveTo>
                  <a:lnTo>
                    <a:pt x="1379900" y="6605608"/>
                  </a:lnTo>
                  <a:lnTo>
                    <a:pt x="1379900" y="6843733"/>
                  </a:lnTo>
                  <a:lnTo>
                    <a:pt x="1155811" y="6843733"/>
                  </a:lnTo>
                  <a:close/>
                  <a:moveTo>
                    <a:pt x="1386302" y="6605608"/>
                  </a:moveTo>
                  <a:lnTo>
                    <a:pt x="1608598" y="6605608"/>
                  </a:lnTo>
                  <a:lnTo>
                    <a:pt x="1608598" y="6843733"/>
                  </a:lnTo>
                  <a:lnTo>
                    <a:pt x="1386046" y="6843733"/>
                  </a:lnTo>
                  <a:close/>
                  <a:moveTo>
                    <a:pt x="1615257" y="6605608"/>
                  </a:moveTo>
                  <a:lnTo>
                    <a:pt x="1839089" y="6605608"/>
                  </a:lnTo>
                  <a:lnTo>
                    <a:pt x="1839089" y="6843733"/>
                  </a:lnTo>
                  <a:lnTo>
                    <a:pt x="1615000" y="6843733"/>
                  </a:lnTo>
                  <a:close/>
                  <a:moveTo>
                    <a:pt x="1845748" y="6605608"/>
                  </a:moveTo>
                  <a:lnTo>
                    <a:pt x="2069580" y="6605608"/>
                  </a:lnTo>
                  <a:lnTo>
                    <a:pt x="2069580" y="6843733"/>
                  </a:lnTo>
                  <a:lnTo>
                    <a:pt x="1845491" y="6843733"/>
                  </a:lnTo>
                  <a:close/>
                  <a:moveTo>
                    <a:pt x="2076239" y="6605608"/>
                  </a:moveTo>
                  <a:lnTo>
                    <a:pt x="2298791" y="6605608"/>
                  </a:lnTo>
                  <a:lnTo>
                    <a:pt x="2298791" y="6843733"/>
                  </a:lnTo>
                  <a:lnTo>
                    <a:pt x="2075982" y="6843733"/>
                  </a:lnTo>
                  <a:close/>
                  <a:moveTo>
                    <a:pt x="2305193" y="6605608"/>
                  </a:moveTo>
                  <a:lnTo>
                    <a:pt x="2529282" y="6605608"/>
                  </a:lnTo>
                  <a:lnTo>
                    <a:pt x="2529282" y="6843733"/>
                  </a:lnTo>
                  <a:lnTo>
                    <a:pt x="2305193" y="6843733"/>
                  </a:lnTo>
                  <a:close/>
                  <a:moveTo>
                    <a:pt x="2535684" y="6605608"/>
                  </a:moveTo>
                  <a:lnTo>
                    <a:pt x="2759773" y="6605608"/>
                  </a:lnTo>
                  <a:lnTo>
                    <a:pt x="2759773" y="6843733"/>
                  </a:lnTo>
                  <a:lnTo>
                    <a:pt x="2535684" y="6843733"/>
                  </a:lnTo>
                  <a:close/>
                  <a:moveTo>
                    <a:pt x="2766175" y="6605608"/>
                  </a:moveTo>
                  <a:lnTo>
                    <a:pt x="2990264" y="6605608"/>
                  </a:lnTo>
                  <a:lnTo>
                    <a:pt x="2990264" y="6843733"/>
                  </a:lnTo>
                  <a:lnTo>
                    <a:pt x="2766175" y="6843733"/>
                  </a:lnTo>
                  <a:close/>
                  <a:moveTo>
                    <a:pt x="2996666" y="6605608"/>
                  </a:moveTo>
                  <a:lnTo>
                    <a:pt x="3219218" y="6605608"/>
                  </a:lnTo>
                  <a:lnTo>
                    <a:pt x="3219218" y="6843733"/>
                  </a:lnTo>
                  <a:lnTo>
                    <a:pt x="2996666" y="6843733"/>
                  </a:lnTo>
                  <a:close/>
                  <a:moveTo>
                    <a:pt x="3225621" y="6605608"/>
                  </a:moveTo>
                  <a:lnTo>
                    <a:pt x="3449709" y="6605608"/>
                  </a:lnTo>
                  <a:lnTo>
                    <a:pt x="3449709" y="6843733"/>
                  </a:lnTo>
                  <a:lnTo>
                    <a:pt x="3225621" y="6843733"/>
                  </a:lnTo>
                  <a:close/>
                  <a:moveTo>
                    <a:pt x="3456112" y="6605608"/>
                  </a:moveTo>
                  <a:lnTo>
                    <a:pt x="3680200" y="6605608"/>
                  </a:lnTo>
                  <a:lnTo>
                    <a:pt x="3680200" y="6843733"/>
                  </a:lnTo>
                  <a:lnTo>
                    <a:pt x="3456112" y="6843733"/>
                  </a:lnTo>
                  <a:close/>
                  <a:moveTo>
                    <a:pt x="3686603" y="6605608"/>
                  </a:moveTo>
                  <a:lnTo>
                    <a:pt x="3910691" y="6605608"/>
                  </a:lnTo>
                  <a:lnTo>
                    <a:pt x="3910691" y="6843733"/>
                  </a:lnTo>
                  <a:lnTo>
                    <a:pt x="3686603" y="6843733"/>
                  </a:lnTo>
                  <a:close/>
                  <a:moveTo>
                    <a:pt x="3917094" y="6605608"/>
                  </a:moveTo>
                  <a:lnTo>
                    <a:pt x="4139644" y="6605608"/>
                  </a:lnTo>
                  <a:lnTo>
                    <a:pt x="4139644" y="6843733"/>
                  </a:lnTo>
                  <a:lnTo>
                    <a:pt x="3917094" y="6843733"/>
                  </a:lnTo>
                  <a:close/>
                  <a:moveTo>
                    <a:pt x="4146047" y="6605608"/>
                  </a:moveTo>
                  <a:lnTo>
                    <a:pt x="4370135" y="6605608"/>
                  </a:lnTo>
                  <a:lnTo>
                    <a:pt x="4370135" y="6843733"/>
                  </a:lnTo>
                  <a:lnTo>
                    <a:pt x="4146047" y="6843733"/>
                  </a:lnTo>
                  <a:close/>
                  <a:moveTo>
                    <a:pt x="4376538" y="6605608"/>
                  </a:moveTo>
                  <a:lnTo>
                    <a:pt x="4600626" y="6605608"/>
                  </a:lnTo>
                  <a:lnTo>
                    <a:pt x="4600626" y="6843733"/>
                  </a:lnTo>
                  <a:lnTo>
                    <a:pt x="4376538" y="6843733"/>
                  </a:lnTo>
                  <a:close/>
                  <a:moveTo>
                    <a:pt x="4607029" y="6605608"/>
                  </a:moveTo>
                  <a:lnTo>
                    <a:pt x="4829582" y="6605608"/>
                  </a:lnTo>
                  <a:lnTo>
                    <a:pt x="4829582" y="6843733"/>
                  </a:lnTo>
                  <a:lnTo>
                    <a:pt x="4607029" y="6843733"/>
                  </a:lnTo>
                  <a:close/>
                  <a:moveTo>
                    <a:pt x="4835985" y="6605608"/>
                  </a:moveTo>
                  <a:lnTo>
                    <a:pt x="5060073" y="6605608"/>
                  </a:lnTo>
                  <a:lnTo>
                    <a:pt x="5060073" y="6843733"/>
                  </a:lnTo>
                  <a:lnTo>
                    <a:pt x="4835472" y="6843733"/>
                  </a:lnTo>
                  <a:close/>
                  <a:moveTo>
                    <a:pt x="5066476" y="6605608"/>
                  </a:moveTo>
                  <a:lnTo>
                    <a:pt x="5290564" y="6605608"/>
                  </a:lnTo>
                  <a:lnTo>
                    <a:pt x="5290564" y="6843733"/>
                  </a:lnTo>
                  <a:lnTo>
                    <a:pt x="5065963" y="6843733"/>
                  </a:lnTo>
                  <a:close/>
                  <a:moveTo>
                    <a:pt x="5296967" y="6605608"/>
                  </a:moveTo>
                  <a:lnTo>
                    <a:pt x="5521055" y="6605608"/>
                  </a:lnTo>
                  <a:lnTo>
                    <a:pt x="5521055" y="6843733"/>
                  </a:lnTo>
                  <a:lnTo>
                    <a:pt x="5296454" y="6843733"/>
                  </a:lnTo>
                  <a:close/>
                  <a:moveTo>
                    <a:pt x="5527458" y="6605608"/>
                  </a:moveTo>
                  <a:lnTo>
                    <a:pt x="5750008" y="6605608"/>
                  </a:lnTo>
                  <a:lnTo>
                    <a:pt x="5750008" y="6843733"/>
                  </a:lnTo>
                  <a:lnTo>
                    <a:pt x="5526945" y="6843733"/>
                  </a:lnTo>
                  <a:close/>
                  <a:moveTo>
                    <a:pt x="5756411" y="6605608"/>
                  </a:moveTo>
                  <a:lnTo>
                    <a:pt x="5980499" y="6605608"/>
                  </a:lnTo>
                  <a:lnTo>
                    <a:pt x="5980499" y="6843733"/>
                  </a:lnTo>
                  <a:lnTo>
                    <a:pt x="5756411" y="6843733"/>
                  </a:lnTo>
                  <a:close/>
                  <a:moveTo>
                    <a:pt x="5986902" y="6605608"/>
                  </a:moveTo>
                  <a:lnTo>
                    <a:pt x="6210990" y="6605608"/>
                  </a:lnTo>
                  <a:lnTo>
                    <a:pt x="6210990" y="6843733"/>
                  </a:lnTo>
                  <a:lnTo>
                    <a:pt x="5986902" y="6843733"/>
                  </a:lnTo>
                  <a:close/>
                  <a:moveTo>
                    <a:pt x="6217393" y="6605608"/>
                  </a:moveTo>
                  <a:lnTo>
                    <a:pt x="6439946" y="6605608"/>
                  </a:lnTo>
                  <a:lnTo>
                    <a:pt x="6439946" y="6843733"/>
                  </a:lnTo>
                  <a:lnTo>
                    <a:pt x="6217136" y="6843733"/>
                  </a:lnTo>
                  <a:close/>
                  <a:moveTo>
                    <a:pt x="6446349" y="6605608"/>
                  </a:moveTo>
                  <a:lnTo>
                    <a:pt x="6656863" y="6605608"/>
                  </a:lnTo>
                  <a:lnTo>
                    <a:pt x="6656863" y="6843733"/>
                  </a:lnTo>
                  <a:lnTo>
                    <a:pt x="6446349" y="6843733"/>
                  </a:lnTo>
                  <a:close/>
                  <a:moveTo>
                    <a:pt x="6663265" y="6605608"/>
                  </a:moveTo>
                  <a:lnTo>
                    <a:pt x="6887354" y="6605608"/>
                  </a:lnTo>
                  <a:lnTo>
                    <a:pt x="6887354" y="6843733"/>
                  </a:lnTo>
                  <a:lnTo>
                    <a:pt x="6663265" y="6843733"/>
                  </a:lnTo>
                  <a:close/>
                  <a:moveTo>
                    <a:pt x="6893756" y="6605608"/>
                  </a:moveTo>
                  <a:lnTo>
                    <a:pt x="7117845" y="6605608"/>
                  </a:lnTo>
                  <a:lnTo>
                    <a:pt x="7117845" y="6843733"/>
                  </a:lnTo>
                  <a:lnTo>
                    <a:pt x="6893756" y="6843733"/>
                  </a:lnTo>
                  <a:close/>
                  <a:moveTo>
                    <a:pt x="7124247" y="6605608"/>
                  </a:moveTo>
                  <a:lnTo>
                    <a:pt x="7346801" y="6605608"/>
                  </a:lnTo>
                  <a:lnTo>
                    <a:pt x="7346801" y="6843733"/>
                  </a:lnTo>
                  <a:lnTo>
                    <a:pt x="7124247" y="6843733"/>
                  </a:lnTo>
                  <a:close/>
                  <a:moveTo>
                    <a:pt x="7353204" y="6605608"/>
                  </a:moveTo>
                  <a:lnTo>
                    <a:pt x="7577292" y="6605608"/>
                  </a:lnTo>
                  <a:lnTo>
                    <a:pt x="7577292" y="6843733"/>
                  </a:lnTo>
                  <a:lnTo>
                    <a:pt x="7353204" y="6843733"/>
                  </a:lnTo>
                  <a:close/>
                  <a:moveTo>
                    <a:pt x="7583695" y="6605608"/>
                  </a:moveTo>
                  <a:lnTo>
                    <a:pt x="7807783" y="6605608"/>
                  </a:lnTo>
                  <a:lnTo>
                    <a:pt x="7807783" y="6843733"/>
                  </a:lnTo>
                  <a:lnTo>
                    <a:pt x="7583695" y="6843733"/>
                  </a:lnTo>
                  <a:close/>
                  <a:moveTo>
                    <a:pt x="7814186" y="6605608"/>
                  </a:moveTo>
                  <a:lnTo>
                    <a:pt x="8038274" y="6605608"/>
                  </a:lnTo>
                  <a:lnTo>
                    <a:pt x="8038274" y="6843733"/>
                  </a:lnTo>
                  <a:lnTo>
                    <a:pt x="7814186" y="6843733"/>
                  </a:lnTo>
                  <a:close/>
                  <a:moveTo>
                    <a:pt x="8044677" y="6605608"/>
                  </a:moveTo>
                  <a:lnTo>
                    <a:pt x="8267227" y="6605608"/>
                  </a:lnTo>
                  <a:lnTo>
                    <a:pt x="8267227" y="6843733"/>
                  </a:lnTo>
                  <a:lnTo>
                    <a:pt x="8044420" y="6843733"/>
                  </a:lnTo>
                  <a:close/>
                  <a:moveTo>
                    <a:pt x="8273629" y="6605608"/>
                  </a:moveTo>
                  <a:lnTo>
                    <a:pt x="8497718" y="6605608"/>
                  </a:lnTo>
                  <a:lnTo>
                    <a:pt x="8497718" y="6843733"/>
                  </a:lnTo>
                  <a:lnTo>
                    <a:pt x="8273629" y="6843733"/>
                  </a:lnTo>
                  <a:close/>
                  <a:moveTo>
                    <a:pt x="8504120" y="6605608"/>
                  </a:moveTo>
                  <a:lnTo>
                    <a:pt x="8728209" y="6605608"/>
                  </a:lnTo>
                  <a:lnTo>
                    <a:pt x="8728209" y="6843733"/>
                  </a:lnTo>
                  <a:lnTo>
                    <a:pt x="8504120" y="6843733"/>
                  </a:lnTo>
                  <a:close/>
                  <a:moveTo>
                    <a:pt x="8734611" y="6605608"/>
                  </a:moveTo>
                  <a:lnTo>
                    <a:pt x="8957162" y="6605608"/>
                  </a:lnTo>
                  <a:lnTo>
                    <a:pt x="8957162" y="6843733"/>
                  </a:lnTo>
                  <a:lnTo>
                    <a:pt x="8734611" y="6843733"/>
                  </a:lnTo>
                  <a:close/>
                  <a:moveTo>
                    <a:pt x="8963564" y="6605608"/>
                  </a:moveTo>
                  <a:lnTo>
                    <a:pt x="9187653" y="6605608"/>
                  </a:lnTo>
                  <a:lnTo>
                    <a:pt x="9187653" y="6843733"/>
                  </a:lnTo>
                  <a:lnTo>
                    <a:pt x="8963564" y="6843733"/>
                  </a:lnTo>
                  <a:close/>
                  <a:moveTo>
                    <a:pt x="9194055" y="6605608"/>
                  </a:moveTo>
                  <a:lnTo>
                    <a:pt x="9418144" y="6605608"/>
                  </a:lnTo>
                  <a:lnTo>
                    <a:pt x="9418144" y="6843733"/>
                  </a:lnTo>
                  <a:lnTo>
                    <a:pt x="9194055" y="6843733"/>
                  </a:lnTo>
                  <a:close/>
                  <a:moveTo>
                    <a:pt x="9424546" y="6605608"/>
                  </a:moveTo>
                  <a:lnTo>
                    <a:pt x="9648635" y="6605608"/>
                  </a:lnTo>
                  <a:lnTo>
                    <a:pt x="9648635" y="6843733"/>
                  </a:lnTo>
                  <a:lnTo>
                    <a:pt x="9424546" y="6843733"/>
                  </a:lnTo>
                  <a:close/>
                  <a:moveTo>
                    <a:pt x="9655037" y="6605608"/>
                  </a:moveTo>
                  <a:lnTo>
                    <a:pt x="9877591" y="6605608"/>
                  </a:lnTo>
                  <a:lnTo>
                    <a:pt x="9877591" y="6843733"/>
                  </a:lnTo>
                  <a:lnTo>
                    <a:pt x="9655037" y="6843733"/>
                  </a:lnTo>
                  <a:close/>
                  <a:moveTo>
                    <a:pt x="9883993" y="6605608"/>
                  </a:moveTo>
                  <a:lnTo>
                    <a:pt x="10108082" y="6605608"/>
                  </a:lnTo>
                  <a:lnTo>
                    <a:pt x="10108082" y="6843733"/>
                  </a:lnTo>
                  <a:lnTo>
                    <a:pt x="9883993" y="6843733"/>
                  </a:lnTo>
                  <a:close/>
                  <a:moveTo>
                    <a:pt x="10114484" y="6605608"/>
                  </a:moveTo>
                  <a:lnTo>
                    <a:pt x="10338573" y="6605608"/>
                  </a:lnTo>
                  <a:lnTo>
                    <a:pt x="10338573" y="6843733"/>
                  </a:lnTo>
                  <a:lnTo>
                    <a:pt x="10114484" y="6843733"/>
                  </a:lnTo>
                  <a:close/>
                  <a:moveTo>
                    <a:pt x="10344975" y="6605608"/>
                  </a:moveTo>
                  <a:lnTo>
                    <a:pt x="10569064" y="6605608"/>
                  </a:lnTo>
                  <a:lnTo>
                    <a:pt x="10569064" y="6843733"/>
                  </a:lnTo>
                  <a:lnTo>
                    <a:pt x="10344975" y="6843733"/>
                  </a:lnTo>
                  <a:close/>
                  <a:moveTo>
                    <a:pt x="10575466" y="6605608"/>
                  </a:moveTo>
                  <a:lnTo>
                    <a:pt x="10798016" y="6605608"/>
                  </a:lnTo>
                  <a:lnTo>
                    <a:pt x="10798016" y="6843733"/>
                  </a:lnTo>
                  <a:lnTo>
                    <a:pt x="10575466" y="6843733"/>
                  </a:lnTo>
                  <a:close/>
                  <a:moveTo>
                    <a:pt x="10804419" y="6605608"/>
                  </a:moveTo>
                  <a:lnTo>
                    <a:pt x="11028507" y="6605608"/>
                  </a:lnTo>
                  <a:lnTo>
                    <a:pt x="11028507" y="6843733"/>
                  </a:lnTo>
                  <a:lnTo>
                    <a:pt x="10804419" y="6843733"/>
                  </a:lnTo>
                  <a:close/>
                  <a:moveTo>
                    <a:pt x="11034910" y="6605608"/>
                  </a:moveTo>
                  <a:lnTo>
                    <a:pt x="11258998" y="6605608"/>
                  </a:lnTo>
                  <a:lnTo>
                    <a:pt x="11258998" y="6843733"/>
                  </a:lnTo>
                  <a:lnTo>
                    <a:pt x="11034910" y="6843733"/>
                  </a:lnTo>
                  <a:close/>
                  <a:moveTo>
                    <a:pt x="11265401" y="6605608"/>
                  </a:moveTo>
                  <a:lnTo>
                    <a:pt x="11487954" y="6605608"/>
                  </a:lnTo>
                  <a:lnTo>
                    <a:pt x="11487954" y="6843733"/>
                  </a:lnTo>
                  <a:lnTo>
                    <a:pt x="11265401" y="6843733"/>
                  </a:lnTo>
                  <a:close/>
                  <a:moveTo>
                    <a:pt x="11494357" y="6605608"/>
                  </a:moveTo>
                  <a:lnTo>
                    <a:pt x="11718445" y="6605608"/>
                  </a:lnTo>
                  <a:lnTo>
                    <a:pt x="11718445" y="6843733"/>
                  </a:lnTo>
                  <a:lnTo>
                    <a:pt x="11494101" y="6843733"/>
                  </a:lnTo>
                  <a:close/>
                  <a:moveTo>
                    <a:pt x="11724848" y="6605608"/>
                  </a:moveTo>
                  <a:lnTo>
                    <a:pt x="11948936" y="6605608"/>
                  </a:lnTo>
                  <a:lnTo>
                    <a:pt x="11948936" y="6843733"/>
                  </a:lnTo>
                  <a:lnTo>
                    <a:pt x="11724592" y="6843733"/>
                  </a:lnTo>
                  <a:close/>
                  <a:moveTo>
                    <a:pt x="11955339" y="6605608"/>
                  </a:moveTo>
                  <a:lnTo>
                    <a:pt x="12179427" y="6605608"/>
                  </a:lnTo>
                  <a:lnTo>
                    <a:pt x="12179427" y="6843733"/>
                  </a:lnTo>
                  <a:lnTo>
                    <a:pt x="11955083" y="6843733"/>
                  </a:lnTo>
                  <a:close/>
                  <a:moveTo>
                    <a:pt x="11955339" y="6598805"/>
                  </a:moveTo>
                  <a:lnTo>
                    <a:pt x="11955339" y="6360680"/>
                  </a:lnTo>
                  <a:lnTo>
                    <a:pt x="12179427" y="6360680"/>
                  </a:lnTo>
                  <a:lnTo>
                    <a:pt x="12179427" y="6598805"/>
                  </a:lnTo>
                  <a:close/>
                  <a:moveTo>
                    <a:pt x="11955339" y="6353876"/>
                  </a:moveTo>
                  <a:lnTo>
                    <a:pt x="11955339" y="6117384"/>
                  </a:lnTo>
                  <a:lnTo>
                    <a:pt x="12179427" y="6117384"/>
                  </a:lnTo>
                  <a:lnTo>
                    <a:pt x="12179427" y="6353876"/>
                  </a:lnTo>
                  <a:close/>
                  <a:moveTo>
                    <a:pt x="11955339" y="6110580"/>
                  </a:moveTo>
                  <a:lnTo>
                    <a:pt x="11955339" y="5872455"/>
                  </a:lnTo>
                  <a:lnTo>
                    <a:pt x="12179427" y="5872455"/>
                  </a:lnTo>
                  <a:lnTo>
                    <a:pt x="12179427" y="6110580"/>
                  </a:lnTo>
                  <a:close/>
                  <a:moveTo>
                    <a:pt x="11955339" y="5865652"/>
                  </a:moveTo>
                  <a:lnTo>
                    <a:pt x="11955339" y="5627527"/>
                  </a:lnTo>
                  <a:lnTo>
                    <a:pt x="12179427" y="5627527"/>
                  </a:lnTo>
                  <a:lnTo>
                    <a:pt x="12179427" y="5865652"/>
                  </a:lnTo>
                  <a:close/>
                  <a:moveTo>
                    <a:pt x="11955339" y="5620723"/>
                  </a:moveTo>
                  <a:lnTo>
                    <a:pt x="11955339" y="5382598"/>
                  </a:lnTo>
                  <a:lnTo>
                    <a:pt x="12179427" y="5382598"/>
                  </a:lnTo>
                  <a:lnTo>
                    <a:pt x="12179427" y="5620723"/>
                  </a:lnTo>
                  <a:close/>
                  <a:moveTo>
                    <a:pt x="11955339" y="5375795"/>
                  </a:moveTo>
                  <a:lnTo>
                    <a:pt x="11955339" y="5139302"/>
                  </a:lnTo>
                  <a:lnTo>
                    <a:pt x="12179427" y="5139302"/>
                  </a:lnTo>
                  <a:lnTo>
                    <a:pt x="12179427" y="5375795"/>
                  </a:lnTo>
                  <a:close/>
                  <a:moveTo>
                    <a:pt x="11955339" y="5132499"/>
                  </a:moveTo>
                  <a:lnTo>
                    <a:pt x="11955339" y="4894374"/>
                  </a:lnTo>
                  <a:lnTo>
                    <a:pt x="12179427" y="4894374"/>
                  </a:lnTo>
                  <a:lnTo>
                    <a:pt x="12179427" y="5132090"/>
                  </a:lnTo>
                  <a:close/>
                  <a:moveTo>
                    <a:pt x="11955339" y="4887570"/>
                  </a:moveTo>
                  <a:lnTo>
                    <a:pt x="11955339" y="4649445"/>
                  </a:lnTo>
                  <a:lnTo>
                    <a:pt x="12179427" y="4649445"/>
                  </a:lnTo>
                  <a:lnTo>
                    <a:pt x="12179427" y="4887162"/>
                  </a:lnTo>
                  <a:close/>
                  <a:moveTo>
                    <a:pt x="11955339" y="4642642"/>
                  </a:moveTo>
                  <a:lnTo>
                    <a:pt x="11955339" y="4406149"/>
                  </a:lnTo>
                  <a:lnTo>
                    <a:pt x="12179427" y="4406149"/>
                  </a:lnTo>
                  <a:lnTo>
                    <a:pt x="12179427" y="4642233"/>
                  </a:lnTo>
                  <a:close/>
                  <a:moveTo>
                    <a:pt x="11955339" y="4399346"/>
                  </a:moveTo>
                  <a:lnTo>
                    <a:pt x="11955339" y="4161221"/>
                  </a:lnTo>
                  <a:lnTo>
                    <a:pt x="12179427" y="4161221"/>
                  </a:lnTo>
                  <a:lnTo>
                    <a:pt x="12179427" y="4399346"/>
                  </a:lnTo>
                  <a:close/>
                  <a:moveTo>
                    <a:pt x="11955339" y="4154417"/>
                  </a:moveTo>
                  <a:lnTo>
                    <a:pt x="11955339" y="3916292"/>
                  </a:lnTo>
                  <a:lnTo>
                    <a:pt x="12179427" y="3916292"/>
                  </a:lnTo>
                  <a:lnTo>
                    <a:pt x="12179427" y="4154417"/>
                  </a:lnTo>
                  <a:close/>
                  <a:moveTo>
                    <a:pt x="11955339" y="3909489"/>
                  </a:moveTo>
                  <a:lnTo>
                    <a:pt x="11955339" y="3671364"/>
                  </a:lnTo>
                  <a:lnTo>
                    <a:pt x="12179427" y="3671364"/>
                  </a:lnTo>
                  <a:lnTo>
                    <a:pt x="12179427" y="3909489"/>
                  </a:lnTo>
                  <a:close/>
                  <a:moveTo>
                    <a:pt x="11955339" y="3664560"/>
                  </a:moveTo>
                  <a:lnTo>
                    <a:pt x="11955339" y="3428068"/>
                  </a:lnTo>
                  <a:lnTo>
                    <a:pt x="12179427" y="3428068"/>
                  </a:lnTo>
                  <a:lnTo>
                    <a:pt x="12179427" y="3664560"/>
                  </a:lnTo>
                  <a:close/>
                  <a:moveTo>
                    <a:pt x="11955339" y="3421264"/>
                  </a:moveTo>
                  <a:lnTo>
                    <a:pt x="11955339" y="3183139"/>
                  </a:lnTo>
                  <a:lnTo>
                    <a:pt x="12179427" y="3183139"/>
                  </a:lnTo>
                  <a:lnTo>
                    <a:pt x="12179427" y="3421264"/>
                  </a:lnTo>
                  <a:close/>
                  <a:moveTo>
                    <a:pt x="11955339" y="3176336"/>
                  </a:moveTo>
                  <a:lnTo>
                    <a:pt x="11955339" y="2938211"/>
                  </a:lnTo>
                  <a:lnTo>
                    <a:pt x="12179427" y="2938211"/>
                  </a:lnTo>
                  <a:lnTo>
                    <a:pt x="12179427" y="3176336"/>
                  </a:lnTo>
                  <a:close/>
                  <a:moveTo>
                    <a:pt x="11955339" y="2931407"/>
                  </a:moveTo>
                  <a:lnTo>
                    <a:pt x="11955339" y="2693282"/>
                  </a:lnTo>
                  <a:lnTo>
                    <a:pt x="12179427" y="2693282"/>
                  </a:lnTo>
                  <a:lnTo>
                    <a:pt x="12179427" y="2931407"/>
                  </a:lnTo>
                  <a:close/>
                  <a:moveTo>
                    <a:pt x="11955339" y="2686479"/>
                  </a:moveTo>
                  <a:lnTo>
                    <a:pt x="11955339" y="2449986"/>
                  </a:lnTo>
                  <a:lnTo>
                    <a:pt x="12179427" y="2449986"/>
                  </a:lnTo>
                  <a:lnTo>
                    <a:pt x="12179427" y="2686479"/>
                  </a:lnTo>
                  <a:close/>
                  <a:moveTo>
                    <a:pt x="11955339" y="2443183"/>
                  </a:moveTo>
                  <a:lnTo>
                    <a:pt x="11955339" y="2205058"/>
                  </a:lnTo>
                  <a:lnTo>
                    <a:pt x="12179427" y="2205058"/>
                  </a:lnTo>
                  <a:lnTo>
                    <a:pt x="12179427" y="2443183"/>
                  </a:lnTo>
                  <a:close/>
                  <a:moveTo>
                    <a:pt x="11955339" y="2198254"/>
                  </a:moveTo>
                  <a:lnTo>
                    <a:pt x="11955339" y="1960129"/>
                  </a:lnTo>
                  <a:lnTo>
                    <a:pt x="12179427" y="1960129"/>
                  </a:lnTo>
                  <a:lnTo>
                    <a:pt x="12179427" y="2198254"/>
                  </a:lnTo>
                  <a:close/>
                  <a:moveTo>
                    <a:pt x="11955339" y="1953326"/>
                  </a:moveTo>
                  <a:lnTo>
                    <a:pt x="11955339" y="1716697"/>
                  </a:lnTo>
                  <a:lnTo>
                    <a:pt x="12179427" y="1716697"/>
                  </a:lnTo>
                  <a:lnTo>
                    <a:pt x="12179427" y="1953189"/>
                  </a:lnTo>
                  <a:close/>
                  <a:moveTo>
                    <a:pt x="11955339" y="1710030"/>
                  </a:moveTo>
                  <a:lnTo>
                    <a:pt x="11955339" y="1471769"/>
                  </a:lnTo>
                  <a:lnTo>
                    <a:pt x="12179427" y="1471769"/>
                  </a:lnTo>
                  <a:lnTo>
                    <a:pt x="12179427" y="1709894"/>
                  </a:lnTo>
                  <a:close/>
                  <a:moveTo>
                    <a:pt x="11955339" y="1465101"/>
                  </a:moveTo>
                  <a:lnTo>
                    <a:pt x="11955339" y="1226840"/>
                  </a:lnTo>
                  <a:lnTo>
                    <a:pt x="12179427" y="1226840"/>
                  </a:lnTo>
                  <a:lnTo>
                    <a:pt x="12179427" y="1464965"/>
                  </a:lnTo>
                  <a:close/>
                  <a:moveTo>
                    <a:pt x="11955339" y="1220173"/>
                  </a:moveTo>
                  <a:lnTo>
                    <a:pt x="11955339" y="981911"/>
                  </a:lnTo>
                  <a:lnTo>
                    <a:pt x="12179427" y="981911"/>
                  </a:lnTo>
                  <a:lnTo>
                    <a:pt x="12179427" y="1220036"/>
                  </a:lnTo>
                  <a:close/>
                  <a:moveTo>
                    <a:pt x="11955339" y="975244"/>
                  </a:moveTo>
                  <a:lnTo>
                    <a:pt x="11955339" y="738752"/>
                  </a:lnTo>
                  <a:lnTo>
                    <a:pt x="12179427" y="738752"/>
                  </a:lnTo>
                  <a:lnTo>
                    <a:pt x="12179427" y="975244"/>
                  </a:lnTo>
                  <a:close/>
                  <a:moveTo>
                    <a:pt x="11955339" y="731948"/>
                  </a:moveTo>
                  <a:lnTo>
                    <a:pt x="11955339" y="493823"/>
                  </a:lnTo>
                  <a:lnTo>
                    <a:pt x="12179427" y="493823"/>
                  </a:lnTo>
                  <a:lnTo>
                    <a:pt x="12179427" y="731948"/>
                  </a:lnTo>
                  <a:close/>
                  <a:moveTo>
                    <a:pt x="11955339" y="487020"/>
                  </a:moveTo>
                  <a:lnTo>
                    <a:pt x="11955339" y="248895"/>
                  </a:lnTo>
                  <a:lnTo>
                    <a:pt x="12179427" y="248895"/>
                  </a:lnTo>
                  <a:lnTo>
                    <a:pt x="12179427" y="487020"/>
                  </a:lnTo>
                  <a:close/>
                  <a:moveTo>
                    <a:pt x="11955339" y="242091"/>
                  </a:moveTo>
                  <a:lnTo>
                    <a:pt x="11955339" y="5599"/>
                  </a:lnTo>
                  <a:lnTo>
                    <a:pt x="12179427" y="5599"/>
                  </a:lnTo>
                  <a:lnTo>
                    <a:pt x="12179427" y="242091"/>
                  </a:lnTo>
                  <a:close/>
                </a:path>
              </a:pathLst>
            </a:custGeom>
            <a:solidFill>
              <a:schemeClr val="accent1">
                <a:alpha val="10000"/>
              </a:schemeClr>
            </a:solidFill>
            <a:ln w="12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sp>
        <p:nvSpPr>
          <p:cNvPr id="234" name="任意多边形: 形状 233">
            <a:extLst>
              <a:ext uri="{FF2B5EF4-FFF2-40B4-BE49-F238E27FC236}">
                <a16:creationId xmlns:a16="http://schemas.microsoft.com/office/drawing/2014/main" id="{4177A14D-4B67-47A5-9ACF-C40AEC157BCF}"/>
              </a:ext>
            </a:extLst>
          </p:cNvPr>
          <p:cNvSpPr/>
          <p:nvPr/>
        </p:nvSpPr>
        <p:spPr>
          <a:xfrm>
            <a:off x="-50667" y="3114675"/>
            <a:ext cx="11490193" cy="1790700"/>
          </a:xfrm>
          <a:custGeom>
            <a:avLst/>
            <a:gdLst>
              <a:gd name="connsiteX0" fmla="*/ 0 w 11439525"/>
              <a:gd name="connsiteY0" fmla="*/ 0 h 1790700"/>
              <a:gd name="connsiteX1" fmla="*/ 10544175 w 11439525"/>
              <a:gd name="connsiteY1" fmla="*/ 0 h 1790700"/>
              <a:gd name="connsiteX2" fmla="*/ 11439525 w 11439525"/>
              <a:gd name="connsiteY2" fmla="*/ 895350 h 1790700"/>
              <a:gd name="connsiteX3" fmla="*/ 10544175 w 11439525"/>
              <a:gd name="connsiteY3" fmla="*/ 1790700 h 1790700"/>
              <a:gd name="connsiteX4" fmla="*/ 0 w 11439525"/>
              <a:gd name="connsiteY4" fmla="*/ 1790700 h 179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39525" h="1790700">
                <a:moveTo>
                  <a:pt x="0" y="0"/>
                </a:moveTo>
                <a:lnTo>
                  <a:pt x="10544175" y="0"/>
                </a:lnTo>
                <a:cubicBezTo>
                  <a:pt x="11038663" y="0"/>
                  <a:pt x="11439525" y="400862"/>
                  <a:pt x="11439525" y="895350"/>
                </a:cubicBezTo>
                <a:cubicBezTo>
                  <a:pt x="11439525" y="1389838"/>
                  <a:pt x="11038663" y="1790700"/>
                  <a:pt x="10544175" y="1790700"/>
                </a:cubicBezTo>
                <a:lnTo>
                  <a:pt x="0" y="179070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25000"/>
                </a:schemeClr>
              </a:gs>
            </a:gsLst>
            <a:lin ang="0" scaled="1"/>
            <a:tileRect/>
          </a:gra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" name="@稿定PPT实验室 出品-13-1">
            <a:extLst>
              <a:ext uri="{FF2B5EF4-FFF2-40B4-BE49-F238E27FC236}">
                <a16:creationId xmlns:a16="http://schemas.microsoft.com/office/drawing/2014/main" id="{B47C2A05-7880-4867-924E-AD226860402C}"/>
              </a:ext>
            </a:extLst>
          </p:cNvPr>
          <p:cNvSpPr txBox="1">
            <a:spLocks/>
          </p:cNvSpPr>
          <p:nvPr/>
        </p:nvSpPr>
        <p:spPr>
          <a:xfrm>
            <a:off x="861682" y="2305885"/>
            <a:ext cx="2292998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9" name="@稿定PPT实验室 出品-13-1">
            <a:extLst>
              <a:ext uri="{FF2B5EF4-FFF2-40B4-BE49-F238E27FC236}">
                <a16:creationId xmlns:a16="http://schemas.microsoft.com/office/drawing/2014/main" id="{8AF6816C-41A2-41FA-B1BE-FD2B0FED6406}"/>
              </a:ext>
            </a:extLst>
          </p:cNvPr>
          <p:cNvSpPr txBox="1">
            <a:spLocks/>
          </p:cNvSpPr>
          <p:nvPr/>
        </p:nvSpPr>
        <p:spPr>
          <a:xfrm>
            <a:off x="1036095" y="2599902"/>
            <a:ext cx="19441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37" name="@稿定PPT实验室 出品-13-1">
            <a:extLst>
              <a:ext uri="{FF2B5EF4-FFF2-40B4-BE49-F238E27FC236}">
                <a16:creationId xmlns:a16="http://schemas.microsoft.com/office/drawing/2014/main" id="{7CE50EC5-9270-4CCD-B5C0-65DA005B7463}"/>
              </a:ext>
            </a:extLst>
          </p:cNvPr>
          <p:cNvSpPr txBox="1">
            <a:spLocks/>
          </p:cNvSpPr>
          <p:nvPr/>
        </p:nvSpPr>
        <p:spPr>
          <a:xfrm>
            <a:off x="3411733" y="2305885"/>
            <a:ext cx="2292998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38" name="@稿定PPT实验室 出品-13-1">
            <a:extLst>
              <a:ext uri="{FF2B5EF4-FFF2-40B4-BE49-F238E27FC236}">
                <a16:creationId xmlns:a16="http://schemas.microsoft.com/office/drawing/2014/main" id="{C8725B0F-0C1A-4200-B205-EFA80DAB3F8F}"/>
              </a:ext>
            </a:extLst>
          </p:cNvPr>
          <p:cNvSpPr txBox="1">
            <a:spLocks/>
          </p:cNvSpPr>
          <p:nvPr/>
        </p:nvSpPr>
        <p:spPr>
          <a:xfrm>
            <a:off x="3586146" y="2599902"/>
            <a:ext cx="19441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39" name="@稿定PPT实验室 出品-13-1">
            <a:extLst>
              <a:ext uri="{FF2B5EF4-FFF2-40B4-BE49-F238E27FC236}">
                <a16:creationId xmlns:a16="http://schemas.microsoft.com/office/drawing/2014/main" id="{C6992E0D-A3BD-4302-80E0-56C36F4199A6}"/>
              </a:ext>
            </a:extLst>
          </p:cNvPr>
          <p:cNvSpPr txBox="1">
            <a:spLocks/>
          </p:cNvSpPr>
          <p:nvPr/>
        </p:nvSpPr>
        <p:spPr>
          <a:xfrm>
            <a:off x="5961784" y="2305885"/>
            <a:ext cx="2292998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0" name="@稿定PPT实验室 出品-13-1">
            <a:extLst>
              <a:ext uri="{FF2B5EF4-FFF2-40B4-BE49-F238E27FC236}">
                <a16:creationId xmlns:a16="http://schemas.microsoft.com/office/drawing/2014/main" id="{3F2772DC-D791-4496-9F00-E950666B5A51}"/>
              </a:ext>
            </a:extLst>
          </p:cNvPr>
          <p:cNvSpPr txBox="1">
            <a:spLocks/>
          </p:cNvSpPr>
          <p:nvPr/>
        </p:nvSpPr>
        <p:spPr>
          <a:xfrm>
            <a:off x="6136197" y="2599902"/>
            <a:ext cx="19441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41" name="@稿定PPT实验室 出品-13-1">
            <a:extLst>
              <a:ext uri="{FF2B5EF4-FFF2-40B4-BE49-F238E27FC236}">
                <a16:creationId xmlns:a16="http://schemas.microsoft.com/office/drawing/2014/main" id="{3C8E38A1-03DE-415C-A1EA-46A2AB4985C5}"/>
              </a:ext>
            </a:extLst>
          </p:cNvPr>
          <p:cNvSpPr txBox="1">
            <a:spLocks/>
          </p:cNvSpPr>
          <p:nvPr/>
        </p:nvSpPr>
        <p:spPr>
          <a:xfrm>
            <a:off x="8511835" y="2305885"/>
            <a:ext cx="2292998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2" name="@稿定PPT实验室 出品-13-1">
            <a:extLst>
              <a:ext uri="{FF2B5EF4-FFF2-40B4-BE49-F238E27FC236}">
                <a16:creationId xmlns:a16="http://schemas.microsoft.com/office/drawing/2014/main" id="{F8F5DF9F-6A7B-4CA5-806D-86F83890C5BD}"/>
              </a:ext>
            </a:extLst>
          </p:cNvPr>
          <p:cNvSpPr txBox="1">
            <a:spLocks/>
          </p:cNvSpPr>
          <p:nvPr/>
        </p:nvSpPr>
        <p:spPr>
          <a:xfrm>
            <a:off x="8686248" y="2599902"/>
            <a:ext cx="19441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48" name="@稿定PPT实验室 出品-13-1">
            <a:extLst>
              <a:ext uri="{FF2B5EF4-FFF2-40B4-BE49-F238E27FC236}">
                <a16:creationId xmlns:a16="http://schemas.microsoft.com/office/drawing/2014/main" id="{C975F50F-B0DE-44B5-B5E5-2DBC050BE4EF}"/>
              </a:ext>
            </a:extLst>
          </p:cNvPr>
          <p:cNvSpPr txBox="1">
            <a:spLocks/>
          </p:cNvSpPr>
          <p:nvPr/>
        </p:nvSpPr>
        <p:spPr>
          <a:xfrm>
            <a:off x="861682" y="5262421"/>
            <a:ext cx="2292998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9" name="@稿定PPT实验室 出品-13-1">
            <a:extLst>
              <a:ext uri="{FF2B5EF4-FFF2-40B4-BE49-F238E27FC236}">
                <a16:creationId xmlns:a16="http://schemas.microsoft.com/office/drawing/2014/main" id="{F77D062A-DF8B-459E-A93D-C17AE6D30007}"/>
              </a:ext>
            </a:extLst>
          </p:cNvPr>
          <p:cNvSpPr txBox="1">
            <a:spLocks/>
          </p:cNvSpPr>
          <p:nvPr/>
        </p:nvSpPr>
        <p:spPr>
          <a:xfrm>
            <a:off x="1036095" y="5556438"/>
            <a:ext cx="19441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63" name="@稿定PPT实验室 出品-13-1">
            <a:extLst>
              <a:ext uri="{FF2B5EF4-FFF2-40B4-BE49-F238E27FC236}">
                <a16:creationId xmlns:a16="http://schemas.microsoft.com/office/drawing/2014/main" id="{81926F61-95DC-412D-A536-AB11A24790C1}"/>
              </a:ext>
            </a:extLst>
          </p:cNvPr>
          <p:cNvSpPr txBox="1">
            <a:spLocks/>
          </p:cNvSpPr>
          <p:nvPr/>
        </p:nvSpPr>
        <p:spPr>
          <a:xfrm>
            <a:off x="3411733" y="5262421"/>
            <a:ext cx="2292998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64" name="@稿定PPT实验室 出品-13-1">
            <a:extLst>
              <a:ext uri="{FF2B5EF4-FFF2-40B4-BE49-F238E27FC236}">
                <a16:creationId xmlns:a16="http://schemas.microsoft.com/office/drawing/2014/main" id="{D25D5874-6D13-4FBB-8281-4EE7559FF2D7}"/>
              </a:ext>
            </a:extLst>
          </p:cNvPr>
          <p:cNvSpPr txBox="1">
            <a:spLocks/>
          </p:cNvSpPr>
          <p:nvPr/>
        </p:nvSpPr>
        <p:spPr>
          <a:xfrm>
            <a:off x="3586146" y="5556438"/>
            <a:ext cx="19441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66" name="@稿定PPT实验室 出品-13-1">
            <a:extLst>
              <a:ext uri="{FF2B5EF4-FFF2-40B4-BE49-F238E27FC236}">
                <a16:creationId xmlns:a16="http://schemas.microsoft.com/office/drawing/2014/main" id="{721902F6-4D41-4867-94C4-63FACDE15223}"/>
              </a:ext>
            </a:extLst>
          </p:cNvPr>
          <p:cNvSpPr txBox="1">
            <a:spLocks/>
          </p:cNvSpPr>
          <p:nvPr/>
        </p:nvSpPr>
        <p:spPr>
          <a:xfrm>
            <a:off x="5961784" y="5262421"/>
            <a:ext cx="2292998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67" name="@稿定PPT实验室 出品-13-1">
            <a:extLst>
              <a:ext uri="{FF2B5EF4-FFF2-40B4-BE49-F238E27FC236}">
                <a16:creationId xmlns:a16="http://schemas.microsoft.com/office/drawing/2014/main" id="{89B387B6-AFEB-4542-98E1-19C98B0B8702}"/>
              </a:ext>
            </a:extLst>
          </p:cNvPr>
          <p:cNvSpPr txBox="1">
            <a:spLocks/>
          </p:cNvSpPr>
          <p:nvPr/>
        </p:nvSpPr>
        <p:spPr>
          <a:xfrm>
            <a:off x="6136197" y="5556438"/>
            <a:ext cx="19441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69" name="@稿定PPT实验室 出品-13-1">
            <a:extLst>
              <a:ext uri="{FF2B5EF4-FFF2-40B4-BE49-F238E27FC236}">
                <a16:creationId xmlns:a16="http://schemas.microsoft.com/office/drawing/2014/main" id="{E9C8BB7D-CA44-4038-8CEC-53C2ADB13B54}"/>
              </a:ext>
            </a:extLst>
          </p:cNvPr>
          <p:cNvSpPr txBox="1">
            <a:spLocks/>
          </p:cNvSpPr>
          <p:nvPr/>
        </p:nvSpPr>
        <p:spPr>
          <a:xfrm>
            <a:off x="8511835" y="5262421"/>
            <a:ext cx="2292998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70" name="@稿定PPT实验室 出品-13-1">
            <a:extLst>
              <a:ext uri="{FF2B5EF4-FFF2-40B4-BE49-F238E27FC236}">
                <a16:creationId xmlns:a16="http://schemas.microsoft.com/office/drawing/2014/main" id="{CB39C855-3917-4C6B-8057-93906D9599AE}"/>
              </a:ext>
            </a:extLst>
          </p:cNvPr>
          <p:cNvSpPr txBox="1">
            <a:spLocks/>
          </p:cNvSpPr>
          <p:nvPr/>
        </p:nvSpPr>
        <p:spPr>
          <a:xfrm>
            <a:off x="8686248" y="5556438"/>
            <a:ext cx="19441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grpSp>
        <p:nvGrpSpPr>
          <p:cNvPr id="103" name="组合 102">
            <a:extLst>
              <a:ext uri="{FF2B5EF4-FFF2-40B4-BE49-F238E27FC236}">
                <a16:creationId xmlns:a16="http://schemas.microsoft.com/office/drawing/2014/main" id="{FC92C2C2-36EA-49D1-A734-EE5451A69F59}"/>
              </a:ext>
            </a:extLst>
          </p:cNvPr>
          <p:cNvGrpSpPr/>
          <p:nvPr/>
        </p:nvGrpSpPr>
        <p:grpSpPr>
          <a:xfrm>
            <a:off x="1776481" y="2853346"/>
            <a:ext cx="456178" cy="521388"/>
            <a:chOff x="7120785" y="1761523"/>
            <a:chExt cx="885982" cy="1012631"/>
          </a:xfrm>
        </p:grpSpPr>
        <p:sp>
          <p:nvSpPr>
            <p:cNvPr id="104" name="Freeform 5">
              <a:extLst>
                <a:ext uri="{FF2B5EF4-FFF2-40B4-BE49-F238E27FC236}">
                  <a16:creationId xmlns:a16="http://schemas.microsoft.com/office/drawing/2014/main" id="{36C2C581-E1C3-4679-99F1-3AF0E2A1A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85" y="1761523"/>
              <a:ext cx="885982" cy="1012631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CBA6F73D-CF43-4C22-A9AF-0FB2CACBF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241" y="1828334"/>
              <a:ext cx="769070" cy="879009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106" name="Freeform 172">
              <a:extLst>
                <a:ext uri="{FF2B5EF4-FFF2-40B4-BE49-F238E27FC236}">
                  <a16:creationId xmlns:a16="http://schemas.microsoft.com/office/drawing/2014/main" id="{267E398E-834B-4680-A9B6-21F2AF27777A}"/>
                </a:ext>
              </a:extLst>
            </p:cNvPr>
            <p:cNvSpPr/>
            <p:nvPr/>
          </p:nvSpPr>
          <p:spPr>
            <a:xfrm>
              <a:off x="7403726" y="2103339"/>
              <a:ext cx="320105" cy="306663"/>
            </a:xfrm>
            <a:custGeom>
              <a:avLst/>
              <a:gdLst>
                <a:gd name="connsiteX0" fmla="*/ 196501 w 467362"/>
                <a:gd name="connsiteY0" fmla="*/ 222283 h 447740"/>
                <a:gd name="connsiteX1" fmla="*/ 227171 w 467362"/>
                <a:gd name="connsiteY1" fmla="*/ 249334 h 447740"/>
                <a:gd name="connsiteX2" fmla="*/ 204216 w 467362"/>
                <a:gd name="connsiteY2" fmla="*/ 278671 h 447740"/>
                <a:gd name="connsiteX3" fmla="*/ 196501 w 467362"/>
                <a:gd name="connsiteY3" fmla="*/ 278671 h 447740"/>
                <a:gd name="connsiteX4" fmla="*/ 181356 w 467362"/>
                <a:gd name="connsiteY4" fmla="*/ 263526 h 447740"/>
                <a:gd name="connsiteX5" fmla="*/ 181356 w 467362"/>
                <a:gd name="connsiteY5" fmla="*/ 237523 h 447740"/>
                <a:gd name="connsiteX6" fmla="*/ 181356 w 467362"/>
                <a:gd name="connsiteY6" fmla="*/ 237428 h 447740"/>
                <a:gd name="connsiteX7" fmla="*/ 196501 w 467362"/>
                <a:gd name="connsiteY7" fmla="*/ 222283 h 447740"/>
                <a:gd name="connsiteX8" fmla="*/ 139827 w 467362"/>
                <a:gd name="connsiteY8" fmla="*/ 182183 h 447740"/>
                <a:gd name="connsiteX9" fmla="*/ 124777 w 467362"/>
                <a:gd name="connsiteY9" fmla="*/ 197233 h 447740"/>
                <a:gd name="connsiteX10" fmla="*/ 124777 w 467362"/>
                <a:gd name="connsiteY10" fmla="*/ 368683 h 447740"/>
                <a:gd name="connsiteX11" fmla="*/ 124777 w 467362"/>
                <a:gd name="connsiteY11" fmla="*/ 368686 h 447740"/>
                <a:gd name="connsiteX12" fmla="*/ 139636 w 467362"/>
                <a:gd name="connsiteY12" fmla="*/ 383923 h 447740"/>
                <a:gd name="connsiteX13" fmla="*/ 166497 w 467362"/>
                <a:gd name="connsiteY13" fmla="*/ 383923 h 447740"/>
                <a:gd name="connsiteX14" fmla="*/ 181547 w 467362"/>
                <a:gd name="connsiteY14" fmla="*/ 368873 h 447740"/>
                <a:gd name="connsiteX15" fmla="*/ 181547 w 467362"/>
                <a:gd name="connsiteY15" fmla="*/ 334202 h 447740"/>
                <a:gd name="connsiteX16" fmla="*/ 196691 w 467362"/>
                <a:gd name="connsiteY16" fmla="*/ 319058 h 447740"/>
                <a:gd name="connsiteX17" fmla="*/ 209836 w 467362"/>
                <a:gd name="connsiteY17" fmla="*/ 319058 h 447740"/>
                <a:gd name="connsiteX18" fmla="*/ 247936 w 467362"/>
                <a:gd name="connsiteY18" fmla="*/ 309533 h 447740"/>
                <a:gd name="connsiteX19" fmla="*/ 272986 w 467362"/>
                <a:gd name="connsiteY19" fmla="*/ 284101 h 447740"/>
                <a:gd name="connsiteX20" fmla="*/ 281273 w 467362"/>
                <a:gd name="connsiteY20" fmla="*/ 251049 h 447740"/>
                <a:gd name="connsiteX21" fmla="*/ 272606 w 467362"/>
                <a:gd name="connsiteY21" fmla="*/ 217235 h 447740"/>
                <a:gd name="connsiteX22" fmla="*/ 247650 w 467362"/>
                <a:gd name="connsiteY22" fmla="*/ 191899 h 447740"/>
                <a:gd name="connsiteX23" fmla="*/ 207550 w 467362"/>
                <a:gd name="connsiteY23" fmla="*/ 182183 h 447740"/>
                <a:gd name="connsiteX24" fmla="*/ 15049 w 467362"/>
                <a:gd name="connsiteY24" fmla="*/ 73884 h 447740"/>
                <a:gd name="connsiteX25" fmla="*/ 183451 w 467362"/>
                <a:gd name="connsiteY25" fmla="*/ 73884 h 447740"/>
                <a:gd name="connsiteX26" fmla="*/ 198215 w 467362"/>
                <a:gd name="connsiteY26" fmla="*/ 85314 h 447740"/>
                <a:gd name="connsiteX27" fmla="*/ 202978 w 467362"/>
                <a:gd name="connsiteY27" fmla="*/ 105983 h 447740"/>
                <a:gd name="connsiteX28" fmla="*/ 217742 w 467362"/>
                <a:gd name="connsiteY28" fmla="*/ 117699 h 447740"/>
                <a:gd name="connsiteX29" fmla="*/ 354140 w 467362"/>
                <a:gd name="connsiteY29" fmla="*/ 117699 h 447740"/>
                <a:gd name="connsiteX30" fmla="*/ 354235 w 467362"/>
                <a:gd name="connsiteY30" fmla="*/ 117699 h 447740"/>
                <a:gd name="connsiteX31" fmla="*/ 369284 w 467362"/>
                <a:gd name="connsiteY31" fmla="*/ 132749 h 447740"/>
                <a:gd name="connsiteX32" fmla="*/ 369284 w 467362"/>
                <a:gd name="connsiteY32" fmla="*/ 432596 h 447740"/>
                <a:gd name="connsiteX33" fmla="*/ 354140 w 467362"/>
                <a:gd name="connsiteY33" fmla="*/ 447740 h 447740"/>
                <a:gd name="connsiteX34" fmla="*/ 15049 w 467362"/>
                <a:gd name="connsiteY34" fmla="*/ 447740 h 447740"/>
                <a:gd name="connsiteX35" fmla="*/ 0 w 467362"/>
                <a:gd name="connsiteY35" fmla="*/ 432596 h 447740"/>
                <a:gd name="connsiteX36" fmla="*/ 0 w 467362"/>
                <a:gd name="connsiteY36" fmla="*/ 88934 h 447740"/>
                <a:gd name="connsiteX37" fmla="*/ 15049 w 467362"/>
                <a:gd name="connsiteY37" fmla="*/ 73884 h 447740"/>
                <a:gd name="connsiteX38" fmla="*/ 124778 w 467362"/>
                <a:gd name="connsiteY38" fmla="*/ 351 h 447740"/>
                <a:gd name="connsiteX39" fmla="*/ 455581 w 467362"/>
                <a:gd name="connsiteY39" fmla="*/ 74075 h 447740"/>
                <a:gd name="connsiteX40" fmla="*/ 467011 w 467362"/>
                <a:gd name="connsiteY40" fmla="*/ 91982 h 447740"/>
                <a:gd name="connsiteX41" fmla="*/ 400336 w 467362"/>
                <a:gd name="connsiteY41" fmla="*/ 399449 h 447740"/>
                <a:gd name="connsiteX42" fmla="*/ 399193 w 467362"/>
                <a:gd name="connsiteY42" fmla="*/ 399449 h 447740"/>
                <a:gd name="connsiteX43" fmla="*/ 387573 w 467362"/>
                <a:gd name="connsiteY43" fmla="*/ 384780 h 447740"/>
                <a:gd name="connsiteX44" fmla="*/ 387573 w 467362"/>
                <a:gd name="connsiteY44" fmla="*/ 114556 h 447740"/>
                <a:gd name="connsiteX45" fmla="*/ 372428 w 467362"/>
                <a:gd name="connsiteY45" fmla="*/ 99411 h 447740"/>
                <a:gd name="connsiteX46" fmla="*/ 235839 w 467362"/>
                <a:gd name="connsiteY46" fmla="*/ 99411 h 447740"/>
                <a:gd name="connsiteX47" fmla="*/ 221171 w 467362"/>
                <a:gd name="connsiteY47" fmla="*/ 87791 h 447740"/>
                <a:gd name="connsiteX48" fmla="*/ 216408 w 467362"/>
                <a:gd name="connsiteY48" fmla="*/ 67121 h 447740"/>
                <a:gd name="connsiteX49" fmla="*/ 201645 w 467362"/>
                <a:gd name="connsiteY49" fmla="*/ 55501 h 447740"/>
                <a:gd name="connsiteX50" fmla="*/ 115920 w 467362"/>
                <a:gd name="connsiteY50" fmla="*/ 55501 h 447740"/>
                <a:gd name="connsiteX51" fmla="*/ 112872 w 467362"/>
                <a:gd name="connsiteY51" fmla="*/ 55171 h 447740"/>
                <a:gd name="connsiteX52" fmla="*/ 101156 w 467362"/>
                <a:gd name="connsiteY52" fmla="*/ 37213 h 447740"/>
                <a:gd name="connsiteX53" fmla="*/ 106680 w 467362"/>
                <a:gd name="connsiteY53" fmla="*/ 11876 h 447740"/>
                <a:gd name="connsiteX54" fmla="*/ 124778 w 467362"/>
                <a:gd name="connsiteY54" fmla="*/ 351 h 44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67362" h="447740">
                  <a:moveTo>
                    <a:pt x="196501" y="222283"/>
                  </a:moveTo>
                  <a:cubicBezTo>
                    <a:pt x="216123" y="222791"/>
                    <a:pt x="226343" y="231808"/>
                    <a:pt x="227171" y="249334"/>
                  </a:cubicBezTo>
                  <a:cubicBezTo>
                    <a:pt x="226981" y="267813"/>
                    <a:pt x="219361" y="277528"/>
                    <a:pt x="204216" y="278671"/>
                  </a:cubicBezTo>
                  <a:lnTo>
                    <a:pt x="196501" y="278671"/>
                  </a:lnTo>
                  <a:cubicBezTo>
                    <a:pt x="188138" y="278671"/>
                    <a:pt x="181356" y="271890"/>
                    <a:pt x="181356" y="263526"/>
                  </a:cubicBezTo>
                  <a:lnTo>
                    <a:pt x="181356" y="237523"/>
                  </a:lnTo>
                  <a:cubicBezTo>
                    <a:pt x="181356" y="237492"/>
                    <a:pt x="181356" y="237459"/>
                    <a:pt x="181356" y="237428"/>
                  </a:cubicBezTo>
                  <a:cubicBezTo>
                    <a:pt x="181356" y="229063"/>
                    <a:pt x="188138" y="222283"/>
                    <a:pt x="196501" y="222283"/>
                  </a:cubicBezTo>
                  <a:close/>
                  <a:moveTo>
                    <a:pt x="139827" y="182183"/>
                  </a:moveTo>
                  <a:cubicBezTo>
                    <a:pt x="131511" y="182183"/>
                    <a:pt x="124777" y="188921"/>
                    <a:pt x="124777" y="197233"/>
                  </a:cubicBezTo>
                  <a:lnTo>
                    <a:pt x="124777" y="368683"/>
                  </a:lnTo>
                  <a:cubicBezTo>
                    <a:pt x="124777" y="368684"/>
                    <a:pt x="124777" y="368685"/>
                    <a:pt x="124777" y="368686"/>
                  </a:cubicBezTo>
                  <a:cubicBezTo>
                    <a:pt x="124673" y="376996"/>
                    <a:pt x="131321" y="383818"/>
                    <a:pt x="139636" y="383923"/>
                  </a:cubicBezTo>
                  <a:lnTo>
                    <a:pt x="166497" y="383923"/>
                  </a:lnTo>
                  <a:cubicBezTo>
                    <a:pt x="174812" y="383923"/>
                    <a:pt x="181547" y="377185"/>
                    <a:pt x="181547" y="368873"/>
                  </a:cubicBezTo>
                  <a:lnTo>
                    <a:pt x="181547" y="334202"/>
                  </a:lnTo>
                  <a:cubicBezTo>
                    <a:pt x="181547" y="325838"/>
                    <a:pt x="188328" y="319058"/>
                    <a:pt x="196691" y="319058"/>
                  </a:cubicBezTo>
                  <a:lnTo>
                    <a:pt x="209836" y="319058"/>
                  </a:lnTo>
                  <a:cubicBezTo>
                    <a:pt x="223152" y="319298"/>
                    <a:pt x="236296" y="316011"/>
                    <a:pt x="247936" y="309533"/>
                  </a:cubicBezTo>
                  <a:cubicBezTo>
                    <a:pt x="258584" y="303672"/>
                    <a:pt x="267290" y="294834"/>
                    <a:pt x="272986" y="284101"/>
                  </a:cubicBezTo>
                  <a:cubicBezTo>
                    <a:pt x="278501" y="273963"/>
                    <a:pt x="281359" y="262590"/>
                    <a:pt x="281273" y="251049"/>
                  </a:cubicBezTo>
                  <a:cubicBezTo>
                    <a:pt x="281321" y="239223"/>
                    <a:pt x="278340" y="227581"/>
                    <a:pt x="272606" y="217235"/>
                  </a:cubicBezTo>
                  <a:cubicBezTo>
                    <a:pt x="266738" y="206686"/>
                    <a:pt x="258108" y="197929"/>
                    <a:pt x="247650" y="191899"/>
                  </a:cubicBezTo>
                  <a:cubicBezTo>
                    <a:pt x="235325" y="185300"/>
                    <a:pt x="221523" y="181956"/>
                    <a:pt x="207550" y="182183"/>
                  </a:cubicBezTo>
                  <a:close/>
                  <a:moveTo>
                    <a:pt x="15049" y="73884"/>
                  </a:moveTo>
                  <a:lnTo>
                    <a:pt x="183451" y="73884"/>
                  </a:lnTo>
                  <a:cubicBezTo>
                    <a:pt x="190405" y="73880"/>
                    <a:pt x="196482" y="78582"/>
                    <a:pt x="198215" y="85314"/>
                  </a:cubicBezTo>
                  <a:lnTo>
                    <a:pt x="202978" y="105983"/>
                  </a:lnTo>
                  <a:cubicBezTo>
                    <a:pt x="204578" y="112848"/>
                    <a:pt x="210693" y="117705"/>
                    <a:pt x="217742" y="117699"/>
                  </a:cubicBezTo>
                  <a:lnTo>
                    <a:pt x="354140" y="117699"/>
                  </a:lnTo>
                  <a:cubicBezTo>
                    <a:pt x="354168" y="117699"/>
                    <a:pt x="354206" y="117699"/>
                    <a:pt x="354235" y="117699"/>
                  </a:cubicBezTo>
                  <a:cubicBezTo>
                    <a:pt x="362550" y="117699"/>
                    <a:pt x="369284" y="124437"/>
                    <a:pt x="369284" y="132749"/>
                  </a:cubicBezTo>
                  <a:lnTo>
                    <a:pt x="369284" y="432596"/>
                  </a:lnTo>
                  <a:cubicBezTo>
                    <a:pt x="369284" y="440959"/>
                    <a:pt x="362502" y="447740"/>
                    <a:pt x="354140" y="447740"/>
                  </a:cubicBezTo>
                  <a:lnTo>
                    <a:pt x="15049" y="447740"/>
                  </a:lnTo>
                  <a:cubicBezTo>
                    <a:pt x="6763" y="447688"/>
                    <a:pt x="0" y="440922"/>
                    <a:pt x="0" y="432596"/>
                  </a:cubicBezTo>
                  <a:lnTo>
                    <a:pt x="0" y="88934"/>
                  </a:lnTo>
                  <a:cubicBezTo>
                    <a:pt x="0" y="80622"/>
                    <a:pt x="6763" y="73884"/>
                    <a:pt x="15049" y="73884"/>
                  </a:cubicBezTo>
                  <a:close/>
                  <a:moveTo>
                    <a:pt x="124778" y="351"/>
                  </a:moveTo>
                  <a:lnTo>
                    <a:pt x="455581" y="74075"/>
                  </a:lnTo>
                  <a:cubicBezTo>
                    <a:pt x="463678" y="75877"/>
                    <a:pt x="468783" y="83883"/>
                    <a:pt x="467011" y="91982"/>
                  </a:cubicBezTo>
                  <a:lnTo>
                    <a:pt x="400336" y="399449"/>
                  </a:lnTo>
                  <a:lnTo>
                    <a:pt x="399193" y="399449"/>
                  </a:lnTo>
                  <a:cubicBezTo>
                    <a:pt x="392364" y="397887"/>
                    <a:pt x="387535" y="391789"/>
                    <a:pt x="387573" y="384780"/>
                  </a:cubicBezTo>
                  <a:lnTo>
                    <a:pt x="387573" y="114556"/>
                  </a:lnTo>
                  <a:cubicBezTo>
                    <a:pt x="387573" y="106192"/>
                    <a:pt x="380791" y="99411"/>
                    <a:pt x="372428" y="99411"/>
                  </a:cubicBezTo>
                  <a:lnTo>
                    <a:pt x="235839" y="99411"/>
                  </a:lnTo>
                  <a:cubicBezTo>
                    <a:pt x="228838" y="99418"/>
                    <a:pt x="222762" y="94603"/>
                    <a:pt x="221171" y="87791"/>
                  </a:cubicBezTo>
                  <a:lnTo>
                    <a:pt x="216408" y="67121"/>
                  </a:lnTo>
                  <a:cubicBezTo>
                    <a:pt x="214742" y="60314"/>
                    <a:pt x="208655" y="55519"/>
                    <a:pt x="201645" y="55501"/>
                  </a:cubicBezTo>
                  <a:lnTo>
                    <a:pt x="115920" y="55501"/>
                  </a:lnTo>
                  <a:cubicBezTo>
                    <a:pt x="114872" y="55497"/>
                    <a:pt x="113824" y="55387"/>
                    <a:pt x="112872" y="55171"/>
                  </a:cubicBezTo>
                  <a:cubicBezTo>
                    <a:pt x="104680" y="53435"/>
                    <a:pt x="99442" y="45395"/>
                    <a:pt x="101156" y="37213"/>
                  </a:cubicBezTo>
                  <a:lnTo>
                    <a:pt x="106680" y="11876"/>
                  </a:lnTo>
                  <a:cubicBezTo>
                    <a:pt x="108490" y="3720"/>
                    <a:pt x="116606" y="-1424"/>
                    <a:pt x="124778" y="35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64" name="Group 106">
            <a:extLst>
              <a:ext uri="{FF2B5EF4-FFF2-40B4-BE49-F238E27FC236}">
                <a16:creationId xmlns:a16="http://schemas.microsoft.com/office/drawing/2014/main" id="{D0AF5545-F9E4-4F1E-A0D2-3B84612B429C}"/>
              </a:ext>
            </a:extLst>
          </p:cNvPr>
          <p:cNvGrpSpPr/>
          <p:nvPr/>
        </p:nvGrpSpPr>
        <p:grpSpPr>
          <a:xfrm>
            <a:off x="4330142" y="2853346"/>
            <a:ext cx="456178" cy="521388"/>
            <a:chOff x="7120785" y="1761526"/>
            <a:chExt cx="885982" cy="1012634"/>
          </a:xfrm>
        </p:grpSpPr>
        <p:sp>
          <p:nvSpPr>
            <p:cNvPr id="265" name="Freeform 5">
              <a:extLst>
                <a:ext uri="{FF2B5EF4-FFF2-40B4-BE49-F238E27FC236}">
                  <a16:creationId xmlns:a16="http://schemas.microsoft.com/office/drawing/2014/main" id="{E8B6E32C-1440-4E53-9A7A-DCEF7F70C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85" y="1761526"/>
              <a:ext cx="885982" cy="1012634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2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66" name="Freeform 5">
              <a:extLst>
                <a:ext uri="{FF2B5EF4-FFF2-40B4-BE49-F238E27FC236}">
                  <a16:creationId xmlns:a16="http://schemas.microsoft.com/office/drawing/2014/main" id="{FC37332E-AB9C-4912-9F13-2FD19760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241" y="1828337"/>
              <a:ext cx="769070" cy="879011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67" name="Freeform 172">
              <a:extLst>
                <a:ext uri="{FF2B5EF4-FFF2-40B4-BE49-F238E27FC236}">
                  <a16:creationId xmlns:a16="http://schemas.microsoft.com/office/drawing/2014/main" id="{F462B40F-BA15-4C92-B418-C67361B085E9}"/>
                </a:ext>
              </a:extLst>
            </p:cNvPr>
            <p:cNvSpPr/>
            <p:nvPr/>
          </p:nvSpPr>
          <p:spPr>
            <a:xfrm>
              <a:off x="7403726" y="2102587"/>
              <a:ext cx="320105" cy="308163"/>
            </a:xfrm>
            <a:custGeom>
              <a:avLst/>
              <a:gdLst>
                <a:gd name="connsiteX0" fmla="*/ 194024 w 465677"/>
                <a:gd name="connsiteY0" fmla="*/ 157258 h 448304"/>
                <a:gd name="connsiteX1" fmla="*/ 196023 w 465677"/>
                <a:gd name="connsiteY1" fmla="*/ 157258 h 448304"/>
                <a:gd name="connsiteX2" fmla="*/ 238410 w 465677"/>
                <a:gd name="connsiteY2" fmla="*/ 198691 h 448304"/>
                <a:gd name="connsiteX3" fmla="*/ 238410 w 465677"/>
                <a:gd name="connsiteY3" fmla="*/ 198791 h 448304"/>
                <a:gd name="connsiteX4" fmla="*/ 196023 w 465677"/>
                <a:gd name="connsiteY4" fmla="*/ 240220 h 448304"/>
                <a:gd name="connsiteX5" fmla="*/ 194024 w 465677"/>
                <a:gd name="connsiteY5" fmla="*/ 240220 h 448304"/>
                <a:gd name="connsiteX6" fmla="*/ 151733 w 465677"/>
                <a:gd name="connsiteY6" fmla="*/ 198691 h 448304"/>
                <a:gd name="connsiteX7" fmla="*/ 194024 w 465677"/>
                <a:gd name="connsiteY7" fmla="*/ 157258 h 448304"/>
                <a:gd name="connsiteX8" fmla="*/ 195263 w 465677"/>
                <a:gd name="connsiteY8" fmla="*/ 123824 h 448304"/>
                <a:gd name="connsiteX9" fmla="*/ 179737 w 465677"/>
                <a:gd name="connsiteY9" fmla="*/ 125062 h 448304"/>
                <a:gd name="connsiteX10" fmla="*/ 119729 w 465677"/>
                <a:gd name="connsiteY10" fmla="*/ 179831 h 448304"/>
                <a:gd name="connsiteX11" fmla="*/ 151734 w 465677"/>
                <a:gd name="connsiteY11" fmla="*/ 261937 h 448304"/>
                <a:gd name="connsiteX12" fmla="*/ 88488 w 465677"/>
                <a:gd name="connsiteY12" fmla="*/ 309562 h 448304"/>
                <a:gd name="connsiteX13" fmla="*/ 86582 w 465677"/>
                <a:gd name="connsiteY13" fmla="*/ 313303 h 448304"/>
                <a:gd name="connsiteX14" fmla="*/ 96107 w 465677"/>
                <a:gd name="connsiteY14" fmla="*/ 333374 h 448304"/>
                <a:gd name="connsiteX15" fmla="*/ 98298 w 465677"/>
                <a:gd name="connsiteY15" fmla="*/ 334231 h 448304"/>
                <a:gd name="connsiteX16" fmla="*/ 117348 w 465677"/>
                <a:gd name="connsiteY16" fmla="*/ 328135 h 448304"/>
                <a:gd name="connsiteX17" fmla="*/ 195167 w 465677"/>
                <a:gd name="connsiteY17" fmla="*/ 288892 h 448304"/>
                <a:gd name="connsiteX18" fmla="*/ 272987 w 465677"/>
                <a:gd name="connsiteY18" fmla="*/ 328135 h 448304"/>
                <a:gd name="connsiteX19" fmla="*/ 292037 w 465677"/>
                <a:gd name="connsiteY19" fmla="*/ 334231 h 448304"/>
                <a:gd name="connsiteX20" fmla="*/ 294228 w 465677"/>
                <a:gd name="connsiteY20" fmla="*/ 333374 h 448304"/>
                <a:gd name="connsiteX21" fmla="*/ 298038 w 465677"/>
                <a:gd name="connsiteY21" fmla="*/ 331430 h 448304"/>
                <a:gd name="connsiteX22" fmla="*/ 302038 w 465677"/>
                <a:gd name="connsiteY22" fmla="*/ 309562 h 448304"/>
                <a:gd name="connsiteX23" fmla="*/ 238791 w 465677"/>
                <a:gd name="connsiteY23" fmla="*/ 261937 h 448304"/>
                <a:gd name="connsiteX24" fmla="*/ 270796 w 465677"/>
                <a:gd name="connsiteY24" fmla="*/ 179831 h 448304"/>
                <a:gd name="connsiteX25" fmla="*/ 210788 w 465677"/>
                <a:gd name="connsiteY25" fmla="*/ 125062 h 448304"/>
                <a:gd name="connsiteX26" fmla="*/ 195263 w 465677"/>
                <a:gd name="connsiteY26" fmla="*/ 123824 h 448304"/>
                <a:gd name="connsiteX27" fmla="*/ 369285 w 465677"/>
                <a:gd name="connsiteY27" fmla="*/ 69717 h 448304"/>
                <a:gd name="connsiteX28" fmla="*/ 392811 w 465677"/>
                <a:gd name="connsiteY28" fmla="*/ 92677 h 448304"/>
                <a:gd name="connsiteX29" fmla="*/ 392811 w 465677"/>
                <a:gd name="connsiteY29" fmla="*/ 370903 h 448304"/>
                <a:gd name="connsiteX30" fmla="*/ 392811 w 465677"/>
                <a:gd name="connsiteY30" fmla="*/ 370906 h 448304"/>
                <a:gd name="connsiteX31" fmla="*/ 369380 w 465677"/>
                <a:gd name="connsiteY31" fmla="*/ 393763 h 448304"/>
                <a:gd name="connsiteX32" fmla="*/ 277559 w 465677"/>
                <a:gd name="connsiteY32" fmla="*/ 393763 h 448304"/>
                <a:gd name="connsiteX33" fmla="*/ 261461 w 465677"/>
                <a:gd name="connsiteY33" fmla="*/ 400049 h 448304"/>
                <a:gd name="connsiteX34" fmla="*/ 216217 w 465677"/>
                <a:gd name="connsiteY34" fmla="*/ 442054 h 448304"/>
                <a:gd name="connsiteX35" fmla="*/ 183356 w 465677"/>
                <a:gd name="connsiteY35" fmla="*/ 441388 h 448304"/>
                <a:gd name="connsiteX36" fmla="*/ 142684 w 465677"/>
                <a:gd name="connsiteY36" fmla="*/ 400621 h 448304"/>
                <a:gd name="connsiteX37" fmla="*/ 125920 w 465677"/>
                <a:gd name="connsiteY37" fmla="*/ 393763 h 448304"/>
                <a:gd name="connsiteX38" fmla="*/ 23336 w 465677"/>
                <a:gd name="connsiteY38" fmla="*/ 393763 h 448304"/>
                <a:gd name="connsiteX39" fmla="*/ 0 w 465677"/>
                <a:gd name="connsiteY39" fmla="*/ 370903 h 448304"/>
                <a:gd name="connsiteX40" fmla="*/ 0 w 465677"/>
                <a:gd name="connsiteY40" fmla="*/ 92677 h 448304"/>
                <a:gd name="connsiteX41" fmla="*/ 22956 w 465677"/>
                <a:gd name="connsiteY41" fmla="*/ 69722 h 448304"/>
                <a:gd name="connsiteX42" fmla="*/ 368999 w 465677"/>
                <a:gd name="connsiteY42" fmla="*/ 69722 h 448304"/>
                <a:gd name="connsiteX43" fmla="*/ 369285 w 465677"/>
                <a:gd name="connsiteY43" fmla="*/ 69717 h 448304"/>
                <a:gd name="connsiteX44" fmla="*/ 123825 w 465677"/>
                <a:gd name="connsiteY44" fmla="*/ 0 h 448304"/>
                <a:gd name="connsiteX45" fmla="*/ 445484 w 465677"/>
                <a:gd name="connsiteY45" fmla="*/ 0 h 448304"/>
                <a:gd name="connsiteX46" fmla="*/ 465677 w 465677"/>
                <a:gd name="connsiteY46" fmla="*/ 19810 h 448304"/>
                <a:gd name="connsiteX47" fmla="*/ 465677 w 465677"/>
                <a:gd name="connsiteY47" fmla="*/ 19812 h 448304"/>
                <a:gd name="connsiteX48" fmla="*/ 465677 w 465677"/>
                <a:gd name="connsiteY48" fmla="*/ 307753 h 448304"/>
                <a:gd name="connsiteX49" fmla="*/ 445866 w 465677"/>
                <a:gd name="connsiteY49" fmla="*/ 327565 h 448304"/>
                <a:gd name="connsiteX50" fmla="*/ 411384 w 465677"/>
                <a:gd name="connsiteY50" fmla="*/ 327565 h 448304"/>
                <a:gd name="connsiteX51" fmla="*/ 411384 w 465677"/>
                <a:gd name="connsiteY51" fmla="*/ 288512 h 448304"/>
                <a:gd name="connsiteX52" fmla="*/ 426244 w 465677"/>
                <a:gd name="connsiteY52" fmla="*/ 274037 h 448304"/>
                <a:gd name="connsiteX53" fmla="*/ 426244 w 465677"/>
                <a:gd name="connsiteY53" fmla="*/ 274034 h 448304"/>
                <a:gd name="connsiteX54" fmla="*/ 426244 w 465677"/>
                <a:gd name="connsiteY54" fmla="*/ 53626 h 448304"/>
                <a:gd name="connsiteX55" fmla="*/ 411479 w 465677"/>
                <a:gd name="connsiteY55" fmla="*/ 39051 h 448304"/>
                <a:gd name="connsiteX56" fmla="*/ 411384 w 465677"/>
                <a:gd name="connsiteY56" fmla="*/ 39052 h 448304"/>
                <a:gd name="connsiteX57" fmla="*/ 158782 w 465677"/>
                <a:gd name="connsiteY57" fmla="*/ 39052 h 448304"/>
                <a:gd name="connsiteX58" fmla="*/ 143922 w 465677"/>
                <a:gd name="connsiteY58" fmla="*/ 53529 h 448304"/>
                <a:gd name="connsiteX59" fmla="*/ 143922 w 465677"/>
                <a:gd name="connsiteY59" fmla="*/ 53626 h 448304"/>
                <a:gd name="connsiteX60" fmla="*/ 143922 w 465677"/>
                <a:gd name="connsiteY60" fmla="*/ 58007 h 448304"/>
                <a:gd name="connsiteX61" fmla="*/ 104013 w 465677"/>
                <a:gd name="connsiteY61" fmla="*/ 58007 h 448304"/>
                <a:gd name="connsiteX62" fmla="*/ 104013 w 465677"/>
                <a:gd name="connsiteY62" fmla="*/ 19907 h 448304"/>
                <a:gd name="connsiteX63" fmla="*/ 123825 w 465677"/>
                <a:gd name="connsiteY63" fmla="*/ 0 h 448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65677" h="448304">
                  <a:moveTo>
                    <a:pt x="194024" y="157258"/>
                  </a:moveTo>
                  <a:lnTo>
                    <a:pt x="196023" y="157258"/>
                  </a:lnTo>
                  <a:cubicBezTo>
                    <a:pt x="219170" y="156996"/>
                    <a:pt x="238124" y="175547"/>
                    <a:pt x="238410" y="198691"/>
                  </a:cubicBezTo>
                  <a:cubicBezTo>
                    <a:pt x="238410" y="198725"/>
                    <a:pt x="238410" y="198758"/>
                    <a:pt x="238410" y="198791"/>
                  </a:cubicBezTo>
                  <a:cubicBezTo>
                    <a:pt x="238124" y="221936"/>
                    <a:pt x="219170" y="240484"/>
                    <a:pt x="196023" y="240220"/>
                  </a:cubicBezTo>
                  <a:lnTo>
                    <a:pt x="194024" y="240220"/>
                  </a:lnTo>
                  <a:cubicBezTo>
                    <a:pt x="170877" y="240430"/>
                    <a:pt x="151923" y="221837"/>
                    <a:pt x="151733" y="198691"/>
                  </a:cubicBezTo>
                  <a:cubicBezTo>
                    <a:pt x="152018" y="175582"/>
                    <a:pt x="170877" y="157046"/>
                    <a:pt x="194024" y="157258"/>
                  </a:cubicBezTo>
                  <a:close/>
                  <a:moveTo>
                    <a:pt x="195263" y="123824"/>
                  </a:moveTo>
                  <a:cubicBezTo>
                    <a:pt x="190023" y="123723"/>
                    <a:pt x="184881" y="124138"/>
                    <a:pt x="179737" y="125062"/>
                  </a:cubicBezTo>
                  <a:cubicBezTo>
                    <a:pt x="150685" y="129889"/>
                    <a:pt x="127159" y="151339"/>
                    <a:pt x="119729" y="179831"/>
                  </a:cubicBezTo>
                  <a:cubicBezTo>
                    <a:pt x="111442" y="211245"/>
                    <a:pt x="124397" y="244410"/>
                    <a:pt x="151734" y="261937"/>
                  </a:cubicBezTo>
                  <a:cubicBezTo>
                    <a:pt x="126111" y="270647"/>
                    <a:pt x="103918" y="287337"/>
                    <a:pt x="88488" y="309562"/>
                  </a:cubicBezTo>
                  <a:cubicBezTo>
                    <a:pt x="87725" y="310717"/>
                    <a:pt x="87059" y="311975"/>
                    <a:pt x="86582" y="313303"/>
                  </a:cubicBezTo>
                  <a:cubicBezTo>
                    <a:pt x="83630" y="321482"/>
                    <a:pt x="87916" y="330468"/>
                    <a:pt x="96107" y="333374"/>
                  </a:cubicBezTo>
                  <a:lnTo>
                    <a:pt x="98298" y="334231"/>
                  </a:lnTo>
                  <a:cubicBezTo>
                    <a:pt x="105252" y="336658"/>
                    <a:pt x="113062" y="334175"/>
                    <a:pt x="117348" y="328135"/>
                  </a:cubicBezTo>
                  <a:cubicBezTo>
                    <a:pt x="135255" y="303068"/>
                    <a:pt x="164402" y="288401"/>
                    <a:pt x="195167" y="288892"/>
                  </a:cubicBezTo>
                  <a:cubicBezTo>
                    <a:pt x="225933" y="288401"/>
                    <a:pt x="255080" y="303068"/>
                    <a:pt x="272987" y="328135"/>
                  </a:cubicBezTo>
                  <a:cubicBezTo>
                    <a:pt x="277273" y="334175"/>
                    <a:pt x="285084" y="336658"/>
                    <a:pt x="292037" y="334231"/>
                  </a:cubicBezTo>
                  <a:lnTo>
                    <a:pt x="294228" y="333374"/>
                  </a:lnTo>
                  <a:cubicBezTo>
                    <a:pt x="295561" y="332906"/>
                    <a:pt x="296895" y="332251"/>
                    <a:pt x="298038" y="331430"/>
                  </a:cubicBezTo>
                  <a:cubicBezTo>
                    <a:pt x="305182" y="326488"/>
                    <a:pt x="306991" y="316697"/>
                    <a:pt x="302038" y="309562"/>
                  </a:cubicBezTo>
                  <a:cubicBezTo>
                    <a:pt x="286607" y="287337"/>
                    <a:pt x="264414" y="270647"/>
                    <a:pt x="238791" y="261937"/>
                  </a:cubicBezTo>
                  <a:cubicBezTo>
                    <a:pt x="266128" y="244410"/>
                    <a:pt x="279083" y="211245"/>
                    <a:pt x="270796" y="179831"/>
                  </a:cubicBezTo>
                  <a:cubicBezTo>
                    <a:pt x="263367" y="151339"/>
                    <a:pt x="239840" y="129889"/>
                    <a:pt x="210788" y="125062"/>
                  </a:cubicBezTo>
                  <a:cubicBezTo>
                    <a:pt x="205645" y="124138"/>
                    <a:pt x="200502" y="123723"/>
                    <a:pt x="195263" y="123824"/>
                  </a:cubicBezTo>
                  <a:close/>
                  <a:moveTo>
                    <a:pt x="369285" y="69717"/>
                  </a:moveTo>
                  <a:cubicBezTo>
                    <a:pt x="382143" y="69563"/>
                    <a:pt x="392620" y="79843"/>
                    <a:pt x="392811" y="92677"/>
                  </a:cubicBezTo>
                  <a:lnTo>
                    <a:pt x="392811" y="370903"/>
                  </a:lnTo>
                  <a:cubicBezTo>
                    <a:pt x="392811" y="370904"/>
                    <a:pt x="392811" y="370905"/>
                    <a:pt x="392811" y="370906"/>
                  </a:cubicBezTo>
                  <a:cubicBezTo>
                    <a:pt x="392620" y="383688"/>
                    <a:pt x="382143" y="393922"/>
                    <a:pt x="369380" y="393763"/>
                  </a:cubicBezTo>
                  <a:lnTo>
                    <a:pt x="277559" y="393763"/>
                  </a:lnTo>
                  <a:cubicBezTo>
                    <a:pt x="271558" y="393778"/>
                    <a:pt x="265843" y="396020"/>
                    <a:pt x="261461" y="400049"/>
                  </a:cubicBezTo>
                  <a:lnTo>
                    <a:pt x="216217" y="442054"/>
                  </a:lnTo>
                  <a:cubicBezTo>
                    <a:pt x="206883" y="450639"/>
                    <a:pt x="192405" y="450346"/>
                    <a:pt x="183356" y="441388"/>
                  </a:cubicBezTo>
                  <a:lnTo>
                    <a:pt x="142684" y="400621"/>
                  </a:lnTo>
                  <a:cubicBezTo>
                    <a:pt x="138208" y="396215"/>
                    <a:pt x="132207" y="393751"/>
                    <a:pt x="125920" y="393763"/>
                  </a:cubicBezTo>
                  <a:lnTo>
                    <a:pt x="23336" y="393763"/>
                  </a:lnTo>
                  <a:cubicBezTo>
                    <a:pt x="10573" y="393868"/>
                    <a:pt x="191" y="383648"/>
                    <a:pt x="0" y="370903"/>
                  </a:cubicBezTo>
                  <a:lnTo>
                    <a:pt x="0" y="92677"/>
                  </a:lnTo>
                  <a:cubicBezTo>
                    <a:pt x="96" y="80043"/>
                    <a:pt x="10287" y="69826"/>
                    <a:pt x="22956" y="69722"/>
                  </a:cubicBezTo>
                  <a:lnTo>
                    <a:pt x="368999" y="69722"/>
                  </a:lnTo>
                  <a:cubicBezTo>
                    <a:pt x="369094" y="69720"/>
                    <a:pt x="369189" y="69718"/>
                    <a:pt x="369285" y="69717"/>
                  </a:cubicBezTo>
                  <a:close/>
                  <a:moveTo>
                    <a:pt x="123825" y="0"/>
                  </a:moveTo>
                  <a:lnTo>
                    <a:pt x="445484" y="0"/>
                  </a:lnTo>
                  <a:cubicBezTo>
                    <a:pt x="456534" y="-106"/>
                    <a:pt x="465582" y="8764"/>
                    <a:pt x="465677" y="19810"/>
                  </a:cubicBezTo>
                  <a:cubicBezTo>
                    <a:pt x="465677" y="19811"/>
                    <a:pt x="465677" y="19811"/>
                    <a:pt x="465677" y="19812"/>
                  </a:cubicBezTo>
                  <a:lnTo>
                    <a:pt x="465677" y="307753"/>
                  </a:lnTo>
                  <a:cubicBezTo>
                    <a:pt x="465582" y="318651"/>
                    <a:pt x="456723" y="327462"/>
                    <a:pt x="445866" y="327565"/>
                  </a:cubicBezTo>
                  <a:lnTo>
                    <a:pt x="411384" y="327565"/>
                  </a:lnTo>
                  <a:lnTo>
                    <a:pt x="411384" y="288512"/>
                  </a:lnTo>
                  <a:cubicBezTo>
                    <a:pt x="419481" y="288618"/>
                    <a:pt x="426148" y="282137"/>
                    <a:pt x="426244" y="274037"/>
                  </a:cubicBezTo>
                  <a:cubicBezTo>
                    <a:pt x="426244" y="274036"/>
                    <a:pt x="426244" y="274035"/>
                    <a:pt x="426244" y="274034"/>
                  </a:cubicBezTo>
                  <a:lnTo>
                    <a:pt x="426244" y="53626"/>
                  </a:lnTo>
                  <a:cubicBezTo>
                    <a:pt x="426148" y="45525"/>
                    <a:pt x="419576" y="39000"/>
                    <a:pt x="411479" y="39051"/>
                  </a:cubicBezTo>
                  <a:cubicBezTo>
                    <a:pt x="411479" y="39052"/>
                    <a:pt x="411384" y="39052"/>
                    <a:pt x="411384" y="39052"/>
                  </a:cubicBezTo>
                  <a:lnTo>
                    <a:pt x="158782" y="39052"/>
                  </a:lnTo>
                  <a:cubicBezTo>
                    <a:pt x="150685" y="38947"/>
                    <a:pt x="144018" y="45428"/>
                    <a:pt x="143922" y="53529"/>
                  </a:cubicBezTo>
                  <a:cubicBezTo>
                    <a:pt x="143922" y="53561"/>
                    <a:pt x="143922" y="53593"/>
                    <a:pt x="143922" y="53626"/>
                  </a:cubicBezTo>
                  <a:lnTo>
                    <a:pt x="143922" y="58007"/>
                  </a:lnTo>
                  <a:lnTo>
                    <a:pt x="104013" y="58007"/>
                  </a:lnTo>
                  <a:lnTo>
                    <a:pt x="104013" y="19907"/>
                  </a:lnTo>
                  <a:cubicBezTo>
                    <a:pt x="104109" y="8971"/>
                    <a:pt x="112871" y="104"/>
                    <a:pt x="123825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76" name="Group 110">
            <a:extLst>
              <a:ext uri="{FF2B5EF4-FFF2-40B4-BE49-F238E27FC236}">
                <a16:creationId xmlns:a16="http://schemas.microsoft.com/office/drawing/2014/main" id="{83236E67-A2BA-40D2-A719-C103A37D17DC}"/>
              </a:ext>
            </a:extLst>
          </p:cNvPr>
          <p:cNvGrpSpPr/>
          <p:nvPr/>
        </p:nvGrpSpPr>
        <p:grpSpPr>
          <a:xfrm>
            <a:off x="6883803" y="2853346"/>
            <a:ext cx="456178" cy="521388"/>
            <a:chOff x="7120785" y="1761524"/>
            <a:chExt cx="885982" cy="1012631"/>
          </a:xfrm>
        </p:grpSpPr>
        <p:sp>
          <p:nvSpPr>
            <p:cNvPr id="277" name="Freeform 5">
              <a:extLst>
                <a:ext uri="{FF2B5EF4-FFF2-40B4-BE49-F238E27FC236}">
                  <a16:creationId xmlns:a16="http://schemas.microsoft.com/office/drawing/2014/main" id="{DC245638-0D2E-421D-A83D-9C1703F0B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85" y="1761524"/>
              <a:ext cx="885982" cy="1012631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alpha val="20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78" name="Freeform 5">
              <a:extLst>
                <a:ext uri="{FF2B5EF4-FFF2-40B4-BE49-F238E27FC236}">
                  <a16:creationId xmlns:a16="http://schemas.microsoft.com/office/drawing/2014/main" id="{91748236-753C-444A-B338-7478EF38A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239" y="1828335"/>
              <a:ext cx="769070" cy="879009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79" name="Freeform 172">
              <a:extLst>
                <a:ext uri="{FF2B5EF4-FFF2-40B4-BE49-F238E27FC236}">
                  <a16:creationId xmlns:a16="http://schemas.microsoft.com/office/drawing/2014/main" id="{7184D4C9-3B05-4768-86FE-4C397F08877F}"/>
                </a:ext>
              </a:extLst>
            </p:cNvPr>
            <p:cNvSpPr/>
            <p:nvPr/>
          </p:nvSpPr>
          <p:spPr>
            <a:xfrm>
              <a:off x="7403761" y="2096617"/>
              <a:ext cx="320033" cy="320105"/>
            </a:xfrm>
            <a:custGeom>
              <a:avLst/>
              <a:gdLst>
                <a:gd name="connsiteX0" fmla="*/ 52102 w 438057"/>
                <a:gd name="connsiteY0" fmla="*/ 10774 h 438155"/>
                <a:gd name="connsiteX1" fmla="*/ 52102 w 438057"/>
                <a:gd name="connsiteY1" fmla="*/ 30872 h 438155"/>
                <a:gd name="connsiteX2" fmla="*/ 41338 w 438057"/>
                <a:gd name="connsiteY2" fmla="*/ 41635 h 438155"/>
                <a:gd name="connsiteX3" fmla="*/ 11906 w 438057"/>
                <a:gd name="connsiteY3" fmla="*/ 41635 h 438155"/>
                <a:gd name="connsiteX4" fmla="*/ 1143 w 438057"/>
                <a:gd name="connsiteY4" fmla="*/ 52398 h 438155"/>
                <a:gd name="connsiteX5" fmla="*/ 1143 w 438057"/>
                <a:gd name="connsiteY5" fmla="*/ 93356 h 438155"/>
                <a:gd name="connsiteX6" fmla="*/ 11906 w 438057"/>
                <a:gd name="connsiteY6" fmla="*/ 104119 h 438155"/>
                <a:gd name="connsiteX7" fmla="*/ 41338 w 438057"/>
                <a:gd name="connsiteY7" fmla="*/ 104119 h 438155"/>
                <a:gd name="connsiteX8" fmla="*/ 52102 w 438057"/>
                <a:gd name="connsiteY8" fmla="*/ 114882 h 438155"/>
                <a:gd name="connsiteX9" fmla="*/ 52102 w 438057"/>
                <a:gd name="connsiteY9" fmla="*/ 135075 h 438155"/>
                <a:gd name="connsiteX10" fmla="*/ 41338 w 438057"/>
                <a:gd name="connsiteY10" fmla="*/ 145839 h 438155"/>
                <a:gd name="connsiteX11" fmla="*/ 11906 w 438057"/>
                <a:gd name="connsiteY11" fmla="*/ 145839 h 438155"/>
                <a:gd name="connsiteX12" fmla="*/ 1143 w 438057"/>
                <a:gd name="connsiteY12" fmla="*/ 156507 h 438155"/>
                <a:gd name="connsiteX13" fmla="*/ 1143 w 438057"/>
                <a:gd name="connsiteY13" fmla="*/ 197559 h 438155"/>
                <a:gd name="connsiteX14" fmla="*/ 11906 w 438057"/>
                <a:gd name="connsiteY14" fmla="*/ 208323 h 438155"/>
                <a:gd name="connsiteX15" fmla="*/ 41338 w 438057"/>
                <a:gd name="connsiteY15" fmla="*/ 208323 h 438155"/>
                <a:gd name="connsiteX16" fmla="*/ 52102 w 438057"/>
                <a:gd name="connsiteY16" fmla="*/ 219086 h 438155"/>
                <a:gd name="connsiteX17" fmla="*/ 52102 w 438057"/>
                <a:gd name="connsiteY17" fmla="*/ 239184 h 438155"/>
                <a:gd name="connsiteX18" fmla="*/ 41338 w 438057"/>
                <a:gd name="connsiteY18" fmla="*/ 249947 h 438155"/>
                <a:gd name="connsiteX19" fmla="*/ 11906 w 438057"/>
                <a:gd name="connsiteY19" fmla="*/ 249947 h 438155"/>
                <a:gd name="connsiteX20" fmla="*/ 1143 w 438057"/>
                <a:gd name="connsiteY20" fmla="*/ 260710 h 438155"/>
                <a:gd name="connsiteX21" fmla="*/ 1143 w 438057"/>
                <a:gd name="connsiteY21" fmla="*/ 301668 h 438155"/>
                <a:gd name="connsiteX22" fmla="*/ 11906 w 438057"/>
                <a:gd name="connsiteY22" fmla="*/ 312431 h 438155"/>
                <a:gd name="connsiteX23" fmla="*/ 41338 w 438057"/>
                <a:gd name="connsiteY23" fmla="*/ 312431 h 438155"/>
                <a:gd name="connsiteX24" fmla="*/ 52102 w 438057"/>
                <a:gd name="connsiteY24" fmla="*/ 323194 h 438155"/>
                <a:gd name="connsiteX25" fmla="*/ 52102 w 438057"/>
                <a:gd name="connsiteY25" fmla="*/ 343387 h 438155"/>
                <a:gd name="connsiteX26" fmla="*/ 41338 w 438057"/>
                <a:gd name="connsiteY26" fmla="*/ 354150 h 438155"/>
                <a:gd name="connsiteX27" fmla="*/ 11906 w 438057"/>
                <a:gd name="connsiteY27" fmla="*/ 354150 h 438155"/>
                <a:gd name="connsiteX28" fmla="*/ 1143 w 438057"/>
                <a:gd name="connsiteY28" fmla="*/ 364914 h 438155"/>
                <a:gd name="connsiteX29" fmla="*/ 1143 w 438057"/>
                <a:gd name="connsiteY29" fmla="*/ 405871 h 438155"/>
                <a:gd name="connsiteX30" fmla="*/ 11906 w 438057"/>
                <a:gd name="connsiteY30" fmla="*/ 416634 h 438155"/>
                <a:gd name="connsiteX31" fmla="*/ 41338 w 438057"/>
                <a:gd name="connsiteY31" fmla="*/ 416634 h 438155"/>
                <a:gd name="connsiteX32" fmla="*/ 52102 w 438057"/>
                <a:gd name="connsiteY32" fmla="*/ 427398 h 438155"/>
                <a:gd name="connsiteX33" fmla="*/ 52102 w 438057"/>
                <a:gd name="connsiteY33" fmla="*/ 427398 h 438155"/>
                <a:gd name="connsiteX34" fmla="*/ 62865 w 438057"/>
                <a:gd name="connsiteY34" fmla="*/ 438163 h 438155"/>
                <a:gd name="connsiteX35" fmla="*/ 63056 w 438057"/>
                <a:gd name="connsiteY35" fmla="*/ 438161 h 438155"/>
                <a:gd name="connsiteX36" fmla="*/ 401955 w 438057"/>
                <a:gd name="connsiteY36" fmla="*/ 438161 h 438155"/>
                <a:gd name="connsiteX37" fmla="*/ 411480 w 438057"/>
                <a:gd name="connsiteY37" fmla="*/ 431779 h 438155"/>
                <a:gd name="connsiteX38" fmla="*/ 438246 w 438057"/>
                <a:gd name="connsiteY38" fmla="*/ 372057 h 438155"/>
                <a:gd name="connsiteX39" fmla="*/ 439198 w 438057"/>
                <a:gd name="connsiteY39" fmla="*/ 367676 h 438155"/>
                <a:gd name="connsiteX40" fmla="*/ 439198 w 438057"/>
                <a:gd name="connsiteY40" fmla="*/ 10774 h 438155"/>
                <a:gd name="connsiteX41" fmla="*/ 428435 w 438057"/>
                <a:gd name="connsiteY41" fmla="*/ 11 h 438155"/>
                <a:gd name="connsiteX42" fmla="*/ 63056 w 438057"/>
                <a:gd name="connsiteY42" fmla="*/ 11 h 438155"/>
                <a:gd name="connsiteX43" fmla="*/ 52102 w 438057"/>
                <a:gd name="connsiteY43" fmla="*/ 10389 h 438155"/>
                <a:gd name="connsiteX44" fmla="*/ 52102 w 438057"/>
                <a:gd name="connsiteY44" fmla="*/ 10774 h 438155"/>
                <a:gd name="connsiteX45" fmla="*/ 382429 w 438057"/>
                <a:gd name="connsiteY45" fmla="*/ 150506 h 438155"/>
                <a:gd name="connsiteX46" fmla="*/ 364522 w 438057"/>
                <a:gd name="connsiteY46" fmla="*/ 138314 h 438155"/>
                <a:gd name="connsiteX47" fmla="*/ 352425 w 438057"/>
                <a:gd name="connsiteY47" fmla="*/ 138314 h 438155"/>
                <a:gd name="connsiteX48" fmla="*/ 334518 w 438057"/>
                <a:gd name="connsiteY48" fmla="*/ 150506 h 438155"/>
                <a:gd name="connsiteX49" fmla="*/ 319555 w 438057"/>
                <a:gd name="connsiteY49" fmla="*/ 147731 h 438155"/>
                <a:gd name="connsiteX50" fmla="*/ 317659 w 438057"/>
                <a:gd name="connsiteY50" fmla="*/ 141648 h 438155"/>
                <a:gd name="connsiteX51" fmla="*/ 317659 w 438057"/>
                <a:gd name="connsiteY51" fmla="*/ 52398 h 438155"/>
                <a:gd name="connsiteX52" fmla="*/ 328422 w 438057"/>
                <a:gd name="connsiteY52" fmla="*/ 41635 h 438155"/>
                <a:gd name="connsiteX53" fmla="*/ 388429 w 438057"/>
                <a:gd name="connsiteY53" fmla="*/ 41635 h 438155"/>
                <a:gd name="connsiteX54" fmla="*/ 399193 w 438057"/>
                <a:gd name="connsiteY54" fmla="*/ 52398 h 438155"/>
                <a:gd name="connsiteX55" fmla="*/ 399193 w 438057"/>
                <a:gd name="connsiteY55" fmla="*/ 141648 h 438155"/>
                <a:gd name="connsiteX56" fmla="*/ 388630 w 438057"/>
                <a:gd name="connsiteY56" fmla="*/ 152419 h 438155"/>
                <a:gd name="connsiteX57" fmla="*/ 382429 w 438057"/>
                <a:gd name="connsiteY57" fmla="*/ 150506 h 43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38057" h="438155">
                  <a:moveTo>
                    <a:pt x="52102" y="10774"/>
                  </a:moveTo>
                  <a:lnTo>
                    <a:pt x="52102" y="30872"/>
                  </a:lnTo>
                  <a:cubicBezTo>
                    <a:pt x="52054" y="36795"/>
                    <a:pt x="47263" y="41583"/>
                    <a:pt x="41338" y="41635"/>
                  </a:cubicBezTo>
                  <a:lnTo>
                    <a:pt x="11906" y="41635"/>
                  </a:lnTo>
                  <a:cubicBezTo>
                    <a:pt x="5982" y="41687"/>
                    <a:pt x="1191" y="46476"/>
                    <a:pt x="1143" y="52398"/>
                  </a:cubicBezTo>
                  <a:lnTo>
                    <a:pt x="1143" y="93356"/>
                  </a:lnTo>
                  <a:cubicBezTo>
                    <a:pt x="1143" y="99300"/>
                    <a:pt x="5963" y="104119"/>
                    <a:pt x="11906" y="104119"/>
                  </a:cubicBezTo>
                  <a:lnTo>
                    <a:pt x="41338" y="104119"/>
                  </a:lnTo>
                  <a:cubicBezTo>
                    <a:pt x="47263" y="104171"/>
                    <a:pt x="52054" y="108960"/>
                    <a:pt x="52102" y="114882"/>
                  </a:cubicBezTo>
                  <a:lnTo>
                    <a:pt x="52102" y="135075"/>
                  </a:lnTo>
                  <a:cubicBezTo>
                    <a:pt x="52054" y="140998"/>
                    <a:pt x="47263" y="145787"/>
                    <a:pt x="41338" y="145839"/>
                  </a:cubicBezTo>
                  <a:lnTo>
                    <a:pt x="11906" y="145839"/>
                  </a:lnTo>
                  <a:cubicBezTo>
                    <a:pt x="6001" y="145839"/>
                    <a:pt x="1191" y="150599"/>
                    <a:pt x="1143" y="156507"/>
                  </a:cubicBezTo>
                  <a:lnTo>
                    <a:pt x="1143" y="197559"/>
                  </a:lnTo>
                  <a:cubicBezTo>
                    <a:pt x="1191" y="203482"/>
                    <a:pt x="5982" y="208271"/>
                    <a:pt x="11906" y="208323"/>
                  </a:cubicBezTo>
                  <a:lnTo>
                    <a:pt x="41338" y="208323"/>
                  </a:lnTo>
                  <a:cubicBezTo>
                    <a:pt x="47282" y="208323"/>
                    <a:pt x="52102" y="213141"/>
                    <a:pt x="52102" y="219086"/>
                  </a:cubicBezTo>
                  <a:lnTo>
                    <a:pt x="52102" y="239184"/>
                  </a:lnTo>
                  <a:cubicBezTo>
                    <a:pt x="52102" y="245128"/>
                    <a:pt x="47282" y="249947"/>
                    <a:pt x="41338" y="249947"/>
                  </a:cubicBezTo>
                  <a:lnTo>
                    <a:pt x="11906" y="249947"/>
                  </a:lnTo>
                  <a:cubicBezTo>
                    <a:pt x="5982" y="249998"/>
                    <a:pt x="1191" y="254788"/>
                    <a:pt x="1143" y="260710"/>
                  </a:cubicBezTo>
                  <a:lnTo>
                    <a:pt x="1143" y="301668"/>
                  </a:lnTo>
                  <a:cubicBezTo>
                    <a:pt x="1143" y="307612"/>
                    <a:pt x="5963" y="312431"/>
                    <a:pt x="11906" y="312431"/>
                  </a:cubicBezTo>
                  <a:lnTo>
                    <a:pt x="41338" y="312431"/>
                  </a:lnTo>
                  <a:cubicBezTo>
                    <a:pt x="47263" y="312482"/>
                    <a:pt x="52054" y="317272"/>
                    <a:pt x="52102" y="323194"/>
                  </a:cubicBezTo>
                  <a:lnTo>
                    <a:pt x="52102" y="343387"/>
                  </a:lnTo>
                  <a:cubicBezTo>
                    <a:pt x="52054" y="349310"/>
                    <a:pt x="47263" y="354099"/>
                    <a:pt x="41338" y="354150"/>
                  </a:cubicBezTo>
                  <a:lnTo>
                    <a:pt x="11906" y="354150"/>
                  </a:lnTo>
                  <a:cubicBezTo>
                    <a:pt x="5963" y="354150"/>
                    <a:pt x="1143" y="358969"/>
                    <a:pt x="1143" y="364914"/>
                  </a:cubicBezTo>
                  <a:lnTo>
                    <a:pt x="1143" y="405871"/>
                  </a:lnTo>
                  <a:cubicBezTo>
                    <a:pt x="1191" y="411794"/>
                    <a:pt x="5982" y="416583"/>
                    <a:pt x="11906" y="416634"/>
                  </a:cubicBezTo>
                  <a:lnTo>
                    <a:pt x="41338" y="416634"/>
                  </a:lnTo>
                  <a:cubicBezTo>
                    <a:pt x="47282" y="416634"/>
                    <a:pt x="52102" y="421453"/>
                    <a:pt x="52102" y="427398"/>
                  </a:cubicBezTo>
                  <a:lnTo>
                    <a:pt x="52102" y="427398"/>
                  </a:lnTo>
                  <a:cubicBezTo>
                    <a:pt x="52102" y="433342"/>
                    <a:pt x="56922" y="438162"/>
                    <a:pt x="62865" y="438163"/>
                  </a:cubicBezTo>
                  <a:cubicBezTo>
                    <a:pt x="62932" y="438163"/>
                    <a:pt x="62989" y="438162"/>
                    <a:pt x="63056" y="438161"/>
                  </a:cubicBezTo>
                  <a:lnTo>
                    <a:pt x="401955" y="438161"/>
                  </a:lnTo>
                  <a:cubicBezTo>
                    <a:pt x="406089" y="438020"/>
                    <a:pt x="409775" y="435546"/>
                    <a:pt x="411480" y="431779"/>
                  </a:cubicBezTo>
                  <a:lnTo>
                    <a:pt x="438246" y="372057"/>
                  </a:lnTo>
                  <a:cubicBezTo>
                    <a:pt x="438903" y="370693"/>
                    <a:pt x="439236" y="369191"/>
                    <a:pt x="439198" y="367676"/>
                  </a:cubicBezTo>
                  <a:lnTo>
                    <a:pt x="439198" y="10774"/>
                  </a:lnTo>
                  <a:cubicBezTo>
                    <a:pt x="439198" y="4830"/>
                    <a:pt x="434378" y="11"/>
                    <a:pt x="428435" y="11"/>
                  </a:cubicBezTo>
                  <a:lnTo>
                    <a:pt x="63056" y="11"/>
                  </a:lnTo>
                  <a:cubicBezTo>
                    <a:pt x="57169" y="-147"/>
                    <a:pt x="52264" y="4499"/>
                    <a:pt x="52102" y="10389"/>
                  </a:cubicBezTo>
                  <a:cubicBezTo>
                    <a:pt x="52102" y="10517"/>
                    <a:pt x="52102" y="10646"/>
                    <a:pt x="52102" y="10774"/>
                  </a:cubicBezTo>
                  <a:close/>
                  <a:moveTo>
                    <a:pt x="382429" y="150506"/>
                  </a:moveTo>
                  <a:lnTo>
                    <a:pt x="364522" y="138314"/>
                  </a:lnTo>
                  <a:cubicBezTo>
                    <a:pt x="360874" y="135834"/>
                    <a:pt x="356073" y="135834"/>
                    <a:pt x="352425" y="138314"/>
                  </a:cubicBezTo>
                  <a:lnTo>
                    <a:pt x="334518" y="150506"/>
                  </a:lnTo>
                  <a:cubicBezTo>
                    <a:pt x="329623" y="153873"/>
                    <a:pt x="322917" y="152630"/>
                    <a:pt x="319555" y="147731"/>
                  </a:cubicBezTo>
                  <a:cubicBezTo>
                    <a:pt x="318326" y="145941"/>
                    <a:pt x="317659" y="143820"/>
                    <a:pt x="317659" y="141648"/>
                  </a:cubicBezTo>
                  <a:lnTo>
                    <a:pt x="317659" y="52398"/>
                  </a:lnTo>
                  <a:cubicBezTo>
                    <a:pt x="317706" y="46476"/>
                    <a:pt x="322497" y="41687"/>
                    <a:pt x="328422" y="41635"/>
                  </a:cubicBezTo>
                  <a:lnTo>
                    <a:pt x="388429" y="41635"/>
                  </a:lnTo>
                  <a:cubicBezTo>
                    <a:pt x="394373" y="41635"/>
                    <a:pt x="399193" y="46454"/>
                    <a:pt x="399193" y="52398"/>
                  </a:cubicBezTo>
                  <a:lnTo>
                    <a:pt x="399193" y="141648"/>
                  </a:lnTo>
                  <a:cubicBezTo>
                    <a:pt x="399250" y="147539"/>
                    <a:pt x="394516" y="152361"/>
                    <a:pt x="388630" y="152419"/>
                  </a:cubicBezTo>
                  <a:cubicBezTo>
                    <a:pt x="386410" y="152440"/>
                    <a:pt x="384248" y="151772"/>
                    <a:pt x="382429" y="15050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72" name="Group 114">
            <a:extLst>
              <a:ext uri="{FF2B5EF4-FFF2-40B4-BE49-F238E27FC236}">
                <a16:creationId xmlns:a16="http://schemas.microsoft.com/office/drawing/2014/main" id="{99863EDE-FD04-4CB8-812F-857DB90F4A97}"/>
              </a:ext>
            </a:extLst>
          </p:cNvPr>
          <p:cNvGrpSpPr/>
          <p:nvPr/>
        </p:nvGrpSpPr>
        <p:grpSpPr>
          <a:xfrm>
            <a:off x="9437465" y="2853346"/>
            <a:ext cx="456178" cy="521388"/>
            <a:chOff x="7120793" y="1761524"/>
            <a:chExt cx="885983" cy="1012631"/>
          </a:xfrm>
        </p:grpSpPr>
        <p:sp>
          <p:nvSpPr>
            <p:cNvPr id="273" name="Freeform 5">
              <a:extLst>
                <a:ext uri="{FF2B5EF4-FFF2-40B4-BE49-F238E27FC236}">
                  <a16:creationId xmlns:a16="http://schemas.microsoft.com/office/drawing/2014/main" id="{E03F2033-A24C-4EF3-86B3-D63B87C89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93" y="1761524"/>
              <a:ext cx="885983" cy="1012631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alpha val="20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74" name="Freeform 5">
              <a:extLst>
                <a:ext uri="{FF2B5EF4-FFF2-40B4-BE49-F238E27FC236}">
                  <a16:creationId xmlns:a16="http://schemas.microsoft.com/office/drawing/2014/main" id="{BAAF7445-DB66-4657-8B71-FBD3D19A4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245" y="1828335"/>
              <a:ext cx="769071" cy="879009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75" name="Freeform 172">
              <a:extLst>
                <a:ext uri="{FF2B5EF4-FFF2-40B4-BE49-F238E27FC236}">
                  <a16:creationId xmlns:a16="http://schemas.microsoft.com/office/drawing/2014/main" id="{F6EA9B36-F7D7-4F7F-8BB8-85AD6AF18C1E}"/>
                </a:ext>
              </a:extLst>
            </p:cNvPr>
            <p:cNvSpPr/>
            <p:nvPr/>
          </p:nvSpPr>
          <p:spPr>
            <a:xfrm>
              <a:off x="7407654" y="2096617"/>
              <a:ext cx="312251" cy="320105"/>
            </a:xfrm>
            <a:custGeom>
              <a:avLst/>
              <a:gdLst>
                <a:gd name="connsiteX0" fmla="*/ 218992 w 447009"/>
                <a:gd name="connsiteY0" fmla="*/ 143247 h 458255"/>
                <a:gd name="connsiteX1" fmla="*/ 205549 w 447009"/>
                <a:gd name="connsiteY1" fmla="*/ 148882 h 458255"/>
                <a:gd name="connsiteX2" fmla="*/ 138874 w 447009"/>
                <a:gd name="connsiteY2" fmla="*/ 216700 h 458255"/>
                <a:gd name="connsiteX3" fmla="*/ 125254 w 447009"/>
                <a:gd name="connsiteY3" fmla="*/ 222415 h 458255"/>
                <a:gd name="connsiteX4" fmla="*/ 81058 w 447009"/>
                <a:gd name="connsiteY4" fmla="*/ 222415 h 458255"/>
                <a:gd name="connsiteX5" fmla="*/ 62008 w 447009"/>
                <a:gd name="connsiteY5" fmla="*/ 241465 h 458255"/>
                <a:gd name="connsiteX6" fmla="*/ 81058 w 447009"/>
                <a:gd name="connsiteY6" fmla="*/ 260515 h 458255"/>
                <a:gd name="connsiteX7" fmla="*/ 141255 w 447009"/>
                <a:gd name="connsiteY7" fmla="*/ 260515 h 458255"/>
                <a:gd name="connsiteX8" fmla="*/ 154877 w 447009"/>
                <a:gd name="connsiteY8" fmla="*/ 254800 h 458255"/>
                <a:gd name="connsiteX9" fmla="*/ 205740 w 447009"/>
                <a:gd name="connsiteY9" fmla="*/ 202984 h 458255"/>
                <a:gd name="connsiteX10" fmla="*/ 205835 w 447009"/>
                <a:gd name="connsiteY10" fmla="*/ 202873 h 458255"/>
                <a:gd name="connsiteX11" fmla="*/ 232791 w 447009"/>
                <a:gd name="connsiteY11" fmla="*/ 202984 h 458255"/>
                <a:gd name="connsiteX12" fmla="*/ 281369 w 447009"/>
                <a:gd name="connsiteY12" fmla="*/ 251561 h 458255"/>
                <a:gd name="connsiteX13" fmla="*/ 294894 w 447009"/>
                <a:gd name="connsiteY13" fmla="*/ 257181 h 458255"/>
                <a:gd name="connsiteX14" fmla="*/ 366331 w 447009"/>
                <a:gd name="connsiteY14" fmla="*/ 257181 h 458255"/>
                <a:gd name="connsiteX15" fmla="*/ 366427 w 447009"/>
                <a:gd name="connsiteY15" fmla="*/ 257181 h 458255"/>
                <a:gd name="connsiteX16" fmla="*/ 385477 w 447009"/>
                <a:gd name="connsiteY16" fmla="*/ 238131 h 458255"/>
                <a:gd name="connsiteX17" fmla="*/ 366427 w 447009"/>
                <a:gd name="connsiteY17" fmla="*/ 219081 h 458255"/>
                <a:gd name="connsiteX18" fmla="*/ 310801 w 447009"/>
                <a:gd name="connsiteY18" fmla="*/ 219081 h 458255"/>
                <a:gd name="connsiteX19" fmla="*/ 297275 w 447009"/>
                <a:gd name="connsiteY19" fmla="*/ 213461 h 458255"/>
                <a:gd name="connsiteX20" fmla="*/ 232601 w 447009"/>
                <a:gd name="connsiteY20" fmla="*/ 148882 h 458255"/>
                <a:gd name="connsiteX21" fmla="*/ 232506 w 447009"/>
                <a:gd name="connsiteY21" fmla="*/ 148771 h 458255"/>
                <a:gd name="connsiteX22" fmla="*/ 218992 w 447009"/>
                <a:gd name="connsiteY22" fmla="*/ 143247 h 458255"/>
                <a:gd name="connsiteX23" fmla="*/ 22479 w 447009"/>
                <a:gd name="connsiteY23" fmla="*/ 44488 h 458255"/>
                <a:gd name="connsiteX24" fmla="*/ 425006 w 447009"/>
                <a:gd name="connsiteY24" fmla="*/ 44488 h 458255"/>
                <a:gd name="connsiteX25" fmla="*/ 447009 w 447009"/>
                <a:gd name="connsiteY25" fmla="*/ 66109 h 458255"/>
                <a:gd name="connsiteX26" fmla="*/ 447009 w 447009"/>
                <a:gd name="connsiteY26" fmla="*/ 353193 h 458255"/>
                <a:gd name="connsiteX27" fmla="*/ 447009 w 447009"/>
                <a:gd name="connsiteY27" fmla="*/ 353197 h 458255"/>
                <a:gd name="connsiteX28" fmla="*/ 424815 w 447009"/>
                <a:gd name="connsiteY28" fmla="*/ 374815 h 458255"/>
                <a:gd name="connsiteX29" fmla="*/ 339090 w 447009"/>
                <a:gd name="connsiteY29" fmla="*/ 374815 h 458255"/>
                <a:gd name="connsiteX30" fmla="*/ 364903 w 447009"/>
                <a:gd name="connsiteY30" fmla="*/ 418344 h 458255"/>
                <a:gd name="connsiteX31" fmla="*/ 359855 w 447009"/>
                <a:gd name="connsiteY31" fmla="*/ 446443 h 458255"/>
                <a:gd name="connsiteX32" fmla="*/ 349187 w 447009"/>
                <a:gd name="connsiteY32" fmla="*/ 454444 h 458255"/>
                <a:gd name="connsiteX33" fmla="*/ 346806 w 447009"/>
                <a:gd name="connsiteY33" fmla="*/ 455920 h 458255"/>
                <a:gd name="connsiteX34" fmla="*/ 324232 w 447009"/>
                <a:gd name="connsiteY34" fmla="*/ 448824 h 458255"/>
                <a:gd name="connsiteX35" fmla="*/ 283178 w 447009"/>
                <a:gd name="connsiteY35" fmla="*/ 379577 h 458255"/>
                <a:gd name="connsiteX36" fmla="*/ 281178 w 447009"/>
                <a:gd name="connsiteY36" fmla="*/ 374815 h 458255"/>
                <a:gd name="connsiteX37" fmla="*/ 249270 w 447009"/>
                <a:gd name="connsiteY37" fmla="*/ 374815 h 458255"/>
                <a:gd name="connsiteX38" fmla="*/ 250127 w 447009"/>
                <a:gd name="connsiteY38" fmla="*/ 379863 h 458255"/>
                <a:gd name="connsiteX39" fmla="*/ 250127 w 447009"/>
                <a:gd name="connsiteY39" fmla="*/ 434346 h 458255"/>
                <a:gd name="connsiteX40" fmla="*/ 232124 w 447009"/>
                <a:gd name="connsiteY40" fmla="*/ 451872 h 458255"/>
                <a:gd name="connsiteX41" fmla="*/ 219266 w 447009"/>
                <a:gd name="connsiteY41" fmla="*/ 451872 h 458255"/>
                <a:gd name="connsiteX42" fmla="*/ 201263 w 447009"/>
                <a:gd name="connsiteY42" fmla="*/ 434346 h 458255"/>
                <a:gd name="connsiteX43" fmla="*/ 201263 w 447009"/>
                <a:gd name="connsiteY43" fmla="*/ 380339 h 458255"/>
                <a:gd name="connsiteX44" fmla="*/ 202120 w 447009"/>
                <a:gd name="connsiteY44" fmla="*/ 375291 h 458255"/>
                <a:gd name="connsiteX45" fmla="*/ 170212 w 447009"/>
                <a:gd name="connsiteY45" fmla="*/ 375291 h 458255"/>
                <a:gd name="connsiteX46" fmla="*/ 168212 w 447009"/>
                <a:gd name="connsiteY46" fmla="*/ 379958 h 458255"/>
                <a:gd name="connsiteX47" fmla="*/ 127159 w 447009"/>
                <a:gd name="connsiteY47" fmla="*/ 449300 h 458255"/>
                <a:gd name="connsiteX48" fmla="*/ 125825 w 447009"/>
                <a:gd name="connsiteY48" fmla="*/ 451460 h 458255"/>
                <a:gd name="connsiteX49" fmla="*/ 102203 w 447009"/>
                <a:gd name="connsiteY49" fmla="*/ 454920 h 458255"/>
                <a:gd name="connsiteX50" fmla="*/ 91535 w 447009"/>
                <a:gd name="connsiteY50" fmla="*/ 446824 h 458255"/>
                <a:gd name="connsiteX51" fmla="*/ 86487 w 447009"/>
                <a:gd name="connsiteY51" fmla="*/ 418249 h 458255"/>
                <a:gd name="connsiteX52" fmla="*/ 112300 w 447009"/>
                <a:gd name="connsiteY52" fmla="*/ 374815 h 458255"/>
                <a:gd name="connsiteX53" fmla="*/ 22193 w 447009"/>
                <a:gd name="connsiteY53" fmla="*/ 374815 h 458255"/>
                <a:gd name="connsiteX54" fmla="*/ 0 w 447009"/>
                <a:gd name="connsiteY54" fmla="*/ 353193 h 458255"/>
                <a:gd name="connsiteX55" fmla="*/ 0 w 447009"/>
                <a:gd name="connsiteY55" fmla="*/ 66109 h 458255"/>
                <a:gd name="connsiteX56" fmla="*/ 0 w 447009"/>
                <a:gd name="connsiteY56" fmla="*/ 65814 h 458255"/>
                <a:gd name="connsiteX57" fmla="*/ 22479 w 447009"/>
                <a:gd name="connsiteY57" fmla="*/ 44488 h 458255"/>
                <a:gd name="connsiteX58" fmla="*/ 328708 w 447009"/>
                <a:gd name="connsiteY58" fmla="*/ 0 h 458255"/>
                <a:gd name="connsiteX59" fmla="*/ 346329 w 447009"/>
                <a:gd name="connsiteY59" fmla="*/ 17246 h 458255"/>
                <a:gd name="connsiteX60" fmla="*/ 346329 w 447009"/>
                <a:gd name="connsiteY60" fmla="*/ 17344 h 458255"/>
                <a:gd name="connsiteX61" fmla="*/ 328612 w 447009"/>
                <a:gd name="connsiteY61" fmla="*/ 34486 h 458255"/>
                <a:gd name="connsiteX62" fmla="*/ 119062 w 447009"/>
                <a:gd name="connsiteY62" fmla="*/ 34486 h 458255"/>
                <a:gd name="connsiteX63" fmla="*/ 118776 w 447009"/>
                <a:gd name="connsiteY63" fmla="*/ 34492 h 458255"/>
                <a:gd name="connsiteX64" fmla="*/ 101155 w 447009"/>
                <a:gd name="connsiteY64" fmla="*/ 17246 h 458255"/>
                <a:gd name="connsiteX65" fmla="*/ 101155 w 447009"/>
                <a:gd name="connsiteY65" fmla="*/ 17147 h 458255"/>
                <a:gd name="connsiteX66" fmla="*/ 118872 w 447009"/>
                <a:gd name="connsiteY66" fmla="*/ 6 h 458255"/>
                <a:gd name="connsiteX67" fmla="*/ 328422 w 447009"/>
                <a:gd name="connsiteY67" fmla="*/ 6 h 458255"/>
                <a:gd name="connsiteX68" fmla="*/ 328708 w 447009"/>
                <a:gd name="connsiteY68" fmla="*/ 0 h 45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47009" h="458255">
                  <a:moveTo>
                    <a:pt x="218992" y="143247"/>
                  </a:moveTo>
                  <a:cubicBezTo>
                    <a:pt x="214122" y="143267"/>
                    <a:pt x="209264" y="145147"/>
                    <a:pt x="205549" y="148882"/>
                  </a:cubicBezTo>
                  <a:lnTo>
                    <a:pt x="138874" y="216700"/>
                  </a:lnTo>
                  <a:cubicBezTo>
                    <a:pt x="135255" y="220359"/>
                    <a:pt x="130397" y="222419"/>
                    <a:pt x="125254" y="222415"/>
                  </a:cubicBezTo>
                  <a:lnTo>
                    <a:pt x="81058" y="222415"/>
                  </a:lnTo>
                  <a:cubicBezTo>
                    <a:pt x="70581" y="222415"/>
                    <a:pt x="62008" y="230943"/>
                    <a:pt x="62008" y="241465"/>
                  </a:cubicBezTo>
                  <a:cubicBezTo>
                    <a:pt x="62008" y="251986"/>
                    <a:pt x="70581" y="260515"/>
                    <a:pt x="81058" y="260515"/>
                  </a:cubicBezTo>
                  <a:lnTo>
                    <a:pt x="141255" y="260515"/>
                  </a:lnTo>
                  <a:cubicBezTo>
                    <a:pt x="146399" y="260519"/>
                    <a:pt x="151257" y="258459"/>
                    <a:pt x="154877" y="254800"/>
                  </a:cubicBezTo>
                  <a:lnTo>
                    <a:pt x="205740" y="202984"/>
                  </a:lnTo>
                  <a:cubicBezTo>
                    <a:pt x="205740" y="202947"/>
                    <a:pt x="205835" y="202910"/>
                    <a:pt x="205835" y="202873"/>
                  </a:cubicBezTo>
                  <a:cubicBezTo>
                    <a:pt x="213360" y="195465"/>
                    <a:pt x="225362" y="195514"/>
                    <a:pt x="232791" y="202984"/>
                  </a:cubicBezTo>
                  <a:lnTo>
                    <a:pt x="281369" y="251561"/>
                  </a:lnTo>
                  <a:cubicBezTo>
                    <a:pt x="284989" y="255162"/>
                    <a:pt x="289846" y="257185"/>
                    <a:pt x="294894" y="257181"/>
                  </a:cubicBezTo>
                  <a:lnTo>
                    <a:pt x="366331" y="257181"/>
                  </a:lnTo>
                  <a:cubicBezTo>
                    <a:pt x="366331" y="257181"/>
                    <a:pt x="366427" y="257181"/>
                    <a:pt x="366427" y="257181"/>
                  </a:cubicBezTo>
                  <a:cubicBezTo>
                    <a:pt x="376904" y="257181"/>
                    <a:pt x="385477" y="248652"/>
                    <a:pt x="385477" y="238131"/>
                  </a:cubicBezTo>
                  <a:cubicBezTo>
                    <a:pt x="385477" y="227610"/>
                    <a:pt x="376904" y="219081"/>
                    <a:pt x="366427" y="219081"/>
                  </a:cubicBezTo>
                  <a:lnTo>
                    <a:pt x="310801" y="219081"/>
                  </a:lnTo>
                  <a:cubicBezTo>
                    <a:pt x="305752" y="219085"/>
                    <a:pt x="300895" y="217062"/>
                    <a:pt x="297275" y="213461"/>
                  </a:cubicBezTo>
                  <a:lnTo>
                    <a:pt x="232601" y="148882"/>
                  </a:lnTo>
                  <a:cubicBezTo>
                    <a:pt x="232601" y="148845"/>
                    <a:pt x="232506" y="148808"/>
                    <a:pt x="232506" y="148771"/>
                  </a:cubicBezTo>
                  <a:cubicBezTo>
                    <a:pt x="228744" y="145067"/>
                    <a:pt x="223862" y="143227"/>
                    <a:pt x="218992" y="143247"/>
                  </a:cubicBezTo>
                  <a:close/>
                  <a:moveTo>
                    <a:pt x="22479" y="44488"/>
                  </a:moveTo>
                  <a:lnTo>
                    <a:pt x="425006" y="44488"/>
                  </a:lnTo>
                  <a:cubicBezTo>
                    <a:pt x="437007" y="44434"/>
                    <a:pt x="446818" y="54085"/>
                    <a:pt x="447009" y="66109"/>
                  </a:cubicBezTo>
                  <a:lnTo>
                    <a:pt x="447009" y="353193"/>
                  </a:lnTo>
                  <a:cubicBezTo>
                    <a:pt x="447009" y="353194"/>
                    <a:pt x="447009" y="353196"/>
                    <a:pt x="447009" y="353197"/>
                  </a:cubicBezTo>
                  <a:cubicBezTo>
                    <a:pt x="446818" y="365294"/>
                    <a:pt x="436912" y="374974"/>
                    <a:pt x="424815" y="374815"/>
                  </a:cubicBezTo>
                  <a:lnTo>
                    <a:pt x="339090" y="374815"/>
                  </a:lnTo>
                  <a:lnTo>
                    <a:pt x="364903" y="418344"/>
                  </a:lnTo>
                  <a:cubicBezTo>
                    <a:pt x="370428" y="427672"/>
                    <a:pt x="368237" y="439609"/>
                    <a:pt x="359855" y="446443"/>
                  </a:cubicBezTo>
                  <a:lnTo>
                    <a:pt x="349187" y="454444"/>
                  </a:lnTo>
                  <a:cubicBezTo>
                    <a:pt x="348424" y="454999"/>
                    <a:pt x="347663" y="455493"/>
                    <a:pt x="346806" y="455920"/>
                  </a:cubicBezTo>
                  <a:cubicBezTo>
                    <a:pt x="338614" y="460207"/>
                    <a:pt x="328517" y="457030"/>
                    <a:pt x="324232" y="448824"/>
                  </a:cubicBezTo>
                  <a:lnTo>
                    <a:pt x="283178" y="379577"/>
                  </a:lnTo>
                  <a:cubicBezTo>
                    <a:pt x="282321" y="378070"/>
                    <a:pt x="281654" y="376472"/>
                    <a:pt x="281178" y="374815"/>
                  </a:cubicBezTo>
                  <a:lnTo>
                    <a:pt x="249270" y="374815"/>
                  </a:lnTo>
                  <a:cubicBezTo>
                    <a:pt x="249745" y="376448"/>
                    <a:pt x="250127" y="378148"/>
                    <a:pt x="250127" y="379863"/>
                  </a:cubicBezTo>
                  <a:lnTo>
                    <a:pt x="250127" y="434346"/>
                  </a:lnTo>
                  <a:cubicBezTo>
                    <a:pt x="249936" y="444146"/>
                    <a:pt x="241935" y="451978"/>
                    <a:pt x="232124" y="451872"/>
                  </a:cubicBezTo>
                  <a:lnTo>
                    <a:pt x="219266" y="451872"/>
                  </a:lnTo>
                  <a:cubicBezTo>
                    <a:pt x="209455" y="451978"/>
                    <a:pt x="201454" y="444146"/>
                    <a:pt x="201263" y="434346"/>
                  </a:cubicBezTo>
                  <a:lnTo>
                    <a:pt x="201263" y="380339"/>
                  </a:lnTo>
                  <a:cubicBezTo>
                    <a:pt x="201263" y="378625"/>
                    <a:pt x="201645" y="376924"/>
                    <a:pt x="202120" y="375291"/>
                  </a:cubicBezTo>
                  <a:lnTo>
                    <a:pt x="170212" y="375291"/>
                  </a:lnTo>
                  <a:cubicBezTo>
                    <a:pt x="169735" y="376924"/>
                    <a:pt x="169069" y="378492"/>
                    <a:pt x="168212" y="379958"/>
                  </a:cubicBezTo>
                  <a:lnTo>
                    <a:pt x="127159" y="449300"/>
                  </a:lnTo>
                  <a:cubicBezTo>
                    <a:pt x="126778" y="450054"/>
                    <a:pt x="126302" y="450776"/>
                    <a:pt x="125825" y="451460"/>
                  </a:cubicBezTo>
                  <a:cubicBezTo>
                    <a:pt x="120206" y="458929"/>
                    <a:pt x="109633" y="460479"/>
                    <a:pt x="102203" y="454920"/>
                  </a:cubicBezTo>
                  <a:lnTo>
                    <a:pt x="91535" y="446824"/>
                  </a:lnTo>
                  <a:cubicBezTo>
                    <a:pt x="82867" y="439962"/>
                    <a:pt x="80677" y="427674"/>
                    <a:pt x="86487" y="418249"/>
                  </a:cubicBezTo>
                  <a:lnTo>
                    <a:pt x="112300" y="374815"/>
                  </a:lnTo>
                  <a:lnTo>
                    <a:pt x="22193" y="374815"/>
                  </a:lnTo>
                  <a:cubicBezTo>
                    <a:pt x="10097" y="374972"/>
                    <a:pt x="191" y="365291"/>
                    <a:pt x="0" y="353193"/>
                  </a:cubicBezTo>
                  <a:lnTo>
                    <a:pt x="0" y="66109"/>
                  </a:lnTo>
                  <a:cubicBezTo>
                    <a:pt x="0" y="66011"/>
                    <a:pt x="0" y="65913"/>
                    <a:pt x="0" y="65814"/>
                  </a:cubicBezTo>
                  <a:cubicBezTo>
                    <a:pt x="286" y="53719"/>
                    <a:pt x="10382" y="44171"/>
                    <a:pt x="22479" y="44488"/>
                  </a:cubicBezTo>
                  <a:close/>
                  <a:moveTo>
                    <a:pt x="328708" y="0"/>
                  </a:moveTo>
                  <a:cubicBezTo>
                    <a:pt x="338328" y="-102"/>
                    <a:pt x="346233" y="7620"/>
                    <a:pt x="346329" y="17246"/>
                  </a:cubicBezTo>
                  <a:cubicBezTo>
                    <a:pt x="346329" y="17279"/>
                    <a:pt x="346329" y="17311"/>
                    <a:pt x="346329" y="17344"/>
                  </a:cubicBezTo>
                  <a:cubicBezTo>
                    <a:pt x="346138" y="26970"/>
                    <a:pt x="338233" y="34644"/>
                    <a:pt x="328612" y="34486"/>
                  </a:cubicBezTo>
                  <a:lnTo>
                    <a:pt x="119062" y="34486"/>
                  </a:lnTo>
                  <a:cubicBezTo>
                    <a:pt x="118967" y="34489"/>
                    <a:pt x="118872" y="34491"/>
                    <a:pt x="118776" y="34492"/>
                  </a:cubicBezTo>
                  <a:cubicBezTo>
                    <a:pt x="109156" y="34593"/>
                    <a:pt x="101251" y="26872"/>
                    <a:pt x="101155" y="17246"/>
                  </a:cubicBezTo>
                  <a:cubicBezTo>
                    <a:pt x="101155" y="17213"/>
                    <a:pt x="101155" y="17180"/>
                    <a:pt x="101155" y="17147"/>
                  </a:cubicBezTo>
                  <a:cubicBezTo>
                    <a:pt x="101346" y="7522"/>
                    <a:pt x="109251" y="-153"/>
                    <a:pt x="118872" y="6"/>
                  </a:cubicBezTo>
                  <a:lnTo>
                    <a:pt x="328422" y="6"/>
                  </a:lnTo>
                  <a:cubicBezTo>
                    <a:pt x="328517" y="3"/>
                    <a:pt x="328612" y="1"/>
                    <a:pt x="328708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80" name="Group 130">
            <a:extLst>
              <a:ext uri="{FF2B5EF4-FFF2-40B4-BE49-F238E27FC236}">
                <a16:creationId xmlns:a16="http://schemas.microsoft.com/office/drawing/2014/main" id="{048632C1-351D-462D-B3F5-5D7DEAFB2E0A}"/>
              </a:ext>
            </a:extLst>
          </p:cNvPr>
          <p:cNvGrpSpPr/>
          <p:nvPr/>
        </p:nvGrpSpPr>
        <p:grpSpPr>
          <a:xfrm>
            <a:off x="9437464" y="4637998"/>
            <a:ext cx="456178" cy="521388"/>
            <a:chOff x="7120785" y="1761522"/>
            <a:chExt cx="885982" cy="1012630"/>
          </a:xfrm>
        </p:grpSpPr>
        <p:sp>
          <p:nvSpPr>
            <p:cNvPr id="281" name="Freeform 5">
              <a:extLst>
                <a:ext uri="{FF2B5EF4-FFF2-40B4-BE49-F238E27FC236}">
                  <a16:creationId xmlns:a16="http://schemas.microsoft.com/office/drawing/2014/main" id="{7AB8E640-9F47-42AB-9AB1-53EBF1FD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85" y="1761522"/>
              <a:ext cx="885982" cy="1012630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82" name="Freeform 5">
              <a:extLst>
                <a:ext uri="{FF2B5EF4-FFF2-40B4-BE49-F238E27FC236}">
                  <a16:creationId xmlns:a16="http://schemas.microsoft.com/office/drawing/2014/main" id="{5FB6A72F-C726-4069-9D88-D4B2CA222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241" y="1828333"/>
              <a:ext cx="769070" cy="879008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83" name="Freeform 172">
              <a:extLst>
                <a:ext uri="{FF2B5EF4-FFF2-40B4-BE49-F238E27FC236}">
                  <a16:creationId xmlns:a16="http://schemas.microsoft.com/office/drawing/2014/main" id="{A86A18E1-6579-4F3F-95A9-585ECA5B2052}"/>
                </a:ext>
              </a:extLst>
            </p:cNvPr>
            <p:cNvSpPr/>
            <p:nvPr/>
          </p:nvSpPr>
          <p:spPr>
            <a:xfrm>
              <a:off x="7403726" y="2107153"/>
              <a:ext cx="320105" cy="299032"/>
            </a:xfrm>
            <a:custGeom>
              <a:avLst/>
              <a:gdLst>
                <a:gd name="connsiteX0" fmla="*/ 27242 w 457201"/>
                <a:gd name="connsiteY0" fmla="*/ 411106 h 427101"/>
                <a:gd name="connsiteX1" fmla="*/ 25337 w 457201"/>
                <a:gd name="connsiteY1" fmla="*/ 423489 h 427101"/>
                <a:gd name="connsiteX2" fmla="*/ 32481 w 457201"/>
                <a:gd name="connsiteY2" fmla="*/ 427108 h 427101"/>
                <a:gd name="connsiteX3" fmla="*/ 426911 w 457201"/>
                <a:gd name="connsiteY3" fmla="*/ 427108 h 427101"/>
                <a:gd name="connsiteX4" fmla="*/ 435770 w 457201"/>
                <a:gd name="connsiteY4" fmla="*/ 418250 h 427101"/>
                <a:gd name="connsiteX5" fmla="*/ 432150 w 457201"/>
                <a:gd name="connsiteY5" fmla="*/ 411106 h 427101"/>
                <a:gd name="connsiteX6" fmla="*/ 234982 w 457201"/>
                <a:gd name="connsiteY6" fmla="*/ 265755 h 427101"/>
                <a:gd name="connsiteX7" fmla="*/ 224505 w 457201"/>
                <a:gd name="connsiteY7" fmla="*/ 265755 h 427101"/>
                <a:gd name="connsiteX8" fmla="*/ 314517 w 457201"/>
                <a:gd name="connsiteY8" fmla="*/ 47251 h 427101"/>
                <a:gd name="connsiteX9" fmla="*/ 256509 w 457201"/>
                <a:gd name="connsiteY9" fmla="*/ 9151 h 427101"/>
                <a:gd name="connsiteX10" fmla="*/ 194025 w 457201"/>
                <a:gd name="connsiteY10" fmla="*/ 9723 h 427101"/>
                <a:gd name="connsiteX11" fmla="*/ 5049 w 457201"/>
                <a:gd name="connsiteY11" fmla="*/ 138024 h 427101"/>
                <a:gd name="connsiteX12" fmla="*/ 1144 w 457201"/>
                <a:gd name="connsiteY12" fmla="*/ 145359 h 427101"/>
                <a:gd name="connsiteX13" fmla="*/ 1144 w 457201"/>
                <a:gd name="connsiteY13" fmla="*/ 380626 h 427101"/>
                <a:gd name="connsiteX14" fmla="*/ 9812 w 457201"/>
                <a:gd name="connsiteY14" fmla="*/ 389484 h 427101"/>
                <a:gd name="connsiteX15" fmla="*/ 15241 w 457201"/>
                <a:gd name="connsiteY15" fmla="*/ 387675 h 427101"/>
                <a:gd name="connsiteX16" fmla="*/ 202502 w 457201"/>
                <a:gd name="connsiteY16" fmla="*/ 249753 h 427101"/>
                <a:gd name="connsiteX17" fmla="*/ 204274 w 457201"/>
                <a:gd name="connsiteY17" fmla="*/ 237215 h 427101"/>
                <a:gd name="connsiteX18" fmla="*/ 201836 w 457201"/>
                <a:gd name="connsiteY18" fmla="*/ 234989 h 427101"/>
                <a:gd name="connsiteX19" fmla="*/ 74296 w 457201"/>
                <a:gd name="connsiteY19" fmla="*/ 157074 h 427101"/>
                <a:gd name="connsiteX20" fmla="*/ 71448 w 457201"/>
                <a:gd name="connsiteY20" fmla="*/ 144876 h 427101"/>
                <a:gd name="connsiteX21" fmla="*/ 78868 w 457201"/>
                <a:gd name="connsiteY21" fmla="*/ 140691 h 427101"/>
                <a:gd name="connsiteX22" fmla="*/ 384334 w 457201"/>
                <a:gd name="connsiteY22" fmla="*/ 140691 h 427101"/>
                <a:gd name="connsiteX23" fmla="*/ 393155 w 457201"/>
                <a:gd name="connsiteY23" fmla="*/ 149590 h 427101"/>
                <a:gd name="connsiteX24" fmla="*/ 388811 w 457201"/>
                <a:gd name="connsiteY24" fmla="*/ 157170 h 427101"/>
                <a:gd name="connsiteX25" fmla="*/ 257080 w 457201"/>
                <a:gd name="connsiteY25" fmla="*/ 234417 h 427101"/>
                <a:gd name="connsiteX26" fmla="*/ 253937 w 457201"/>
                <a:gd name="connsiteY26" fmla="*/ 246546 h 427101"/>
                <a:gd name="connsiteX27" fmla="*/ 256318 w 457201"/>
                <a:gd name="connsiteY27" fmla="*/ 249181 h 427101"/>
                <a:gd name="connsiteX28" fmla="*/ 444247 w 457201"/>
                <a:gd name="connsiteY28" fmla="*/ 388437 h 427101"/>
                <a:gd name="connsiteX29" fmla="*/ 456534 w 457201"/>
                <a:gd name="connsiteY29" fmla="*/ 386817 h 427101"/>
                <a:gd name="connsiteX30" fmla="*/ 458344 w 457201"/>
                <a:gd name="connsiteY30" fmla="*/ 381388 h 427101"/>
                <a:gd name="connsiteX31" fmla="*/ 458344 w 457201"/>
                <a:gd name="connsiteY31" fmla="*/ 145740 h 427101"/>
                <a:gd name="connsiteX32" fmla="*/ 454343 w 457201"/>
                <a:gd name="connsiteY32" fmla="*/ 138405 h 42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7201" h="427101">
                  <a:moveTo>
                    <a:pt x="27242" y="411106"/>
                  </a:moveTo>
                  <a:cubicBezTo>
                    <a:pt x="23299" y="414002"/>
                    <a:pt x="22442" y="419545"/>
                    <a:pt x="25337" y="423489"/>
                  </a:cubicBezTo>
                  <a:cubicBezTo>
                    <a:pt x="27004" y="425765"/>
                    <a:pt x="29662" y="427108"/>
                    <a:pt x="32481" y="427108"/>
                  </a:cubicBezTo>
                  <a:lnTo>
                    <a:pt x="426911" y="427108"/>
                  </a:lnTo>
                  <a:cubicBezTo>
                    <a:pt x="431807" y="427108"/>
                    <a:pt x="435770" y="423146"/>
                    <a:pt x="435770" y="418250"/>
                  </a:cubicBezTo>
                  <a:cubicBezTo>
                    <a:pt x="435770" y="415431"/>
                    <a:pt x="434427" y="412773"/>
                    <a:pt x="432150" y="411106"/>
                  </a:cubicBezTo>
                  <a:lnTo>
                    <a:pt x="234982" y="265755"/>
                  </a:lnTo>
                  <a:cubicBezTo>
                    <a:pt x="231868" y="263468"/>
                    <a:pt x="227619" y="263468"/>
                    <a:pt x="224505" y="265755"/>
                  </a:cubicBezTo>
                  <a:close/>
                  <a:moveTo>
                    <a:pt x="314517" y="47251"/>
                  </a:moveTo>
                  <a:lnTo>
                    <a:pt x="256509" y="9151"/>
                  </a:lnTo>
                  <a:cubicBezTo>
                    <a:pt x="237459" y="-3246"/>
                    <a:pt x="212837" y="-3021"/>
                    <a:pt x="194025" y="9723"/>
                  </a:cubicBezTo>
                  <a:lnTo>
                    <a:pt x="5049" y="138024"/>
                  </a:lnTo>
                  <a:cubicBezTo>
                    <a:pt x="2611" y="139669"/>
                    <a:pt x="1144" y="142417"/>
                    <a:pt x="1144" y="145359"/>
                  </a:cubicBezTo>
                  <a:lnTo>
                    <a:pt x="1144" y="380626"/>
                  </a:lnTo>
                  <a:cubicBezTo>
                    <a:pt x="1087" y="385465"/>
                    <a:pt x="4973" y="389427"/>
                    <a:pt x="9812" y="389484"/>
                  </a:cubicBezTo>
                  <a:cubicBezTo>
                    <a:pt x="11774" y="389504"/>
                    <a:pt x="13688" y="388865"/>
                    <a:pt x="15241" y="387675"/>
                  </a:cubicBezTo>
                  <a:lnTo>
                    <a:pt x="202502" y="249753"/>
                  </a:lnTo>
                  <a:cubicBezTo>
                    <a:pt x="206455" y="246779"/>
                    <a:pt x="207246" y="241166"/>
                    <a:pt x="204274" y="237215"/>
                  </a:cubicBezTo>
                  <a:cubicBezTo>
                    <a:pt x="203607" y="236328"/>
                    <a:pt x="202779" y="235574"/>
                    <a:pt x="201836" y="234989"/>
                  </a:cubicBezTo>
                  <a:lnTo>
                    <a:pt x="74296" y="157074"/>
                  </a:lnTo>
                  <a:cubicBezTo>
                    <a:pt x="70143" y="154493"/>
                    <a:pt x="68866" y="149033"/>
                    <a:pt x="71448" y="144876"/>
                  </a:cubicBezTo>
                  <a:cubicBezTo>
                    <a:pt x="73039" y="142304"/>
                    <a:pt x="75839" y="140726"/>
                    <a:pt x="78868" y="140691"/>
                  </a:cubicBezTo>
                  <a:lnTo>
                    <a:pt x="384334" y="140691"/>
                  </a:lnTo>
                  <a:cubicBezTo>
                    <a:pt x="389231" y="140713"/>
                    <a:pt x="393174" y="144698"/>
                    <a:pt x="393155" y="149590"/>
                  </a:cubicBezTo>
                  <a:cubicBezTo>
                    <a:pt x="393136" y="152703"/>
                    <a:pt x="391488" y="155582"/>
                    <a:pt x="388811" y="157170"/>
                  </a:cubicBezTo>
                  <a:lnTo>
                    <a:pt x="257080" y="234417"/>
                  </a:lnTo>
                  <a:cubicBezTo>
                    <a:pt x="252861" y="236900"/>
                    <a:pt x="251461" y="242329"/>
                    <a:pt x="253937" y="246546"/>
                  </a:cubicBezTo>
                  <a:cubicBezTo>
                    <a:pt x="254547" y="247575"/>
                    <a:pt x="255357" y="248472"/>
                    <a:pt x="256318" y="249181"/>
                  </a:cubicBezTo>
                  <a:lnTo>
                    <a:pt x="444247" y="388437"/>
                  </a:lnTo>
                  <a:cubicBezTo>
                    <a:pt x="448086" y="391380"/>
                    <a:pt x="453591" y="390656"/>
                    <a:pt x="456534" y="386817"/>
                  </a:cubicBezTo>
                  <a:cubicBezTo>
                    <a:pt x="457725" y="385265"/>
                    <a:pt x="458363" y="383350"/>
                    <a:pt x="458344" y="381388"/>
                  </a:cubicBezTo>
                  <a:lnTo>
                    <a:pt x="458344" y="145740"/>
                  </a:lnTo>
                  <a:cubicBezTo>
                    <a:pt x="458334" y="142776"/>
                    <a:pt x="456829" y="140016"/>
                    <a:pt x="454343" y="13840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84" name="Group 241">
            <a:extLst>
              <a:ext uri="{FF2B5EF4-FFF2-40B4-BE49-F238E27FC236}">
                <a16:creationId xmlns:a16="http://schemas.microsoft.com/office/drawing/2014/main" id="{72D5A03A-12EB-4EAF-850F-4D7DDB1ACA84}"/>
              </a:ext>
            </a:extLst>
          </p:cNvPr>
          <p:cNvGrpSpPr/>
          <p:nvPr/>
        </p:nvGrpSpPr>
        <p:grpSpPr>
          <a:xfrm>
            <a:off x="6883803" y="4637998"/>
            <a:ext cx="456178" cy="521388"/>
            <a:chOff x="7120785" y="1761526"/>
            <a:chExt cx="885982" cy="1012634"/>
          </a:xfrm>
        </p:grpSpPr>
        <p:sp>
          <p:nvSpPr>
            <p:cNvPr id="285" name="Freeform 5">
              <a:extLst>
                <a:ext uri="{FF2B5EF4-FFF2-40B4-BE49-F238E27FC236}">
                  <a16:creationId xmlns:a16="http://schemas.microsoft.com/office/drawing/2014/main" id="{736F018B-0329-4B83-9A10-E5EE206B8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85" y="1761526"/>
              <a:ext cx="885982" cy="1012634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2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86" name="Freeform 5">
              <a:extLst>
                <a:ext uri="{FF2B5EF4-FFF2-40B4-BE49-F238E27FC236}">
                  <a16:creationId xmlns:a16="http://schemas.microsoft.com/office/drawing/2014/main" id="{32603BEA-2E53-4459-ADF4-11D1B1BD6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241" y="1828337"/>
              <a:ext cx="769070" cy="879011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87" name="Freeform 172">
              <a:extLst>
                <a:ext uri="{FF2B5EF4-FFF2-40B4-BE49-F238E27FC236}">
                  <a16:creationId xmlns:a16="http://schemas.microsoft.com/office/drawing/2014/main" id="{BFD826C1-1E60-4F0F-B03B-2EC0D7E15B5E}"/>
                </a:ext>
              </a:extLst>
            </p:cNvPr>
            <p:cNvSpPr/>
            <p:nvPr/>
          </p:nvSpPr>
          <p:spPr>
            <a:xfrm>
              <a:off x="7403726" y="2109424"/>
              <a:ext cx="320105" cy="294492"/>
            </a:xfrm>
            <a:custGeom>
              <a:avLst/>
              <a:gdLst>
                <a:gd name="connsiteX0" fmla="*/ 341095 w 461968"/>
                <a:gd name="connsiteY0" fmla="*/ 172695 h 425005"/>
                <a:gd name="connsiteX1" fmla="*/ 171074 w 461968"/>
                <a:gd name="connsiteY1" fmla="*/ 7 h 425005"/>
                <a:gd name="connsiteX2" fmla="*/ 1148 w 461968"/>
                <a:gd name="connsiteY2" fmla="*/ 172695 h 425005"/>
                <a:gd name="connsiteX3" fmla="*/ 32009 w 461968"/>
                <a:gd name="connsiteY3" fmla="*/ 272041 h 425005"/>
                <a:gd name="connsiteX4" fmla="*/ 25818 w 461968"/>
                <a:gd name="connsiteY4" fmla="*/ 297378 h 425005"/>
                <a:gd name="connsiteX5" fmla="*/ 38124 w 461968"/>
                <a:gd name="connsiteY5" fmla="*/ 317956 h 425005"/>
                <a:gd name="connsiteX6" fmla="*/ 43439 w 461968"/>
                <a:gd name="connsiteY6" fmla="*/ 318428 h 425005"/>
                <a:gd name="connsiteX7" fmla="*/ 76300 w 461968"/>
                <a:gd name="connsiteY7" fmla="*/ 316237 h 425005"/>
                <a:gd name="connsiteX8" fmla="*/ 171550 w 461968"/>
                <a:gd name="connsiteY8" fmla="*/ 345574 h 425005"/>
                <a:gd name="connsiteX9" fmla="*/ 341095 w 461968"/>
                <a:gd name="connsiteY9" fmla="*/ 172695 h 425005"/>
                <a:gd name="connsiteX10" fmla="*/ 249560 w 461968"/>
                <a:gd name="connsiteY10" fmla="*/ 150502 h 425005"/>
                <a:gd name="connsiteX11" fmla="*/ 271372 w 461968"/>
                <a:gd name="connsiteY11" fmla="*/ 172693 h 425005"/>
                <a:gd name="connsiteX12" fmla="*/ 271372 w 461968"/>
                <a:gd name="connsiteY12" fmla="*/ 172695 h 425005"/>
                <a:gd name="connsiteX13" fmla="*/ 249560 w 461968"/>
                <a:gd name="connsiteY13" fmla="*/ 194793 h 425005"/>
                <a:gd name="connsiteX14" fmla="*/ 227367 w 461968"/>
                <a:gd name="connsiteY14" fmla="*/ 172982 h 425005"/>
                <a:gd name="connsiteX15" fmla="*/ 227367 w 461968"/>
                <a:gd name="connsiteY15" fmla="*/ 172695 h 425005"/>
                <a:gd name="connsiteX16" fmla="*/ 249179 w 461968"/>
                <a:gd name="connsiteY16" fmla="*/ 150502 h 425005"/>
                <a:gd name="connsiteX17" fmla="*/ 249560 w 461968"/>
                <a:gd name="connsiteY17" fmla="*/ 150502 h 425005"/>
                <a:gd name="connsiteX18" fmla="*/ 92683 w 461968"/>
                <a:gd name="connsiteY18" fmla="*/ 194793 h 425005"/>
                <a:gd name="connsiteX19" fmla="*/ 70871 w 461968"/>
                <a:gd name="connsiteY19" fmla="*/ 172791 h 425005"/>
                <a:gd name="connsiteX20" fmla="*/ 70871 w 461968"/>
                <a:gd name="connsiteY20" fmla="*/ 172695 h 425005"/>
                <a:gd name="connsiteX21" fmla="*/ 92493 w 461968"/>
                <a:gd name="connsiteY21" fmla="*/ 150504 h 425005"/>
                <a:gd name="connsiteX22" fmla="*/ 92683 w 461968"/>
                <a:gd name="connsiteY22" fmla="*/ 150502 h 425005"/>
                <a:gd name="connsiteX23" fmla="*/ 114496 w 461968"/>
                <a:gd name="connsiteY23" fmla="*/ 172693 h 425005"/>
                <a:gd name="connsiteX24" fmla="*/ 114496 w 461968"/>
                <a:gd name="connsiteY24" fmla="*/ 172695 h 425005"/>
                <a:gd name="connsiteX25" fmla="*/ 92683 w 461968"/>
                <a:gd name="connsiteY25" fmla="*/ 194793 h 425005"/>
                <a:gd name="connsiteX26" fmla="*/ 149357 w 461968"/>
                <a:gd name="connsiteY26" fmla="*/ 172695 h 425005"/>
                <a:gd name="connsiteX27" fmla="*/ 170979 w 461968"/>
                <a:gd name="connsiteY27" fmla="*/ 150503 h 425005"/>
                <a:gd name="connsiteX28" fmla="*/ 171074 w 461968"/>
                <a:gd name="connsiteY28" fmla="*/ 150502 h 425005"/>
                <a:gd name="connsiteX29" fmla="*/ 192886 w 461968"/>
                <a:gd name="connsiteY29" fmla="*/ 172503 h 425005"/>
                <a:gd name="connsiteX30" fmla="*/ 192886 w 461968"/>
                <a:gd name="connsiteY30" fmla="*/ 172695 h 425005"/>
                <a:gd name="connsiteX31" fmla="*/ 171169 w 461968"/>
                <a:gd name="connsiteY31" fmla="*/ 194792 h 425005"/>
                <a:gd name="connsiteX32" fmla="*/ 171074 w 461968"/>
                <a:gd name="connsiteY32" fmla="*/ 194793 h 425005"/>
                <a:gd name="connsiteX33" fmla="*/ 149357 w 461968"/>
                <a:gd name="connsiteY33" fmla="*/ 172697 h 425005"/>
                <a:gd name="connsiteX34" fmla="*/ 149357 w 461968"/>
                <a:gd name="connsiteY34" fmla="*/ 172695 h 425005"/>
                <a:gd name="connsiteX35" fmla="*/ 463110 w 461968"/>
                <a:gd name="connsiteY35" fmla="*/ 252324 h 425005"/>
                <a:gd name="connsiteX36" fmla="*/ 349382 w 461968"/>
                <a:gd name="connsiteY36" fmla="*/ 89542 h 425005"/>
                <a:gd name="connsiteX37" fmla="*/ 367193 w 461968"/>
                <a:gd name="connsiteY37" fmla="*/ 172695 h 425005"/>
                <a:gd name="connsiteX38" fmla="*/ 171083 w 461968"/>
                <a:gd name="connsiteY38" fmla="*/ 371863 h 425005"/>
                <a:gd name="connsiteX39" fmla="*/ 171074 w 461968"/>
                <a:gd name="connsiteY39" fmla="*/ 371863 h 425005"/>
                <a:gd name="connsiteX40" fmla="*/ 171074 w 461968"/>
                <a:gd name="connsiteY40" fmla="*/ 371863 h 425005"/>
                <a:gd name="connsiteX41" fmla="*/ 293565 w 461968"/>
                <a:gd name="connsiteY41" fmla="*/ 425013 h 425005"/>
                <a:gd name="connsiteX42" fmla="*/ 386053 w 461968"/>
                <a:gd name="connsiteY42" fmla="*/ 397104 h 425005"/>
                <a:gd name="connsiteX43" fmla="*/ 417486 w 461968"/>
                <a:gd name="connsiteY43" fmla="*/ 401962 h 425005"/>
                <a:gd name="connsiteX44" fmla="*/ 434916 w 461968"/>
                <a:gd name="connsiteY44" fmla="*/ 389065 h 425005"/>
                <a:gd name="connsiteX45" fmla="*/ 434726 w 461968"/>
                <a:gd name="connsiteY45" fmla="*/ 383483 h 425005"/>
                <a:gd name="connsiteX46" fmla="*/ 428725 w 461968"/>
                <a:gd name="connsiteY46" fmla="*/ 356718 h 425005"/>
                <a:gd name="connsiteX47" fmla="*/ 463110 w 461968"/>
                <a:gd name="connsiteY47" fmla="*/ 252324 h 425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61968" h="425005">
                  <a:moveTo>
                    <a:pt x="341095" y="172695"/>
                  </a:moveTo>
                  <a:cubicBezTo>
                    <a:pt x="341781" y="78079"/>
                    <a:pt x="265686" y="793"/>
                    <a:pt x="171074" y="7"/>
                  </a:cubicBezTo>
                  <a:cubicBezTo>
                    <a:pt x="76500" y="845"/>
                    <a:pt x="462" y="78116"/>
                    <a:pt x="1148" y="172695"/>
                  </a:cubicBezTo>
                  <a:cubicBezTo>
                    <a:pt x="1081" y="208181"/>
                    <a:pt x="11844" y="242842"/>
                    <a:pt x="32009" y="272041"/>
                  </a:cubicBezTo>
                  <a:lnTo>
                    <a:pt x="25818" y="297378"/>
                  </a:lnTo>
                  <a:cubicBezTo>
                    <a:pt x="23531" y="306459"/>
                    <a:pt x="29047" y="315672"/>
                    <a:pt x="38124" y="317956"/>
                  </a:cubicBezTo>
                  <a:cubicBezTo>
                    <a:pt x="39858" y="318394"/>
                    <a:pt x="41658" y="318553"/>
                    <a:pt x="43439" y="318428"/>
                  </a:cubicBezTo>
                  <a:lnTo>
                    <a:pt x="76300" y="316237"/>
                  </a:lnTo>
                  <a:cubicBezTo>
                    <a:pt x="104322" y="335490"/>
                    <a:pt x="137555" y="345725"/>
                    <a:pt x="171550" y="345574"/>
                  </a:cubicBezTo>
                  <a:cubicBezTo>
                    <a:pt x="266057" y="344527"/>
                    <a:pt x="341886" y="267201"/>
                    <a:pt x="341095" y="172695"/>
                  </a:cubicBezTo>
                  <a:close/>
                  <a:moveTo>
                    <a:pt x="249560" y="150502"/>
                  </a:moveTo>
                  <a:cubicBezTo>
                    <a:pt x="261714" y="150607"/>
                    <a:pt x="271477" y="160542"/>
                    <a:pt x="271372" y="172693"/>
                  </a:cubicBezTo>
                  <a:cubicBezTo>
                    <a:pt x="271372" y="172694"/>
                    <a:pt x="271372" y="172694"/>
                    <a:pt x="271372" y="172695"/>
                  </a:cubicBezTo>
                  <a:cubicBezTo>
                    <a:pt x="271429" y="184810"/>
                    <a:pt x="261675" y="194688"/>
                    <a:pt x="249560" y="194793"/>
                  </a:cubicBezTo>
                  <a:cubicBezTo>
                    <a:pt x="237406" y="194899"/>
                    <a:pt x="227471" y="185133"/>
                    <a:pt x="227367" y="172982"/>
                  </a:cubicBezTo>
                  <a:cubicBezTo>
                    <a:pt x="227367" y="172887"/>
                    <a:pt x="227367" y="172791"/>
                    <a:pt x="227367" y="172695"/>
                  </a:cubicBezTo>
                  <a:cubicBezTo>
                    <a:pt x="227262" y="160544"/>
                    <a:pt x="237025" y="150608"/>
                    <a:pt x="249179" y="150502"/>
                  </a:cubicBezTo>
                  <a:cubicBezTo>
                    <a:pt x="249302" y="150501"/>
                    <a:pt x="249436" y="150501"/>
                    <a:pt x="249560" y="150502"/>
                  </a:cubicBezTo>
                  <a:close/>
                  <a:moveTo>
                    <a:pt x="92683" y="194793"/>
                  </a:moveTo>
                  <a:cubicBezTo>
                    <a:pt x="80587" y="194741"/>
                    <a:pt x="70814" y="184890"/>
                    <a:pt x="70871" y="172791"/>
                  </a:cubicBezTo>
                  <a:cubicBezTo>
                    <a:pt x="70871" y="172759"/>
                    <a:pt x="70871" y="172728"/>
                    <a:pt x="70871" y="172695"/>
                  </a:cubicBezTo>
                  <a:cubicBezTo>
                    <a:pt x="70709" y="160598"/>
                    <a:pt x="80396" y="150662"/>
                    <a:pt x="92493" y="150504"/>
                  </a:cubicBezTo>
                  <a:cubicBezTo>
                    <a:pt x="92550" y="150503"/>
                    <a:pt x="92617" y="150502"/>
                    <a:pt x="92683" y="150502"/>
                  </a:cubicBezTo>
                  <a:cubicBezTo>
                    <a:pt x="104837" y="150607"/>
                    <a:pt x="114600" y="160542"/>
                    <a:pt x="114496" y="172693"/>
                  </a:cubicBezTo>
                  <a:cubicBezTo>
                    <a:pt x="114496" y="172694"/>
                    <a:pt x="114496" y="172694"/>
                    <a:pt x="114496" y="172695"/>
                  </a:cubicBezTo>
                  <a:cubicBezTo>
                    <a:pt x="114552" y="184810"/>
                    <a:pt x="104799" y="194688"/>
                    <a:pt x="92683" y="194793"/>
                  </a:cubicBezTo>
                  <a:close/>
                  <a:moveTo>
                    <a:pt x="149357" y="172695"/>
                  </a:moveTo>
                  <a:cubicBezTo>
                    <a:pt x="149195" y="160598"/>
                    <a:pt x="158882" y="150661"/>
                    <a:pt x="170979" y="150503"/>
                  </a:cubicBezTo>
                  <a:cubicBezTo>
                    <a:pt x="171007" y="150503"/>
                    <a:pt x="171045" y="150502"/>
                    <a:pt x="171074" y="150502"/>
                  </a:cubicBezTo>
                  <a:cubicBezTo>
                    <a:pt x="183170" y="150553"/>
                    <a:pt x="192943" y="160403"/>
                    <a:pt x="192886" y="172503"/>
                  </a:cubicBezTo>
                  <a:cubicBezTo>
                    <a:pt x="192886" y="172567"/>
                    <a:pt x="192886" y="172631"/>
                    <a:pt x="192886" y="172695"/>
                  </a:cubicBezTo>
                  <a:cubicBezTo>
                    <a:pt x="192991" y="184794"/>
                    <a:pt x="183266" y="194688"/>
                    <a:pt x="171169" y="194792"/>
                  </a:cubicBezTo>
                  <a:cubicBezTo>
                    <a:pt x="171140" y="194793"/>
                    <a:pt x="171103" y="194793"/>
                    <a:pt x="171074" y="194793"/>
                  </a:cubicBezTo>
                  <a:cubicBezTo>
                    <a:pt x="158977" y="194688"/>
                    <a:pt x="149252" y="184796"/>
                    <a:pt x="149357" y="172697"/>
                  </a:cubicBezTo>
                  <a:cubicBezTo>
                    <a:pt x="149357" y="172696"/>
                    <a:pt x="149357" y="172696"/>
                    <a:pt x="149357" y="172695"/>
                  </a:cubicBezTo>
                  <a:close/>
                  <a:moveTo>
                    <a:pt x="463110" y="252324"/>
                  </a:moveTo>
                  <a:cubicBezTo>
                    <a:pt x="463367" y="179496"/>
                    <a:pt x="417857" y="114354"/>
                    <a:pt x="349382" y="89542"/>
                  </a:cubicBezTo>
                  <a:cubicBezTo>
                    <a:pt x="361164" y="115678"/>
                    <a:pt x="367241" y="144026"/>
                    <a:pt x="367193" y="172695"/>
                  </a:cubicBezTo>
                  <a:cubicBezTo>
                    <a:pt x="368041" y="281848"/>
                    <a:pt x="280240" y="371018"/>
                    <a:pt x="171083" y="371863"/>
                  </a:cubicBezTo>
                  <a:cubicBezTo>
                    <a:pt x="171083" y="371863"/>
                    <a:pt x="171074" y="371863"/>
                    <a:pt x="171074" y="371863"/>
                  </a:cubicBezTo>
                  <a:lnTo>
                    <a:pt x="171074" y="371863"/>
                  </a:lnTo>
                  <a:cubicBezTo>
                    <a:pt x="202792" y="405772"/>
                    <a:pt x="247140" y="425013"/>
                    <a:pt x="293565" y="425013"/>
                  </a:cubicBezTo>
                  <a:cubicBezTo>
                    <a:pt x="326465" y="425013"/>
                    <a:pt x="358640" y="415307"/>
                    <a:pt x="386053" y="397104"/>
                  </a:cubicBezTo>
                  <a:lnTo>
                    <a:pt x="417486" y="401962"/>
                  </a:lnTo>
                  <a:cubicBezTo>
                    <a:pt x="425858" y="403210"/>
                    <a:pt x="433668" y="397438"/>
                    <a:pt x="434916" y="389065"/>
                  </a:cubicBezTo>
                  <a:cubicBezTo>
                    <a:pt x="435192" y="387208"/>
                    <a:pt x="435135" y="385312"/>
                    <a:pt x="434726" y="383483"/>
                  </a:cubicBezTo>
                  <a:lnTo>
                    <a:pt x="428725" y="356718"/>
                  </a:lnTo>
                  <a:cubicBezTo>
                    <a:pt x="451204" y="326571"/>
                    <a:pt x="463272" y="289931"/>
                    <a:pt x="463110" y="252324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88" name="Group 249">
            <a:extLst>
              <a:ext uri="{FF2B5EF4-FFF2-40B4-BE49-F238E27FC236}">
                <a16:creationId xmlns:a16="http://schemas.microsoft.com/office/drawing/2014/main" id="{6A7AD9F4-2021-4A68-B4AC-EB4697A5F5F9}"/>
              </a:ext>
            </a:extLst>
          </p:cNvPr>
          <p:cNvGrpSpPr/>
          <p:nvPr/>
        </p:nvGrpSpPr>
        <p:grpSpPr>
          <a:xfrm>
            <a:off x="4330142" y="4637998"/>
            <a:ext cx="456178" cy="521388"/>
            <a:chOff x="7120785" y="1761526"/>
            <a:chExt cx="885982" cy="1012634"/>
          </a:xfrm>
        </p:grpSpPr>
        <p:sp>
          <p:nvSpPr>
            <p:cNvPr id="289" name="Freeform 5">
              <a:extLst>
                <a:ext uri="{FF2B5EF4-FFF2-40B4-BE49-F238E27FC236}">
                  <a16:creationId xmlns:a16="http://schemas.microsoft.com/office/drawing/2014/main" id="{5ABA87BC-4E8A-4008-9028-971FB43F6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85" y="1761526"/>
              <a:ext cx="885982" cy="1012634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alpha val="20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90" name="Freeform 5">
              <a:extLst>
                <a:ext uri="{FF2B5EF4-FFF2-40B4-BE49-F238E27FC236}">
                  <a16:creationId xmlns:a16="http://schemas.microsoft.com/office/drawing/2014/main" id="{5B91E90F-6A06-4635-A2D5-7785D75DC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241" y="1828337"/>
              <a:ext cx="769070" cy="879011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91" name="Freeform 172">
              <a:extLst>
                <a:ext uri="{FF2B5EF4-FFF2-40B4-BE49-F238E27FC236}">
                  <a16:creationId xmlns:a16="http://schemas.microsoft.com/office/drawing/2014/main" id="{321FFE23-B27B-425D-969B-FCC9F697309B}"/>
                </a:ext>
              </a:extLst>
            </p:cNvPr>
            <p:cNvSpPr/>
            <p:nvPr/>
          </p:nvSpPr>
          <p:spPr>
            <a:xfrm>
              <a:off x="7403726" y="2100859"/>
              <a:ext cx="320105" cy="311622"/>
            </a:xfrm>
            <a:custGeom>
              <a:avLst/>
              <a:gdLst>
                <a:gd name="connsiteX0" fmla="*/ 136113 w 459868"/>
                <a:gd name="connsiteY0" fmla="*/ 364244 h 447683"/>
                <a:gd name="connsiteX1" fmla="*/ 126588 w 459868"/>
                <a:gd name="connsiteY1" fmla="*/ 373578 h 447683"/>
                <a:gd name="connsiteX2" fmla="*/ 126588 w 459868"/>
                <a:gd name="connsiteY2" fmla="*/ 380341 h 447683"/>
                <a:gd name="connsiteX3" fmla="*/ 136113 w 459868"/>
                <a:gd name="connsiteY3" fmla="*/ 389866 h 447683"/>
                <a:gd name="connsiteX4" fmla="*/ 244889 w 459868"/>
                <a:gd name="connsiteY4" fmla="*/ 389866 h 447683"/>
                <a:gd name="connsiteX5" fmla="*/ 254414 w 459868"/>
                <a:gd name="connsiteY5" fmla="*/ 380341 h 447683"/>
                <a:gd name="connsiteX6" fmla="*/ 254414 w 459868"/>
                <a:gd name="connsiteY6" fmla="*/ 373769 h 447683"/>
                <a:gd name="connsiteX7" fmla="*/ 244889 w 459868"/>
                <a:gd name="connsiteY7" fmla="*/ 364244 h 447683"/>
                <a:gd name="connsiteX8" fmla="*/ 136113 w 459868"/>
                <a:gd name="connsiteY8" fmla="*/ 301664 h 447683"/>
                <a:gd name="connsiteX9" fmla="*/ 126588 w 459868"/>
                <a:gd name="connsiteY9" fmla="*/ 310808 h 447683"/>
                <a:gd name="connsiteX10" fmla="*/ 126588 w 459868"/>
                <a:gd name="connsiteY10" fmla="*/ 317952 h 447683"/>
                <a:gd name="connsiteX11" fmla="*/ 136113 w 459868"/>
                <a:gd name="connsiteY11" fmla="*/ 327477 h 447683"/>
                <a:gd name="connsiteX12" fmla="*/ 321089 w 459868"/>
                <a:gd name="connsiteY12" fmla="*/ 327477 h 447683"/>
                <a:gd name="connsiteX13" fmla="*/ 330614 w 459868"/>
                <a:gd name="connsiteY13" fmla="*/ 317952 h 447683"/>
                <a:gd name="connsiteX14" fmla="*/ 330614 w 459868"/>
                <a:gd name="connsiteY14" fmla="*/ 311189 h 447683"/>
                <a:gd name="connsiteX15" fmla="*/ 321089 w 459868"/>
                <a:gd name="connsiteY15" fmla="*/ 301664 h 447683"/>
                <a:gd name="connsiteX16" fmla="*/ 98013 w 459868"/>
                <a:gd name="connsiteY16" fmla="*/ 242895 h 447683"/>
                <a:gd name="connsiteX17" fmla="*/ 359189 w 459868"/>
                <a:gd name="connsiteY17" fmla="*/ 242895 h 447683"/>
                <a:gd name="connsiteX18" fmla="*/ 368714 w 459868"/>
                <a:gd name="connsiteY18" fmla="*/ 252420 h 447683"/>
                <a:gd name="connsiteX19" fmla="*/ 368714 w 459868"/>
                <a:gd name="connsiteY19" fmla="*/ 438158 h 447683"/>
                <a:gd name="connsiteX20" fmla="*/ 359189 w 459868"/>
                <a:gd name="connsiteY20" fmla="*/ 447683 h 447683"/>
                <a:gd name="connsiteX21" fmla="*/ 98013 w 459868"/>
                <a:gd name="connsiteY21" fmla="*/ 447683 h 447683"/>
                <a:gd name="connsiteX22" fmla="*/ 88488 w 459868"/>
                <a:gd name="connsiteY22" fmla="*/ 438539 h 447683"/>
                <a:gd name="connsiteX23" fmla="*/ 88488 w 459868"/>
                <a:gd name="connsiteY23" fmla="*/ 252420 h 447683"/>
                <a:gd name="connsiteX24" fmla="*/ 98013 w 459868"/>
                <a:gd name="connsiteY24" fmla="*/ 242895 h 447683"/>
                <a:gd name="connsiteX25" fmla="*/ 38101 w 459868"/>
                <a:gd name="connsiteY25" fmla="*/ 96876 h 447683"/>
                <a:gd name="connsiteX26" fmla="*/ 28576 w 459868"/>
                <a:gd name="connsiteY26" fmla="*/ 106401 h 447683"/>
                <a:gd name="connsiteX27" fmla="*/ 28576 w 459868"/>
                <a:gd name="connsiteY27" fmla="*/ 107258 h 447683"/>
                <a:gd name="connsiteX28" fmla="*/ 38101 w 459868"/>
                <a:gd name="connsiteY28" fmla="*/ 116783 h 447683"/>
                <a:gd name="connsiteX29" fmla="*/ 47626 w 459868"/>
                <a:gd name="connsiteY29" fmla="*/ 107639 h 447683"/>
                <a:gd name="connsiteX30" fmla="*/ 47626 w 459868"/>
                <a:gd name="connsiteY30" fmla="*/ 106401 h 447683"/>
                <a:gd name="connsiteX31" fmla="*/ 38101 w 459868"/>
                <a:gd name="connsiteY31" fmla="*/ 96876 h 447683"/>
                <a:gd name="connsiteX32" fmla="*/ 11431 w 459868"/>
                <a:gd name="connsiteY32" fmla="*/ 67730 h 447683"/>
                <a:gd name="connsiteX33" fmla="*/ 450343 w 459868"/>
                <a:gd name="connsiteY33" fmla="*/ 67730 h 447683"/>
                <a:gd name="connsiteX34" fmla="*/ 459868 w 459868"/>
                <a:gd name="connsiteY34" fmla="*/ 77255 h 447683"/>
                <a:gd name="connsiteX35" fmla="*/ 459868 w 459868"/>
                <a:gd name="connsiteY35" fmla="*/ 302235 h 447683"/>
                <a:gd name="connsiteX36" fmla="*/ 450343 w 459868"/>
                <a:gd name="connsiteY36" fmla="*/ 311760 h 447683"/>
                <a:gd name="connsiteX37" fmla="*/ 396622 w 459868"/>
                <a:gd name="connsiteY37" fmla="*/ 311760 h 447683"/>
                <a:gd name="connsiteX38" fmla="*/ 387097 w 459868"/>
                <a:gd name="connsiteY38" fmla="*/ 302235 h 447683"/>
                <a:gd name="connsiteX39" fmla="*/ 387097 w 459868"/>
                <a:gd name="connsiteY39" fmla="*/ 223178 h 447683"/>
                <a:gd name="connsiteX40" fmla="*/ 377572 w 459868"/>
                <a:gd name="connsiteY40" fmla="*/ 213653 h 447683"/>
                <a:gd name="connsiteX41" fmla="*/ 82297 w 459868"/>
                <a:gd name="connsiteY41" fmla="*/ 213653 h 447683"/>
                <a:gd name="connsiteX42" fmla="*/ 72772 w 459868"/>
                <a:gd name="connsiteY42" fmla="*/ 223178 h 447683"/>
                <a:gd name="connsiteX43" fmla="*/ 72772 w 459868"/>
                <a:gd name="connsiteY43" fmla="*/ 302235 h 447683"/>
                <a:gd name="connsiteX44" fmla="*/ 63247 w 459868"/>
                <a:gd name="connsiteY44" fmla="*/ 311760 h 447683"/>
                <a:gd name="connsiteX45" fmla="*/ 9526 w 459868"/>
                <a:gd name="connsiteY45" fmla="*/ 311760 h 447683"/>
                <a:gd name="connsiteX46" fmla="*/ 1 w 459868"/>
                <a:gd name="connsiteY46" fmla="*/ 302235 h 447683"/>
                <a:gd name="connsiteX47" fmla="*/ 1 w 459868"/>
                <a:gd name="connsiteY47" fmla="*/ 77255 h 447683"/>
                <a:gd name="connsiteX48" fmla="*/ 192 w 459868"/>
                <a:gd name="connsiteY48" fmla="*/ 75155 h 447683"/>
                <a:gd name="connsiteX49" fmla="*/ 11431 w 459868"/>
                <a:gd name="connsiteY49" fmla="*/ 67730 h 447683"/>
                <a:gd name="connsiteX50" fmla="*/ 83535 w 459868"/>
                <a:gd name="connsiteY50" fmla="*/ 0 h 447683"/>
                <a:gd name="connsiteX51" fmla="*/ 92679 w 459868"/>
                <a:gd name="connsiteY51" fmla="*/ 0 h 447683"/>
                <a:gd name="connsiteX52" fmla="*/ 362236 w 459868"/>
                <a:gd name="connsiteY52" fmla="*/ 0 h 447683"/>
                <a:gd name="connsiteX53" fmla="*/ 371380 w 459868"/>
                <a:gd name="connsiteY53" fmla="*/ 0 h 447683"/>
                <a:gd name="connsiteX54" fmla="*/ 371380 w 459868"/>
                <a:gd name="connsiteY54" fmla="*/ 48673 h 447683"/>
                <a:gd name="connsiteX55" fmla="*/ 362236 w 459868"/>
                <a:gd name="connsiteY55" fmla="*/ 48673 h 447683"/>
                <a:gd name="connsiteX56" fmla="*/ 92679 w 459868"/>
                <a:gd name="connsiteY56" fmla="*/ 48673 h 447683"/>
                <a:gd name="connsiteX57" fmla="*/ 83535 w 459868"/>
                <a:gd name="connsiteY57" fmla="*/ 48673 h 447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59868" h="447683">
                  <a:moveTo>
                    <a:pt x="136113" y="364244"/>
                  </a:moveTo>
                  <a:cubicBezTo>
                    <a:pt x="130922" y="364243"/>
                    <a:pt x="126693" y="368392"/>
                    <a:pt x="126588" y="373578"/>
                  </a:cubicBezTo>
                  <a:lnTo>
                    <a:pt x="126588" y="380341"/>
                  </a:lnTo>
                  <a:cubicBezTo>
                    <a:pt x="126588" y="385601"/>
                    <a:pt x="130855" y="389866"/>
                    <a:pt x="136113" y="389866"/>
                  </a:cubicBezTo>
                  <a:lnTo>
                    <a:pt x="244889" y="389866"/>
                  </a:lnTo>
                  <a:cubicBezTo>
                    <a:pt x="250147" y="389866"/>
                    <a:pt x="254414" y="385601"/>
                    <a:pt x="254414" y="380341"/>
                  </a:cubicBezTo>
                  <a:lnTo>
                    <a:pt x="254414" y="373769"/>
                  </a:lnTo>
                  <a:cubicBezTo>
                    <a:pt x="254414" y="368508"/>
                    <a:pt x="250147" y="364244"/>
                    <a:pt x="244889" y="364244"/>
                  </a:cubicBezTo>
                  <a:close/>
                  <a:moveTo>
                    <a:pt x="136113" y="301664"/>
                  </a:moveTo>
                  <a:cubicBezTo>
                    <a:pt x="130998" y="301660"/>
                    <a:pt x="126788" y="305697"/>
                    <a:pt x="126588" y="310808"/>
                  </a:cubicBezTo>
                  <a:lnTo>
                    <a:pt x="126588" y="317952"/>
                  </a:lnTo>
                  <a:cubicBezTo>
                    <a:pt x="126588" y="323213"/>
                    <a:pt x="130855" y="327477"/>
                    <a:pt x="136113" y="327477"/>
                  </a:cubicBezTo>
                  <a:lnTo>
                    <a:pt x="321089" y="327477"/>
                  </a:lnTo>
                  <a:cubicBezTo>
                    <a:pt x="326347" y="327477"/>
                    <a:pt x="330614" y="323213"/>
                    <a:pt x="330614" y="317952"/>
                  </a:cubicBezTo>
                  <a:lnTo>
                    <a:pt x="330614" y="311189"/>
                  </a:lnTo>
                  <a:cubicBezTo>
                    <a:pt x="330614" y="305929"/>
                    <a:pt x="326347" y="301664"/>
                    <a:pt x="321089" y="301664"/>
                  </a:cubicBezTo>
                  <a:close/>
                  <a:moveTo>
                    <a:pt x="98013" y="242895"/>
                  </a:moveTo>
                  <a:lnTo>
                    <a:pt x="359189" y="242895"/>
                  </a:lnTo>
                  <a:cubicBezTo>
                    <a:pt x="364447" y="242895"/>
                    <a:pt x="368714" y="247159"/>
                    <a:pt x="368714" y="252420"/>
                  </a:cubicBezTo>
                  <a:lnTo>
                    <a:pt x="368714" y="438158"/>
                  </a:lnTo>
                  <a:cubicBezTo>
                    <a:pt x="368714" y="443418"/>
                    <a:pt x="364447" y="447683"/>
                    <a:pt x="359189" y="447683"/>
                  </a:cubicBezTo>
                  <a:lnTo>
                    <a:pt x="98013" y="447683"/>
                  </a:lnTo>
                  <a:cubicBezTo>
                    <a:pt x="92898" y="447686"/>
                    <a:pt x="88688" y="443650"/>
                    <a:pt x="88488" y="438539"/>
                  </a:cubicBezTo>
                  <a:lnTo>
                    <a:pt x="88488" y="252420"/>
                  </a:lnTo>
                  <a:cubicBezTo>
                    <a:pt x="88488" y="247159"/>
                    <a:pt x="92755" y="242895"/>
                    <a:pt x="98013" y="242895"/>
                  </a:cubicBezTo>
                  <a:close/>
                  <a:moveTo>
                    <a:pt x="38101" y="96876"/>
                  </a:moveTo>
                  <a:cubicBezTo>
                    <a:pt x="32843" y="96876"/>
                    <a:pt x="28576" y="101141"/>
                    <a:pt x="28576" y="106401"/>
                  </a:cubicBezTo>
                  <a:lnTo>
                    <a:pt x="28576" y="107258"/>
                  </a:lnTo>
                  <a:cubicBezTo>
                    <a:pt x="28576" y="112519"/>
                    <a:pt x="32843" y="116783"/>
                    <a:pt x="38101" y="116783"/>
                  </a:cubicBezTo>
                  <a:cubicBezTo>
                    <a:pt x="43216" y="116788"/>
                    <a:pt x="47426" y="112751"/>
                    <a:pt x="47626" y="107639"/>
                  </a:cubicBezTo>
                  <a:lnTo>
                    <a:pt x="47626" y="106401"/>
                  </a:lnTo>
                  <a:cubicBezTo>
                    <a:pt x="47626" y="101141"/>
                    <a:pt x="43359" y="96876"/>
                    <a:pt x="38101" y="96876"/>
                  </a:cubicBezTo>
                  <a:close/>
                  <a:moveTo>
                    <a:pt x="11431" y="67730"/>
                  </a:moveTo>
                  <a:lnTo>
                    <a:pt x="450343" y="67730"/>
                  </a:lnTo>
                  <a:cubicBezTo>
                    <a:pt x="455601" y="67730"/>
                    <a:pt x="459868" y="71994"/>
                    <a:pt x="459868" y="77255"/>
                  </a:cubicBezTo>
                  <a:lnTo>
                    <a:pt x="459868" y="302235"/>
                  </a:lnTo>
                  <a:cubicBezTo>
                    <a:pt x="459868" y="307496"/>
                    <a:pt x="455601" y="311760"/>
                    <a:pt x="450343" y="311760"/>
                  </a:cubicBezTo>
                  <a:lnTo>
                    <a:pt x="396622" y="311760"/>
                  </a:lnTo>
                  <a:cubicBezTo>
                    <a:pt x="391364" y="311760"/>
                    <a:pt x="387097" y="307496"/>
                    <a:pt x="387097" y="302235"/>
                  </a:cubicBezTo>
                  <a:lnTo>
                    <a:pt x="387097" y="223178"/>
                  </a:lnTo>
                  <a:cubicBezTo>
                    <a:pt x="387097" y="217917"/>
                    <a:pt x="382830" y="213653"/>
                    <a:pt x="377572" y="213653"/>
                  </a:cubicBezTo>
                  <a:lnTo>
                    <a:pt x="82297" y="213653"/>
                  </a:lnTo>
                  <a:cubicBezTo>
                    <a:pt x="77039" y="213653"/>
                    <a:pt x="72772" y="217917"/>
                    <a:pt x="72772" y="223178"/>
                  </a:cubicBezTo>
                  <a:lnTo>
                    <a:pt x="72772" y="302235"/>
                  </a:lnTo>
                  <a:cubicBezTo>
                    <a:pt x="72772" y="307496"/>
                    <a:pt x="68505" y="311760"/>
                    <a:pt x="63247" y="311760"/>
                  </a:cubicBezTo>
                  <a:lnTo>
                    <a:pt x="9526" y="311760"/>
                  </a:lnTo>
                  <a:cubicBezTo>
                    <a:pt x="4268" y="311760"/>
                    <a:pt x="1" y="307496"/>
                    <a:pt x="1" y="302235"/>
                  </a:cubicBezTo>
                  <a:lnTo>
                    <a:pt x="1" y="77255"/>
                  </a:lnTo>
                  <a:cubicBezTo>
                    <a:pt x="-8" y="76550"/>
                    <a:pt x="49" y="75846"/>
                    <a:pt x="192" y="75155"/>
                  </a:cubicBezTo>
                  <a:cubicBezTo>
                    <a:pt x="1249" y="70001"/>
                    <a:pt x="6278" y="66677"/>
                    <a:pt x="11431" y="67730"/>
                  </a:cubicBezTo>
                  <a:close/>
                  <a:moveTo>
                    <a:pt x="83535" y="0"/>
                  </a:moveTo>
                  <a:cubicBezTo>
                    <a:pt x="83535" y="0"/>
                    <a:pt x="87629" y="0"/>
                    <a:pt x="92679" y="0"/>
                  </a:cubicBezTo>
                  <a:lnTo>
                    <a:pt x="362236" y="0"/>
                  </a:lnTo>
                  <a:cubicBezTo>
                    <a:pt x="367286" y="0"/>
                    <a:pt x="371380" y="0"/>
                    <a:pt x="371380" y="0"/>
                  </a:cubicBezTo>
                  <a:lnTo>
                    <a:pt x="371380" y="48673"/>
                  </a:lnTo>
                  <a:cubicBezTo>
                    <a:pt x="371380" y="48673"/>
                    <a:pt x="367286" y="48673"/>
                    <a:pt x="362236" y="48673"/>
                  </a:cubicBezTo>
                  <a:lnTo>
                    <a:pt x="92679" y="48673"/>
                  </a:lnTo>
                  <a:cubicBezTo>
                    <a:pt x="87629" y="48673"/>
                    <a:pt x="83535" y="48673"/>
                    <a:pt x="83535" y="48673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92" name="Group 257">
            <a:extLst>
              <a:ext uri="{FF2B5EF4-FFF2-40B4-BE49-F238E27FC236}">
                <a16:creationId xmlns:a16="http://schemas.microsoft.com/office/drawing/2014/main" id="{9DCD3919-C1D6-40BD-ACF6-CBEDF5B8431C}"/>
              </a:ext>
            </a:extLst>
          </p:cNvPr>
          <p:cNvGrpSpPr/>
          <p:nvPr/>
        </p:nvGrpSpPr>
        <p:grpSpPr>
          <a:xfrm>
            <a:off x="1776481" y="4637998"/>
            <a:ext cx="456178" cy="521388"/>
            <a:chOff x="7120785" y="1761522"/>
            <a:chExt cx="885982" cy="1012631"/>
          </a:xfrm>
        </p:grpSpPr>
        <p:sp>
          <p:nvSpPr>
            <p:cNvPr id="293" name="Freeform 5">
              <a:extLst>
                <a:ext uri="{FF2B5EF4-FFF2-40B4-BE49-F238E27FC236}">
                  <a16:creationId xmlns:a16="http://schemas.microsoft.com/office/drawing/2014/main" id="{89CEDEA9-1797-42D0-9FB2-1E1116AC4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85" y="1761522"/>
              <a:ext cx="885982" cy="1012631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alpha val="20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94" name="Freeform 5">
              <a:extLst>
                <a:ext uri="{FF2B5EF4-FFF2-40B4-BE49-F238E27FC236}">
                  <a16:creationId xmlns:a16="http://schemas.microsoft.com/office/drawing/2014/main" id="{9D634CAF-7E69-4632-87CD-F5FFDBFA9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9241" y="1828333"/>
              <a:ext cx="769070" cy="879009"/>
            </a:xfrm>
            <a:custGeom>
              <a:avLst/>
              <a:gdLst>
                <a:gd name="T0" fmla="*/ 626 w 644"/>
                <a:gd name="T1" fmla="*/ 172 h 736"/>
                <a:gd name="T2" fmla="*/ 340 w 644"/>
                <a:gd name="T3" fmla="*/ 6 h 736"/>
                <a:gd name="T4" fmla="*/ 304 w 644"/>
                <a:gd name="T5" fmla="*/ 6 h 736"/>
                <a:gd name="T6" fmla="*/ 18 w 644"/>
                <a:gd name="T7" fmla="*/ 172 h 736"/>
                <a:gd name="T8" fmla="*/ 0 w 644"/>
                <a:gd name="T9" fmla="*/ 203 h 736"/>
                <a:gd name="T10" fmla="*/ 0 w 644"/>
                <a:gd name="T11" fmla="*/ 533 h 736"/>
                <a:gd name="T12" fmla="*/ 18 w 644"/>
                <a:gd name="T13" fmla="*/ 564 h 736"/>
                <a:gd name="T14" fmla="*/ 304 w 644"/>
                <a:gd name="T15" fmla="*/ 730 h 736"/>
                <a:gd name="T16" fmla="*/ 340 w 644"/>
                <a:gd name="T17" fmla="*/ 730 h 736"/>
                <a:gd name="T18" fmla="*/ 626 w 644"/>
                <a:gd name="T19" fmla="*/ 564 h 736"/>
                <a:gd name="T20" fmla="*/ 644 w 644"/>
                <a:gd name="T21" fmla="*/ 533 h 736"/>
                <a:gd name="T22" fmla="*/ 644 w 644"/>
                <a:gd name="T23" fmla="*/ 203 h 736"/>
                <a:gd name="T24" fmla="*/ 626 w 644"/>
                <a:gd name="T25" fmla="*/ 1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736">
                  <a:moveTo>
                    <a:pt x="626" y="172"/>
                  </a:moveTo>
                  <a:cubicBezTo>
                    <a:pt x="340" y="6"/>
                    <a:pt x="340" y="6"/>
                    <a:pt x="340" y="6"/>
                  </a:cubicBezTo>
                  <a:cubicBezTo>
                    <a:pt x="329" y="0"/>
                    <a:pt x="315" y="0"/>
                    <a:pt x="304" y="6"/>
                  </a:cubicBezTo>
                  <a:cubicBezTo>
                    <a:pt x="18" y="172"/>
                    <a:pt x="18" y="172"/>
                    <a:pt x="18" y="172"/>
                  </a:cubicBezTo>
                  <a:cubicBezTo>
                    <a:pt x="7" y="178"/>
                    <a:pt x="0" y="190"/>
                    <a:pt x="0" y="203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6"/>
                    <a:pt x="7" y="558"/>
                    <a:pt x="18" y="564"/>
                  </a:cubicBezTo>
                  <a:cubicBezTo>
                    <a:pt x="304" y="730"/>
                    <a:pt x="304" y="730"/>
                    <a:pt x="304" y="730"/>
                  </a:cubicBezTo>
                  <a:cubicBezTo>
                    <a:pt x="315" y="736"/>
                    <a:pt x="329" y="736"/>
                    <a:pt x="340" y="730"/>
                  </a:cubicBezTo>
                  <a:cubicBezTo>
                    <a:pt x="626" y="564"/>
                    <a:pt x="626" y="564"/>
                    <a:pt x="626" y="564"/>
                  </a:cubicBezTo>
                  <a:cubicBezTo>
                    <a:pt x="637" y="558"/>
                    <a:pt x="644" y="546"/>
                    <a:pt x="644" y="533"/>
                  </a:cubicBezTo>
                  <a:cubicBezTo>
                    <a:pt x="644" y="203"/>
                    <a:pt x="644" y="203"/>
                    <a:pt x="644" y="203"/>
                  </a:cubicBezTo>
                  <a:cubicBezTo>
                    <a:pt x="644" y="190"/>
                    <a:pt x="637" y="178"/>
                    <a:pt x="626" y="17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  <p:sp>
          <p:nvSpPr>
            <p:cNvPr id="295" name="Freeform 172">
              <a:extLst>
                <a:ext uri="{FF2B5EF4-FFF2-40B4-BE49-F238E27FC236}">
                  <a16:creationId xmlns:a16="http://schemas.microsoft.com/office/drawing/2014/main" id="{F1CCB08C-4087-4F90-9E6E-E11DA5A7AD09}"/>
                </a:ext>
              </a:extLst>
            </p:cNvPr>
            <p:cNvSpPr/>
            <p:nvPr/>
          </p:nvSpPr>
          <p:spPr>
            <a:xfrm>
              <a:off x="7403726" y="2115749"/>
              <a:ext cx="320105" cy="281838"/>
            </a:xfrm>
            <a:custGeom>
              <a:avLst/>
              <a:gdLst>
                <a:gd name="connsiteX0" fmla="*/ 398255 w 505374"/>
                <a:gd name="connsiteY0" fmla="*/ 230617 h 444961"/>
                <a:gd name="connsiteX1" fmla="*/ 420410 w 505374"/>
                <a:gd name="connsiteY1" fmla="*/ 253223 h 444961"/>
                <a:gd name="connsiteX2" fmla="*/ 420410 w 505374"/>
                <a:gd name="connsiteY2" fmla="*/ 422482 h 444961"/>
                <a:gd name="connsiteX3" fmla="*/ 398027 w 505374"/>
                <a:gd name="connsiteY3" fmla="*/ 444961 h 444961"/>
                <a:gd name="connsiteX4" fmla="*/ 90369 w 505374"/>
                <a:gd name="connsiteY4" fmla="*/ 444961 h 444961"/>
                <a:gd name="connsiteX5" fmla="*/ 67985 w 505374"/>
                <a:gd name="connsiteY5" fmla="*/ 422482 h 444961"/>
                <a:gd name="connsiteX6" fmla="*/ 67985 w 505374"/>
                <a:gd name="connsiteY6" fmla="*/ 253223 h 444961"/>
                <a:gd name="connsiteX7" fmla="*/ 69938 w 505374"/>
                <a:gd name="connsiteY7" fmla="*/ 244031 h 444961"/>
                <a:gd name="connsiteX8" fmla="*/ 99513 w 505374"/>
                <a:gd name="connsiteY8" fmla="*/ 232744 h 444961"/>
                <a:gd name="connsiteX9" fmla="*/ 235054 w 505374"/>
                <a:gd name="connsiteY9" fmla="*/ 293228 h 444961"/>
                <a:gd name="connsiteX10" fmla="*/ 253342 w 505374"/>
                <a:gd name="connsiteY10" fmla="*/ 293228 h 444961"/>
                <a:gd name="connsiteX11" fmla="*/ 388502 w 505374"/>
                <a:gd name="connsiteY11" fmla="*/ 232744 h 444961"/>
                <a:gd name="connsiteX12" fmla="*/ 398255 w 505374"/>
                <a:gd name="connsiteY12" fmla="*/ 230617 h 444961"/>
                <a:gd name="connsiteX13" fmla="*/ 475294 w 505374"/>
                <a:gd name="connsiteY13" fmla="*/ 200147 h 444961"/>
                <a:gd name="connsiteX14" fmla="*/ 495372 w 505374"/>
                <a:gd name="connsiteY14" fmla="*/ 220076 h 444961"/>
                <a:gd name="connsiteX15" fmla="*/ 495372 w 505374"/>
                <a:gd name="connsiteY15" fmla="*/ 334376 h 444961"/>
                <a:gd name="connsiteX16" fmla="*/ 505374 w 505374"/>
                <a:gd name="connsiteY16" fmla="*/ 351521 h 444961"/>
                <a:gd name="connsiteX17" fmla="*/ 505374 w 505374"/>
                <a:gd name="connsiteY17" fmla="*/ 394098 h 444961"/>
                <a:gd name="connsiteX18" fmla="*/ 485371 w 505374"/>
                <a:gd name="connsiteY18" fmla="*/ 414005 h 444961"/>
                <a:gd name="connsiteX19" fmla="*/ 465464 w 505374"/>
                <a:gd name="connsiteY19" fmla="*/ 414005 h 444961"/>
                <a:gd name="connsiteX20" fmla="*/ 445461 w 505374"/>
                <a:gd name="connsiteY20" fmla="*/ 394098 h 444961"/>
                <a:gd name="connsiteX21" fmla="*/ 445461 w 505374"/>
                <a:gd name="connsiteY21" fmla="*/ 351521 h 444961"/>
                <a:gd name="connsiteX22" fmla="*/ 455462 w 505374"/>
                <a:gd name="connsiteY22" fmla="*/ 334376 h 444961"/>
                <a:gd name="connsiteX23" fmla="*/ 455462 w 505374"/>
                <a:gd name="connsiteY23" fmla="*/ 220076 h 444961"/>
                <a:gd name="connsiteX24" fmla="*/ 466226 w 505374"/>
                <a:gd name="connsiteY24" fmla="*/ 202360 h 444961"/>
                <a:gd name="connsiteX25" fmla="*/ 475294 w 505374"/>
                <a:gd name="connsiteY25" fmla="*/ 200147 h 444961"/>
                <a:gd name="connsiteX26" fmla="*/ 233053 w 505374"/>
                <a:gd name="connsiteY26" fmla="*/ 2430 h 444961"/>
                <a:gd name="connsiteX27" fmla="*/ 254580 w 505374"/>
                <a:gd name="connsiteY27" fmla="*/ 2430 h 444961"/>
                <a:gd name="connsiteX28" fmla="*/ 473655 w 505374"/>
                <a:gd name="connsiteY28" fmla="*/ 107777 h 444961"/>
                <a:gd name="connsiteX29" fmla="*/ 485151 w 505374"/>
                <a:gd name="connsiteY29" fmla="*/ 119270 h 444961"/>
                <a:gd name="connsiteX30" fmla="*/ 473655 w 505374"/>
                <a:gd name="connsiteY30" fmla="*/ 152354 h 444961"/>
                <a:gd name="connsiteX31" fmla="*/ 254580 w 505374"/>
                <a:gd name="connsiteY31" fmla="*/ 257700 h 444961"/>
                <a:gd name="connsiteX32" fmla="*/ 233053 w 505374"/>
                <a:gd name="connsiteY32" fmla="*/ 257700 h 444961"/>
                <a:gd name="connsiteX33" fmla="*/ 13978 w 505374"/>
                <a:gd name="connsiteY33" fmla="*/ 152354 h 444961"/>
                <a:gd name="connsiteX34" fmla="*/ 2482 w 505374"/>
                <a:gd name="connsiteY34" fmla="*/ 140860 h 444961"/>
                <a:gd name="connsiteX35" fmla="*/ 13978 w 505374"/>
                <a:gd name="connsiteY35" fmla="*/ 107777 h 444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05374" h="444961">
                  <a:moveTo>
                    <a:pt x="398255" y="230617"/>
                  </a:moveTo>
                  <a:cubicBezTo>
                    <a:pt x="410609" y="230740"/>
                    <a:pt x="420534" y="240861"/>
                    <a:pt x="420410" y="253223"/>
                  </a:cubicBezTo>
                  <a:lnTo>
                    <a:pt x="420410" y="422482"/>
                  </a:lnTo>
                  <a:cubicBezTo>
                    <a:pt x="420410" y="434860"/>
                    <a:pt x="410409" y="444909"/>
                    <a:pt x="398027" y="444961"/>
                  </a:cubicBezTo>
                  <a:lnTo>
                    <a:pt x="90369" y="444961"/>
                  </a:lnTo>
                  <a:cubicBezTo>
                    <a:pt x="77996" y="444909"/>
                    <a:pt x="67985" y="434860"/>
                    <a:pt x="67985" y="422482"/>
                  </a:cubicBezTo>
                  <a:lnTo>
                    <a:pt x="67985" y="253223"/>
                  </a:lnTo>
                  <a:cubicBezTo>
                    <a:pt x="67976" y="250055"/>
                    <a:pt x="68643" y="246922"/>
                    <a:pt x="69938" y="244031"/>
                  </a:cubicBezTo>
                  <a:cubicBezTo>
                    <a:pt x="74987" y="232747"/>
                    <a:pt x="88226" y="227694"/>
                    <a:pt x="99513" y="232744"/>
                  </a:cubicBezTo>
                  <a:lnTo>
                    <a:pt x="235054" y="293228"/>
                  </a:lnTo>
                  <a:cubicBezTo>
                    <a:pt x="240855" y="295894"/>
                    <a:pt x="247541" y="295894"/>
                    <a:pt x="253342" y="293228"/>
                  </a:cubicBezTo>
                  <a:lnTo>
                    <a:pt x="388502" y="232744"/>
                  </a:lnTo>
                  <a:cubicBezTo>
                    <a:pt x="391550" y="231311"/>
                    <a:pt x="394883" y="230584"/>
                    <a:pt x="398255" y="230617"/>
                  </a:cubicBezTo>
                  <a:close/>
                  <a:moveTo>
                    <a:pt x="475294" y="200147"/>
                  </a:moveTo>
                  <a:cubicBezTo>
                    <a:pt x="486342" y="200107"/>
                    <a:pt x="495334" y="209029"/>
                    <a:pt x="495372" y="220076"/>
                  </a:cubicBezTo>
                  <a:lnTo>
                    <a:pt x="495372" y="334376"/>
                  </a:lnTo>
                  <a:cubicBezTo>
                    <a:pt x="501526" y="337903"/>
                    <a:pt x="505326" y="344434"/>
                    <a:pt x="505374" y="351521"/>
                  </a:cubicBezTo>
                  <a:lnTo>
                    <a:pt x="505374" y="394098"/>
                  </a:lnTo>
                  <a:cubicBezTo>
                    <a:pt x="505316" y="405108"/>
                    <a:pt x="496382" y="414005"/>
                    <a:pt x="485371" y="414005"/>
                  </a:cubicBezTo>
                  <a:lnTo>
                    <a:pt x="465464" y="414005"/>
                  </a:lnTo>
                  <a:cubicBezTo>
                    <a:pt x="454453" y="414005"/>
                    <a:pt x="445509" y="405108"/>
                    <a:pt x="445461" y="394098"/>
                  </a:cubicBezTo>
                  <a:lnTo>
                    <a:pt x="445461" y="351521"/>
                  </a:lnTo>
                  <a:cubicBezTo>
                    <a:pt x="445509" y="344434"/>
                    <a:pt x="449309" y="337903"/>
                    <a:pt x="455462" y="334376"/>
                  </a:cubicBezTo>
                  <a:lnTo>
                    <a:pt x="455462" y="220076"/>
                  </a:lnTo>
                  <a:cubicBezTo>
                    <a:pt x="455491" y="212633"/>
                    <a:pt x="459635" y="205816"/>
                    <a:pt x="466226" y="202360"/>
                  </a:cubicBezTo>
                  <a:cubicBezTo>
                    <a:pt x="469036" y="200917"/>
                    <a:pt x="472141" y="200159"/>
                    <a:pt x="475294" y="200147"/>
                  </a:cubicBezTo>
                  <a:close/>
                  <a:moveTo>
                    <a:pt x="233053" y="2430"/>
                  </a:moveTo>
                  <a:cubicBezTo>
                    <a:pt x="239864" y="-810"/>
                    <a:pt x="247769" y="-810"/>
                    <a:pt x="254580" y="2430"/>
                  </a:cubicBezTo>
                  <a:lnTo>
                    <a:pt x="473655" y="107777"/>
                  </a:lnTo>
                  <a:cubicBezTo>
                    <a:pt x="478665" y="110206"/>
                    <a:pt x="482722" y="114255"/>
                    <a:pt x="485151" y="119270"/>
                  </a:cubicBezTo>
                  <a:cubicBezTo>
                    <a:pt x="491114" y="131580"/>
                    <a:pt x="485961" y="146392"/>
                    <a:pt x="473655" y="152354"/>
                  </a:cubicBezTo>
                  <a:lnTo>
                    <a:pt x="254580" y="257700"/>
                  </a:lnTo>
                  <a:cubicBezTo>
                    <a:pt x="247788" y="261039"/>
                    <a:pt x="239845" y="261039"/>
                    <a:pt x="233053" y="257700"/>
                  </a:cubicBezTo>
                  <a:lnTo>
                    <a:pt x="13978" y="152354"/>
                  </a:lnTo>
                  <a:cubicBezTo>
                    <a:pt x="8968" y="149925"/>
                    <a:pt x="4911" y="145875"/>
                    <a:pt x="2482" y="140860"/>
                  </a:cubicBezTo>
                  <a:cubicBezTo>
                    <a:pt x="-3481" y="128550"/>
                    <a:pt x="1672" y="113738"/>
                    <a:pt x="13978" y="107777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62" name="@稿定PPT实验室 出品-13-1">
            <a:extLst>
              <a:ext uri="{FF2B5EF4-FFF2-40B4-BE49-F238E27FC236}">
                <a16:creationId xmlns:a16="http://schemas.microsoft.com/office/drawing/2014/main" id="{BDDAFD50-E6A8-4139-9ECD-F1B69A1287D0}"/>
              </a:ext>
            </a:extLst>
          </p:cNvPr>
          <p:cNvSpPr txBox="1">
            <a:spLocks/>
          </p:cNvSpPr>
          <p:nvPr/>
        </p:nvSpPr>
        <p:spPr>
          <a:xfrm>
            <a:off x="740295" y="3502194"/>
            <a:ext cx="98901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600" b="1">
                <a:ln>
                  <a:gradFill flip="none" rotWithShape="1">
                    <a:gsLst>
                      <a:gs pos="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alpha val="50000"/>
                        </a:schemeClr>
                      </a:gs>
                    </a:gsLst>
                    <a:lin ang="16200000" scaled="1"/>
                    <a:tileRect/>
                  </a:gradFill>
                </a:ln>
                <a:solidFill>
                  <a:schemeClr val="bg1">
                    <a:alpha val="1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0" b="1" i="0" u="none" strike="noStrike" kern="1200" cap="none" spc="0" normalizeH="0" baseline="0" noProof="0" dirty="0">
                <a:ln>
                  <a:gradFill flip="none" rotWithShape="1">
                    <a:gsLst>
                      <a:gs pos="0">
                        <a:srgbClr val="2254F4">
                          <a:alpha val="10000"/>
                        </a:srgbClr>
                      </a:gs>
                      <a:gs pos="100000">
                        <a:srgbClr val="795FE5">
                          <a:alpha val="15000"/>
                        </a:srgbClr>
                      </a:gs>
                    </a:gsLst>
                    <a:lin ang="10800000" scaled="1"/>
                    <a:tileRect/>
                  </a:gradFill>
                </a:ln>
                <a:gradFill>
                  <a:gsLst>
                    <a:gs pos="0">
                      <a:srgbClr val="2254F4">
                        <a:alpha val="20000"/>
                      </a:srgbClr>
                    </a:gs>
                    <a:gs pos="100000">
                      <a:srgbClr val="795FE5">
                        <a:alpha val="0"/>
                      </a:srgbClr>
                    </a:gs>
                  </a:gsLst>
                  <a:lin ang="10800000" scaled="1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156017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组合 19">
            <a:extLst>
              <a:ext uri="{FF2B5EF4-FFF2-40B4-BE49-F238E27FC236}">
                <a16:creationId xmlns:a16="http://schemas.microsoft.com/office/drawing/2014/main" id="{6379ED77-7C2B-4E36-9B3E-B560FCA2F4F9}"/>
              </a:ext>
            </a:extLst>
          </p:cNvPr>
          <p:cNvGrpSpPr/>
          <p:nvPr/>
        </p:nvGrpSpPr>
        <p:grpSpPr>
          <a:xfrm>
            <a:off x="-19089" y="0"/>
            <a:ext cx="12201525" cy="6858000"/>
            <a:chOff x="-9525" y="0"/>
            <a:chExt cx="12201525" cy="6858000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2BCED375-CA91-4EA3-A915-44CA39D8A0E0}"/>
                </a:ext>
              </a:extLst>
            </p:cNvPr>
            <p:cNvSpPr/>
            <p:nvPr/>
          </p:nvSpPr>
          <p:spPr>
            <a:xfrm>
              <a:off x="-9525" y="0"/>
              <a:ext cx="12201525" cy="6858000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pic>
          <p:nvPicPr>
            <p:cNvPr id="22" name="图片 21">
              <a:extLst>
                <a:ext uri="{FF2B5EF4-FFF2-40B4-BE49-F238E27FC236}">
                  <a16:creationId xmlns:a16="http://schemas.microsoft.com/office/drawing/2014/main" id="{8C6337D4-4220-4220-9754-0863181CA9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 amt="1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807" y="0"/>
              <a:ext cx="10990385" cy="6858000"/>
            </a:xfrm>
            <a:prstGeom prst="rect">
              <a:avLst/>
            </a:prstGeom>
          </p:spPr>
        </p:pic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5FF3CD05-4F42-4E44-A762-48A4E43EAB1B}"/>
              </a:ext>
            </a:extLst>
          </p:cNvPr>
          <p:cNvGrpSpPr/>
          <p:nvPr/>
        </p:nvGrpSpPr>
        <p:grpSpPr>
          <a:xfrm>
            <a:off x="4980929" y="2109986"/>
            <a:ext cx="2230142" cy="2224374"/>
            <a:chOff x="5036160" y="2109986"/>
            <a:chExt cx="2230142" cy="2224374"/>
          </a:xfrm>
        </p:grpSpPr>
        <p:sp>
          <p:nvSpPr>
            <p:cNvPr id="29" name="椭圆 28">
              <a:extLst>
                <a:ext uri="{FF2B5EF4-FFF2-40B4-BE49-F238E27FC236}">
                  <a16:creationId xmlns:a16="http://schemas.microsoft.com/office/drawing/2014/main" id="{0C664CD7-A3AD-4A50-91DF-608300562F91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71B02627-8D09-4F0C-BE57-01C67C98AF2E}"/>
                </a:ext>
              </a:extLst>
            </p:cNvPr>
            <p:cNvSpPr/>
            <p:nvPr/>
          </p:nvSpPr>
          <p:spPr>
            <a:xfrm rot="16200000">
              <a:off x="5040593" y="2109993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chemeClr val="accent1">
                    <a:lumMod val="54000"/>
                    <a:lumOff val="46000"/>
                    <a:alpha val="0"/>
                  </a:schemeClr>
                </a:gs>
                <a:gs pos="100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656AB14D-52A3-4D16-AF35-2A6CD9362493}"/>
                </a:ext>
              </a:extLst>
            </p:cNvPr>
            <p:cNvSpPr/>
            <p:nvPr/>
          </p:nvSpPr>
          <p:spPr>
            <a:xfrm rot="15726438">
              <a:off x="5036159" y="2120169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chemeClr val="accent1">
                    <a:alpha val="0"/>
                    <a:lumMod val="85000"/>
                    <a:lumOff val="15000"/>
                  </a:scheme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BC2BC521-9CE7-4961-B7B1-D4A3E7EB9802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chemeClr val="accent1">
                    <a:alpha val="0"/>
                    <a:lumMod val="85000"/>
                    <a:lumOff val="15000"/>
                  </a:scheme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4" name="Freeform 172">
              <a:extLst>
                <a:ext uri="{FF2B5EF4-FFF2-40B4-BE49-F238E27FC236}">
                  <a16:creationId xmlns:a16="http://schemas.microsoft.com/office/drawing/2014/main" id="{3E3D7F6D-328B-420A-9917-4BF5D2E5B730}"/>
                </a:ext>
              </a:extLst>
            </p:cNvPr>
            <p:cNvSpPr/>
            <p:nvPr/>
          </p:nvSpPr>
          <p:spPr>
            <a:xfrm>
              <a:off x="5739978" y="2826261"/>
              <a:ext cx="822506" cy="791818"/>
            </a:xfrm>
            <a:custGeom>
              <a:avLst/>
              <a:gdLst>
                <a:gd name="connsiteX0" fmla="*/ 194024 w 465677"/>
                <a:gd name="connsiteY0" fmla="*/ 157258 h 448304"/>
                <a:gd name="connsiteX1" fmla="*/ 196023 w 465677"/>
                <a:gd name="connsiteY1" fmla="*/ 157258 h 448304"/>
                <a:gd name="connsiteX2" fmla="*/ 238410 w 465677"/>
                <a:gd name="connsiteY2" fmla="*/ 198691 h 448304"/>
                <a:gd name="connsiteX3" fmla="*/ 238410 w 465677"/>
                <a:gd name="connsiteY3" fmla="*/ 198791 h 448304"/>
                <a:gd name="connsiteX4" fmla="*/ 196023 w 465677"/>
                <a:gd name="connsiteY4" fmla="*/ 240220 h 448304"/>
                <a:gd name="connsiteX5" fmla="*/ 194024 w 465677"/>
                <a:gd name="connsiteY5" fmla="*/ 240220 h 448304"/>
                <a:gd name="connsiteX6" fmla="*/ 151733 w 465677"/>
                <a:gd name="connsiteY6" fmla="*/ 198691 h 448304"/>
                <a:gd name="connsiteX7" fmla="*/ 194024 w 465677"/>
                <a:gd name="connsiteY7" fmla="*/ 157258 h 448304"/>
                <a:gd name="connsiteX8" fmla="*/ 195263 w 465677"/>
                <a:gd name="connsiteY8" fmla="*/ 123824 h 448304"/>
                <a:gd name="connsiteX9" fmla="*/ 179737 w 465677"/>
                <a:gd name="connsiteY9" fmla="*/ 125062 h 448304"/>
                <a:gd name="connsiteX10" fmla="*/ 119729 w 465677"/>
                <a:gd name="connsiteY10" fmla="*/ 179831 h 448304"/>
                <a:gd name="connsiteX11" fmla="*/ 151734 w 465677"/>
                <a:gd name="connsiteY11" fmla="*/ 261937 h 448304"/>
                <a:gd name="connsiteX12" fmla="*/ 88488 w 465677"/>
                <a:gd name="connsiteY12" fmla="*/ 309562 h 448304"/>
                <a:gd name="connsiteX13" fmla="*/ 86582 w 465677"/>
                <a:gd name="connsiteY13" fmla="*/ 313303 h 448304"/>
                <a:gd name="connsiteX14" fmla="*/ 96107 w 465677"/>
                <a:gd name="connsiteY14" fmla="*/ 333374 h 448304"/>
                <a:gd name="connsiteX15" fmla="*/ 98298 w 465677"/>
                <a:gd name="connsiteY15" fmla="*/ 334231 h 448304"/>
                <a:gd name="connsiteX16" fmla="*/ 117348 w 465677"/>
                <a:gd name="connsiteY16" fmla="*/ 328135 h 448304"/>
                <a:gd name="connsiteX17" fmla="*/ 195167 w 465677"/>
                <a:gd name="connsiteY17" fmla="*/ 288892 h 448304"/>
                <a:gd name="connsiteX18" fmla="*/ 272987 w 465677"/>
                <a:gd name="connsiteY18" fmla="*/ 328135 h 448304"/>
                <a:gd name="connsiteX19" fmla="*/ 292037 w 465677"/>
                <a:gd name="connsiteY19" fmla="*/ 334231 h 448304"/>
                <a:gd name="connsiteX20" fmla="*/ 294228 w 465677"/>
                <a:gd name="connsiteY20" fmla="*/ 333374 h 448304"/>
                <a:gd name="connsiteX21" fmla="*/ 298038 w 465677"/>
                <a:gd name="connsiteY21" fmla="*/ 331430 h 448304"/>
                <a:gd name="connsiteX22" fmla="*/ 302038 w 465677"/>
                <a:gd name="connsiteY22" fmla="*/ 309562 h 448304"/>
                <a:gd name="connsiteX23" fmla="*/ 238791 w 465677"/>
                <a:gd name="connsiteY23" fmla="*/ 261937 h 448304"/>
                <a:gd name="connsiteX24" fmla="*/ 270796 w 465677"/>
                <a:gd name="connsiteY24" fmla="*/ 179831 h 448304"/>
                <a:gd name="connsiteX25" fmla="*/ 210788 w 465677"/>
                <a:gd name="connsiteY25" fmla="*/ 125062 h 448304"/>
                <a:gd name="connsiteX26" fmla="*/ 195263 w 465677"/>
                <a:gd name="connsiteY26" fmla="*/ 123824 h 448304"/>
                <a:gd name="connsiteX27" fmla="*/ 369285 w 465677"/>
                <a:gd name="connsiteY27" fmla="*/ 69717 h 448304"/>
                <a:gd name="connsiteX28" fmla="*/ 392811 w 465677"/>
                <a:gd name="connsiteY28" fmla="*/ 92677 h 448304"/>
                <a:gd name="connsiteX29" fmla="*/ 392811 w 465677"/>
                <a:gd name="connsiteY29" fmla="*/ 370903 h 448304"/>
                <a:gd name="connsiteX30" fmla="*/ 392811 w 465677"/>
                <a:gd name="connsiteY30" fmla="*/ 370906 h 448304"/>
                <a:gd name="connsiteX31" fmla="*/ 369380 w 465677"/>
                <a:gd name="connsiteY31" fmla="*/ 393763 h 448304"/>
                <a:gd name="connsiteX32" fmla="*/ 277559 w 465677"/>
                <a:gd name="connsiteY32" fmla="*/ 393763 h 448304"/>
                <a:gd name="connsiteX33" fmla="*/ 261461 w 465677"/>
                <a:gd name="connsiteY33" fmla="*/ 400049 h 448304"/>
                <a:gd name="connsiteX34" fmla="*/ 216217 w 465677"/>
                <a:gd name="connsiteY34" fmla="*/ 442054 h 448304"/>
                <a:gd name="connsiteX35" fmla="*/ 183356 w 465677"/>
                <a:gd name="connsiteY35" fmla="*/ 441388 h 448304"/>
                <a:gd name="connsiteX36" fmla="*/ 142684 w 465677"/>
                <a:gd name="connsiteY36" fmla="*/ 400621 h 448304"/>
                <a:gd name="connsiteX37" fmla="*/ 125920 w 465677"/>
                <a:gd name="connsiteY37" fmla="*/ 393763 h 448304"/>
                <a:gd name="connsiteX38" fmla="*/ 23336 w 465677"/>
                <a:gd name="connsiteY38" fmla="*/ 393763 h 448304"/>
                <a:gd name="connsiteX39" fmla="*/ 0 w 465677"/>
                <a:gd name="connsiteY39" fmla="*/ 370903 h 448304"/>
                <a:gd name="connsiteX40" fmla="*/ 0 w 465677"/>
                <a:gd name="connsiteY40" fmla="*/ 92677 h 448304"/>
                <a:gd name="connsiteX41" fmla="*/ 22956 w 465677"/>
                <a:gd name="connsiteY41" fmla="*/ 69722 h 448304"/>
                <a:gd name="connsiteX42" fmla="*/ 368999 w 465677"/>
                <a:gd name="connsiteY42" fmla="*/ 69722 h 448304"/>
                <a:gd name="connsiteX43" fmla="*/ 369285 w 465677"/>
                <a:gd name="connsiteY43" fmla="*/ 69717 h 448304"/>
                <a:gd name="connsiteX44" fmla="*/ 123825 w 465677"/>
                <a:gd name="connsiteY44" fmla="*/ 0 h 448304"/>
                <a:gd name="connsiteX45" fmla="*/ 445484 w 465677"/>
                <a:gd name="connsiteY45" fmla="*/ 0 h 448304"/>
                <a:gd name="connsiteX46" fmla="*/ 465677 w 465677"/>
                <a:gd name="connsiteY46" fmla="*/ 19810 h 448304"/>
                <a:gd name="connsiteX47" fmla="*/ 465677 w 465677"/>
                <a:gd name="connsiteY47" fmla="*/ 19812 h 448304"/>
                <a:gd name="connsiteX48" fmla="*/ 465677 w 465677"/>
                <a:gd name="connsiteY48" fmla="*/ 307753 h 448304"/>
                <a:gd name="connsiteX49" fmla="*/ 445866 w 465677"/>
                <a:gd name="connsiteY49" fmla="*/ 327565 h 448304"/>
                <a:gd name="connsiteX50" fmla="*/ 411384 w 465677"/>
                <a:gd name="connsiteY50" fmla="*/ 327565 h 448304"/>
                <a:gd name="connsiteX51" fmla="*/ 411384 w 465677"/>
                <a:gd name="connsiteY51" fmla="*/ 288512 h 448304"/>
                <a:gd name="connsiteX52" fmla="*/ 426244 w 465677"/>
                <a:gd name="connsiteY52" fmla="*/ 274037 h 448304"/>
                <a:gd name="connsiteX53" fmla="*/ 426244 w 465677"/>
                <a:gd name="connsiteY53" fmla="*/ 274034 h 448304"/>
                <a:gd name="connsiteX54" fmla="*/ 426244 w 465677"/>
                <a:gd name="connsiteY54" fmla="*/ 53626 h 448304"/>
                <a:gd name="connsiteX55" fmla="*/ 411479 w 465677"/>
                <a:gd name="connsiteY55" fmla="*/ 39051 h 448304"/>
                <a:gd name="connsiteX56" fmla="*/ 411384 w 465677"/>
                <a:gd name="connsiteY56" fmla="*/ 39052 h 448304"/>
                <a:gd name="connsiteX57" fmla="*/ 158782 w 465677"/>
                <a:gd name="connsiteY57" fmla="*/ 39052 h 448304"/>
                <a:gd name="connsiteX58" fmla="*/ 143922 w 465677"/>
                <a:gd name="connsiteY58" fmla="*/ 53529 h 448304"/>
                <a:gd name="connsiteX59" fmla="*/ 143922 w 465677"/>
                <a:gd name="connsiteY59" fmla="*/ 53626 h 448304"/>
                <a:gd name="connsiteX60" fmla="*/ 143922 w 465677"/>
                <a:gd name="connsiteY60" fmla="*/ 58007 h 448304"/>
                <a:gd name="connsiteX61" fmla="*/ 104013 w 465677"/>
                <a:gd name="connsiteY61" fmla="*/ 58007 h 448304"/>
                <a:gd name="connsiteX62" fmla="*/ 104013 w 465677"/>
                <a:gd name="connsiteY62" fmla="*/ 19907 h 448304"/>
                <a:gd name="connsiteX63" fmla="*/ 123825 w 465677"/>
                <a:gd name="connsiteY63" fmla="*/ 0 h 448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65677" h="448304">
                  <a:moveTo>
                    <a:pt x="194024" y="157258"/>
                  </a:moveTo>
                  <a:lnTo>
                    <a:pt x="196023" y="157258"/>
                  </a:lnTo>
                  <a:cubicBezTo>
                    <a:pt x="219170" y="156996"/>
                    <a:pt x="238124" y="175547"/>
                    <a:pt x="238410" y="198691"/>
                  </a:cubicBezTo>
                  <a:cubicBezTo>
                    <a:pt x="238410" y="198725"/>
                    <a:pt x="238410" y="198758"/>
                    <a:pt x="238410" y="198791"/>
                  </a:cubicBezTo>
                  <a:cubicBezTo>
                    <a:pt x="238124" y="221936"/>
                    <a:pt x="219170" y="240484"/>
                    <a:pt x="196023" y="240220"/>
                  </a:cubicBezTo>
                  <a:lnTo>
                    <a:pt x="194024" y="240220"/>
                  </a:lnTo>
                  <a:cubicBezTo>
                    <a:pt x="170877" y="240430"/>
                    <a:pt x="151923" y="221837"/>
                    <a:pt x="151733" y="198691"/>
                  </a:cubicBezTo>
                  <a:cubicBezTo>
                    <a:pt x="152018" y="175582"/>
                    <a:pt x="170877" y="157046"/>
                    <a:pt x="194024" y="157258"/>
                  </a:cubicBezTo>
                  <a:close/>
                  <a:moveTo>
                    <a:pt x="195263" y="123824"/>
                  </a:moveTo>
                  <a:cubicBezTo>
                    <a:pt x="190023" y="123723"/>
                    <a:pt x="184881" y="124138"/>
                    <a:pt x="179737" y="125062"/>
                  </a:cubicBezTo>
                  <a:cubicBezTo>
                    <a:pt x="150685" y="129889"/>
                    <a:pt x="127159" y="151339"/>
                    <a:pt x="119729" y="179831"/>
                  </a:cubicBezTo>
                  <a:cubicBezTo>
                    <a:pt x="111442" y="211245"/>
                    <a:pt x="124397" y="244410"/>
                    <a:pt x="151734" y="261937"/>
                  </a:cubicBezTo>
                  <a:cubicBezTo>
                    <a:pt x="126111" y="270647"/>
                    <a:pt x="103918" y="287337"/>
                    <a:pt x="88488" y="309562"/>
                  </a:cubicBezTo>
                  <a:cubicBezTo>
                    <a:pt x="87725" y="310717"/>
                    <a:pt x="87059" y="311975"/>
                    <a:pt x="86582" y="313303"/>
                  </a:cubicBezTo>
                  <a:cubicBezTo>
                    <a:pt x="83630" y="321482"/>
                    <a:pt x="87916" y="330468"/>
                    <a:pt x="96107" y="333374"/>
                  </a:cubicBezTo>
                  <a:lnTo>
                    <a:pt x="98298" y="334231"/>
                  </a:lnTo>
                  <a:cubicBezTo>
                    <a:pt x="105252" y="336658"/>
                    <a:pt x="113062" y="334175"/>
                    <a:pt x="117348" y="328135"/>
                  </a:cubicBezTo>
                  <a:cubicBezTo>
                    <a:pt x="135255" y="303068"/>
                    <a:pt x="164402" y="288401"/>
                    <a:pt x="195167" y="288892"/>
                  </a:cubicBezTo>
                  <a:cubicBezTo>
                    <a:pt x="225933" y="288401"/>
                    <a:pt x="255080" y="303068"/>
                    <a:pt x="272987" y="328135"/>
                  </a:cubicBezTo>
                  <a:cubicBezTo>
                    <a:pt x="277273" y="334175"/>
                    <a:pt x="285084" y="336658"/>
                    <a:pt x="292037" y="334231"/>
                  </a:cubicBezTo>
                  <a:lnTo>
                    <a:pt x="294228" y="333374"/>
                  </a:lnTo>
                  <a:cubicBezTo>
                    <a:pt x="295561" y="332906"/>
                    <a:pt x="296895" y="332251"/>
                    <a:pt x="298038" y="331430"/>
                  </a:cubicBezTo>
                  <a:cubicBezTo>
                    <a:pt x="305182" y="326488"/>
                    <a:pt x="306991" y="316697"/>
                    <a:pt x="302038" y="309562"/>
                  </a:cubicBezTo>
                  <a:cubicBezTo>
                    <a:pt x="286607" y="287337"/>
                    <a:pt x="264414" y="270647"/>
                    <a:pt x="238791" y="261937"/>
                  </a:cubicBezTo>
                  <a:cubicBezTo>
                    <a:pt x="266128" y="244410"/>
                    <a:pt x="279083" y="211245"/>
                    <a:pt x="270796" y="179831"/>
                  </a:cubicBezTo>
                  <a:cubicBezTo>
                    <a:pt x="263367" y="151339"/>
                    <a:pt x="239840" y="129889"/>
                    <a:pt x="210788" y="125062"/>
                  </a:cubicBezTo>
                  <a:cubicBezTo>
                    <a:pt x="205645" y="124138"/>
                    <a:pt x="200502" y="123723"/>
                    <a:pt x="195263" y="123824"/>
                  </a:cubicBezTo>
                  <a:close/>
                  <a:moveTo>
                    <a:pt x="369285" y="69717"/>
                  </a:moveTo>
                  <a:cubicBezTo>
                    <a:pt x="382143" y="69563"/>
                    <a:pt x="392620" y="79843"/>
                    <a:pt x="392811" y="92677"/>
                  </a:cubicBezTo>
                  <a:lnTo>
                    <a:pt x="392811" y="370903"/>
                  </a:lnTo>
                  <a:cubicBezTo>
                    <a:pt x="392811" y="370904"/>
                    <a:pt x="392811" y="370905"/>
                    <a:pt x="392811" y="370906"/>
                  </a:cubicBezTo>
                  <a:cubicBezTo>
                    <a:pt x="392620" y="383688"/>
                    <a:pt x="382143" y="393922"/>
                    <a:pt x="369380" y="393763"/>
                  </a:cubicBezTo>
                  <a:lnTo>
                    <a:pt x="277559" y="393763"/>
                  </a:lnTo>
                  <a:cubicBezTo>
                    <a:pt x="271558" y="393778"/>
                    <a:pt x="265843" y="396020"/>
                    <a:pt x="261461" y="400049"/>
                  </a:cubicBezTo>
                  <a:lnTo>
                    <a:pt x="216217" y="442054"/>
                  </a:lnTo>
                  <a:cubicBezTo>
                    <a:pt x="206883" y="450639"/>
                    <a:pt x="192405" y="450346"/>
                    <a:pt x="183356" y="441388"/>
                  </a:cubicBezTo>
                  <a:lnTo>
                    <a:pt x="142684" y="400621"/>
                  </a:lnTo>
                  <a:cubicBezTo>
                    <a:pt x="138208" y="396215"/>
                    <a:pt x="132207" y="393751"/>
                    <a:pt x="125920" y="393763"/>
                  </a:cubicBezTo>
                  <a:lnTo>
                    <a:pt x="23336" y="393763"/>
                  </a:lnTo>
                  <a:cubicBezTo>
                    <a:pt x="10573" y="393868"/>
                    <a:pt x="191" y="383648"/>
                    <a:pt x="0" y="370903"/>
                  </a:cubicBezTo>
                  <a:lnTo>
                    <a:pt x="0" y="92677"/>
                  </a:lnTo>
                  <a:cubicBezTo>
                    <a:pt x="96" y="80043"/>
                    <a:pt x="10287" y="69826"/>
                    <a:pt x="22956" y="69722"/>
                  </a:cubicBezTo>
                  <a:lnTo>
                    <a:pt x="368999" y="69722"/>
                  </a:lnTo>
                  <a:cubicBezTo>
                    <a:pt x="369094" y="69720"/>
                    <a:pt x="369189" y="69718"/>
                    <a:pt x="369285" y="69717"/>
                  </a:cubicBezTo>
                  <a:close/>
                  <a:moveTo>
                    <a:pt x="123825" y="0"/>
                  </a:moveTo>
                  <a:lnTo>
                    <a:pt x="445484" y="0"/>
                  </a:lnTo>
                  <a:cubicBezTo>
                    <a:pt x="456534" y="-106"/>
                    <a:pt x="465582" y="8764"/>
                    <a:pt x="465677" y="19810"/>
                  </a:cubicBezTo>
                  <a:cubicBezTo>
                    <a:pt x="465677" y="19811"/>
                    <a:pt x="465677" y="19811"/>
                    <a:pt x="465677" y="19812"/>
                  </a:cubicBezTo>
                  <a:lnTo>
                    <a:pt x="465677" y="307753"/>
                  </a:lnTo>
                  <a:cubicBezTo>
                    <a:pt x="465582" y="318651"/>
                    <a:pt x="456723" y="327462"/>
                    <a:pt x="445866" y="327565"/>
                  </a:cubicBezTo>
                  <a:lnTo>
                    <a:pt x="411384" y="327565"/>
                  </a:lnTo>
                  <a:lnTo>
                    <a:pt x="411384" y="288512"/>
                  </a:lnTo>
                  <a:cubicBezTo>
                    <a:pt x="419481" y="288618"/>
                    <a:pt x="426148" y="282137"/>
                    <a:pt x="426244" y="274037"/>
                  </a:cubicBezTo>
                  <a:cubicBezTo>
                    <a:pt x="426244" y="274036"/>
                    <a:pt x="426244" y="274035"/>
                    <a:pt x="426244" y="274034"/>
                  </a:cubicBezTo>
                  <a:lnTo>
                    <a:pt x="426244" y="53626"/>
                  </a:lnTo>
                  <a:cubicBezTo>
                    <a:pt x="426148" y="45525"/>
                    <a:pt x="419576" y="39000"/>
                    <a:pt x="411479" y="39051"/>
                  </a:cubicBezTo>
                  <a:cubicBezTo>
                    <a:pt x="411479" y="39052"/>
                    <a:pt x="411384" y="39052"/>
                    <a:pt x="411384" y="39052"/>
                  </a:cubicBezTo>
                  <a:lnTo>
                    <a:pt x="158782" y="39052"/>
                  </a:lnTo>
                  <a:cubicBezTo>
                    <a:pt x="150685" y="38947"/>
                    <a:pt x="144018" y="45428"/>
                    <a:pt x="143922" y="53529"/>
                  </a:cubicBezTo>
                  <a:cubicBezTo>
                    <a:pt x="143922" y="53561"/>
                    <a:pt x="143922" y="53593"/>
                    <a:pt x="143922" y="53626"/>
                  </a:cubicBezTo>
                  <a:lnTo>
                    <a:pt x="143922" y="58007"/>
                  </a:lnTo>
                  <a:lnTo>
                    <a:pt x="104013" y="58007"/>
                  </a:lnTo>
                  <a:lnTo>
                    <a:pt x="104013" y="19907"/>
                  </a:lnTo>
                  <a:cubicBezTo>
                    <a:pt x="104109" y="8971"/>
                    <a:pt x="112871" y="104"/>
                    <a:pt x="123825" y="0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sp>
        <p:nvSpPr>
          <p:cNvPr id="43" name="Freeform 6">
            <a:extLst>
              <a:ext uri="{FF2B5EF4-FFF2-40B4-BE49-F238E27FC236}">
                <a16:creationId xmlns:a16="http://schemas.microsoft.com/office/drawing/2014/main" id="{387268FB-B4BC-4419-A4AA-AFF53B6F5B49}"/>
              </a:ext>
            </a:extLst>
          </p:cNvPr>
          <p:cNvSpPr>
            <a:spLocks/>
          </p:cNvSpPr>
          <p:nvPr/>
        </p:nvSpPr>
        <p:spPr bwMode="auto">
          <a:xfrm>
            <a:off x="3282427" y="2482849"/>
            <a:ext cx="5627146" cy="1568451"/>
          </a:xfrm>
          <a:custGeom>
            <a:avLst/>
            <a:gdLst>
              <a:gd name="T0" fmla="*/ 1120 w 1757"/>
              <a:gd name="T1" fmla="*/ 2 h 540"/>
              <a:gd name="T2" fmla="*/ 1757 w 1757"/>
              <a:gd name="T3" fmla="*/ 266 h 540"/>
              <a:gd name="T4" fmla="*/ 878 w 1757"/>
              <a:gd name="T5" fmla="*/ 540 h 540"/>
              <a:gd name="T6" fmla="*/ 0 w 1757"/>
              <a:gd name="T7" fmla="*/ 266 h 540"/>
              <a:gd name="T8" fmla="*/ 0 w 1757"/>
              <a:gd name="T9" fmla="*/ 266 h 540"/>
              <a:gd name="T10" fmla="*/ 664 w 1757"/>
              <a:gd name="T11" fmla="*/ 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57" h="540">
                <a:moveTo>
                  <a:pt x="1120" y="2"/>
                </a:moveTo>
                <a:cubicBezTo>
                  <a:pt x="1488" y="35"/>
                  <a:pt x="1757" y="140"/>
                  <a:pt x="1757" y="266"/>
                </a:cubicBezTo>
                <a:cubicBezTo>
                  <a:pt x="1757" y="417"/>
                  <a:pt x="1363" y="540"/>
                  <a:pt x="878" y="540"/>
                </a:cubicBezTo>
                <a:cubicBezTo>
                  <a:pt x="393" y="540"/>
                  <a:pt x="0" y="417"/>
                  <a:pt x="0" y="266"/>
                </a:cubicBezTo>
                <a:cubicBezTo>
                  <a:pt x="0" y="266"/>
                  <a:pt x="0" y="266"/>
                  <a:pt x="0" y="266"/>
                </a:cubicBezTo>
                <a:cubicBezTo>
                  <a:pt x="0" y="137"/>
                  <a:pt x="282" y="29"/>
                  <a:pt x="664" y="0"/>
                </a:cubicBezTo>
              </a:path>
            </a:pathLst>
          </a:custGeom>
          <a:noFill/>
          <a:ln w="15875" cap="rnd">
            <a:gradFill flip="none" rotWithShape="1"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44" name="Freeform 7">
            <a:extLst>
              <a:ext uri="{FF2B5EF4-FFF2-40B4-BE49-F238E27FC236}">
                <a16:creationId xmlns:a16="http://schemas.microsoft.com/office/drawing/2014/main" id="{123C9BF0-8CFB-42E8-A2BD-B22464E015A0}"/>
              </a:ext>
            </a:extLst>
          </p:cNvPr>
          <p:cNvSpPr>
            <a:spLocks/>
          </p:cNvSpPr>
          <p:nvPr/>
        </p:nvSpPr>
        <p:spPr bwMode="auto">
          <a:xfrm>
            <a:off x="4608643" y="2991954"/>
            <a:ext cx="2974714" cy="618472"/>
          </a:xfrm>
          <a:custGeom>
            <a:avLst/>
            <a:gdLst>
              <a:gd name="T0" fmla="*/ 819 w 929"/>
              <a:gd name="T1" fmla="*/ 7 h 192"/>
              <a:gd name="T2" fmla="*/ 929 w 929"/>
              <a:gd name="T3" fmla="*/ 79 h 192"/>
              <a:gd name="T4" fmla="*/ 464 w 929"/>
              <a:gd name="T5" fmla="*/ 192 h 192"/>
              <a:gd name="T6" fmla="*/ 0 w 929"/>
              <a:gd name="T7" fmla="*/ 79 h 192"/>
              <a:gd name="T8" fmla="*/ 0 w 929"/>
              <a:gd name="T9" fmla="*/ 79 h 192"/>
              <a:gd name="T10" fmla="*/ 136 w 929"/>
              <a:gd name="T11" fmla="*/ 0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29" h="192">
                <a:moveTo>
                  <a:pt x="819" y="7"/>
                </a:moveTo>
                <a:cubicBezTo>
                  <a:pt x="888" y="26"/>
                  <a:pt x="929" y="52"/>
                  <a:pt x="929" y="79"/>
                </a:cubicBezTo>
                <a:cubicBezTo>
                  <a:pt x="929" y="142"/>
                  <a:pt x="721" y="192"/>
                  <a:pt x="464" y="192"/>
                </a:cubicBezTo>
                <a:cubicBezTo>
                  <a:pt x="208" y="192"/>
                  <a:pt x="0" y="142"/>
                  <a:pt x="0" y="7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48"/>
                  <a:pt x="52" y="20"/>
                  <a:pt x="136" y="0"/>
                </a:cubicBezTo>
              </a:path>
            </a:pathLst>
          </a:custGeom>
          <a:noFill/>
          <a:ln w="15875" cap="rnd">
            <a:gradFill flip="none" rotWithShape="1"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28" name="@稿定PPT实验室 出品-13-2">
            <a:extLst>
              <a:ext uri="{FF2B5EF4-FFF2-40B4-BE49-F238E27FC236}">
                <a16:creationId xmlns:a16="http://schemas.microsoft.com/office/drawing/2014/main" id="{277B6898-FAC8-4464-A650-785979A403F3}"/>
              </a:ext>
            </a:extLst>
          </p:cNvPr>
          <p:cNvSpPr txBox="1">
            <a:spLocks/>
          </p:cNvSpPr>
          <p:nvPr/>
        </p:nvSpPr>
        <p:spPr>
          <a:xfrm>
            <a:off x="2715032" y="4981389"/>
            <a:ext cx="2109772" cy="5133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设计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PPT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拥有千余款模板线上到插件同步上新，覆盖商务、教育、金融等多用途场景</a:t>
            </a:r>
          </a:p>
        </p:txBody>
      </p:sp>
      <p:sp>
        <p:nvSpPr>
          <p:cNvPr id="30" name="@稿定PPT实验室 出品-13-1">
            <a:extLst>
              <a:ext uri="{FF2B5EF4-FFF2-40B4-BE49-F238E27FC236}">
                <a16:creationId xmlns:a16="http://schemas.microsoft.com/office/drawing/2014/main" id="{EDA13785-1F1D-4FFF-A2E6-40D00DBAFC27}"/>
              </a:ext>
            </a:extLst>
          </p:cNvPr>
          <p:cNvSpPr txBox="1">
            <a:spLocks/>
          </p:cNvSpPr>
          <p:nvPr/>
        </p:nvSpPr>
        <p:spPr>
          <a:xfrm>
            <a:off x="2715032" y="4394577"/>
            <a:ext cx="210977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更快更轻松</a:t>
            </a:r>
          </a:p>
        </p:txBody>
      </p:sp>
      <p:sp>
        <p:nvSpPr>
          <p:cNvPr id="31" name="@稿定PPT实验室 出品-13-1">
            <a:extLst>
              <a:ext uri="{FF2B5EF4-FFF2-40B4-BE49-F238E27FC236}">
                <a16:creationId xmlns:a16="http://schemas.microsoft.com/office/drawing/2014/main" id="{AA98C052-8A4E-4F4F-AFF0-B79192F99D8F}"/>
              </a:ext>
            </a:extLst>
          </p:cNvPr>
          <p:cNvSpPr txBox="1">
            <a:spLocks/>
          </p:cNvSpPr>
          <p:nvPr/>
        </p:nvSpPr>
        <p:spPr>
          <a:xfrm>
            <a:off x="2715032" y="4688594"/>
            <a:ext cx="21097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ADD YOUR TITLE HERE</a:t>
            </a:r>
          </a:p>
        </p:txBody>
      </p:sp>
      <p:sp>
        <p:nvSpPr>
          <p:cNvPr id="33" name="@稿定PPT实验室 出品-13-2">
            <a:extLst>
              <a:ext uri="{FF2B5EF4-FFF2-40B4-BE49-F238E27FC236}">
                <a16:creationId xmlns:a16="http://schemas.microsoft.com/office/drawing/2014/main" id="{3CD12655-4892-4FC0-B0F0-CF7365C7A810}"/>
              </a:ext>
            </a:extLst>
          </p:cNvPr>
          <p:cNvSpPr txBox="1">
            <a:spLocks/>
          </p:cNvSpPr>
          <p:nvPr/>
        </p:nvSpPr>
        <p:spPr>
          <a:xfrm>
            <a:off x="7367196" y="4981389"/>
            <a:ext cx="2109772" cy="5133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设计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PPT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拥有千余款模板线上到插件同步上新，覆盖商务、教育、金融等多用途场景</a:t>
            </a:r>
          </a:p>
        </p:txBody>
      </p:sp>
      <p:sp>
        <p:nvSpPr>
          <p:cNvPr id="34" name="@稿定PPT实验室 出品-13-1">
            <a:extLst>
              <a:ext uri="{FF2B5EF4-FFF2-40B4-BE49-F238E27FC236}">
                <a16:creationId xmlns:a16="http://schemas.microsoft.com/office/drawing/2014/main" id="{DF9BE47A-CB13-4F04-B7B2-94E47AB23FA1}"/>
              </a:ext>
            </a:extLst>
          </p:cNvPr>
          <p:cNvSpPr txBox="1">
            <a:spLocks/>
          </p:cNvSpPr>
          <p:nvPr/>
        </p:nvSpPr>
        <p:spPr>
          <a:xfrm>
            <a:off x="7367196" y="4394577"/>
            <a:ext cx="210977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更快更轻松</a:t>
            </a:r>
          </a:p>
        </p:txBody>
      </p:sp>
      <p:sp>
        <p:nvSpPr>
          <p:cNvPr id="35" name="@稿定PPT实验室 出品-13-1">
            <a:extLst>
              <a:ext uri="{FF2B5EF4-FFF2-40B4-BE49-F238E27FC236}">
                <a16:creationId xmlns:a16="http://schemas.microsoft.com/office/drawing/2014/main" id="{D6FF3D22-86CB-4D05-AB4E-5EFECEBF0225}"/>
              </a:ext>
            </a:extLst>
          </p:cNvPr>
          <p:cNvSpPr txBox="1">
            <a:spLocks/>
          </p:cNvSpPr>
          <p:nvPr/>
        </p:nvSpPr>
        <p:spPr>
          <a:xfrm>
            <a:off x="7367196" y="4688594"/>
            <a:ext cx="21097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ADD YOUR TITLE HERE</a:t>
            </a:r>
          </a:p>
        </p:txBody>
      </p:sp>
      <p:sp>
        <p:nvSpPr>
          <p:cNvPr id="24" name="@稿定PPT实验室 出品-13-2">
            <a:extLst>
              <a:ext uri="{FF2B5EF4-FFF2-40B4-BE49-F238E27FC236}">
                <a16:creationId xmlns:a16="http://schemas.microsoft.com/office/drawing/2014/main" id="{1BDF35B7-FCE1-4640-B8DB-FF68269613CF}"/>
              </a:ext>
            </a:extLst>
          </p:cNvPr>
          <p:cNvSpPr txBox="1">
            <a:spLocks/>
          </p:cNvSpPr>
          <p:nvPr/>
        </p:nvSpPr>
        <p:spPr>
          <a:xfrm>
            <a:off x="844172" y="3494460"/>
            <a:ext cx="2109772" cy="5133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设计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PPT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拥有千余款模板线上到插件同步上新，覆盖商务、教育、金融等多用途场景</a:t>
            </a:r>
          </a:p>
        </p:txBody>
      </p:sp>
      <p:sp>
        <p:nvSpPr>
          <p:cNvPr id="25" name="@稿定PPT实验室 出品-13-1">
            <a:extLst>
              <a:ext uri="{FF2B5EF4-FFF2-40B4-BE49-F238E27FC236}">
                <a16:creationId xmlns:a16="http://schemas.microsoft.com/office/drawing/2014/main" id="{507CB93A-FA82-4D0E-A366-CEFF482BACFB}"/>
              </a:ext>
            </a:extLst>
          </p:cNvPr>
          <p:cNvSpPr txBox="1">
            <a:spLocks/>
          </p:cNvSpPr>
          <p:nvPr/>
        </p:nvSpPr>
        <p:spPr>
          <a:xfrm>
            <a:off x="844172" y="2907648"/>
            <a:ext cx="210977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更快更轻松</a:t>
            </a:r>
          </a:p>
        </p:txBody>
      </p:sp>
      <p:sp>
        <p:nvSpPr>
          <p:cNvPr id="26" name="@稿定PPT实验室 出品-13-1">
            <a:extLst>
              <a:ext uri="{FF2B5EF4-FFF2-40B4-BE49-F238E27FC236}">
                <a16:creationId xmlns:a16="http://schemas.microsoft.com/office/drawing/2014/main" id="{27515A9A-AE61-438C-AD7A-C2D91209EFB2}"/>
              </a:ext>
            </a:extLst>
          </p:cNvPr>
          <p:cNvSpPr txBox="1">
            <a:spLocks/>
          </p:cNvSpPr>
          <p:nvPr/>
        </p:nvSpPr>
        <p:spPr>
          <a:xfrm>
            <a:off x="844172" y="3201665"/>
            <a:ext cx="21097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ADD YOUR TITLE HERE</a:t>
            </a:r>
          </a:p>
        </p:txBody>
      </p:sp>
      <p:sp>
        <p:nvSpPr>
          <p:cNvPr id="37" name="@稿定PPT实验室 出品-13-2">
            <a:extLst>
              <a:ext uri="{FF2B5EF4-FFF2-40B4-BE49-F238E27FC236}">
                <a16:creationId xmlns:a16="http://schemas.microsoft.com/office/drawing/2014/main" id="{739A8695-E974-4A2D-BB70-A1010A9B5567}"/>
              </a:ext>
            </a:extLst>
          </p:cNvPr>
          <p:cNvSpPr txBox="1">
            <a:spLocks/>
          </p:cNvSpPr>
          <p:nvPr/>
        </p:nvSpPr>
        <p:spPr>
          <a:xfrm>
            <a:off x="9238056" y="3494460"/>
            <a:ext cx="2109772" cy="5133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设计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PPT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381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拥有千余款模板线上到插件同步上新，覆盖商务、教育、金融等多用途场景</a:t>
            </a:r>
          </a:p>
        </p:txBody>
      </p:sp>
      <p:sp>
        <p:nvSpPr>
          <p:cNvPr id="38" name="@稿定PPT实验室 出品-13-1">
            <a:extLst>
              <a:ext uri="{FF2B5EF4-FFF2-40B4-BE49-F238E27FC236}">
                <a16:creationId xmlns:a16="http://schemas.microsoft.com/office/drawing/2014/main" id="{8E12E633-2BC4-4E01-9418-E9590F0A6F7F}"/>
              </a:ext>
            </a:extLst>
          </p:cNvPr>
          <p:cNvSpPr txBox="1">
            <a:spLocks/>
          </p:cNvSpPr>
          <p:nvPr/>
        </p:nvSpPr>
        <p:spPr>
          <a:xfrm>
            <a:off x="9238056" y="2907648"/>
            <a:ext cx="210977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更快更轻松</a:t>
            </a:r>
          </a:p>
        </p:txBody>
      </p:sp>
      <p:sp>
        <p:nvSpPr>
          <p:cNvPr id="39" name="@稿定PPT实验室 出品-13-1">
            <a:extLst>
              <a:ext uri="{FF2B5EF4-FFF2-40B4-BE49-F238E27FC236}">
                <a16:creationId xmlns:a16="http://schemas.microsoft.com/office/drawing/2014/main" id="{A4526548-D791-4902-8DC6-FFED69EE7CCB}"/>
              </a:ext>
            </a:extLst>
          </p:cNvPr>
          <p:cNvSpPr txBox="1">
            <a:spLocks/>
          </p:cNvSpPr>
          <p:nvPr/>
        </p:nvSpPr>
        <p:spPr>
          <a:xfrm>
            <a:off x="9238056" y="3201665"/>
            <a:ext cx="210977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>
                  <a:outerShdw blurRad="76200" dist="38100" dir="2700000" algn="tl">
                    <a:srgbClr val="000000">
                      <a:alpha val="25000"/>
                    </a:srgbClr>
                  </a:outerShdw>
                </a:effectLst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ADD YOUR TITLE HERE</a:t>
            </a: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730554B0-20BA-464A-ABF6-315A91A977EA}"/>
              </a:ext>
            </a:extLst>
          </p:cNvPr>
          <p:cNvGrpSpPr/>
          <p:nvPr/>
        </p:nvGrpSpPr>
        <p:grpSpPr>
          <a:xfrm>
            <a:off x="4289829" y="3640051"/>
            <a:ext cx="633324" cy="631686"/>
            <a:chOff x="5036160" y="2109986"/>
            <a:chExt cx="2230142" cy="2224374"/>
          </a:xfrm>
        </p:grpSpPr>
        <p:sp>
          <p:nvSpPr>
            <p:cNvPr id="65" name="椭圆 64">
              <a:extLst>
                <a:ext uri="{FF2B5EF4-FFF2-40B4-BE49-F238E27FC236}">
                  <a16:creationId xmlns:a16="http://schemas.microsoft.com/office/drawing/2014/main" id="{E6AD5D12-BA36-445D-A88B-A0BA723E05C3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66" name="椭圆 65">
              <a:extLst>
                <a:ext uri="{FF2B5EF4-FFF2-40B4-BE49-F238E27FC236}">
                  <a16:creationId xmlns:a16="http://schemas.microsoft.com/office/drawing/2014/main" id="{A712B575-48B6-4F44-9B25-9169C72A727E}"/>
                </a:ext>
              </a:extLst>
            </p:cNvPr>
            <p:cNvSpPr/>
            <p:nvPr/>
          </p:nvSpPr>
          <p:spPr>
            <a:xfrm rot="16200000">
              <a:off x="5040593" y="2109993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chemeClr val="accent1">
                    <a:lumMod val="54000"/>
                    <a:lumOff val="46000"/>
                    <a:alpha val="0"/>
                  </a:schemeClr>
                </a:gs>
                <a:gs pos="100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67" name="椭圆 66">
              <a:extLst>
                <a:ext uri="{FF2B5EF4-FFF2-40B4-BE49-F238E27FC236}">
                  <a16:creationId xmlns:a16="http://schemas.microsoft.com/office/drawing/2014/main" id="{09F07B04-2F87-49D6-B8DD-3BAAF48AB2E6}"/>
                </a:ext>
              </a:extLst>
            </p:cNvPr>
            <p:cNvSpPr/>
            <p:nvPr/>
          </p:nvSpPr>
          <p:spPr>
            <a:xfrm rot="15726438">
              <a:off x="5036159" y="2120169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chemeClr val="accent1">
                    <a:alpha val="0"/>
                    <a:lumMod val="85000"/>
                    <a:lumOff val="15000"/>
                  </a:scheme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68" name="椭圆 67">
              <a:extLst>
                <a:ext uri="{FF2B5EF4-FFF2-40B4-BE49-F238E27FC236}">
                  <a16:creationId xmlns:a16="http://schemas.microsoft.com/office/drawing/2014/main" id="{CFBB1920-3866-4541-A3C4-1742F2B29F65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chemeClr val="accent1">
                    <a:alpha val="0"/>
                    <a:lumMod val="85000"/>
                    <a:lumOff val="15000"/>
                  </a:scheme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93" name="Freeform 172">
              <a:extLst>
                <a:ext uri="{FF2B5EF4-FFF2-40B4-BE49-F238E27FC236}">
                  <a16:creationId xmlns:a16="http://schemas.microsoft.com/office/drawing/2014/main" id="{B0098732-9E3A-4BD7-8108-10EBB25F8515}"/>
                </a:ext>
              </a:extLst>
            </p:cNvPr>
            <p:cNvSpPr/>
            <p:nvPr/>
          </p:nvSpPr>
          <p:spPr>
            <a:xfrm>
              <a:off x="5739978" y="2837991"/>
              <a:ext cx="822506" cy="768357"/>
            </a:xfrm>
            <a:custGeom>
              <a:avLst/>
              <a:gdLst>
                <a:gd name="connsiteX0" fmla="*/ 27242 w 457201"/>
                <a:gd name="connsiteY0" fmla="*/ 411106 h 427101"/>
                <a:gd name="connsiteX1" fmla="*/ 25337 w 457201"/>
                <a:gd name="connsiteY1" fmla="*/ 423489 h 427101"/>
                <a:gd name="connsiteX2" fmla="*/ 32481 w 457201"/>
                <a:gd name="connsiteY2" fmla="*/ 427108 h 427101"/>
                <a:gd name="connsiteX3" fmla="*/ 426911 w 457201"/>
                <a:gd name="connsiteY3" fmla="*/ 427108 h 427101"/>
                <a:gd name="connsiteX4" fmla="*/ 435770 w 457201"/>
                <a:gd name="connsiteY4" fmla="*/ 418250 h 427101"/>
                <a:gd name="connsiteX5" fmla="*/ 432150 w 457201"/>
                <a:gd name="connsiteY5" fmla="*/ 411106 h 427101"/>
                <a:gd name="connsiteX6" fmla="*/ 234982 w 457201"/>
                <a:gd name="connsiteY6" fmla="*/ 265755 h 427101"/>
                <a:gd name="connsiteX7" fmla="*/ 224505 w 457201"/>
                <a:gd name="connsiteY7" fmla="*/ 265755 h 427101"/>
                <a:gd name="connsiteX8" fmla="*/ 314517 w 457201"/>
                <a:gd name="connsiteY8" fmla="*/ 47251 h 427101"/>
                <a:gd name="connsiteX9" fmla="*/ 256509 w 457201"/>
                <a:gd name="connsiteY9" fmla="*/ 9151 h 427101"/>
                <a:gd name="connsiteX10" fmla="*/ 194025 w 457201"/>
                <a:gd name="connsiteY10" fmla="*/ 9723 h 427101"/>
                <a:gd name="connsiteX11" fmla="*/ 5049 w 457201"/>
                <a:gd name="connsiteY11" fmla="*/ 138024 h 427101"/>
                <a:gd name="connsiteX12" fmla="*/ 1144 w 457201"/>
                <a:gd name="connsiteY12" fmla="*/ 145359 h 427101"/>
                <a:gd name="connsiteX13" fmla="*/ 1144 w 457201"/>
                <a:gd name="connsiteY13" fmla="*/ 380626 h 427101"/>
                <a:gd name="connsiteX14" fmla="*/ 9812 w 457201"/>
                <a:gd name="connsiteY14" fmla="*/ 389484 h 427101"/>
                <a:gd name="connsiteX15" fmla="*/ 15241 w 457201"/>
                <a:gd name="connsiteY15" fmla="*/ 387675 h 427101"/>
                <a:gd name="connsiteX16" fmla="*/ 202502 w 457201"/>
                <a:gd name="connsiteY16" fmla="*/ 249753 h 427101"/>
                <a:gd name="connsiteX17" fmla="*/ 204274 w 457201"/>
                <a:gd name="connsiteY17" fmla="*/ 237215 h 427101"/>
                <a:gd name="connsiteX18" fmla="*/ 201836 w 457201"/>
                <a:gd name="connsiteY18" fmla="*/ 234989 h 427101"/>
                <a:gd name="connsiteX19" fmla="*/ 74296 w 457201"/>
                <a:gd name="connsiteY19" fmla="*/ 157074 h 427101"/>
                <a:gd name="connsiteX20" fmla="*/ 71448 w 457201"/>
                <a:gd name="connsiteY20" fmla="*/ 144876 h 427101"/>
                <a:gd name="connsiteX21" fmla="*/ 78868 w 457201"/>
                <a:gd name="connsiteY21" fmla="*/ 140691 h 427101"/>
                <a:gd name="connsiteX22" fmla="*/ 384334 w 457201"/>
                <a:gd name="connsiteY22" fmla="*/ 140691 h 427101"/>
                <a:gd name="connsiteX23" fmla="*/ 393155 w 457201"/>
                <a:gd name="connsiteY23" fmla="*/ 149590 h 427101"/>
                <a:gd name="connsiteX24" fmla="*/ 388811 w 457201"/>
                <a:gd name="connsiteY24" fmla="*/ 157170 h 427101"/>
                <a:gd name="connsiteX25" fmla="*/ 257080 w 457201"/>
                <a:gd name="connsiteY25" fmla="*/ 234417 h 427101"/>
                <a:gd name="connsiteX26" fmla="*/ 253937 w 457201"/>
                <a:gd name="connsiteY26" fmla="*/ 246546 h 427101"/>
                <a:gd name="connsiteX27" fmla="*/ 256318 w 457201"/>
                <a:gd name="connsiteY27" fmla="*/ 249181 h 427101"/>
                <a:gd name="connsiteX28" fmla="*/ 444247 w 457201"/>
                <a:gd name="connsiteY28" fmla="*/ 388437 h 427101"/>
                <a:gd name="connsiteX29" fmla="*/ 456534 w 457201"/>
                <a:gd name="connsiteY29" fmla="*/ 386817 h 427101"/>
                <a:gd name="connsiteX30" fmla="*/ 458344 w 457201"/>
                <a:gd name="connsiteY30" fmla="*/ 381388 h 427101"/>
                <a:gd name="connsiteX31" fmla="*/ 458344 w 457201"/>
                <a:gd name="connsiteY31" fmla="*/ 145740 h 427101"/>
                <a:gd name="connsiteX32" fmla="*/ 454343 w 457201"/>
                <a:gd name="connsiteY32" fmla="*/ 138405 h 42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57201" h="427101">
                  <a:moveTo>
                    <a:pt x="27242" y="411106"/>
                  </a:moveTo>
                  <a:cubicBezTo>
                    <a:pt x="23299" y="414002"/>
                    <a:pt x="22442" y="419545"/>
                    <a:pt x="25337" y="423489"/>
                  </a:cubicBezTo>
                  <a:cubicBezTo>
                    <a:pt x="27004" y="425765"/>
                    <a:pt x="29662" y="427108"/>
                    <a:pt x="32481" y="427108"/>
                  </a:cubicBezTo>
                  <a:lnTo>
                    <a:pt x="426911" y="427108"/>
                  </a:lnTo>
                  <a:cubicBezTo>
                    <a:pt x="431807" y="427108"/>
                    <a:pt x="435770" y="423146"/>
                    <a:pt x="435770" y="418250"/>
                  </a:cubicBezTo>
                  <a:cubicBezTo>
                    <a:pt x="435770" y="415431"/>
                    <a:pt x="434427" y="412773"/>
                    <a:pt x="432150" y="411106"/>
                  </a:cubicBezTo>
                  <a:lnTo>
                    <a:pt x="234982" y="265755"/>
                  </a:lnTo>
                  <a:cubicBezTo>
                    <a:pt x="231868" y="263468"/>
                    <a:pt x="227619" y="263468"/>
                    <a:pt x="224505" y="265755"/>
                  </a:cubicBezTo>
                  <a:close/>
                  <a:moveTo>
                    <a:pt x="314517" y="47251"/>
                  </a:moveTo>
                  <a:lnTo>
                    <a:pt x="256509" y="9151"/>
                  </a:lnTo>
                  <a:cubicBezTo>
                    <a:pt x="237459" y="-3246"/>
                    <a:pt x="212837" y="-3021"/>
                    <a:pt x="194025" y="9723"/>
                  </a:cubicBezTo>
                  <a:lnTo>
                    <a:pt x="5049" y="138024"/>
                  </a:lnTo>
                  <a:cubicBezTo>
                    <a:pt x="2611" y="139669"/>
                    <a:pt x="1144" y="142417"/>
                    <a:pt x="1144" y="145359"/>
                  </a:cubicBezTo>
                  <a:lnTo>
                    <a:pt x="1144" y="380626"/>
                  </a:lnTo>
                  <a:cubicBezTo>
                    <a:pt x="1087" y="385465"/>
                    <a:pt x="4973" y="389427"/>
                    <a:pt x="9812" y="389484"/>
                  </a:cubicBezTo>
                  <a:cubicBezTo>
                    <a:pt x="11774" y="389504"/>
                    <a:pt x="13688" y="388865"/>
                    <a:pt x="15241" y="387675"/>
                  </a:cubicBezTo>
                  <a:lnTo>
                    <a:pt x="202502" y="249753"/>
                  </a:lnTo>
                  <a:cubicBezTo>
                    <a:pt x="206455" y="246779"/>
                    <a:pt x="207246" y="241166"/>
                    <a:pt x="204274" y="237215"/>
                  </a:cubicBezTo>
                  <a:cubicBezTo>
                    <a:pt x="203607" y="236328"/>
                    <a:pt x="202779" y="235574"/>
                    <a:pt x="201836" y="234989"/>
                  </a:cubicBezTo>
                  <a:lnTo>
                    <a:pt x="74296" y="157074"/>
                  </a:lnTo>
                  <a:cubicBezTo>
                    <a:pt x="70143" y="154493"/>
                    <a:pt x="68866" y="149033"/>
                    <a:pt x="71448" y="144876"/>
                  </a:cubicBezTo>
                  <a:cubicBezTo>
                    <a:pt x="73039" y="142304"/>
                    <a:pt x="75839" y="140726"/>
                    <a:pt x="78868" y="140691"/>
                  </a:cubicBezTo>
                  <a:lnTo>
                    <a:pt x="384334" y="140691"/>
                  </a:lnTo>
                  <a:cubicBezTo>
                    <a:pt x="389231" y="140713"/>
                    <a:pt x="393174" y="144698"/>
                    <a:pt x="393155" y="149590"/>
                  </a:cubicBezTo>
                  <a:cubicBezTo>
                    <a:pt x="393136" y="152703"/>
                    <a:pt x="391488" y="155582"/>
                    <a:pt x="388811" y="157170"/>
                  </a:cubicBezTo>
                  <a:lnTo>
                    <a:pt x="257080" y="234417"/>
                  </a:lnTo>
                  <a:cubicBezTo>
                    <a:pt x="252861" y="236900"/>
                    <a:pt x="251461" y="242329"/>
                    <a:pt x="253937" y="246546"/>
                  </a:cubicBezTo>
                  <a:cubicBezTo>
                    <a:pt x="254547" y="247575"/>
                    <a:pt x="255357" y="248472"/>
                    <a:pt x="256318" y="249181"/>
                  </a:cubicBezTo>
                  <a:lnTo>
                    <a:pt x="444247" y="388437"/>
                  </a:lnTo>
                  <a:cubicBezTo>
                    <a:pt x="448086" y="391380"/>
                    <a:pt x="453591" y="390656"/>
                    <a:pt x="456534" y="386817"/>
                  </a:cubicBezTo>
                  <a:cubicBezTo>
                    <a:pt x="457725" y="385265"/>
                    <a:pt x="458363" y="383350"/>
                    <a:pt x="458344" y="381388"/>
                  </a:cubicBezTo>
                  <a:lnTo>
                    <a:pt x="458344" y="145740"/>
                  </a:lnTo>
                  <a:cubicBezTo>
                    <a:pt x="458334" y="142776"/>
                    <a:pt x="456829" y="140016"/>
                    <a:pt x="454343" y="138405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grpSp>
        <p:nvGrpSpPr>
          <p:cNvPr id="103" name="Group 80">
            <a:extLst>
              <a:ext uri="{FF2B5EF4-FFF2-40B4-BE49-F238E27FC236}">
                <a16:creationId xmlns:a16="http://schemas.microsoft.com/office/drawing/2014/main" id="{D2EA02C4-6BB0-40CF-8102-BE19A7132CA4}"/>
              </a:ext>
            </a:extLst>
          </p:cNvPr>
          <p:cNvGrpSpPr/>
          <p:nvPr/>
        </p:nvGrpSpPr>
        <p:grpSpPr>
          <a:xfrm>
            <a:off x="7268847" y="3640051"/>
            <a:ext cx="633324" cy="631686"/>
            <a:chOff x="5036160" y="2109986"/>
            <a:chExt cx="2230142" cy="2224374"/>
          </a:xfrm>
        </p:grpSpPr>
        <p:sp>
          <p:nvSpPr>
            <p:cNvPr id="104" name="椭圆 103">
              <a:extLst>
                <a:ext uri="{FF2B5EF4-FFF2-40B4-BE49-F238E27FC236}">
                  <a16:creationId xmlns:a16="http://schemas.microsoft.com/office/drawing/2014/main" id="{761CDDA1-6B4A-4BDF-B0A4-0EEE0C0DE8AB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05" name="椭圆 104">
              <a:extLst>
                <a:ext uri="{FF2B5EF4-FFF2-40B4-BE49-F238E27FC236}">
                  <a16:creationId xmlns:a16="http://schemas.microsoft.com/office/drawing/2014/main" id="{D29A1D11-B778-4E0B-B284-9A65FF0DE696}"/>
                </a:ext>
              </a:extLst>
            </p:cNvPr>
            <p:cNvSpPr/>
            <p:nvPr/>
          </p:nvSpPr>
          <p:spPr>
            <a:xfrm rot="16200000">
              <a:off x="5040593" y="2109993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chemeClr val="accent1">
                    <a:lumMod val="54000"/>
                    <a:lumOff val="46000"/>
                    <a:alpha val="0"/>
                  </a:schemeClr>
                </a:gs>
                <a:gs pos="100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06" name="椭圆 105">
              <a:extLst>
                <a:ext uri="{FF2B5EF4-FFF2-40B4-BE49-F238E27FC236}">
                  <a16:creationId xmlns:a16="http://schemas.microsoft.com/office/drawing/2014/main" id="{6F985D1A-D038-4535-9B96-0E75B58AD90E}"/>
                </a:ext>
              </a:extLst>
            </p:cNvPr>
            <p:cNvSpPr/>
            <p:nvPr/>
          </p:nvSpPr>
          <p:spPr>
            <a:xfrm rot="15726438">
              <a:off x="5036159" y="2120169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chemeClr val="accent1">
                    <a:alpha val="0"/>
                    <a:lumMod val="85000"/>
                    <a:lumOff val="15000"/>
                  </a:scheme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07" name="椭圆 106">
              <a:extLst>
                <a:ext uri="{FF2B5EF4-FFF2-40B4-BE49-F238E27FC236}">
                  <a16:creationId xmlns:a16="http://schemas.microsoft.com/office/drawing/2014/main" id="{DCB823A4-2D13-4364-8361-3F39542D3757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chemeClr val="accent1">
                    <a:alpha val="0"/>
                    <a:lumMod val="85000"/>
                    <a:lumOff val="15000"/>
                  </a:scheme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08" name="Freeform 172">
              <a:extLst>
                <a:ext uri="{FF2B5EF4-FFF2-40B4-BE49-F238E27FC236}">
                  <a16:creationId xmlns:a16="http://schemas.microsoft.com/office/drawing/2014/main" id="{7AC5D892-9D14-4502-95FD-DF7789861761}"/>
                </a:ext>
              </a:extLst>
            </p:cNvPr>
            <p:cNvSpPr/>
            <p:nvPr/>
          </p:nvSpPr>
          <p:spPr>
            <a:xfrm>
              <a:off x="5739978" y="2836637"/>
              <a:ext cx="822506" cy="771064"/>
            </a:xfrm>
            <a:custGeom>
              <a:avLst/>
              <a:gdLst>
                <a:gd name="connsiteX0" fmla="*/ 466630 w 466894"/>
                <a:gd name="connsiteY0" fmla="*/ 198045 h 437694"/>
                <a:gd name="connsiteX1" fmla="*/ 453962 w 466894"/>
                <a:gd name="connsiteY1" fmla="*/ 282627 h 437694"/>
                <a:gd name="connsiteX2" fmla="*/ 453867 w 466894"/>
                <a:gd name="connsiteY2" fmla="*/ 282922 h 437694"/>
                <a:gd name="connsiteX3" fmla="*/ 438055 w 466894"/>
                <a:gd name="connsiteY3" fmla="*/ 290152 h 437694"/>
                <a:gd name="connsiteX4" fmla="*/ 299276 w 466894"/>
                <a:gd name="connsiteY4" fmla="*/ 177281 h 437694"/>
                <a:gd name="connsiteX5" fmla="*/ 288608 w 466894"/>
                <a:gd name="connsiteY5" fmla="*/ 211095 h 437694"/>
                <a:gd name="connsiteX6" fmla="*/ 285559 w 466894"/>
                <a:gd name="connsiteY6" fmla="*/ 208944 h 437694"/>
                <a:gd name="connsiteX7" fmla="*/ 285368 w 466894"/>
                <a:gd name="connsiteY7" fmla="*/ 191569 h 437694"/>
                <a:gd name="connsiteX8" fmla="*/ 455581 w 466894"/>
                <a:gd name="connsiteY8" fmla="*/ 143181 h 437694"/>
                <a:gd name="connsiteX9" fmla="*/ 464725 w 466894"/>
                <a:gd name="connsiteY9" fmla="*/ 181948 h 437694"/>
                <a:gd name="connsiteX10" fmla="*/ 431673 w 466894"/>
                <a:gd name="connsiteY10" fmla="*/ 287199 h 437694"/>
                <a:gd name="connsiteX11" fmla="*/ 413290 w 466894"/>
                <a:gd name="connsiteY11" fmla="*/ 277674 h 437694"/>
                <a:gd name="connsiteX12" fmla="*/ 339471 w 466894"/>
                <a:gd name="connsiteY12" fmla="*/ 135363 h 437694"/>
                <a:gd name="connsiteX13" fmla="*/ 311562 w 466894"/>
                <a:gd name="connsiteY13" fmla="*/ 223850 h 437694"/>
                <a:gd name="connsiteX14" fmla="*/ 302228 w 466894"/>
                <a:gd name="connsiteY14" fmla="*/ 218897 h 437694"/>
                <a:gd name="connsiteX15" fmla="*/ 293179 w 466894"/>
                <a:gd name="connsiteY15" fmla="*/ 214135 h 437694"/>
                <a:gd name="connsiteX16" fmla="*/ 307848 w 466894"/>
                <a:gd name="connsiteY16" fmla="*/ 167748 h 437694"/>
                <a:gd name="connsiteX17" fmla="*/ 439197 w 466894"/>
                <a:gd name="connsiteY17" fmla="*/ 107081 h 437694"/>
                <a:gd name="connsiteX18" fmla="*/ 452151 w 466894"/>
                <a:gd name="connsiteY18" fmla="*/ 133846 h 437694"/>
                <a:gd name="connsiteX19" fmla="*/ 407860 w 466894"/>
                <a:gd name="connsiteY19" fmla="*/ 274721 h 437694"/>
                <a:gd name="connsiteX20" fmla="*/ 402812 w 466894"/>
                <a:gd name="connsiteY20" fmla="*/ 272054 h 437694"/>
                <a:gd name="connsiteX21" fmla="*/ 389477 w 466894"/>
                <a:gd name="connsiteY21" fmla="*/ 264910 h 437694"/>
                <a:gd name="connsiteX22" fmla="*/ 380429 w 466894"/>
                <a:gd name="connsiteY22" fmla="*/ 93263 h 437694"/>
                <a:gd name="connsiteX23" fmla="*/ 335375 w 466894"/>
                <a:gd name="connsiteY23" fmla="*/ 236614 h 437694"/>
                <a:gd name="connsiteX24" fmla="*/ 327374 w 466894"/>
                <a:gd name="connsiteY24" fmla="*/ 232328 h 437694"/>
                <a:gd name="connsiteX25" fmla="*/ 316992 w 466894"/>
                <a:gd name="connsiteY25" fmla="*/ 226803 h 437694"/>
                <a:gd name="connsiteX26" fmla="*/ 348806 w 466894"/>
                <a:gd name="connsiteY26" fmla="*/ 125743 h 437694"/>
                <a:gd name="connsiteX27" fmla="*/ 354425 w 466894"/>
                <a:gd name="connsiteY27" fmla="*/ 120028 h 437694"/>
                <a:gd name="connsiteX28" fmla="*/ 420434 w 466894"/>
                <a:gd name="connsiteY28" fmla="*/ 79745 h 437694"/>
                <a:gd name="connsiteX29" fmla="*/ 428148 w 466894"/>
                <a:gd name="connsiteY29" fmla="*/ 89270 h 437694"/>
                <a:gd name="connsiteX30" fmla="*/ 428148 w 466894"/>
                <a:gd name="connsiteY30" fmla="*/ 89937 h 437694"/>
                <a:gd name="connsiteX31" fmla="*/ 433197 w 466894"/>
                <a:gd name="connsiteY31" fmla="*/ 97271 h 437694"/>
                <a:gd name="connsiteX32" fmla="*/ 435007 w 466894"/>
                <a:gd name="connsiteY32" fmla="*/ 100128 h 437694"/>
                <a:gd name="connsiteX33" fmla="*/ 384048 w 466894"/>
                <a:gd name="connsiteY33" fmla="*/ 262054 h 437694"/>
                <a:gd name="connsiteX34" fmla="*/ 366045 w 466894"/>
                <a:gd name="connsiteY34" fmla="*/ 252433 h 437694"/>
                <a:gd name="connsiteX35" fmla="*/ 415290 w 466894"/>
                <a:gd name="connsiteY35" fmla="*/ 74506 h 437694"/>
                <a:gd name="connsiteX36" fmla="*/ 360235 w 466894"/>
                <a:gd name="connsiteY36" fmla="*/ 249289 h 437694"/>
                <a:gd name="connsiteX37" fmla="*/ 349758 w 466894"/>
                <a:gd name="connsiteY37" fmla="*/ 243670 h 437694"/>
                <a:gd name="connsiteX38" fmla="*/ 341948 w 466894"/>
                <a:gd name="connsiteY38" fmla="*/ 239479 h 437694"/>
                <a:gd name="connsiteX39" fmla="*/ 390907 w 466894"/>
                <a:gd name="connsiteY39" fmla="*/ 83745 h 437694"/>
                <a:gd name="connsiteX40" fmla="*/ 399003 w 466894"/>
                <a:gd name="connsiteY40" fmla="*/ 75363 h 437694"/>
                <a:gd name="connsiteX41" fmla="*/ 415290 w 466894"/>
                <a:gd name="connsiteY41" fmla="*/ 74506 h 437694"/>
                <a:gd name="connsiteX42" fmla="*/ 256223 w 466894"/>
                <a:gd name="connsiteY42" fmla="*/ 1449 h 437694"/>
                <a:gd name="connsiteX43" fmla="*/ 352902 w 466894"/>
                <a:gd name="connsiteY43" fmla="*/ 38597 h 437694"/>
                <a:gd name="connsiteX44" fmla="*/ 353854 w 466894"/>
                <a:gd name="connsiteY44" fmla="*/ 39400 h 437694"/>
                <a:gd name="connsiteX45" fmla="*/ 354139 w 466894"/>
                <a:gd name="connsiteY45" fmla="*/ 56504 h 437694"/>
                <a:gd name="connsiteX46" fmla="*/ 262794 w 466894"/>
                <a:gd name="connsiteY46" fmla="*/ 150230 h 437694"/>
                <a:gd name="connsiteX47" fmla="*/ 254222 w 466894"/>
                <a:gd name="connsiteY47" fmla="*/ 153832 h 437694"/>
                <a:gd name="connsiteX48" fmla="*/ 242220 w 466894"/>
                <a:gd name="connsiteY48" fmla="*/ 141848 h 437694"/>
                <a:gd name="connsiteX49" fmla="*/ 243078 w 466894"/>
                <a:gd name="connsiteY49" fmla="*/ 13260 h 437694"/>
                <a:gd name="connsiteX50" fmla="*/ 243174 w 466894"/>
                <a:gd name="connsiteY50" fmla="*/ 12253 h 437694"/>
                <a:gd name="connsiteX51" fmla="*/ 256223 w 466894"/>
                <a:gd name="connsiteY51" fmla="*/ 1449 h 437694"/>
                <a:gd name="connsiteX52" fmla="*/ 203645 w 466894"/>
                <a:gd name="connsiteY52" fmla="*/ 2 h 437694"/>
                <a:gd name="connsiteX53" fmla="*/ 215360 w 466894"/>
                <a:gd name="connsiteY53" fmla="*/ 11355 h 437694"/>
                <a:gd name="connsiteX54" fmla="*/ 215360 w 466894"/>
                <a:gd name="connsiteY54" fmla="*/ 200236 h 437694"/>
                <a:gd name="connsiteX55" fmla="*/ 231648 w 466894"/>
                <a:gd name="connsiteY55" fmla="*/ 227192 h 437694"/>
                <a:gd name="connsiteX56" fmla="*/ 397669 w 466894"/>
                <a:gd name="connsiteY56" fmla="*/ 314822 h 437694"/>
                <a:gd name="connsiteX57" fmla="*/ 398335 w 466894"/>
                <a:gd name="connsiteY57" fmla="*/ 315165 h 437694"/>
                <a:gd name="connsiteX58" fmla="*/ 404717 w 466894"/>
                <a:gd name="connsiteY58" fmla="*/ 338825 h 437694"/>
                <a:gd name="connsiteX59" fmla="*/ 219646 w 466894"/>
                <a:gd name="connsiteY59" fmla="*/ 437694 h 437694"/>
                <a:gd name="connsiteX60" fmla="*/ 219075 w 466894"/>
                <a:gd name="connsiteY60" fmla="*/ 437694 h 437694"/>
                <a:gd name="connsiteX61" fmla="*/ 0 w 466894"/>
                <a:gd name="connsiteY61" fmla="*/ 218619 h 437694"/>
                <a:gd name="connsiteX62" fmla="*/ 130588 w 466894"/>
                <a:gd name="connsiteY62" fmla="*/ 15165 h 437694"/>
                <a:gd name="connsiteX63" fmla="*/ 203168 w 466894"/>
                <a:gd name="connsiteY63" fmla="*/ 20 h 437694"/>
                <a:gd name="connsiteX64" fmla="*/ 203645 w 466894"/>
                <a:gd name="connsiteY64" fmla="*/ 2 h 43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66894" h="437694">
                  <a:moveTo>
                    <a:pt x="466630" y="198045"/>
                  </a:moveTo>
                  <a:cubicBezTo>
                    <a:pt x="468059" y="226798"/>
                    <a:pt x="463677" y="255545"/>
                    <a:pt x="453962" y="282627"/>
                  </a:cubicBezTo>
                  <a:cubicBezTo>
                    <a:pt x="453962" y="282726"/>
                    <a:pt x="453867" y="282824"/>
                    <a:pt x="453867" y="282922"/>
                  </a:cubicBezTo>
                  <a:cubicBezTo>
                    <a:pt x="451486" y="289282"/>
                    <a:pt x="444437" y="292519"/>
                    <a:pt x="438055" y="290152"/>
                  </a:cubicBezTo>
                  <a:close/>
                  <a:moveTo>
                    <a:pt x="299276" y="177281"/>
                  </a:moveTo>
                  <a:lnTo>
                    <a:pt x="288608" y="211095"/>
                  </a:lnTo>
                  <a:cubicBezTo>
                    <a:pt x="287463" y="210534"/>
                    <a:pt x="286511" y="209808"/>
                    <a:pt x="285559" y="208944"/>
                  </a:cubicBezTo>
                  <a:cubicBezTo>
                    <a:pt x="280701" y="204210"/>
                    <a:pt x="280606" y="196431"/>
                    <a:pt x="285368" y="191569"/>
                  </a:cubicBezTo>
                  <a:close/>
                  <a:moveTo>
                    <a:pt x="455581" y="143181"/>
                  </a:moveTo>
                  <a:cubicBezTo>
                    <a:pt x="459963" y="155755"/>
                    <a:pt x="463010" y="168746"/>
                    <a:pt x="464725" y="181948"/>
                  </a:cubicBezTo>
                  <a:lnTo>
                    <a:pt x="431673" y="287199"/>
                  </a:lnTo>
                  <a:lnTo>
                    <a:pt x="413290" y="277674"/>
                  </a:lnTo>
                  <a:close/>
                  <a:moveTo>
                    <a:pt x="339471" y="135363"/>
                  </a:moveTo>
                  <a:lnTo>
                    <a:pt x="311562" y="223850"/>
                  </a:lnTo>
                  <a:lnTo>
                    <a:pt x="302228" y="218897"/>
                  </a:lnTo>
                  <a:lnTo>
                    <a:pt x="293179" y="214135"/>
                  </a:lnTo>
                  <a:lnTo>
                    <a:pt x="307848" y="167748"/>
                  </a:lnTo>
                  <a:close/>
                  <a:moveTo>
                    <a:pt x="439197" y="107081"/>
                  </a:moveTo>
                  <a:cubicBezTo>
                    <a:pt x="444055" y="115710"/>
                    <a:pt x="448436" y="124651"/>
                    <a:pt x="452151" y="133846"/>
                  </a:cubicBezTo>
                  <a:lnTo>
                    <a:pt x="407860" y="274721"/>
                  </a:lnTo>
                  <a:lnTo>
                    <a:pt x="402812" y="272054"/>
                  </a:lnTo>
                  <a:lnTo>
                    <a:pt x="389477" y="264910"/>
                  </a:lnTo>
                  <a:close/>
                  <a:moveTo>
                    <a:pt x="380429" y="93263"/>
                  </a:moveTo>
                  <a:lnTo>
                    <a:pt x="335375" y="236614"/>
                  </a:lnTo>
                  <a:lnTo>
                    <a:pt x="327374" y="232328"/>
                  </a:lnTo>
                  <a:lnTo>
                    <a:pt x="316992" y="226803"/>
                  </a:lnTo>
                  <a:lnTo>
                    <a:pt x="348806" y="125743"/>
                  </a:lnTo>
                  <a:lnTo>
                    <a:pt x="354425" y="120028"/>
                  </a:lnTo>
                  <a:close/>
                  <a:moveTo>
                    <a:pt x="420434" y="79745"/>
                  </a:moveTo>
                  <a:cubicBezTo>
                    <a:pt x="423101" y="82602"/>
                    <a:pt x="425672" y="85936"/>
                    <a:pt x="428148" y="89270"/>
                  </a:cubicBezTo>
                  <a:lnTo>
                    <a:pt x="428148" y="89937"/>
                  </a:lnTo>
                  <a:cubicBezTo>
                    <a:pt x="429863" y="92318"/>
                    <a:pt x="431577" y="94794"/>
                    <a:pt x="433197" y="97271"/>
                  </a:cubicBezTo>
                  <a:cubicBezTo>
                    <a:pt x="433769" y="98128"/>
                    <a:pt x="434340" y="99176"/>
                    <a:pt x="435007" y="100128"/>
                  </a:cubicBezTo>
                  <a:lnTo>
                    <a:pt x="384048" y="262054"/>
                  </a:lnTo>
                  <a:lnTo>
                    <a:pt x="366045" y="252433"/>
                  </a:lnTo>
                  <a:close/>
                  <a:moveTo>
                    <a:pt x="415290" y="74506"/>
                  </a:moveTo>
                  <a:lnTo>
                    <a:pt x="360235" y="249289"/>
                  </a:lnTo>
                  <a:lnTo>
                    <a:pt x="349758" y="243670"/>
                  </a:lnTo>
                  <a:lnTo>
                    <a:pt x="341948" y="239479"/>
                  </a:lnTo>
                  <a:lnTo>
                    <a:pt x="390907" y="83745"/>
                  </a:lnTo>
                  <a:lnTo>
                    <a:pt x="399003" y="75363"/>
                  </a:lnTo>
                  <a:cubicBezTo>
                    <a:pt x="403384" y="70996"/>
                    <a:pt x="410432" y="70627"/>
                    <a:pt x="415290" y="74506"/>
                  </a:cubicBezTo>
                  <a:close/>
                  <a:moveTo>
                    <a:pt x="256223" y="1449"/>
                  </a:moveTo>
                  <a:cubicBezTo>
                    <a:pt x="291274" y="4487"/>
                    <a:pt x="324802" y="17363"/>
                    <a:pt x="352902" y="38597"/>
                  </a:cubicBezTo>
                  <a:cubicBezTo>
                    <a:pt x="353187" y="38848"/>
                    <a:pt x="353568" y="39117"/>
                    <a:pt x="353854" y="39400"/>
                  </a:cubicBezTo>
                  <a:cubicBezTo>
                    <a:pt x="358617" y="44036"/>
                    <a:pt x="358807" y="51693"/>
                    <a:pt x="354139" y="56504"/>
                  </a:cubicBezTo>
                  <a:lnTo>
                    <a:pt x="262794" y="150230"/>
                  </a:lnTo>
                  <a:cubicBezTo>
                    <a:pt x="260509" y="152529"/>
                    <a:pt x="257461" y="153828"/>
                    <a:pt x="254222" y="153832"/>
                  </a:cubicBezTo>
                  <a:cubicBezTo>
                    <a:pt x="247650" y="153842"/>
                    <a:pt x="242220" y="148476"/>
                    <a:pt x="242220" y="141848"/>
                  </a:cubicBezTo>
                  <a:cubicBezTo>
                    <a:pt x="242506" y="104034"/>
                    <a:pt x="243078" y="40216"/>
                    <a:pt x="243078" y="13260"/>
                  </a:cubicBezTo>
                  <a:cubicBezTo>
                    <a:pt x="243078" y="12924"/>
                    <a:pt x="243078" y="12588"/>
                    <a:pt x="243174" y="12253"/>
                  </a:cubicBezTo>
                  <a:cubicBezTo>
                    <a:pt x="243744" y="5655"/>
                    <a:pt x="249650" y="818"/>
                    <a:pt x="256223" y="1449"/>
                  </a:cubicBezTo>
                  <a:close/>
                  <a:moveTo>
                    <a:pt x="203645" y="2"/>
                  </a:moveTo>
                  <a:cubicBezTo>
                    <a:pt x="210027" y="-92"/>
                    <a:pt x="215265" y="4991"/>
                    <a:pt x="215360" y="11355"/>
                  </a:cubicBezTo>
                  <a:lnTo>
                    <a:pt x="215360" y="200236"/>
                  </a:lnTo>
                  <a:cubicBezTo>
                    <a:pt x="215360" y="211553"/>
                    <a:pt x="221647" y="221940"/>
                    <a:pt x="231648" y="227192"/>
                  </a:cubicBezTo>
                  <a:lnTo>
                    <a:pt x="397669" y="314822"/>
                  </a:lnTo>
                  <a:cubicBezTo>
                    <a:pt x="397860" y="314931"/>
                    <a:pt x="398050" y="315046"/>
                    <a:pt x="398335" y="315165"/>
                  </a:cubicBezTo>
                  <a:cubicBezTo>
                    <a:pt x="406622" y="319925"/>
                    <a:pt x="409480" y="330518"/>
                    <a:pt x="404717" y="338825"/>
                  </a:cubicBezTo>
                  <a:cubicBezTo>
                    <a:pt x="370618" y="395594"/>
                    <a:pt x="297656" y="437694"/>
                    <a:pt x="219646" y="437694"/>
                  </a:cubicBezTo>
                  <a:cubicBezTo>
                    <a:pt x="219457" y="437694"/>
                    <a:pt x="219266" y="437694"/>
                    <a:pt x="219075" y="437694"/>
                  </a:cubicBezTo>
                  <a:cubicBezTo>
                    <a:pt x="98108" y="437694"/>
                    <a:pt x="0" y="339611"/>
                    <a:pt x="0" y="218619"/>
                  </a:cubicBezTo>
                  <a:cubicBezTo>
                    <a:pt x="0" y="126417"/>
                    <a:pt x="52102" y="47455"/>
                    <a:pt x="130588" y="15165"/>
                  </a:cubicBezTo>
                  <a:cubicBezTo>
                    <a:pt x="153829" y="6276"/>
                    <a:pt x="178308" y="1163"/>
                    <a:pt x="203168" y="20"/>
                  </a:cubicBezTo>
                  <a:cubicBezTo>
                    <a:pt x="203359" y="11"/>
                    <a:pt x="203454" y="5"/>
                    <a:pt x="203645" y="2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grpSp>
        <p:nvGrpSpPr>
          <p:cNvPr id="58" name="Group 68">
            <a:extLst>
              <a:ext uri="{FF2B5EF4-FFF2-40B4-BE49-F238E27FC236}">
                <a16:creationId xmlns:a16="http://schemas.microsoft.com/office/drawing/2014/main" id="{BA8B3200-D545-4DC3-B95F-79470596E3A0}"/>
              </a:ext>
            </a:extLst>
          </p:cNvPr>
          <p:cNvGrpSpPr/>
          <p:nvPr/>
        </p:nvGrpSpPr>
        <p:grpSpPr>
          <a:xfrm>
            <a:off x="3049874" y="2818608"/>
            <a:ext cx="633324" cy="631686"/>
            <a:chOff x="5036160" y="2109986"/>
            <a:chExt cx="2230142" cy="2224374"/>
          </a:xfrm>
        </p:grpSpPr>
        <p:sp>
          <p:nvSpPr>
            <p:cNvPr id="59" name="椭圆 58">
              <a:extLst>
                <a:ext uri="{FF2B5EF4-FFF2-40B4-BE49-F238E27FC236}">
                  <a16:creationId xmlns:a16="http://schemas.microsoft.com/office/drawing/2014/main" id="{FBC00DBA-5063-4223-9C0F-E82E78030194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60" name="椭圆 59">
              <a:extLst>
                <a:ext uri="{FF2B5EF4-FFF2-40B4-BE49-F238E27FC236}">
                  <a16:creationId xmlns:a16="http://schemas.microsoft.com/office/drawing/2014/main" id="{6536B791-BAC0-480E-BF3E-88BD11A8E71E}"/>
                </a:ext>
              </a:extLst>
            </p:cNvPr>
            <p:cNvSpPr/>
            <p:nvPr/>
          </p:nvSpPr>
          <p:spPr>
            <a:xfrm rot="16200000">
              <a:off x="5040593" y="2109993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chemeClr val="accent1">
                    <a:lumMod val="54000"/>
                    <a:lumOff val="46000"/>
                    <a:alpha val="0"/>
                  </a:schemeClr>
                </a:gs>
                <a:gs pos="100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61" name="椭圆 60">
              <a:extLst>
                <a:ext uri="{FF2B5EF4-FFF2-40B4-BE49-F238E27FC236}">
                  <a16:creationId xmlns:a16="http://schemas.microsoft.com/office/drawing/2014/main" id="{2D717D0B-F7C7-4902-879F-EB7BA307DA20}"/>
                </a:ext>
              </a:extLst>
            </p:cNvPr>
            <p:cNvSpPr/>
            <p:nvPr/>
          </p:nvSpPr>
          <p:spPr>
            <a:xfrm rot="15726438">
              <a:off x="5036159" y="2120169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chemeClr val="accent1">
                    <a:alpha val="0"/>
                    <a:lumMod val="85000"/>
                    <a:lumOff val="15000"/>
                  </a:scheme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57628391-9A6F-4FF1-B7D2-12F7B5CCDA01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chemeClr val="accent1">
                    <a:alpha val="0"/>
                    <a:lumMod val="85000"/>
                    <a:lumOff val="15000"/>
                  </a:scheme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63" name="Freeform 172">
              <a:extLst>
                <a:ext uri="{FF2B5EF4-FFF2-40B4-BE49-F238E27FC236}">
                  <a16:creationId xmlns:a16="http://schemas.microsoft.com/office/drawing/2014/main" id="{D96E5AB4-B10A-4A08-9628-B1FDE767698F}"/>
                </a:ext>
              </a:extLst>
            </p:cNvPr>
            <p:cNvSpPr/>
            <p:nvPr/>
          </p:nvSpPr>
          <p:spPr>
            <a:xfrm>
              <a:off x="5739978" y="2821816"/>
              <a:ext cx="822506" cy="800707"/>
            </a:xfrm>
            <a:custGeom>
              <a:avLst/>
              <a:gdLst>
                <a:gd name="connsiteX0" fmla="*/ 136113 w 459868"/>
                <a:gd name="connsiteY0" fmla="*/ 364244 h 447683"/>
                <a:gd name="connsiteX1" fmla="*/ 126588 w 459868"/>
                <a:gd name="connsiteY1" fmla="*/ 373578 h 447683"/>
                <a:gd name="connsiteX2" fmla="*/ 126588 w 459868"/>
                <a:gd name="connsiteY2" fmla="*/ 380341 h 447683"/>
                <a:gd name="connsiteX3" fmla="*/ 136113 w 459868"/>
                <a:gd name="connsiteY3" fmla="*/ 389866 h 447683"/>
                <a:gd name="connsiteX4" fmla="*/ 244889 w 459868"/>
                <a:gd name="connsiteY4" fmla="*/ 389866 h 447683"/>
                <a:gd name="connsiteX5" fmla="*/ 254414 w 459868"/>
                <a:gd name="connsiteY5" fmla="*/ 380341 h 447683"/>
                <a:gd name="connsiteX6" fmla="*/ 254414 w 459868"/>
                <a:gd name="connsiteY6" fmla="*/ 373769 h 447683"/>
                <a:gd name="connsiteX7" fmla="*/ 244889 w 459868"/>
                <a:gd name="connsiteY7" fmla="*/ 364244 h 447683"/>
                <a:gd name="connsiteX8" fmla="*/ 136113 w 459868"/>
                <a:gd name="connsiteY8" fmla="*/ 301664 h 447683"/>
                <a:gd name="connsiteX9" fmla="*/ 126588 w 459868"/>
                <a:gd name="connsiteY9" fmla="*/ 310808 h 447683"/>
                <a:gd name="connsiteX10" fmla="*/ 126588 w 459868"/>
                <a:gd name="connsiteY10" fmla="*/ 317952 h 447683"/>
                <a:gd name="connsiteX11" fmla="*/ 136113 w 459868"/>
                <a:gd name="connsiteY11" fmla="*/ 327477 h 447683"/>
                <a:gd name="connsiteX12" fmla="*/ 321089 w 459868"/>
                <a:gd name="connsiteY12" fmla="*/ 327477 h 447683"/>
                <a:gd name="connsiteX13" fmla="*/ 330614 w 459868"/>
                <a:gd name="connsiteY13" fmla="*/ 317952 h 447683"/>
                <a:gd name="connsiteX14" fmla="*/ 330614 w 459868"/>
                <a:gd name="connsiteY14" fmla="*/ 311189 h 447683"/>
                <a:gd name="connsiteX15" fmla="*/ 321089 w 459868"/>
                <a:gd name="connsiteY15" fmla="*/ 301664 h 447683"/>
                <a:gd name="connsiteX16" fmla="*/ 98013 w 459868"/>
                <a:gd name="connsiteY16" fmla="*/ 242895 h 447683"/>
                <a:gd name="connsiteX17" fmla="*/ 359189 w 459868"/>
                <a:gd name="connsiteY17" fmla="*/ 242895 h 447683"/>
                <a:gd name="connsiteX18" fmla="*/ 368714 w 459868"/>
                <a:gd name="connsiteY18" fmla="*/ 252420 h 447683"/>
                <a:gd name="connsiteX19" fmla="*/ 368714 w 459868"/>
                <a:gd name="connsiteY19" fmla="*/ 438158 h 447683"/>
                <a:gd name="connsiteX20" fmla="*/ 359189 w 459868"/>
                <a:gd name="connsiteY20" fmla="*/ 447683 h 447683"/>
                <a:gd name="connsiteX21" fmla="*/ 98013 w 459868"/>
                <a:gd name="connsiteY21" fmla="*/ 447683 h 447683"/>
                <a:gd name="connsiteX22" fmla="*/ 88488 w 459868"/>
                <a:gd name="connsiteY22" fmla="*/ 438539 h 447683"/>
                <a:gd name="connsiteX23" fmla="*/ 88488 w 459868"/>
                <a:gd name="connsiteY23" fmla="*/ 252420 h 447683"/>
                <a:gd name="connsiteX24" fmla="*/ 98013 w 459868"/>
                <a:gd name="connsiteY24" fmla="*/ 242895 h 447683"/>
                <a:gd name="connsiteX25" fmla="*/ 38101 w 459868"/>
                <a:gd name="connsiteY25" fmla="*/ 96876 h 447683"/>
                <a:gd name="connsiteX26" fmla="*/ 28576 w 459868"/>
                <a:gd name="connsiteY26" fmla="*/ 106401 h 447683"/>
                <a:gd name="connsiteX27" fmla="*/ 28576 w 459868"/>
                <a:gd name="connsiteY27" fmla="*/ 107258 h 447683"/>
                <a:gd name="connsiteX28" fmla="*/ 38101 w 459868"/>
                <a:gd name="connsiteY28" fmla="*/ 116783 h 447683"/>
                <a:gd name="connsiteX29" fmla="*/ 47626 w 459868"/>
                <a:gd name="connsiteY29" fmla="*/ 107639 h 447683"/>
                <a:gd name="connsiteX30" fmla="*/ 47626 w 459868"/>
                <a:gd name="connsiteY30" fmla="*/ 106401 h 447683"/>
                <a:gd name="connsiteX31" fmla="*/ 38101 w 459868"/>
                <a:gd name="connsiteY31" fmla="*/ 96876 h 447683"/>
                <a:gd name="connsiteX32" fmla="*/ 11431 w 459868"/>
                <a:gd name="connsiteY32" fmla="*/ 67730 h 447683"/>
                <a:gd name="connsiteX33" fmla="*/ 450343 w 459868"/>
                <a:gd name="connsiteY33" fmla="*/ 67730 h 447683"/>
                <a:gd name="connsiteX34" fmla="*/ 459868 w 459868"/>
                <a:gd name="connsiteY34" fmla="*/ 77255 h 447683"/>
                <a:gd name="connsiteX35" fmla="*/ 459868 w 459868"/>
                <a:gd name="connsiteY35" fmla="*/ 302235 h 447683"/>
                <a:gd name="connsiteX36" fmla="*/ 450343 w 459868"/>
                <a:gd name="connsiteY36" fmla="*/ 311760 h 447683"/>
                <a:gd name="connsiteX37" fmla="*/ 396622 w 459868"/>
                <a:gd name="connsiteY37" fmla="*/ 311760 h 447683"/>
                <a:gd name="connsiteX38" fmla="*/ 387097 w 459868"/>
                <a:gd name="connsiteY38" fmla="*/ 302235 h 447683"/>
                <a:gd name="connsiteX39" fmla="*/ 387097 w 459868"/>
                <a:gd name="connsiteY39" fmla="*/ 223178 h 447683"/>
                <a:gd name="connsiteX40" fmla="*/ 377572 w 459868"/>
                <a:gd name="connsiteY40" fmla="*/ 213653 h 447683"/>
                <a:gd name="connsiteX41" fmla="*/ 82297 w 459868"/>
                <a:gd name="connsiteY41" fmla="*/ 213653 h 447683"/>
                <a:gd name="connsiteX42" fmla="*/ 72772 w 459868"/>
                <a:gd name="connsiteY42" fmla="*/ 223178 h 447683"/>
                <a:gd name="connsiteX43" fmla="*/ 72772 w 459868"/>
                <a:gd name="connsiteY43" fmla="*/ 302235 h 447683"/>
                <a:gd name="connsiteX44" fmla="*/ 63247 w 459868"/>
                <a:gd name="connsiteY44" fmla="*/ 311760 h 447683"/>
                <a:gd name="connsiteX45" fmla="*/ 9526 w 459868"/>
                <a:gd name="connsiteY45" fmla="*/ 311760 h 447683"/>
                <a:gd name="connsiteX46" fmla="*/ 1 w 459868"/>
                <a:gd name="connsiteY46" fmla="*/ 302235 h 447683"/>
                <a:gd name="connsiteX47" fmla="*/ 1 w 459868"/>
                <a:gd name="connsiteY47" fmla="*/ 77255 h 447683"/>
                <a:gd name="connsiteX48" fmla="*/ 192 w 459868"/>
                <a:gd name="connsiteY48" fmla="*/ 75155 h 447683"/>
                <a:gd name="connsiteX49" fmla="*/ 11431 w 459868"/>
                <a:gd name="connsiteY49" fmla="*/ 67730 h 447683"/>
                <a:gd name="connsiteX50" fmla="*/ 83535 w 459868"/>
                <a:gd name="connsiteY50" fmla="*/ 0 h 447683"/>
                <a:gd name="connsiteX51" fmla="*/ 92679 w 459868"/>
                <a:gd name="connsiteY51" fmla="*/ 0 h 447683"/>
                <a:gd name="connsiteX52" fmla="*/ 362236 w 459868"/>
                <a:gd name="connsiteY52" fmla="*/ 0 h 447683"/>
                <a:gd name="connsiteX53" fmla="*/ 371380 w 459868"/>
                <a:gd name="connsiteY53" fmla="*/ 0 h 447683"/>
                <a:gd name="connsiteX54" fmla="*/ 371380 w 459868"/>
                <a:gd name="connsiteY54" fmla="*/ 48673 h 447683"/>
                <a:gd name="connsiteX55" fmla="*/ 362236 w 459868"/>
                <a:gd name="connsiteY55" fmla="*/ 48673 h 447683"/>
                <a:gd name="connsiteX56" fmla="*/ 92679 w 459868"/>
                <a:gd name="connsiteY56" fmla="*/ 48673 h 447683"/>
                <a:gd name="connsiteX57" fmla="*/ 83535 w 459868"/>
                <a:gd name="connsiteY57" fmla="*/ 48673 h 447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59868" h="447683">
                  <a:moveTo>
                    <a:pt x="136113" y="364244"/>
                  </a:moveTo>
                  <a:cubicBezTo>
                    <a:pt x="130922" y="364243"/>
                    <a:pt x="126693" y="368392"/>
                    <a:pt x="126588" y="373578"/>
                  </a:cubicBezTo>
                  <a:lnTo>
                    <a:pt x="126588" y="380341"/>
                  </a:lnTo>
                  <a:cubicBezTo>
                    <a:pt x="126588" y="385601"/>
                    <a:pt x="130855" y="389866"/>
                    <a:pt x="136113" y="389866"/>
                  </a:cubicBezTo>
                  <a:lnTo>
                    <a:pt x="244889" y="389866"/>
                  </a:lnTo>
                  <a:cubicBezTo>
                    <a:pt x="250147" y="389866"/>
                    <a:pt x="254414" y="385601"/>
                    <a:pt x="254414" y="380341"/>
                  </a:cubicBezTo>
                  <a:lnTo>
                    <a:pt x="254414" y="373769"/>
                  </a:lnTo>
                  <a:cubicBezTo>
                    <a:pt x="254414" y="368508"/>
                    <a:pt x="250147" y="364244"/>
                    <a:pt x="244889" y="364244"/>
                  </a:cubicBezTo>
                  <a:close/>
                  <a:moveTo>
                    <a:pt x="136113" y="301664"/>
                  </a:moveTo>
                  <a:cubicBezTo>
                    <a:pt x="130998" y="301660"/>
                    <a:pt x="126788" y="305697"/>
                    <a:pt x="126588" y="310808"/>
                  </a:cubicBezTo>
                  <a:lnTo>
                    <a:pt x="126588" y="317952"/>
                  </a:lnTo>
                  <a:cubicBezTo>
                    <a:pt x="126588" y="323213"/>
                    <a:pt x="130855" y="327477"/>
                    <a:pt x="136113" y="327477"/>
                  </a:cubicBezTo>
                  <a:lnTo>
                    <a:pt x="321089" y="327477"/>
                  </a:lnTo>
                  <a:cubicBezTo>
                    <a:pt x="326347" y="327477"/>
                    <a:pt x="330614" y="323213"/>
                    <a:pt x="330614" y="317952"/>
                  </a:cubicBezTo>
                  <a:lnTo>
                    <a:pt x="330614" y="311189"/>
                  </a:lnTo>
                  <a:cubicBezTo>
                    <a:pt x="330614" y="305929"/>
                    <a:pt x="326347" y="301664"/>
                    <a:pt x="321089" y="301664"/>
                  </a:cubicBezTo>
                  <a:close/>
                  <a:moveTo>
                    <a:pt x="98013" y="242895"/>
                  </a:moveTo>
                  <a:lnTo>
                    <a:pt x="359189" y="242895"/>
                  </a:lnTo>
                  <a:cubicBezTo>
                    <a:pt x="364447" y="242895"/>
                    <a:pt x="368714" y="247159"/>
                    <a:pt x="368714" y="252420"/>
                  </a:cubicBezTo>
                  <a:lnTo>
                    <a:pt x="368714" y="438158"/>
                  </a:lnTo>
                  <a:cubicBezTo>
                    <a:pt x="368714" y="443418"/>
                    <a:pt x="364447" y="447683"/>
                    <a:pt x="359189" y="447683"/>
                  </a:cubicBezTo>
                  <a:lnTo>
                    <a:pt x="98013" y="447683"/>
                  </a:lnTo>
                  <a:cubicBezTo>
                    <a:pt x="92898" y="447686"/>
                    <a:pt x="88688" y="443650"/>
                    <a:pt x="88488" y="438539"/>
                  </a:cubicBezTo>
                  <a:lnTo>
                    <a:pt x="88488" y="252420"/>
                  </a:lnTo>
                  <a:cubicBezTo>
                    <a:pt x="88488" y="247159"/>
                    <a:pt x="92755" y="242895"/>
                    <a:pt x="98013" y="242895"/>
                  </a:cubicBezTo>
                  <a:close/>
                  <a:moveTo>
                    <a:pt x="38101" y="96876"/>
                  </a:moveTo>
                  <a:cubicBezTo>
                    <a:pt x="32843" y="96876"/>
                    <a:pt x="28576" y="101141"/>
                    <a:pt x="28576" y="106401"/>
                  </a:cubicBezTo>
                  <a:lnTo>
                    <a:pt x="28576" y="107258"/>
                  </a:lnTo>
                  <a:cubicBezTo>
                    <a:pt x="28576" y="112519"/>
                    <a:pt x="32843" y="116783"/>
                    <a:pt x="38101" y="116783"/>
                  </a:cubicBezTo>
                  <a:cubicBezTo>
                    <a:pt x="43216" y="116788"/>
                    <a:pt x="47426" y="112751"/>
                    <a:pt x="47626" y="107639"/>
                  </a:cubicBezTo>
                  <a:lnTo>
                    <a:pt x="47626" y="106401"/>
                  </a:lnTo>
                  <a:cubicBezTo>
                    <a:pt x="47626" y="101141"/>
                    <a:pt x="43359" y="96876"/>
                    <a:pt x="38101" y="96876"/>
                  </a:cubicBezTo>
                  <a:close/>
                  <a:moveTo>
                    <a:pt x="11431" y="67730"/>
                  </a:moveTo>
                  <a:lnTo>
                    <a:pt x="450343" y="67730"/>
                  </a:lnTo>
                  <a:cubicBezTo>
                    <a:pt x="455601" y="67730"/>
                    <a:pt x="459868" y="71994"/>
                    <a:pt x="459868" y="77255"/>
                  </a:cubicBezTo>
                  <a:lnTo>
                    <a:pt x="459868" y="302235"/>
                  </a:lnTo>
                  <a:cubicBezTo>
                    <a:pt x="459868" y="307496"/>
                    <a:pt x="455601" y="311760"/>
                    <a:pt x="450343" y="311760"/>
                  </a:cubicBezTo>
                  <a:lnTo>
                    <a:pt x="396622" y="311760"/>
                  </a:lnTo>
                  <a:cubicBezTo>
                    <a:pt x="391364" y="311760"/>
                    <a:pt x="387097" y="307496"/>
                    <a:pt x="387097" y="302235"/>
                  </a:cubicBezTo>
                  <a:lnTo>
                    <a:pt x="387097" y="223178"/>
                  </a:lnTo>
                  <a:cubicBezTo>
                    <a:pt x="387097" y="217917"/>
                    <a:pt x="382830" y="213653"/>
                    <a:pt x="377572" y="213653"/>
                  </a:cubicBezTo>
                  <a:lnTo>
                    <a:pt x="82297" y="213653"/>
                  </a:lnTo>
                  <a:cubicBezTo>
                    <a:pt x="77039" y="213653"/>
                    <a:pt x="72772" y="217917"/>
                    <a:pt x="72772" y="223178"/>
                  </a:cubicBezTo>
                  <a:lnTo>
                    <a:pt x="72772" y="302235"/>
                  </a:lnTo>
                  <a:cubicBezTo>
                    <a:pt x="72772" y="307496"/>
                    <a:pt x="68505" y="311760"/>
                    <a:pt x="63247" y="311760"/>
                  </a:cubicBezTo>
                  <a:lnTo>
                    <a:pt x="9526" y="311760"/>
                  </a:lnTo>
                  <a:cubicBezTo>
                    <a:pt x="4268" y="311760"/>
                    <a:pt x="1" y="307496"/>
                    <a:pt x="1" y="302235"/>
                  </a:cubicBezTo>
                  <a:lnTo>
                    <a:pt x="1" y="77255"/>
                  </a:lnTo>
                  <a:cubicBezTo>
                    <a:pt x="-8" y="76550"/>
                    <a:pt x="49" y="75846"/>
                    <a:pt x="192" y="75155"/>
                  </a:cubicBezTo>
                  <a:cubicBezTo>
                    <a:pt x="1249" y="70001"/>
                    <a:pt x="6278" y="66677"/>
                    <a:pt x="11431" y="67730"/>
                  </a:cubicBezTo>
                  <a:close/>
                  <a:moveTo>
                    <a:pt x="83535" y="0"/>
                  </a:moveTo>
                  <a:cubicBezTo>
                    <a:pt x="83535" y="0"/>
                    <a:pt x="87629" y="0"/>
                    <a:pt x="92679" y="0"/>
                  </a:cubicBezTo>
                  <a:lnTo>
                    <a:pt x="362236" y="0"/>
                  </a:lnTo>
                  <a:cubicBezTo>
                    <a:pt x="367286" y="0"/>
                    <a:pt x="371380" y="0"/>
                    <a:pt x="371380" y="0"/>
                  </a:cubicBezTo>
                  <a:lnTo>
                    <a:pt x="371380" y="48673"/>
                  </a:lnTo>
                  <a:cubicBezTo>
                    <a:pt x="371380" y="48673"/>
                    <a:pt x="367286" y="48673"/>
                    <a:pt x="362236" y="48673"/>
                  </a:cubicBezTo>
                  <a:lnTo>
                    <a:pt x="92679" y="48673"/>
                  </a:lnTo>
                  <a:cubicBezTo>
                    <a:pt x="87629" y="48673"/>
                    <a:pt x="83535" y="48673"/>
                    <a:pt x="83535" y="48673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grpSp>
        <p:nvGrpSpPr>
          <p:cNvPr id="109" name="Group 86">
            <a:extLst>
              <a:ext uri="{FF2B5EF4-FFF2-40B4-BE49-F238E27FC236}">
                <a16:creationId xmlns:a16="http://schemas.microsoft.com/office/drawing/2014/main" id="{D58CD2F2-41ED-43B4-A6B6-B71751F4C88A}"/>
              </a:ext>
            </a:extLst>
          </p:cNvPr>
          <p:cNvGrpSpPr/>
          <p:nvPr/>
        </p:nvGrpSpPr>
        <p:grpSpPr>
          <a:xfrm>
            <a:off x="8508802" y="2903402"/>
            <a:ext cx="633324" cy="631686"/>
            <a:chOff x="5036160" y="2109986"/>
            <a:chExt cx="2230142" cy="2224374"/>
          </a:xfrm>
        </p:grpSpPr>
        <p:sp>
          <p:nvSpPr>
            <p:cNvPr id="110" name="椭圆 109">
              <a:extLst>
                <a:ext uri="{FF2B5EF4-FFF2-40B4-BE49-F238E27FC236}">
                  <a16:creationId xmlns:a16="http://schemas.microsoft.com/office/drawing/2014/main" id="{A2163297-48AD-4FEE-B99B-4F68421F02AC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11" name="椭圆 110">
              <a:extLst>
                <a:ext uri="{FF2B5EF4-FFF2-40B4-BE49-F238E27FC236}">
                  <a16:creationId xmlns:a16="http://schemas.microsoft.com/office/drawing/2014/main" id="{92F7273C-2633-4471-821F-02AC66A2CD76}"/>
                </a:ext>
              </a:extLst>
            </p:cNvPr>
            <p:cNvSpPr/>
            <p:nvPr/>
          </p:nvSpPr>
          <p:spPr>
            <a:xfrm rot="16200000">
              <a:off x="5040593" y="2109993"/>
              <a:ext cx="2214192" cy="2214190"/>
            </a:xfrm>
            <a:prstGeom prst="ellipse">
              <a:avLst/>
            </a:prstGeom>
            <a:gradFill flip="none" rotWithShape="1">
              <a:gsLst>
                <a:gs pos="55000">
                  <a:schemeClr val="accent1">
                    <a:lumMod val="54000"/>
                    <a:lumOff val="46000"/>
                    <a:alpha val="0"/>
                  </a:schemeClr>
                </a:gs>
                <a:gs pos="100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12" name="椭圆 111">
              <a:extLst>
                <a:ext uri="{FF2B5EF4-FFF2-40B4-BE49-F238E27FC236}">
                  <a16:creationId xmlns:a16="http://schemas.microsoft.com/office/drawing/2014/main" id="{6E5F993C-2623-4388-8677-E2F7C54BEB51}"/>
                </a:ext>
              </a:extLst>
            </p:cNvPr>
            <p:cNvSpPr/>
            <p:nvPr/>
          </p:nvSpPr>
          <p:spPr>
            <a:xfrm rot="15726438">
              <a:off x="5036159" y="2120169"/>
              <a:ext cx="2214192" cy="2214190"/>
            </a:xfrm>
            <a:prstGeom prst="ellipse">
              <a:avLst/>
            </a:prstGeom>
            <a:gradFill flip="none" rotWithShape="1">
              <a:gsLst>
                <a:gs pos="70000">
                  <a:schemeClr val="accent1">
                    <a:alpha val="0"/>
                    <a:lumMod val="85000"/>
                    <a:lumOff val="15000"/>
                  </a:schemeClr>
                </a:gs>
                <a:gs pos="85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13" name="椭圆 112">
              <a:extLst>
                <a:ext uri="{FF2B5EF4-FFF2-40B4-BE49-F238E27FC236}">
                  <a16:creationId xmlns:a16="http://schemas.microsoft.com/office/drawing/2014/main" id="{ADB26A7F-AC30-4768-834F-9CB9A8A292D4}"/>
                </a:ext>
              </a:extLst>
            </p:cNvPr>
            <p:cNvSpPr/>
            <p:nvPr/>
          </p:nvSpPr>
          <p:spPr>
            <a:xfrm rot="16200000">
              <a:off x="5052111" y="2109987"/>
              <a:ext cx="2214192" cy="2214190"/>
            </a:xfrm>
            <a:prstGeom prst="ellipse">
              <a:avLst/>
            </a:prstGeom>
            <a:gradFill flip="none" rotWithShape="1">
              <a:gsLst>
                <a:gs pos="65000">
                  <a:schemeClr val="accent1">
                    <a:alpha val="0"/>
                    <a:lumMod val="85000"/>
                    <a:lumOff val="15000"/>
                  </a:schemeClr>
                </a:gs>
                <a:gs pos="88000">
                  <a:schemeClr val="accent1">
                    <a:lumMod val="10000"/>
                    <a:lumOff val="90000"/>
                    <a:alpha val="7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  <p:sp>
          <p:nvSpPr>
            <p:cNvPr id="114" name="Freeform 172">
              <a:extLst>
                <a:ext uri="{FF2B5EF4-FFF2-40B4-BE49-F238E27FC236}">
                  <a16:creationId xmlns:a16="http://schemas.microsoft.com/office/drawing/2014/main" id="{8ABE4F26-7CEF-4494-9E83-5A4A538C8177}"/>
                </a:ext>
              </a:extLst>
            </p:cNvPr>
            <p:cNvSpPr/>
            <p:nvPr/>
          </p:nvSpPr>
          <p:spPr>
            <a:xfrm>
              <a:off x="5739978" y="2826545"/>
              <a:ext cx="822506" cy="791248"/>
            </a:xfrm>
            <a:custGeom>
              <a:avLst/>
              <a:gdLst>
                <a:gd name="connsiteX0" fmla="*/ 407099 w 463582"/>
                <a:gd name="connsiteY0" fmla="*/ 336244 h 445964"/>
                <a:gd name="connsiteX1" fmla="*/ 330327 w 463582"/>
                <a:gd name="connsiteY1" fmla="*/ 336244 h 445964"/>
                <a:gd name="connsiteX2" fmla="*/ 306896 w 463582"/>
                <a:gd name="connsiteY2" fmla="*/ 312812 h 445964"/>
                <a:gd name="connsiteX3" fmla="*/ 306896 w 463582"/>
                <a:gd name="connsiteY3" fmla="*/ 312717 h 445964"/>
                <a:gd name="connsiteX4" fmla="*/ 306896 w 463582"/>
                <a:gd name="connsiteY4" fmla="*/ 216133 h 445964"/>
                <a:gd name="connsiteX5" fmla="*/ 330327 w 463582"/>
                <a:gd name="connsiteY5" fmla="*/ 192702 h 445964"/>
                <a:gd name="connsiteX6" fmla="*/ 407099 w 463582"/>
                <a:gd name="connsiteY6" fmla="*/ 192702 h 445964"/>
                <a:gd name="connsiteX7" fmla="*/ 430626 w 463582"/>
                <a:gd name="connsiteY7" fmla="*/ 169175 h 445964"/>
                <a:gd name="connsiteX8" fmla="*/ 430626 w 463582"/>
                <a:gd name="connsiteY8" fmla="*/ 110977 h 445964"/>
                <a:gd name="connsiteX9" fmla="*/ 407099 w 463582"/>
                <a:gd name="connsiteY9" fmla="*/ 87451 h 445964"/>
                <a:gd name="connsiteX10" fmla="*/ 24575 w 463582"/>
                <a:gd name="connsiteY10" fmla="*/ 87451 h 445964"/>
                <a:gd name="connsiteX11" fmla="*/ 1143 w 463582"/>
                <a:gd name="connsiteY11" fmla="*/ 110977 h 445964"/>
                <a:gd name="connsiteX12" fmla="*/ 1143 w 463582"/>
                <a:gd name="connsiteY12" fmla="*/ 422540 h 445964"/>
                <a:gd name="connsiteX13" fmla="*/ 24575 w 463582"/>
                <a:gd name="connsiteY13" fmla="*/ 445972 h 445964"/>
                <a:gd name="connsiteX14" fmla="*/ 407099 w 463582"/>
                <a:gd name="connsiteY14" fmla="*/ 445972 h 445964"/>
                <a:gd name="connsiteX15" fmla="*/ 430626 w 463582"/>
                <a:gd name="connsiteY15" fmla="*/ 422635 h 445964"/>
                <a:gd name="connsiteX16" fmla="*/ 430626 w 463582"/>
                <a:gd name="connsiteY16" fmla="*/ 422540 h 445964"/>
                <a:gd name="connsiteX17" fmla="*/ 430626 w 463582"/>
                <a:gd name="connsiteY17" fmla="*/ 359675 h 445964"/>
                <a:gd name="connsiteX18" fmla="*/ 407194 w 463582"/>
                <a:gd name="connsiteY18" fmla="*/ 336244 h 445964"/>
                <a:gd name="connsiteX19" fmla="*/ 407099 w 463582"/>
                <a:gd name="connsiteY19" fmla="*/ 336244 h 445964"/>
                <a:gd name="connsiteX20" fmla="*/ 377285 w 463582"/>
                <a:gd name="connsiteY20" fmla="*/ 16775 h 445964"/>
                <a:gd name="connsiteX21" fmla="*/ 337890 w 463582"/>
                <a:gd name="connsiteY21" fmla="*/ 2916 h 445964"/>
                <a:gd name="connsiteX22" fmla="*/ 336328 w 463582"/>
                <a:gd name="connsiteY22" fmla="*/ 3726 h 445964"/>
                <a:gd name="connsiteX23" fmla="*/ 219171 w 463582"/>
                <a:gd name="connsiteY23" fmla="*/ 68591 h 445964"/>
                <a:gd name="connsiteX24" fmla="*/ 402241 w 463582"/>
                <a:gd name="connsiteY24" fmla="*/ 68591 h 445964"/>
                <a:gd name="connsiteX25" fmla="*/ 434435 w 463582"/>
                <a:gd name="connsiteY25" fmla="*/ 212133 h 445964"/>
                <a:gd name="connsiteX26" fmla="*/ 364903 w 463582"/>
                <a:gd name="connsiteY26" fmla="*/ 212133 h 445964"/>
                <a:gd name="connsiteX27" fmla="*/ 334614 w 463582"/>
                <a:gd name="connsiteY27" fmla="*/ 242422 h 445964"/>
                <a:gd name="connsiteX28" fmla="*/ 334614 w 463582"/>
                <a:gd name="connsiteY28" fmla="*/ 283761 h 445964"/>
                <a:gd name="connsiteX29" fmla="*/ 364903 w 463582"/>
                <a:gd name="connsiteY29" fmla="*/ 314050 h 445964"/>
                <a:gd name="connsiteX30" fmla="*/ 434435 w 463582"/>
                <a:gd name="connsiteY30" fmla="*/ 314050 h 445964"/>
                <a:gd name="connsiteX31" fmla="*/ 464725 w 463582"/>
                <a:gd name="connsiteY31" fmla="*/ 283761 h 445964"/>
                <a:gd name="connsiteX32" fmla="*/ 464725 w 463582"/>
                <a:gd name="connsiteY32" fmla="*/ 242613 h 445964"/>
                <a:gd name="connsiteX33" fmla="*/ 434531 w 463582"/>
                <a:gd name="connsiteY33" fmla="*/ 212323 h 445964"/>
                <a:gd name="connsiteX34" fmla="*/ 445675 w 463582"/>
                <a:gd name="connsiteY34" fmla="*/ 262901 h 445964"/>
                <a:gd name="connsiteX35" fmla="*/ 436150 w 463582"/>
                <a:gd name="connsiteY35" fmla="*/ 272426 h 445964"/>
                <a:gd name="connsiteX36" fmla="*/ 426625 w 463582"/>
                <a:gd name="connsiteY36" fmla="*/ 262901 h 445964"/>
                <a:gd name="connsiteX37" fmla="*/ 426625 w 463582"/>
                <a:gd name="connsiteY37" fmla="*/ 261663 h 445964"/>
                <a:gd name="connsiteX38" fmla="*/ 436150 w 463582"/>
                <a:gd name="connsiteY38" fmla="*/ 252138 h 445964"/>
                <a:gd name="connsiteX39" fmla="*/ 445675 w 463582"/>
                <a:gd name="connsiteY39" fmla="*/ 261663 h 445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63582" h="445964">
                  <a:moveTo>
                    <a:pt x="407099" y="336244"/>
                  </a:moveTo>
                  <a:lnTo>
                    <a:pt x="330327" y="336244"/>
                  </a:lnTo>
                  <a:cubicBezTo>
                    <a:pt x="317383" y="336244"/>
                    <a:pt x="306896" y="325753"/>
                    <a:pt x="306896" y="312812"/>
                  </a:cubicBezTo>
                  <a:cubicBezTo>
                    <a:pt x="306896" y="312781"/>
                    <a:pt x="306896" y="312748"/>
                    <a:pt x="306896" y="312717"/>
                  </a:cubicBezTo>
                  <a:lnTo>
                    <a:pt x="306896" y="216133"/>
                  </a:lnTo>
                  <a:cubicBezTo>
                    <a:pt x="306896" y="203193"/>
                    <a:pt x="317383" y="192702"/>
                    <a:pt x="330327" y="192702"/>
                  </a:cubicBezTo>
                  <a:lnTo>
                    <a:pt x="407099" y="192702"/>
                  </a:lnTo>
                  <a:cubicBezTo>
                    <a:pt x="420091" y="192702"/>
                    <a:pt x="430626" y="182168"/>
                    <a:pt x="430626" y="169175"/>
                  </a:cubicBezTo>
                  <a:lnTo>
                    <a:pt x="430626" y="110977"/>
                  </a:lnTo>
                  <a:cubicBezTo>
                    <a:pt x="430626" y="97984"/>
                    <a:pt x="420091" y="87451"/>
                    <a:pt x="407099" y="87451"/>
                  </a:cubicBezTo>
                  <a:lnTo>
                    <a:pt x="24575" y="87451"/>
                  </a:lnTo>
                  <a:cubicBezTo>
                    <a:pt x="11621" y="87503"/>
                    <a:pt x="1143" y="98020"/>
                    <a:pt x="1143" y="110977"/>
                  </a:cubicBezTo>
                  <a:lnTo>
                    <a:pt x="1143" y="422540"/>
                  </a:lnTo>
                  <a:cubicBezTo>
                    <a:pt x="1143" y="435485"/>
                    <a:pt x="11621" y="445972"/>
                    <a:pt x="24575" y="445972"/>
                  </a:cubicBezTo>
                  <a:lnTo>
                    <a:pt x="407099" y="445972"/>
                  </a:lnTo>
                  <a:cubicBezTo>
                    <a:pt x="420043" y="446029"/>
                    <a:pt x="430568" y="435580"/>
                    <a:pt x="430626" y="422635"/>
                  </a:cubicBezTo>
                  <a:cubicBezTo>
                    <a:pt x="430626" y="422607"/>
                    <a:pt x="430626" y="422569"/>
                    <a:pt x="430626" y="422540"/>
                  </a:cubicBezTo>
                  <a:lnTo>
                    <a:pt x="430626" y="359675"/>
                  </a:lnTo>
                  <a:cubicBezTo>
                    <a:pt x="430626" y="346734"/>
                    <a:pt x="420139" y="336244"/>
                    <a:pt x="407194" y="336244"/>
                  </a:cubicBezTo>
                  <a:cubicBezTo>
                    <a:pt x="407165" y="336244"/>
                    <a:pt x="407127" y="336244"/>
                    <a:pt x="407099" y="336244"/>
                  </a:cubicBezTo>
                  <a:close/>
                  <a:moveTo>
                    <a:pt x="377285" y="16775"/>
                  </a:moveTo>
                  <a:cubicBezTo>
                    <a:pt x="370237" y="2070"/>
                    <a:pt x="352597" y="-4134"/>
                    <a:pt x="337890" y="2916"/>
                  </a:cubicBezTo>
                  <a:cubicBezTo>
                    <a:pt x="337366" y="3170"/>
                    <a:pt x="336842" y="3441"/>
                    <a:pt x="336328" y="3726"/>
                  </a:cubicBezTo>
                  <a:lnTo>
                    <a:pt x="219171" y="68591"/>
                  </a:lnTo>
                  <a:lnTo>
                    <a:pt x="402241" y="68591"/>
                  </a:lnTo>
                  <a:close/>
                  <a:moveTo>
                    <a:pt x="434435" y="212133"/>
                  </a:moveTo>
                  <a:lnTo>
                    <a:pt x="364903" y="212133"/>
                  </a:lnTo>
                  <a:cubicBezTo>
                    <a:pt x="348177" y="212133"/>
                    <a:pt x="334614" y="225694"/>
                    <a:pt x="334614" y="242422"/>
                  </a:cubicBezTo>
                  <a:lnTo>
                    <a:pt x="334614" y="283761"/>
                  </a:lnTo>
                  <a:cubicBezTo>
                    <a:pt x="334614" y="300490"/>
                    <a:pt x="348177" y="314050"/>
                    <a:pt x="364903" y="314050"/>
                  </a:cubicBezTo>
                  <a:lnTo>
                    <a:pt x="434435" y="314050"/>
                  </a:lnTo>
                  <a:cubicBezTo>
                    <a:pt x="451162" y="314050"/>
                    <a:pt x="464725" y="300490"/>
                    <a:pt x="464725" y="283761"/>
                  </a:cubicBezTo>
                  <a:lnTo>
                    <a:pt x="464725" y="242613"/>
                  </a:lnTo>
                  <a:cubicBezTo>
                    <a:pt x="464725" y="225921"/>
                    <a:pt x="451219" y="212376"/>
                    <a:pt x="434531" y="212323"/>
                  </a:cubicBezTo>
                  <a:close/>
                  <a:moveTo>
                    <a:pt x="445675" y="262901"/>
                  </a:moveTo>
                  <a:cubicBezTo>
                    <a:pt x="445675" y="268162"/>
                    <a:pt x="441408" y="272426"/>
                    <a:pt x="436150" y="272426"/>
                  </a:cubicBezTo>
                  <a:cubicBezTo>
                    <a:pt x="430893" y="272426"/>
                    <a:pt x="426625" y="268162"/>
                    <a:pt x="426625" y="262901"/>
                  </a:cubicBezTo>
                  <a:lnTo>
                    <a:pt x="426625" y="261663"/>
                  </a:lnTo>
                  <a:cubicBezTo>
                    <a:pt x="426625" y="256402"/>
                    <a:pt x="430893" y="252138"/>
                    <a:pt x="436150" y="252138"/>
                  </a:cubicBezTo>
                  <a:cubicBezTo>
                    <a:pt x="441408" y="252138"/>
                    <a:pt x="445675" y="256402"/>
                    <a:pt x="445675" y="261663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endParaRPr>
            </a:p>
          </p:txBody>
        </p:sp>
      </p:grpSp>
      <p:sp>
        <p:nvSpPr>
          <p:cNvPr id="95" name="@稿定PPT实验室 出品-13-1">
            <a:extLst>
              <a:ext uri="{FF2B5EF4-FFF2-40B4-BE49-F238E27FC236}">
                <a16:creationId xmlns:a16="http://schemas.microsoft.com/office/drawing/2014/main" id="{6C5ED901-CF4F-459D-AE42-123C941A26BA}"/>
              </a:ext>
            </a:extLst>
          </p:cNvPr>
          <p:cNvSpPr txBox="1">
            <a:spLocks/>
          </p:cNvSpPr>
          <p:nvPr/>
        </p:nvSpPr>
        <p:spPr>
          <a:xfrm>
            <a:off x="2476947" y="1116542"/>
            <a:ext cx="7238106" cy="36670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设计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PP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，海量素材持续更新，上千款模板选择，总有一款适合你</a:t>
            </a:r>
          </a:p>
        </p:txBody>
      </p:sp>
      <p:sp>
        <p:nvSpPr>
          <p:cNvPr id="96" name="@稿定PPT实验室 出品-13-1">
            <a:extLst>
              <a:ext uri="{FF2B5EF4-FFF2-40B4-BE49-F238E27FC236}">
                <a16:creationId xmlns:a16="http://schemas.microsoft.com/office/drawing/2014/main" id="{AB1E7AE6-F18C-42E6-B618-2D302E81045E}"/>
              </a:ext>
            </a:extLst>
          </p:cNvPr>
          <p:cNvSpPr txBox="1">
            <a:spLocks/>
          </p:cNvSpPr>
          <p:nvPr/>
        </p:nvSpPr>
        <p:spPr>
          <a:xfrm>
            <a:off x="2476947" y="1484504"/>
            <a:ext cx="7238106" cy="23434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Mandamus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mediocrem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reprehendunt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eum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eu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, cu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pertinax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ocurreret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50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 his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774186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矩形 26">
            <a:extLst>
              <a:ext uri="{FF2B5EF4-FFF2-40B4-BE49-F238E27FC236}">
                <a16:creationId xmlns:a16="http://schemas.microsoft.com/office/drawing/2014/main" id="{F64E47BF-B636-4086-B10E-8C239FB9E69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3">
                  <a:lumMod val="20000"/>
                  <a:lumOff val="80000"/>
                  <a:alpha val="10000"/>
                </a:schemeClr>
              </a:gs>
            </a:gsLst>
            <a:lin ang="16200000" scaled="1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518A90B-D9B5-4ABE-A9A6-4E21842FA3A1}"/>
              </a:ext>
            </a:extLst>
          </p:cNvPr>
          <p:cNvSpPr/>
          <p:nvPr/>
        </p:nvSpPr>
        <p:spPr>
          <a:xfrm>
            <a:off x="556050" y="1695450"/>
            <a:ext cx="2667000" cy="17335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89BF086-4DC6-4680-B4E7-92714B039A41}"/>
              </a:ext>
            </a:extLst>
          </p:cNvPr>
          <p:cNvSpPr txBox="1"/>
          <p:nvPr/>
        </p:nvSpPr>
        <p:spPr>
          <a:xfrm>
            <a:off x="1531435" y="1900006"/>
            <a:ext cx="7162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F6F48"/>
                    </a:gs>
                    <a:gs pos="100000">
                      <a:srgbClr val="EF6F48">
                        <a:lumMod val="40000"/>
                        <a:lumOff val="60000"/>
                        <a:alpha val="20000"/>
                      </a:srgbClr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1</a:t>
            </a: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6E98AF9E-A2E6-4657-9C04-8BB1EE74F055}"/>
              </a:ext>
            </a:extLst>
          </p:cNvPr>
          <p:cNvCxnSpPr/>
          <p:nvPr/>
        </p:nvCxnSpPr>
        <p:spPr>
          <a:xfrm>
            <a:off x="868470" y="2423226"/>
            <a:ext cx="204216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稿定PPT-10-2">
            <a:extLst>
              <a:ext uri="{FF2B5EF4-FFF2-40B4-BE49-F238E27FC236}">
                <a16:creationId xmlns:a16="http://schemas.microsoft.com/office/drawing/2014/main" id="{A7AE9439-3752-4729-9691-51F7E5FBB22C}"/>
              </a:ext>
            </a:extLst>
          </p:cNvPr>
          <p:cNvSpPr txBox="1"/>
          <p:nvPr/>
        </p:nvSpPr>
        <p:spPr>
          <a:xfrm>
            <a:off x="868470" y="2578114"/>
            <a:ext cx="20421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path path="circle">
                    <a:fillToRect r="100000" b="100000"/>
                  </a:path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F6F48"/>
                    </a:gs>
                    <a:gs pos="100000">
                      <a:srgbClr val="E2524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上千款模板素材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EF6F48"/>
                  </a:gs>
                  <a:gs pos="100000">
                    <a:srgbClr val="E2524F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F6F48"/>
                    </a:gs>
                    <a:gs pos="100000">
                      <a:srgbClr val="E2524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0DAD4B7-64A6-4924-83C6-661C24FCE50E}"/>
              </a:ext>
            </a:extLst>
          </p:cNvPr>
          <p:cNvSpPr/>
          <p:nvPr/>
        </p:nvSpPr>
        <p:spPr>
          <a:xfrm>
            <a:off x="556050" y="3543402"/>
            <a:ext cx="2667000" cy="276532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448641B-160B-411D-B7C6-99D5461D11D4}"/>
              </a:ext>
            </a:extLst>
          </p:cNvPr>
          <p:cNvSpPr txBox="1"/>
          <p:nvPr/>
        </p:nvSpPr>
        <p:spPr>
          <a:xfrm>
            <a:off x="1531435" y="3952220"/>
            <a:ext cx="7162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5</a:t>
            </a: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CB41446A-E7B0-4A97-B193-C100C1099610}"/>
              </a:ext>
            </a:extLst>
          </p:cNvPr>
          <p:cNvCxnSpPr/>
          <p:nvPr/>
        </p:nvCxnSpPr>
        <p:spPr>
          <a:xfrm>
            <a:off x="868470" y="4475440"/>
            <a:ext cx="20421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稿定PPT-10-2">
            <a:extLst>
              <a:ext uri="{FF2B5EF4-FFF2-40B4-BE49-F238E27FC236}">
                <a16:creationId xmlns:a16="http://schemas.microsoft.com/office/drawing/2014/main" id="{FE9E1185-2462-4ADD-8483-79BD740D962D}"/>
              </a:ext>
            </a:extLst>
          </p:cNvPr>
          <p:cNvSpPr txBox="1"/>
          <p:nvPr/>
        </p:nvSpPr>
        <p:spPr>
          <a:xfrm>
            <a:off x="868470" y="4716627"/>
            <a:ext cx="2042160" cy="113731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D4A22739-C82E-430F-A1C7-4E97D653C333}"/>
              </a:ext>
            </a:extLst>
          </p:cNvPr>
          <p:cNvSpPr/>
          <p:nvPr/>
        </p:nvSpPr>
        <p:spPr>
          <a:xfrm>
            <a:off x="3360350" y="1695450"/>
            <a:ext cx="2667000" cy="276532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1948C285-0D16-4C0B-8BCB-150F0CF34524}"/>
              </a:ext>
            </a:extLst>
          </p:cNvPr>
          <p:cNvSpPr txBox="1"/>
          <p:nvPr/>
        </p:nvSpPr>
        <p:spPr>
          <a:xfrm>
            <a:off x="4335735" y="2104268"/>
            <a:ext cx="7162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2</a:t>
            </a:r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09BDF08C-B1F1-4D68-BEFD-33C647CE8A9E}"/>
              </a:ext>
            </a:extLst>
          </p:cNvPr>
          <p:cNvCxnSpPr/>
          <p:nvPr/>
        </p:nvCxnSpPr>
        <p:spPr>
          <a:xfrm>
            <a:off x="3672770" y="2627488"/>
            <a:ext cx="20421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稿定PPT-10-2">
            <a:extLst>
              <a:ext uri="{FF2B5EF4-FFF2-40B4-BE49-F238E27FC236}">
                <a16:creationId xmlns:a16="http://schemas.microsoft.com/office/drawing/2014/main" id="{790A5B09-B1BE-4FB4-8942-090AD733088E}"/>
              </a:ext>
            </a:extLst>
          </p:cNvPr>
          <p:cNvSpPr txBox="1"/>
          <p:nvPr/>
        </p:nvSpPr>
        <p:spPr>
          <a:xfrm>
            <a:off x="3672770" y="2868675"/>
            <a:ext cx="2042160" cy="113731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FE495AC4-A626-48B7-9B52-FE1CE3591946}"/>
              </a:ext>
            </a:extLst>
          </p:cNvPr>
          <p:cNvSpPr/>
          <p:nvPr/>
        </p:nvSpPr>
        <p:spPr>
          <a:xfrm>
            <a:off x="3360350" y="4575175"/>
            <a:ext cx="2667000" cy="17335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D37DB99-EBCD-44A9-BD49-8FABF31E24AF}"/>
              </a:ext>
            </a:extLst>
          </p:cNvPr>
          <p:cNvSpPr txBox="1"/>
          <p:nvPr/>
        </p:nvSpPr>
        <p:spPr>
          <a:xfrm>
            <a:off x="4335735" y="4779731"/>
            <a:ext cx="7162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40000"/>
                        <a:lumOff val="60000"/>
                        <a:alpha val="20000"/>
                      </a:schemeClr>
                    </a:gs>
                  </a:gsLst>
                  <a:path path="circle">
                    <a:fillToRect r="100000" b="100000"/>
                  </a:path>
                </a:gradFill>
                <a:latin typeface="Anton" panose="000005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28675"/>
                    </a:gs>
                    <a:gs pos="100000">
                      <a:srgbClr val="428675">
                        <a:lumMod val="40000"/>
                        <a:lumOff val="60000"/>
                        <a:alpha val="20000"/>
                      </a:srgbClr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6</a:t>
            </a:r>
          </a:p>
        </p:txBody>
      </p: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FDF40B93-810C-4F27-B5B9-944D7591D9C1}"/>
              </a:ext>
            </a:extLst>
          </p:cNvPr>
          <p:cNvCxnSpPr/>
          <p:nvPr/>
        </p:nvCxnSpPr>
        <p:spPr>
          <a:xfrm>
            <a:off x="3672770" y="5302951"/>
            <a:ext cx="204216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稿定PPT-10-2">
            <a:extLst>
              <a:ext uri="{FF2B5EF4-FFF2-40B4-BE49-F238E27FC236}">
                <a16:creationId xmlns:a16="http://schemas.microsoft.com/office/drawing/2014/main" id="{07D1BCDF-5003-44EB-9367-0E606F4EC179}"/>
              </a:ext>
            </a:extLst>
          </p:cNvPr>
          <p:cNvSpPr txBox="1"/>
          <p:nvPr/>
        </p:nvSpPr>
        <p:spPr>
          <a:xfrm>
            <a:off x="3672770" y="5457839"/>
            <a:ext cx="20421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path path="circle">
                    <a:fillToRect r="100000" b="100000"/>
                  </a:path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28675"/>
                    </a:gs>
                    <a:gs pos="100000">
                      <a:srgbClr val="3B6D47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上千款模板素材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28675"/>
                  </a:gs>
                  <a:gs pos="100000">
                    <a:srgbClr val="3B6D47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28675"/>
                    </a:gs>
                    <a:gs pos="100000">
                      <a:srgbClr val="3B6D47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936AA923-A05F-41FB-882A-8C1A3B459834}"/>
              </a:ext>
            </a:extLst>
          </p:cNvPr>
          <p:cNvSpPr/>
          <p:nvPr/>
        </p:nvSpPr>
        <p:spPr>
          <a:xfrm>
            <a:off x="6164650" y="1695450"/>
            <a:ext cx="2667000" cy="173355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EFE2320F-37E4-4784-ABD0-87FB4A7F4478}"/>
              </a:ext>
            </a:extLst>
          </p:cNvPr>
          <p:cNvSpPr txBox="1"/>
          <p:nvPr/>
        </p:nvSpPr>
        <p:spPr>
          <a:xfrm>
            <a:off x="7140035" y="1900006"/>
            <a:ext cx="7162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F6F48"/>
                    </a:gs>
                    <a:gs pos="100000">
                      <a:srgbClr val="EF6F48">
                        <a:lumMod val="40000"/>
                        <a:lumOff val="60000"/>
                        <a:alpha val="20000"/>
                      </a:srgbClr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3</a:t>
            </a:r>
          </a:p>
        </p:txBody>
      </p: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7C773CB5-4494-4D48-BEA0-FD54803B1C0D}"/>
              </a:ext>
            </a:extLst>
          </p:cNvPr>
          <p:cNvCxnSpPr/>
          <p:nvPr/>
        </p:nvCxnSpPr>
        <p:spPr>
          <a:xfrm>
            <a:off x="6477070" y="2423226"/>
            <a:ext cx="204216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稿定PPT-10-2">
            <a:extLst>
              <a:ext uri="{FF2B5EF4-FFF2-40B4-BE49-F238E27FC236}">
                <a16:creationId xmlns:a16="http://schemas.microsoft.com/office/drawing/2014/main" id="{13CC3502-C29C-4553-860F-B72CA5B4CEAA}"/>
              </a:ext>
            </a:extLst>
          </p:cNvPr>
          <p:cNvSpPr txBox="1"/>
          <p:nvPr/>
        </p:nvSpPr>
        <p:spPr>
          <a:xfrm>
            <a:off x="6477070" y="2578114"/>
            <a:ext cx="20421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path path="circle">
                    <a:fillToRect r="100000" b="100000"/>
                  </a:path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F6F48"/>
                    </a:gs>
                    <a:gs pos="100000">
                      <a:srgbClr val="E2524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上千款模板素材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EF6F48"/>
                  </a:gs>
                  <a:gs pos="100000">
                    <a:srgbClr val="E2524F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F6F48"/>
                    </a:gs>
                    <a:gs pos="100000">
                      <a:srgbClr val="E2524F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4786BF6-B00A-4EE3-857F-B5402C5356B0}"/>
              </a:ext>
            </a:extLst>
          </p:cNvPr>
          <p:cNvSpPr/>
          <p:nvPr/>
        </p:nvSpPr>
        <p:spPr>
          <a:xfrm>
            <a:off x="6164650" y="3543402"/>
            <a:ext cx="2667000" cy="276532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082E9D4E-7D73-45C9-9A9C-C2540176F644}"/>
              </a:ext>
            </a:extLst>
          </p:cNvPr>
          <p:cNvSpPr txBox="1"/>
          <p:nvPr/>
        </p:nvSpPr>
        <p:spPr>
          <a:xfrm>
            <a:off x="7140035" y="3952220"/>
            <a:ext cx="7162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7</a:t>
            </a:r>
          </a:p>
        </p:txBody>
      </p: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35D30424-2000-4569-88B3-C8A3E42B05E8}"/>
              </a:ext>
            </a:extLst>
          </p:cNvPr>
          <p:cNvCxnSpPr/>
          <p:nvPr/>
        </p:nvCxnSpPr>
        <p:spPr>
          <a:xfrm>
            <a:off x="6477070" y="4475440"/>
            <a:ext cx="20421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稿定PPT-10-2">
            <a:extLst>
              <a:ext uri="{FF2B5EF4-FFF2-40B4-BE49-F238E27FC236}">
                <a16:creationId xmlns:a16="http://schemas.microsoft.com/office/drawing/2014/main" id="{F227540A-AF0D-49F0-824A-DD97E3F0DA31}"/>
              </a:ext>
            </a:extLst>
          </p:cNvPr>
          <p:cNvSpPr txBox="1"/>
          <p:nvPr/>
        </p:nvSpPr>
        <p:spPr>
          <a:xfrm>
            <a:off x="6477070" y="4716627"/>
            <a:ext cx="2042160" cy="113731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579372B5-200A-4687-BA4F-A4E9024B46A8}"/>
              </a:ext>
            </a:extLst>
          </p:cNvPr>
          <p:cNvSpPr/>
          <p:nvPr/>
        </p:nvSpPr>
        <p:spPr>
          <a:xfrm>
            <a:off x="8968950" y="1695450"/>
            <a:ext cx="2667000" cy="27653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EA979F10-5A68-4714-8745-65D9C5130CDB}"/>
              </a:ext>
            </a:extLst>
          </p:cNvPr>
          <p:cNvSpPr txBox="1"/>
          <p:nvPr/>
        </p:nvSpPr>
        <p:spPr>
          <a:xfrm>
            <a:off x="9944335" y="2104268"/>
            <a:ext cx="7162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4</a:t>
            </a:r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84407855-D312-4555-9DB8-71284C5CC793}"/>
              </a:ext>
            </a:extLst>
          </p:cNvPr>
          <p:cNvCxnSpPr/>
          <p:nvPr/>
        </p:nvCxnSpPr>
        <p:spPr>
          <a:xfrm>
            <a:off x="9281370" y="2627488"/>
            <a:ext cx="20421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稿定PPT-10-2">
            <a:extLst>
              <a:ext uri="{FF2B5EF4-FFF2-40B4-BE49-F238E27FC236}">
                <a16:creationId xmlns:a16="http://schemas.microsoft.com/office/drawing/2014/main" id="{03454B36-A79C-4448-AABF-E8C697F4D4F4}"/>
              </a:ext>
            </a:extLst>
          </p:cNvPr>
          <p:cNvSpPr txBox="1"/>
          <p:nvPr/>
        </p:nvSpPr>
        <p:spPr>
          <a:xfrm>
            <a:off x="9281370" y="2868675"/>
            <a:ext cx="2042160" cy="113731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61C76104-C642-49F5-BB70-365677E77853}"/>
              </a:ext>
            </a:extLst>
          </p:cNvPr>
          <p:cNvSpPr/>
          <p:nvPr/>
        </p:nvSpPr>
        <p:spPr>
          <a:xfrm>
            <a:off x="8968950" y="4575175"/>
            <a:ext cx="2667000" cy="17335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C15F66E2-9326-4DB6-9587-0FEF50D3B56B}"/>
              </a:ext>
            </a:extLst>
          </p:cNvPr>
          <p:cNvSpPr txBox="1"/>
          <p:nvPr/>
        </p:nvSpPr>
        <p:spPr>
          <a:xfrm>
            <a:off x="9944335" y="4779731"/>
            <a:ext cx="7162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40000"/>
                        <a:lumOff val="60000"/>
                        <a:alpha val="20000"/>
                      </a:schemeClr>
                    </a:gs>
                  </a:gsLst>
                  <a:path path="circle">
                    <a:fillToRect r="100000" b="100000"/>
                  </a:path>
                </a:gradFill>
                <a:latin typeface="Anton" panose="000005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28675"/>
                    </a:gs>
                    <a:gs pos="100000">
                      <a:srgbClr val="428675">
                        <a:lumMod val="40000"/>
                        <a:lumOff val="60000"/>
                        <a:alpha val="20000"/>
                      </a:srgbClr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8</a:t>
            </a:r>
          </a:p>
        </p:txBody>
      </p: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32F6FFD5-0BF6-4D6B-BC3B-BE4442384D66}"/>
              </a:ext>
            </a:extLst>
          </p:cNvPr>
          <p:cNvCxnSpPr/>
          <p:nvPr/>
        </p:nvCxnSpPr>
        <p:spPr>
          <a:xfrm>
            <a:off x="9281370" y="5302951"/>
            <a:ext cx="204216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稿定PPT-10-2">
            <a:extLst>
              <a:ext uri="{FF2B5EF4-FFF2-40B4-BE49-F238E27FC236}">
                <a16:creationId xmlns:a16="http://schemas.microsoft.com/office/drawing/2014/main" id="{8704C618-261C-477E-8093-C3A8C3BAA4B6}"/>
              </a:ext>
            </a:extLst>
          </p:cNvPr>
          <p:cNvSpPr txBox="1"/>
          <p:nvPr/>
        </p:nvSpPr>
        <p:spPr>
          <a:xfrm>
            <a:off x="9281370" y="5457839"/>
            <a:ext cx="20421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path path="circle">
                    <a:fillToRect r="100000" b="100000"/>
                  </a:path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28675"/>
                    </a:gs>
                    <a:gs pos="100000">
                      <a:srgbClr val="3B6D47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上千款模板素材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28675"/>
                  </a:gs>
                  <a:gs pos="100000">
                    <a:srgbClr val="3B6D47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28675"/>
                    </a:gs>
                    <a:gs pos="100000">
                      <a:srgbClr val="3B6D47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D792F09F-3C38-46C4-9784-CD56B223B1AB}"/>
              </a:ext>
            </a:extLst>
          </p:cNvPr>
          <p:cNvSpPr/>
          <p:nvPr/>
        </p:nvSpPr>
        <p:spPr>
          <a:xfrm rot="366556">
            <a:off x="4419529" y="-358235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14625B63-F54D-4350-B5A1-4A936393022E}"/>
              </a:ext>
            </a:extLst>
          </p:cNvPr>
          <p:cNvSpPr/>
          <p:nvPr/>
        </p:nvSpPr>
        <p:spPr>
          <a:xfrm rot="366556">
            <a:off x="4423822" y="-398349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2CCC1394-A8C6-44A3-ADD3-E4B960360CC0}"/>
              </a:ext>
            </a:extLst>
          </p:cNvPr>
          <p:cNvSpPr/>
          <p:nvPr/>
        </p:nvSpPr>
        <p:spPr>
          <a:xfrm rot="366556">
            <a:off x="4428116" y="-438463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0E31E225-0A9D-47A1-A4C5-7C3B9C972B0F}"/>
              </a:ext>
            </a:extLst>
          </p:cNvPr>
          <p:cNvSpPr/>
          <p:nvPr/>
        </p:nvSpPr>
        <p:spPr>
          <a:xfrm rot="366556">
            <a:off x="4432409" y="-478577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7C62B763-16C6-4C5E-A879-CF8D35B800D7}"/>
              </a:ext>
            </a:extLst>
          </p:cNvPr>
          <p:cNvSpPr/>
          <p:nvPr/>
        </p:nvSpPr>
        <p:spPr>
          <a:xfrm rot="366556">
            <a:off x="4436703" y="-518690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8" name="任意多边形: 形状 67">
            <a:extLst>
              <a:ext uri="{FF2B5EF4-FFF2-40B4-BE49-F238E27FC236}">
                <a16:creationId xmlns:a16="http://schemas.microsoft.com/office/drawing/2014/main" id="{95F3D18C-F859-4769-8E21-967330F7F18D}"/>
              </a:ext>
            </a:extLst>
          </p:cNvPr>
          <p:cNvSpPr/>
          <p:nvPr/>
        </p:nvSpPr>
        <p:spPr>
          <a:xfrm rot="366556">
            <a:off x="4440996" y="-558804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9" name="任意多边形: 形状 68">
            <a:extLst>
              <a:ext uri="{FF2B5EF4-FFF2-40B4-BE49-F238E27FC236}">
                <a16:creationId xmlns:a16="http://schemas.microsoft.com/office/drawing/2014/main" id="{4102C134-0419-43D1-BB5A-863902C8C71D}"/>
              </a:ext>
            </a:extLst>
          </p:cNvPr>
          <p:cNvSpPr/>
          <p:nvPr/>
        </p:nvSpPr>
        <p:spPr>
          <a:xfrm rot="366556">
            <a:off x="4445290" y="-598918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0" name="任意多边形: 形状 69">
            <a:extLst>
              <a:ext uri="{FF2B5EF4-FFF2-40B4-BE49-F238E27FC236}">
                <a16:creationId xmlns:a16="http://schemas.microsoft.com/office/drawing/2014/main" id="{473AA881-6A16-4922-B094-7C75095009E4}"/>
              </a:ext>
            </a:extLst>
          </p:cNvPr>
          <p:cNvSpPr/>
          <p:nvPr/>
        </p:nvSpPr>
        <p:spPr>
          <a:xfrm rot="366556">
            <a:off x="4449583" y="-639032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1" name="任意多边形: 形状 70">
            <a:extLst>
              <a:ext uri="{FF2B5EF4-FFF2-40B4-BE49-F238E27FC236}">
                <a16:creationId xmlns:a16="http://schemas.microsoft.com/office/drawing/2014/main" id="{026644C6-6DEE-4FAE-946A-A6A6CCF06A50}"/>
              </a:ext>
            </a:extLst>
          </p:cNvPr>
          <p:cNvSpPr/>
          <p:nvPr/>
        </p:nvSpPr>
        <p:spPr>
          <a:xfrm rot="366556">
            <a:off x="4453877" y="-679146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2" name="任意多边形: 形状 71">
            <a:extLst>
              <a:ext uri="{FF2B5EF4-FFF2-40B4-BE49-F238E27FC236}">
                <a16:creationId xmlns:a16="http://schemas.microsoft.com/office/drawing/2014/main" id="{1C6AED24-F74E-4E1F-A5A8-CECF53D5822C}"/>
              </a:ext>
            </a:extLst>
          </p:cNvPr>
          <p:cNvSpPr/>
          <p:nvPr/>
        </p:nvSpPr>
        <p:spPr>
          <a:xfrm rot="366556">
            <a:off x="4458170" y="-719260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3" name="任意多边形: 形状 72">
            <a:extLst>
              <a:ext uri="{FF2B5EF4-FFF2-40B4-BE49-F238E27FC236}">
                <a16:creationId xmlns:a16="http://schemas.microsoft.com/office/drawing/2014/main" id="{BDB98340-99C1-46F2-AD77-D63AB5D2F0D0}"/>
              </a:ext>
            </a:extLst>
          </p:cNvPr>
          <p:cNvSpPr/>
          <p:nvPr/>
        </p:nvSpPr>
        <p:spPr>
          <a:xfrm rot="366556">
            <a:off x="4462464" y="-759374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4" name="任意多边形: 形状 73">
            <a:extLst>
              <a:ext uri="{FF2B5EF4-FFF2-40B4-BE49-F238E27FC236}">
                <a16:creationId xmlns:a16="http://schemas.microsoft.com/office/drawing/2014/main" id="{21988A5A-93FC-4F46-8521-A6479EDB4FE5}"/>
              </a:ext>
            </a:extLst>
          </p:cNvPr>
          <p:cNvSpPr/>
          <p:nvPr/>
        </p:nvSpPr>
        <p:spPr>
          <a:xfrm rot="366556">
            <a:off x="4466757" y="-799488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97282929-5D7F-4850-B932-E7FC8537038A}"/>
              </a:ext>
            </a:extLst>
          </p:cNvPr>
          <p:cNvSpPr/>
          <p:nvPr/>
        </p:nvSpPr>
        <p:spPr>
          <a:xfrm rot="366556">
            <a:off x="4471051" y="-839601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6" name="任意多边形: 形状 75">
            <a:extLst>
              <a:ext uri="{FF2B5EF4-FFF2-40B4-BE49-F238E27FC236}">
                <a16:creationId xmlns:a16="http://schemas.microsoft.com/office/drawing/2014/main" id="{4845C8D2-E9EF-4ED6-8759-609C0FDCF97D}"/>
              </a:ext>
            </a:extLst>
          </p:cNvPr>
          <p:cNvSpPr/>
          <p:nvPr/>
        </p:nvSpPr>
        <p:spPr>
          <a:xfrm rot="366556">
            <a:off x="4475344" y="-879715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7" name="任意多边形: 形状 76">
            <a:extLst>
              <a:ext uri="{FF2B5EF4-FFF2-40B4-BE49-F238E27FC236}">
                <a16:creationId xmlns:a16="http://schemas.microsoft.com/office/drawing/2014/main" id="{3D5E5DD5-DB60-4EF4-AE78-25A4662552B5}"/>
              </a:ext>
            </a:extLst>
          </p:cNvPr>
          <p:cNvSpPr/>
          <p:nvPr/>
        </p:nvSpPr>
        <p:spPr>
          <a:xfrm rot="366556">
            <a:off x="4479638" y="-919829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8" name="任意多边形: 形状 77">
            <a:extLst>
              <a:ext uri="{FF2B5EF4-FFF2-40B4-BE49-F238E27FC236}">
                <a16:creationId xmlns:a16="http://schemas.microsoft.com/office/drawing/2014/main" id="{61C1A7E7-28D3-42A0-BBA7-26C40DE331F7}"/>
              </a:ext>
            </a:extLst>
          </p:cNvPr>
          <p:cNvSpPr/>
          <p:nvPr/>
        </p:nvSpPr>
        <p:spPr>
          <a:xfrm rot="366556">
            <a:off x="4483931" y="-959943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9" name="任意多边形: 形状 78">
            <a:extLst>
              <a:ext uri="{FF2B5EF4-FFF2-40B4-BE49-F238E27FC236}">
                <a16:creationId xmlns:a16="http://schemas.microsoft.com/office/drawing/2014/main" id="{BA52BCCB-A541-4F2C-8F4E-FAEDCCAA9886}"/>
              </a:ext>
            </a:extLst>
          </p:cNvPr>
          <p:cNvSpPr/>
          <p:nvPr/>
        </p:nvSpPr>
        <p:spPr>
          <a:xfrm rot="366556">
            <a:off x="4488225" y="-1000057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0" name="任意多边形: 形状 79">
            <a:extLst>
              <a:ext uri="{FF2B5EF4-FFF2-40B4-BE49-F238E27FC236}">
                <a16:creationId xmlns:a16="http://schemas.microsoft.com/office/drawing/2014/main" id="{C14A6E45-B36A-4BD7-9AAE-F1098A06F9D7}"/>
              </a:ext>
            </a:extLst>
          </p:cNvPr>
          <p:cNvSpPr/>
          <p:nvPr/>
        </p:nvSpPr>
        <p:spPr>
          <a:xfrm rot="366556">
            <a:off x="4492518" y="-1040171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1" name="任意多边形: 形状 80">
            <a:extLst>
              <a:ext uri="{FF2B5EF4-FFF2-40B4-BE49-F238E27FC236}">
                <a16:creationId xmlns:a16="http://schemas.microsoft.com/office/drawing/2014/main" id="{5DF50E43-B821-4003-BFF9-3942A4383F45}"/>
              </a:ext>
            </a:extLst>
          </p:cNvPr>
          <p:cNvSpPr/>
          <p:nvPr/>
        </p:nvSpPr>
        <p:spPr>
          <a:xfrm rot="366556">
            <a:off x="4496812" y="-1080285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2" name="任意多边形: 形状 81">
            <a:extLst>
              <a:ext uri="{FF2B5EF4-FFF2-40B4-BE49-F238E27FC236}">
                <a16:creationId xmlns:a16="http://schemas.microsoft.com/office/drawing/2014/main" id="{E88BC4F6-C264-47F8-8575-B6EFF5C326DC}"/>
              </a:ext>
            </a:extLst>
          </p:cNvPr>
          <p:cNvSpPr/>
          <p:nvPr/>
        </p:nvSpPr>
        <p:spPr>
          <a:xfrm rot="366556">
            <a:off x="4501105" y="-1120399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3" name="任意多边形: 形状 82">
            <a:extLst>
              <a:ext uri="{FF2B5EF4-FFF2-40B4-BE49-F238E27FC236}">
                <a16:creationId xmlns:a16="http://schemas.microsoft.com/office/drawing/2014/main" id="{8275C199-E37A-43CA-90FB-EC1739AB23DB}"/>
              </a:ext>
            </a:extLst>
          </p:cNvPr>
          <p:cNvSpPr/>
          <p:nvPr/>
        </p:nvSpPr>
        <p:spPr>
          <a:xfrm rot="366556">
            <a:off x="4505399" y="-1160512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4" name="任意多边形: 形状 83">
            <a:extLst>
              <a:ext uri="{FF2B5EF4-FFF2-40B4-BE49-F238E27FC236}">
                <a16:creationId xmlns:a16="http://schemas.microsoft.com/office/drawing/2014/main" id="{D1EB26A5-E1E8-4144-B6C6-E99F3DB998E6}"/>
              </a:ext>
            </a:extLst>
          </p:cNvPr>
          <p:cNvSpPr/>
          <p:nvPr/>
        </p:nvSpPr>
        <p:spPr>
          <a:xfrm rot="366556">
            <a:off x="4509692" y="-1200626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5" name="任意多边形: 形状 84">
            <a:extLst>
              <a:ext uri="{FF2B5EF4-FFF2-40B4-BE49-F238E27FC236}">
                <a16:creationId xmlns:a16="http://schemas.microsoft.com/office/drawing/2014/main" id="{689E6119-9772-4B90-84D5-3469331B7B83}"/>
              </a:ext>
            </a:extLst>
          </p:cNvPr>
          <p:cNvSpPr/>
          <p:nvPr/>
        </p:nvSpPr>
        <p:spPr>
          <a:xfrm rot="366556">
            <a:off x="4513986" y="-1240740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6" name="任意多边形: 形状 85">
            <a:extLst>
              <a:ext uri="{FF2B5EF4-FFF2-40B4-BE49-F238E27FC236}">
                <a16:creationId xmlns:a16="http://schemas.microsoft.com/office/drawing/2014/main" id="{209AC554-3A46-461E-98F8-D427B6472AE4}"/>
              </a:ext>
            </a:extLst>
          </p:cNvPr>
          <p:cNvSpPr/>
          <p:nvPr/>
        </p:nvSpPr>
        <p:spPr>
          <a:xfrm rot="366556">
            <a:off x="4518279" y="-1280854"/>
            <a:ext cx="7924800" cy="1688161"/>
          </a:xfrm>
          <a:custGeom>
            <a:avLst/>
            <a:gdLst>
              <a:gd name="connsiteX0" fmla="*/ 0 w 7924800"/>
              <a:gd name="connsiteY0" fmla="*/ 0 h 1688161"/>
              <a:gd name="connsiteX1" fmla="*/ 1473200 w 7924800"/>
              <a:gd name="connsiteY1" fmla="*/ 1092200 h 1688161"/>
              <a:gd name="connsiteX2" fmla="*/ 3327400 w 7924800"/>
              <a:gd name="connsiteY2" fmla="*/ 1003300 h 1688161"/>
              <a:gd name="connsiteX3" fmla="*/ 4978400 w 7924800"/>
              <a:gd name="connsiteY3" fmla="*/ 1524000 h 1688161"/>
              <a:gd name="connsiteX4" fmla="*/ 6527800 w 7924800"/>
              <a:gd name="connsiteY4" fmla="*/ 1600200 h 1688161"/>
              <a:gd name="connsiteX5" fmla="*/ 7924800 w 7924800"/>
              <a:gd name="connsiteY5" fmla="*/ 368300 h 1688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1688161">
                <a:moveTo>
                  <a:pt x="0" y="0"/>
                </a:moveTo>
                <a:cubicBezTo>
                  <a:pt x="459316" y="462491"/>
                  <a:pt x="918633" y="924983"/>
                  <a:pt x="1473200" y="1092200"/>
                </a:cubicBezTo>
                <a:cubicBezTo>
                  <a:pt x="2027767" y="1259417"/>
                  <a:pt x="2743200" y="931333"/>
                  <a:pt x="3327400" y="1003300"/>
                </a:cubicBezTo>
                <a:cubicBezTo>
                  <a:pt x="3911600" y="1075267"/>
                  <a:pt x="4445000" y="1424517"/>
                  <a:pt x="4978400" y="1524000"/>
                </a:cubicBezTo>
                <a:cubicBezTo>
                  <a:pt x="5511800" y="1623483"/>
                  <a:pt x="6036733" y="1792817"/>
                  <a:pt x="6527800" y="1600200"/>
                </a:cubicBezTo>
                <a:cubicBezTo>
                  <a:pt x="7018867" y="1407583"/>
                  <a:pt x="7471833" y="887941"/>
                  <a:pt x="7924800" y="368300"/>
                </a:cubicBezTo>
              </a:path>
            </a:pathLst>
          </a:custGeom>
          <a:noFill/>
          <a:ln w="6350">
            <a:solidFill>
              <a:schemeClr val="accent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003645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任意多边形: 形状 1">
            <a:extLst>
              <a:ext uri="{FF2B5EF4-FFF2-40B4-BE49-F238E27FC236}">
                <a16:creationId xmlns:a16="http://schemas.microsoft.com/office/drawing/2014/main" id="{017981BD-915D-4AB8-9D9F-33AB5EA5D441}"/>
              </a:ext>
            </a:extLst>
          </p:cNvPr>
          <p:cNvSpPr/>
          <p:nvPr/>
        </p:nvSpPr>
        <p:spPr>
          <a:xfrm>
            <a:off x="-1531011" y="-1813442"/>
            <a:ext cx="16567331" cy="10614426"/>
          </a:xfrm>
          <a:custGeom>
            <a:avLst/>
            <a:gdLst>
              <a:gd name="connsiteX0" fmla="*/ 410134 w 16582157"/>
              <a:gd name="connsiteY0" fmla="*/ 3789726 h 10614426"/>
              <a:gd name="connsiteX1" fmla="*/ 2356921 w 16582157"/>
              <a:gd name="connsiteY1" fmla="*/ 6414939 h 10614426"/>
              <a:gd name="connsiteX2" fmla="*/ 4067734 w 16582157"/>
              <a:gd name="connsiteY2" fmla="*/ 6621416 h 10614426"/>
              <a:gd name="connsiteX3" fmla="*/ 5159114 w 16582157"/>
              <a:gd name="connsiteY3" fmla="*/ 7476823 h 10614426"/>
              <a:gd name="connsiteX4" fmla="*/ 6781437 w 16582157"/>
              <a:gd name="connsiteY4" fmla="*/ 7889777 h 10614426"/>
              <a:gd name="connsiteX5" fmla="*/ 7459863 w 16582157"/>
              <a:gd name="connsiteY5" fmla="*/ 8863171 h 10614426"/>
              <a:gd name="connsiteX6" fmla="*/ 8256276 w 16582157"/>
              <a:gd name="connsiteY6" fmla="*/ 10603481 h 10614426"/>
              <a:gd name="connsiteX7" fmla="*/ 16308895 w 16582157"/>
              <a:gd name="connsiteY7" fmla="*/ 9364616 h 10614426"/>
              <a:gd name="connsiteX8" fmla="*/ 14509592 w 16582157"/>
              <a:gd name="connsiteY8" fmla="*/ 5028590 h 10614426"/>
              <a:gd name="connsiteX9" fmla="*/ 12651295 w 16582157"/>
              <a:gd name="connsiteY9" fmla="*/ 4674629 h 10614426"/>
              <a:gd name="connsiteX10" fmla="*/ 9760611 w 16582157"/>
              <a:gd name="connsiteY10" fmla="*/ 3730732 h 10614426"/>
              <a:gd name="connsiteX11" fmla="*/ 8344766 w 16582157"/>
              <a:gd name="connsiteY11" fmla="*/ 2285390 h 10614426"/>
              <a:gd name="connsiteX12" fmla="*/ 5985024 w 16582157"/>
              <a:gd name="connsiteY12" fmla="*/ 2786836 h 10614426"/>
              <a:gd name="connsiteX13" fmla="*/ 5365592 w 16582157"/>
              <a:gd name="connsiteY13" fmla="*/ 1164513 h 10614426"/>
              <a:gd name="connsiteX14" fmla="*/ 469127 w 16582157"/>
              <a:gd name="connsiteY14" fmla="*/ 102629 h 10614426"/>
              <a:gd name="connsiteX15" fmla="*/ 410134 w 16582157"/>
              <a:gd name="connsiteY15" fmla="*/ 3789726 h 10614426"/>
              <a:gd name="connsiteX0" fmla="*/ 410134 w 16582157"/>
              <a:gd name="connsiteY0" fmla="*/ 3789726 h 10614426"/>
              <a:gd name="connsiteX1" fmla="*/ 2356921 w 16582157"/>
              <a:gd name="connsiteY1" fmla="*/ 6414939 h 10614426"/>
              <a:gd name="connsiteX2" fmla="*/ 4067734 w 16582157"/>
              <a:gd name="connsiteY2" fmla="*/ 6621416 h 10614426"/>
              <a:gd name="connsiteX3" fmla="*/ 5159114 w 16582157"/>
              <a:gd name="connsiteY3" fmla="*/ 7476823 h 10614426"/>
              <a:gd name="connsiteX4" fmla="*/ 6781437 w 16582157"/>
              <a:gd name="connsiteY4" fmla="*/ 7889777 h 10614426"/>
              <a:gd name="connsiteX5" fmla="*/ 7459863 w 16582157"/>
              <a:gd name="connsiteY5" fmla="*/ 8863171 h 10614426"/>
              <a:gd name="connsiteX6" fmla="*/ 8256276 w 16582157"/>
              <a:gd name="connsiteY6" fmla="*/ 10603481 h 10614426"/>
              <a:gd name="connsiteX7" fmla="*/ 16308895 w 16582157"/>
              <a:gd name="connsiteY7" fmla="*/ 9364616 h 10614426"/>
              <a:gd name="connsiteX8" fmla="*/ 14509592 w 16582157"/>
              <a:gd name="connsiteY8" fmla="*/ 5028590 h 10614426"/>
              <a:gd name="connsiteX9" fmla="*/ 12651295 w 16582157"/>
              <a:gd name="connsiteY9" fmla="*/ 4674629 h 10614426"/>
              <a:gd name="connsiteX10" fmla="*/ 10173566 w 16582157"/>
              <a:gd name="connsiteY10" fmla="*/ 4527145 h 10614426"/>
              <a:gd name="connsiteX11" fmla="*/ 8344766 w 16582157"/>
              <a:gd name="connsiteY11" fmla="*/ 2285390 h 10614426"/>
              <a:gd name="connsiteX12" fmla="*/ 5985024 w 16582157"/>
              <a:gd name="connsiteY12" fmla="*/ 2786836 h 10614426"/>
              <a:gd name="connsiteX13" fmla="*/ 5365592 w 16582157"/>
              <a:gd name="connsiteY13" fmla="*/ 1164513 h 10614426"/>
              <a:gd name="connsiteX14" fmla="*/ 469127 w 16582157"/>
              <a:gd name="connsiteY14" fmla="*/ 102629 h 10614426"/>
              <a:gd name="connsiteX15" fmla="*/ 410134 w 16582157"/>
              <a:gd name="connsiteY15" fmla="*/ 3789726 h 10614426"/>
              <a:gd name="connsiteX0" fmla="*/ 410134 w 16567331"/>
              <a:gd name="connsiteY0" fmla="*/ 3789726 h 10614426"/>
              <a:gd name="connsiteX1" fmla="*/ 2356921 w 16567331"/>
              <a:gd name="connsiteY1" fmla="*/ 6414939 h 10614426"/>
              <a:gd name="connsiteX2" fmla="*/ 4067734 w 16567331"/>
              <a:gd name="connsiteY2" fmla="*/ 6621416 h 10614426"/>
              <a:gd name="connsiteX3" fmla="*/ 5159114 w 16567331"/>
              <a:gd name="connsiteY3" fmla="*/ 7476823 h 10614426"/>
              <a:gd name="connsiteX4" fmla="*/ 6781437 w 16567331"/>
              <a:gd name="connsiteY4" fmla="*/ 7889777 h 10614426"/>
              <a:gd name="connsiteX5" fmla="*/ 7459863 w 16567331"/>
              <a:gd name="connsiteY5" fmla="*/ 8863171 h 10614426"/>
              <a:gd name="connsiteX6" fmla="*/ 8256276 w 16567331"/>
              <a:gd name="connsiteY6" fmla="*/ 10603481 h 10614426"/>
              <a:gd name="connsiteX7" fmla="*/ 16308895 w 16567331"/>
              <a:gd name="connsiteY7" fmla="*/ 9364616 h 10614426"/>
              <a:gd name="connsiteX8" fmla="*/ 14509592 w 16567331"/>
              <a:gd name="connsiteY8" fmla="*/ 5028590 h 10614426"/>
              <a:gd name="connsiteX9" fmla="*/ 13772173 w 16567331"/>
              <a:gd name="connsiteY9" fmla="*/ 4143687 h 10614426"/>
              <a:gd name="connsiteX10" fmla="*/ 10173566 w 16567331"/>
              <a:gd name="connsiteY10" fmla="*/ 4527145 h 10614426"/>
              <a:gd name="connsiteX11" fmla="*/ 8344766 w 16567331"/>
              <a:gd name="connsiteY11" fmla="*/ 2285390 h 10614426"/>
              <a:gd name="connsiteX12" fmla="*/ 5985024 w 16567331"/>
              <a:gd name="connsiteY12" fmla="*/ 2786836 h 10614426"/>
              <a:gd name="connsiteX13" fmla="*/ 5365592 w 16567331"/>
              <a:gd name="connsiteY13" fmla="*/ 1164513 h 10614426"/>
              <a:gd name="connsiteX14" fmla="*/ 469127 w 16567331"/>
              <a:gd name="connsiteY14" fmla="*/ 102629 h 10614426"/>
              <a:gd name="connsiteX15" fmla="*/ 410134 w 16567331"/>
              <a:gd name="connsiteY15" fmla="*/ 3789726 h 10614426"/>
              <a:gd name="connsiteX0" fmla="*/ 410134 w 16567331"/>
              <a:gd name="connsiteY0" fmla="*/ 3789726 h 10614426"/>
              <a:gd name="connsiteX1" fmla="*/ 2356921 w 16567331"/>
              <a:gd name="connsiteY1" fmla="*/ 6414939 h 10614426"/>
              <a:gd name="connsiteX2" fmla="*/ 4067734 w 16567331"/>
              <a:gd name="connsiteY2" fmla="*/ 6621416 h 10614426"/>
              <a:gd name="connsiteX3" fmla="*/ 5159114 w 16567331"/>
              <a:gd name="connsiteY3" fmla="*/ 7476823 h 10614426"/>
              <a:gd name="connsiteX4" fmla="*/ 6781437 w 16567331"/>
              <a:gd name="connsiteY4" fmla="*/ 7889777 h 10614426"/>
              <a:gd name="connsiteX5" fmla="*/ 7459863 w 16567331"/>
              <a:gd name="connsiteY5" fmla="*/ 8863171 h 10614426"/>
              <a:gd name="connsiteX6" fmla="*/ 8256276 w 16567331"/>
              <a:gd name="connsiteY6" fmla="*/ 10603481 h 10614426"/>
              <a:gd name="connsiteX7" fmla="*/ 16308895 w 16567331"/>
              <a:gd name="connsiteY7" fmla="*/ 9364616 h 10614426"/>
              <a:gd name="connsiteX8" fmla="*/ 14509592 w 16567331"/>
              <a:gd name="connsiteY8" fmla="*/ 5028590 h 10614426"/>
              <a:gd name="connsiteX9" fmla="*/ 13772173 w 16567331"/>
              <a:gd name="connsiteY9" fmla="*/ 4143687 h 10614426"/>
              <a:gd name="connsiteX10" fmla="*/ 10792998 w 16567331"/>
              <a:gd name="connsiteY10" fmla="*/ 4527145 h 10614426"/>
              <a:gd name="connsiteX11" fmla="*/ 8344766 w 16567331"/>
              <a:gd name="connsiteY11" fmla="*/ 2285390 h 10614426"/>
              <a:gd name="connsiteX12" fmla="*/ 5985024 w 16567331"/>
              <a:gd name="connsiteY12" fmla="*/ 2786836 h 10614426"/>
              <a:gd name="connsiteX13" fmla="*/ 5365592 w 16567331"/>
              <a:gd name="connsiteY13" fmla="*/ 1164513 h 10614426"/>
              <a:gd name="connsiteX14" fmla="*/ 469127 w 16567331"/>
              <a:gd name="connsiteY14" fmla="*/ 102629 h 10614426"/>
              <a:gd name="connsiteX15" fmla="*/ 410134 w 16567331"/>
              <a:gd name="connsiteY15" fmla="*/ 3789726 h 10614426"/>
              <a:gd name="connsiteX0" fmla="*/ 410134 w 16567331"/>
              <a:gd name="connsiteY0" fmla="*/ 3789726 h 10614426"/>
              <a:gd name="connsiteX1" fmla="*/ 2356921 w 16567331"/>
              <a:gd name="connsiteY1" fmla="*/ 6414939 h 10614426"/>
              <a:gd name="connsiteX2" fmla="*/ 4067734 w 16567331"/>
              <a:gd name="connsiteY2" fmla="*/ 6621416 h 10614426"/>
              <a:gd name="connsiteX3" fmla="*/ 5159114 w 16567331"/>
              <a:gd name="connsiteY3" fmla="*/ 7476823 h 10614426"/>
              <a:gd name="connsiteX4" fmla="*/ 6781437 w 16567331"/>
              <a:gd name="connsiteY4" fmla="*/ 7889777 h 10614426"/>
              <a:gd name="connsiteX5" fmla="*/ 7459863 w 16567331"/>
              <a:gd name="connsiteY5" fmla="*/ 8863171 h 10614426"/>
              <a:gd name="connsiteX6" fmla="*/ 8256276 w 16567331"/>
              <a:gd name="connsiteY6" fmla="*/ 10603481 h 10614426"/>
              <a:gd name="connsiteX7" fmla="*/ 16308895 w 16567331"/>
              <a:gd name="connsiteY7" fmla="*/ 9364616 h 10614426"/>
              <a:gd name="connsiteX8" fmla="*/ 14509592 w 16567331"/>
              <a:gd name="connsiteY8" fmla="*/ 5028590 h 10614426"/>
              <a:gd name="connsiteX9" fmla="*/ 13772173 w 16567331"/>
              <a:gd name="connsiteY9" fmla="*/ 4143687 h 10614426"/>
              <a:gd name="connsiteX10" fmla="*/ 10792998 w 16567331"/>
              <a:gd name="connsiteY10" fmla="*/ 4527145 h 10614426"/>
              <a:gd name="connsiteX11" fmla="*/ 9111682 w 16567331"/>
              <a:gd name="connsiteY11" fmla="*/ 2668848 h 10614426"/>
              <a:gd name="connsiteX12" fmla="*/ 5985024 w 16567331"/>
              <a:gd name="connsiteY12" fmla="*/ 2786836 h 10614426"/>
              <a:gd name="connsiteX13" fmla="*/ 5365592 w 16567331"/>
              <a:gd name="connsiteY13" fmla="*/ 1164513 h 10614426"/>
              <a:gd name="connsiteX14" fmla="*/ 469127 w 16567331"/>
              <a:gd name="connsiteY14" fmla="*/ 102629 h 10614426"/>
              <a:gd name="connsiteX15" fmla="*/ 410134 w 16567331"/>
              <a:gd name="connsiteY15" fmla="*/ 3789726 h 10614426"/>
              <a:gd name="connsiteX0" fmla="*/ 410134 w 16567331"/>
              <a:gd name="connsiteY0" fmla="*/ 3789726 h 10614426"/>
              <a:gd name="connsiteX1" fmla="*/ 2356921 w 16567331"/>
              <a:gd name="connsiteY1" fmla="*/ 6414939 h 10614426"/>
              <a:gd name="connsiteX2" fmla="*/ 4067734 w 16567331"/>
              <a:gd name="connsiteY2" fmla="*/ 6621416 h 10614426"/>
              <a:gd name="connsiteX3" fmla="*/ 5159114 w 16567331"/>
              <a:gd name="connsiteY3" fmla="*/ 7476823 h 10614426"/>
              <a:gd name="connsiteX4" fmla="*/ 6781437 w 16567331"/>
              <a:gd name="connsiteY4" fmla="*/ 7889777 h 10614426"/>
              <a:gd name="connsiteX5" fmla="*/ 7459863 w 16567331"/>
              <a:gd name="connsiteY5" fmla="*/ 8863171 h 10614426"/>
              <a:gd name="connsiteX6" fmla="*/ 8256276 w 16567331"/>
              <a:gd name="connsiteY6" fmla="*/ 10603481 h 10614426"/>
              <a:gd name="connsiteX7" fmla="*/ 16308895 w 16567331"/>
              <a:gd name="connsiteY7" fmla="*/ 9364616 h 10614426"/>
              <a:gd name="connsiteX8" fmla="*/ 14509592 w 16567331"/>
              <a:gd name="connsiteY8" fmla="*/ 5028590 h 10614426"/>
              <a:gd name="connsiteX9" fmla="*/ 13772173 w 16567331"/>
              <a:gd name="connsiteY9" fmla="*/ 4143687 h 10614426"/>
              <a:gd name="connsiteX10" fmla="*/ 10792998 w 16567331"/>
              <a:gd name="connsiteY10" fmla="*/ 4527145 h 10614426"/>
              <a:gd name="connsiteX11" fmla="*/ 9111682 w 16567331"/>
              <a:gd name="connsiteY11" fmla="*/ 2668848 h 10614426"/>
              <a:gd name="connsiteX12" fmla="*/ 6751940 w 16567331"/>
              <a:gd name="connsiteY12" fmla="*/ 2727842 h 10614426"/>
              <a:gd name="connsiteX13" fmla="*/ 5365592 w 16567331"/>
              <a:gd name="connsiteY13" fmla="*/ 1164513 h 10614426"/>
              <a:gd name="connsiteX14" fmla="*/ 469127 w 16567331"/>
              <a:gd name="connsiteY14" fmla="*/ 102629 h 10614426"/>
              <a:gd name="connsiteX15" fmla="*/ 410134 w 16567331"/>
              <a:gd name="connsiteY15" fmla="*/ 3789726 h 10614426"/>
              <a:gd name="connsiteX0" fmla="*/ 410134 w 16567331"/>
              <a:gd name="connsiteY0" fmla="*/ 3789726 h 10614426"/>
              <a:gd name="connsiteX1" fmla="*/ 2356921 w 16567331"/>
              <a:gd name="connsiteY1" fmla="*/ 6414939 h 10614426"/>
              <a:gd name="connsiteX2" fmla="*/ 4067734 w 16567331"/>
              <a:gd name="connsiteY2" fmla="*/ 6621416 h 10614426"/>
              <a:gd name="connsiteX3" fmla="*/ 5041127 w 16567331"/>
              <a:gd name="connsiteY3" fmla="*/ 7653804 h 10614426"/>
              <a:gd name="connsiteX4" fmla="*/ 6781437 w 16567331"/>
              <a:gd name="connsiteY4" fmla="*/ 7889777 h 10614426"/>
              <a:gd name="connsiteX5" fmla="*/ 7459863 w 16567331"/>
              <a:gd name="connsiteY5" fmla="*/ 8863171 h 10614426"/>
              <a:gd name="connsiteX6" fmla="*/ 8256276 w 16567331"/>
              <a:gd name="connsiteY6" fmla="*/ 10603481 h 10614426"/>
              <a:gd name="connsiteX7" fmla="*/ 16308895 w 16567331"/>
              <a:gd name="connsiteY7" fmla="*/ 9364616 h 10614426"/>
              <a:gd name="connsiteX8" fmla="*/ 14509592 w 16567331"/>
              <a:gd name="connsiteY8" fmla="*/ 5028590 h 10614426"/>
              <a:gd name="connsiteX9" fmla="*/ 13772173 w 16567331"/>
              <a:gd name="connsiteY9" fmla="*/ 4143687 h 10614426"/>
              <a:gd name="connsiteX10" fmla="*/ 10792998 w 16567331"/>
              <a:gd name="connsiteY10" fmla="*/ 4527145 h 10614426"/>
              <a:gd name="connsiteX11" fmla="*/ 9111682 w 16567331"/>
              <a:gd name="connsiteY11" fmla="*/ 2668848 h 10614426"/>
              <a:gd name="connsiteX12" fmla="*/ 6751940 w 16567331"/>
              <a:gd name="connsiteY12" fmla="*/ 2727842 h 10614426"/>
              <a:gd name="connsiteX13" fmla="*/ 5365592 w 16567331"/>
              <a:gd name="connsiteY13" fmla="*/ 1164513 h 10614426"/>
              <a:gd name="connsiteX14" fmla="*/ 469127 w 16567331"/>
              <a:gd name="connsiteY14" fmla="*/ 102629 h 10614426"/>
              <a:gd name="connsiteX15" fmla="*/ 410134 w 16567331"/>
              <a:gd name="connsiteY15" fmla="*/ 3789726 h 10614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567331" h="10614426">
                <a:moveTo>
                  <a:pt x="410134" y="3789726"/>
                </a:moveTo>
                <a:cubicBezTo>
                  <a:pt x="724766" y="4841778"/>
                  <a:pt x="1747321" y="5942991"/>
                  <a:pt x="2356921" y="6414939"/>
                </a:cubicBezTo>
                <a:cubicBezTo>
                  <a:pt x="2966521" y="6886887"/>
                  <a:pt x="3620366" y="6414939"/>
                  <a:pt x="4067734" y="6621416"/>
                </a:cubicBezTo>
                <a:cubicBezTo>
                  <a:pt x="4515102" y="6827893"/>
                  <a:pt x="4588843" y="7442411"/>
                  <a:pt x="5041127" y="7653804"/>
                </a:cubicBezTo>
                <a:cubicBezTo>
                  <a:pt x="5493411" y="7865198"/>
                  <a:pt x="6378314" y="7688216"/>
                  <a:pt x="6781437" y="7889777"/>
                </a:cubicBezTo>
                <a:cubicBezTo>
                  <a:pt x="7184560" y="8091338"/>
                  <a:pt x="7214057" y="8410887"/>
                  <a:pt x="7459863" y="8863171"/>
                </a:cubicBezTo>
                <a:cubicBezTo>
                  <a:pt x="7705669" y="9315455"/>
                  <a:pt x="6781437" y="10519907"/>
                  <a:pt x="8256276" y="10603481"/>
                </a:cubicBezTo>
                <a:cubicBezTo>
                  <a:pt x="9731115" y="10687055"/>
                  <a:pt x="15266676" y="10293765"/>
                  <a:pt x="16308895" y="9364616"/>
                </a:cubicBezTo>
                <a:cubicBezTo>
                  <a:pt x="17351114" y="8435468"/>
                  <a:pt x="14932379" y="5898745"/>
                  <a:pt x="14509592" y="5028590"/>
                </a:cubicBezTo>
                <a:cubicBezTo>
                  <a:pt x="14086805" y="4158435"/>
                  <a:pt x="14391605" y="4227261"/>
                  <a:pt x="13772173" y="4143687"/>
                </a:cubicBezTo>
                <a:cubicBezTo>
                  <a:pt x="13152741" y="4060113"/>
                  <a:pt x="11569747" y="4772952"/>
                  <a:pt x="10792998" y="4527145"/>
                </a:cubicBezTo>
                <a:cubicBezTo>
                  <a:pt x="10016249" y="4281338"/>
                  <a:pt x="9785192" y="2968732"/>
                  <a:pt x="9111682" y="2668848"/>
                </a:cubicBezTo>
                <a:cubicBezTo>
                  <a:pt x="8438172" y="2368964"/>
                  <a:pt x="7376288" y="2978564"/>
                  <a:pt x="6751940" y="2727842"/>
                </a:cubicBezTo>
                <a:cubicBezTo>
                  <a:pt x="6127592" y="2477120"/>
                  <a:pt x="6284908" y="1611881"/>
                  <a:pt x="5365592" y="1164513"/>
                </a:cubicBezTo>
                <a:cubicBezTo>
                  <a:pt x="4446276" y="717145"/>
                  <a:pt x="1295037" y="-329990"/>
                  <a:pt x="469127" y="102629"/>
                </a:cubicBezTo>
                <a:cubicBezTo>
                  <a:pt x="-356783" y="535248"/>
                  <a:pt x="95502" y="2737674"/>
                  <a:pt x="410134" y="3789726"/>
                </a:cubicBezTo>
                <a:close/>
              </a:path>
            </a:pathLst>
          </a:custGeom>
          <a:gradFill flip="none" rotWithShape="1">
            <a:gsLst>
              <a:gs pos="3600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  <a:effectLst>
            <a:outerShdw blurRad="355600" sx="96000" sy="960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734AB9E7-0327-46F5-8BF2-4AB95E869153}"/>
              </a:ext>
            </a:extLst>
          </p:cNvPr>
          <p:cNvSpPr/>
          <p:nvPr/>
        </p:nvSpPr>
        <p:spPr>
          <a:xfrm>
            <a:off x="10903405" y="5979210"/>
            <a:ext cx="126000" cy="12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E1F70316-F132-4E53-8180-CA4B9F3D90A0}"/>
              </a:ext>
            </a:extLst>
          </p:cNvPr>
          <p:cNvSpPr/>
          <p:nvPr/>
        </p:nvSpPr>
        <p:spPr>
          <a:xfrm>
            <a:off x="11126747" y="5979210"/>
            <a:ext cx="126000" cy="12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93A34931-8DD2-410B-BF21-F5DC1813A8E9}"/>
              </a:ext>
            </a:extLst>
          </p:cNvPr>
          <p:cNvSpPr/>
          <p:nvPr/>
        </p:nvSpPr>
        <p:spPr>
          <a:xfrm>
            <a:off x="11350089" y="5979210"/>
            <a:ext cx="126000" cy="12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AEC91885-1DCA-4276-AFF9-BB2EB8BC1B9A}"/>
              </a:ext>
            </a:extLst>
          </p:cNvPr>
          <p:cNvCxnSpPr/>
          <p:nvPr/>
        </p:nvCxnSpPr>
        <p:spPr>
          <a:xfrm>
            <a:off x="4673601" y="1625604"/>
            <a:ext cx="290285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弧形 17">
            <a:extLst>
              <a:ext uri="{FF2B5EF4-FFF2-40B4-BE49-F238E27FC236}">
                <a16:creationId xmlns:a16="http://schemas.microsoft.com/office/drawing/2014/main" id="{D1CAF476-D666-4BA9-8D3C-C938F8F582C5}"/>
              </a:ext>
            </a:extLst>
          </p:cNvPr>
          <p:cNvSpPr/>
          <p:nvPr/>
        </p:nvSpPr>
        <p:spPr>
          <a:xfrm>
            <a:off x="6873086" y="1625604"/>
            <a:ext cx="1445342" cy="1445342"/>
          </a:xfrm>
          <a:prstGeom prst="arc">
            <a:avLst>
              <a:gd name="adj1" fmla="val 15973775"/>
              <a:gd name="adj2" fmla="val 5593169"/>
            </a:avLst>
          </a:prstGeom>
          <a:ln w="381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FD070BD1-BD5F-4D05-9955-FB4BB9414860}"/>
              </a:ext>
            </a:extLst>
          </p:cNvPr>
          <p:cNvCxnSpPr>
            <a:cxnSpLocks/>
            <a:stCxn id="20" idx="0"/>
          </p:cNvCxnSpPr>
          <p:nvPr/>
        </p:nvCxnSpPr>
        <p:spPr>
          <a:xfrm flipV="1">
            <a:off x="4304416" y="3070946"/>
            <a:ext cx="3291341" cy="156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弧形 19">
            <a:extLst>
              <a:ext uri="{FF2B5EF4-FFF2-40B4-BE49-F238E27FC236}">
                <a16:creationId xmlns:a16="http://schemas.microsoft.com/office/drawing/2014/main" id="{A135FF62-F8A9-4B9F-B030-CAF7BC7F4FA9}"/>
              </a:ext>
            </a:extLst>
          </p:cNvPr>
          <p:cNvSpPr/>
          <p:nvPr/>
        </p:nvSpPr>
        <p:spPr>
          <a:xfrm flipH="1">
            <a:off x="3534223" y="3070946"/>
            <a:ext cx="1445342" cy="1445342"/>
          </a:xfrm>
          <a:prstGeom prst="arc">
            <a:avLst>
              <a:gd name="adj1" fmla="val 15973775"/>
              <a:gd name="adj2" fmla="val 5593169"/>
            </a:avLst>
          </a:prstGeom>
          <a:ln w="381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379AF4D2-0D52-4FD1-8929-307C435E24EA}"/>
              </a:ext>
            </a:extLst>
          </p:cNvPr>
          <p:cNvCxnSpPr>
            <a:cxnSpLocks/>
          </p:cNvCxnSpPr>
          <p:nvPr/>
        </p:nvCxnSpPr>
        <p:spPr>
          <a:xfrm>
            <a:off x="4241802" y="4516288"/>
            <a:ext cx="6096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弧形 22">
            <a:extLst>
              <a:ext uri="{FF2B5EF4-FFF2-40B4-BE49-F238E27FC236}">
                <a16:creationId xmlns:a16="http://schemas.microsoft.com/office/drawing/2014/main" id="{6CC591DA-B0D7-4FC2-9E5B-2BBE8EB867F7}"/>
              </a:ext>
            </a:extLst>
          </p:cNvPr>
          <p:cNvSpPr/>
          <p:nvPr/>
        </p:nvSpPr>
        <p:spPr>
          <a:xfrm>
            <a:off x="9654744" y="4516288"/>
            <a:ext cx="1445342" cy="1445342"/>
          </a:xfrm>
          <a:prstGeom prst="arc">
            <a:avLst>
              <a:gd name="adj1" fmla="val 15973775"/>
              <a:gd name="adj2" fmla="val 5593169"/>
            </a:avLst>
          </a:prstGeom>
          <a:ln w="381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55EAEC72-BB3E-47B1-8BFA-41AA7E0A2FD0}"/>
              </a:ext>
            </a:extLst>
          </p:cNvPr>
          <p:cNvCxnSpPr>
            <a:cxnSpLocks/>
          </p:cNvCxnSpPr>
          <p:nvPr/>
        </p:nvCxnSpPr>
        <p:spPr>
          <a:xfrm>
            <a:off x="6125030" y="5961630"/>
            <a:ext cx="4252385" cy="0"/>
          </a:xfrm>
          <a:prstGeom prst="line">
            <a:avLst/>
          </a:prstGeom>
          <a:ln w="38100">
            <a:solidFill>
              <a:schemeClr val="bg1"/>
            </a:solidFill>
            <a:headEnd type="stealth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文本框 1">
            <a:extLst>
              <a:ext uri="{FF2B5EF4-FFF2-40B4-BE49-F238E27FC236}">
                <a16:creationId xmlns:a16="http://schemas.microsoft.com/office/drawing/2014/main" id="{8DF5E68E-94E2-4A60-988A-66AE1591E753}"/>
              </a:ext>
            </a:extLst>
          </p:cNvPr>
          <p:cNvSpPr txBox="1"/>
          <p:nvPr/>
        </p:nvSpPr>
        <p:spPr>
          <a:xfrm>
            <a:off x="4677507" y="1880131"/>
            <a:ext cx="2559055" cy="7822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更快更轻松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海量素材持续更新</a:t>
            </a: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F27B861E-AD09-4816-8162-65179229CA3B}"/>
              </a:ext>
            </a:extLst>
          </p:cNvPr>
          <p:cNvSpPr/>
          <p:nvPr/>
        </p:nvSpPr>
        <p:spPr>
          <a:xfrm>
            <a:off x="6965351" y="1736386"/>
            <a:ext cx="1222215" cy="12222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pic>
        <p:nvPicPr>
          <p:cNvPr id="37" name="图形 36">
            <a:extLst>
              <a:ext uri="{FF2B5EF4-FFF2-40B4-BE49-F238E27FC236}">
                <a16:creationId xmlns:a16="http://schemas.microsoft.com/office/drawing/2014/main" id="{B2C9A974-CBF4-422E-84CC-1B70BD92C12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3658" y="1994693"/>
            <a:ext cx="705600" cy="705600"/>
          </a:xfrm>
          <a:prstGeom prst="rect">
            <a:avLst/>
          </a:prstGeom>
        </p:spPr>
      </p:pic>
      <p:sp>
        <p:nvSpPr>
          <p:cNvPr id="27" name="椭圆 26">
            <a:extLst>
              <a:ext uri="{FF2B5EF4-FFF2-40B4-BE49-F238E27FC236}">
                <a16:creationId xmlns:a16="http://schemas.microsoft.com/office/drawing/2014/main" id="{2C8B1C80-4D6C-4BD6-87DD-A0FADCD0B333}"/>
              </a:ext>
            </a:extLst>
          </p:cNvPr>
          <p:cNvSpPr/>
          <p:nvPr/>
        </p:nvSpPr>
        <p:spPr>
          <a:xfrm>
            <a:off x="3645786" y="3182510"/>
            <a:ext cx="1222215" cy="12222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pic>
        <p:nvPicPr>
          <p:cNvPr id="39" name="图形 38">
            <a:extLst>
              <a:ext uri="{FF2B5EF4-FFF2-40B4-BE49-F238E27FC236}">
                <a16:creationId xmlns:a16="http://schemas.microsoft.com/office/drawing/2014/main" id="{3F9346A9-2B61-4A81-8123-F3409BBB140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81930" y="3440817"/>
            <a:ext cx="749927" cy="705600"/>
          </a:xfrm>
          <a:prstGeom prst="rect">
            <a:avLst/>
          </a:prstGeom>
        </p:spPr>
      </p:pic>
      <p:sp>
        <p:nvSpPr>
          <p:cNvPr id="28" name="椭圆 27">
            <a:extLst>
              <a:ext uri="{FF2B5EF4-FFF2-40B4-BE49-F238E27FC236}">
                <a16:creationId xmlns:a16="http://schemas.microsoft.com/office/drawing/2014/main" id="{EF5EA308-F233-43FD-9565-DA68D2863CBE}"/>
              </a:ext>
            </a:extLst>
          </p:cNvPr>
          <p:cNvSpPr/>
          <p:nvPr/>
        </p:nvSpPr>
        <p:spPr>
          <a:xfrm>
            <a:off x="9726694" y="4627851"/>
            <a:ext cx="1222215" cy="12222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pic>
        <p:nvPicPr>
          <p:cNvPr id="41" name="图形 40">
            <a:extLst>
              <a:ext uri="{FF2B5EF4-FFF2-40B4-BE49-F238E27FC236}">
                <a16:creationId xmlns:a16="http://schemas.microsoft.com/office/drawing/2014/main" id="{5BAA3CF0-0B93-4115-9348-57AA781873D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17220" y="4886158"/>
            <a:ext cx="641163" cy="705600"/>
          </a:xfrm>
          <a:prstGeom prst="rect">
            <a:avLst/>
          </a:prstGeom>
        </p:spPr>
      </p:pic>
      <p:sp>
        <p:nvSpPr>
          <p:cNvPr id="42" name="文本框 41">
            <a:extLst>
              <a:ext uri="{FF2B5EF4-FFF2-40B4-BE49-F238E27FC236}">
                <a16:creationId xmlns:a16="http://schemas.microsoft.com/office/drawing/2014/main" id="{2F9CEBBB-BDC9-4A26-AEB7-639A29EFF882}"/>
              </a:ext>
            </a:extLst>
          </p:cNvPr>
          <p:cNvSpPr txBox="1"/>
          <p:nvPr/>
        </p:nvSpPr>
        <p:spPr>
          <a:xfrm>
            <a:off x="5026819" y="3217577"/>
            <a:ext cx="2410417" cy="3667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更快更轻松</a:t>
            </a:r>
          </a:p>
        </p:txBody>
      </p:sp>
      <p:sp>
        <p:nvSpPr>
          <p:cNvPr id="47" name="稿定PPT-11-2">
            <a:extLst>
              <a:ext uri="{FF2B5EF4-FFF2-40B4-BE49-F238E27FC236}">
                <a16:creationId xmlns:a16="http://schemas.microsoft.com/office/drawing/2014/main" id="{B5453F8A-2B49-430A-9547-CD1D27F0747B}"/>
              </a:ext>
            </a:extLst>
          </p:cNvPr>
          <p:cNvSpPr txBox="1"/>
          <p:nvPr/>
        </p:nvSpPr>
        <p:spPr>
          <a:xfrm>
            <a:off x="5026819" y="3645489"/>
            <a:ext cx="5812277" cy="6084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Light"/>
                <a:cs typeface="+mn-cs"/>
              </a:rPr>
              <a:t>我们打破了软硬件间的技术限制，汇集创意内容与设计工具于一体，为不同场景下的设计需求提供优质的解决方案。</a:t>
            </a:r>
            <a:endParaRPr kumimoji="0" lang="en-GB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Light"/>
              <a:cs typeface="+mn-cs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453D26FE-44BA-4903-A758-92F9123064AE}"/>
              </a:ext>
            </a:extLst>
          </p:cNvPr>
          <p:cNvSpPr txBox="1"/>
          <p:nvPr/>
        </p:nvSpPr>
        <p:spPr>
          <a:xfrm>
            <a:off x="7171014" y="4647130"/>
            <a:ext cx="2410417" cy="3667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更快更轻松</a:t>
            </a:r>
          </a:p>
        </p:txBody>
      </p:sp>
      <p:sp>
        <p:nvSpPr>
          <p:cNvPr id="54" name="稿定PPT-11-2">
            <a:extLst>
              <a:ext uri="{FF2B5EF4-FFF2-40B4-BE49-F238E27FC236}">
                <a16:creationId xmlns:a16="http://schemas.microsoft.com/office/drawing/2014/main" id="{B2590850-D4D7-472F-A191-53F3B2107336}"/>
              </a:ext>
            </a:extLst>
          </p:cNvPr>
          <p:cNvSpPr txBox="1"/>
          <p:nvPr/>
        </p:nvSpPr>
        <p:spPr>
          <a:xfrm>
            <a:off x="3769154" y="5075042"/>
            <a:ext cx="5812277" cy="6084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Light"/>
                <a:cs typeface="+mn-cs"/>
              </a:rPr>
              <a:t>我们打破了软硬件间的技术限制，汇集创意内容与设计工具于一体，为不同场景下的设计需求提供优质的解决方案。</a:t>
            </a:r>
            <a:endParaRPr kumimoji="0" lang="en-GB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Light"/>
              <a:cs typeface="+mn-cs"/>
            </a:endParaRPr>
          </a:p>
        </p:txBody>
      </p:sp>
      <p:pic>
        <p:nvPicPr>
          <p:cNvPr id="59" name="图形 1">
            <a:extLst>
              <a:ext uri="{FF2B5EF4-FFF2-40B4-BE49-F238E27FC236}">
                <a16:creationId xmlns:a16="http://schemas.microsoft.com/office/drawing/2014/main" id="{F8EB407D-3CAA-4CB6-8B56-BCBF4071FB7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 flipV="1">
            <a:off x="-916612" y="6308725"/>
            <a:ext cx="2511502" cy="1215469"/>
          </a:xfrm>
          <a:custGeom>
            <a:avLst/>
            <a:gdLst>
              <a:gd name="connsiteX0" fmla="*/ 0 w 2511502"/>
              <a:gd name="connsiteY0" fmla="*/ 0 h 1215469"/>
              <a:gd name="connsiteX1" fmla="*/ 2511502 w 2511502"/>
              <a:gd name="connsiteY1" fmla="*/ 0 h 1215469"/>
              <a:gd name="connsiteX2" fmla="*/ 2511502 w 2511502"/>
              <a:gd name="connsiteY2" fmla="*/ 1215469 h 1215469"/>
              <a:gd name="connsiteX3" fmla="*/ 0 w 2511502"/>
              <a:gd name="connsiteY3" fmla="*/ 1215469 h 121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1502" h="1215469">
                <a:moveTo>
                  <a:pt x="0" y="0"/>
                </a:moveTo>
                <a:lnTo>
                  <a:pt x="2511502" y="0"/>
                </a:lnTo>
                <a:lnTo>
                  <a:pt x="2511502" y="1215469"/>
                </a:lnTo>
                <a:lnTo>
                  <a:pt x="0" y="1215469"/>
                </a:lnTo>
                <a:close/>
              </a:path>
            </a:pathLst>
          </a:custGeom>
        </p:spPr>
      </p:pic>
      <p:pic>
        <p:nvPicPr>
          <p:cNvPr id="61" name="图形 2">
            <a:extLst>
              <a:ext uri="{FF2B5EF4-FFF2-40B4-BE49-F238E27FC236}">
                <a16:creationId xmlns:a16="http://schemas.microsoft.com/office/drawing/2014/main" id="{16A404FC-84C9-4EF9-8CAE-926C20C943A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 flipV="1">
            <a:off x="6873086" y="-669665"/>
            <a:ext cx="2511502" cy="1215469"/>
          </a:xfrm>
          <a:custGeom>
            <a:avLst/>
            <a:gdLst>
              <a:gd name="connsiteX0" fmla="*/ 0 w 2511502"/>
              <a:gd name="connsiteY0" fmla="*/ 0 h 1215469"/>
              <a:gd name="connsiteX1" fmla="*/ 2511502 w 2511502"/>
              <a:gd name="connsiteY1" fmla="*/ 0 h 1215469"/>
              <a:gd name="connsiteX2" fmla="*/ 2511502 w 2511502"/>
              <a:gd name="connsiteY2" fmla="*/ 1215469 h 1215469"/>
              <a:gd name="connsiteX3" fmla="*/ 0 w 2511502"/>
              <a:gd name="connsiteY3" fmla="*/ 1215469 h 121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1502" h="1215469">
                <a:moveTo>
                  <a:pt x="0" y="0"/>
                </a:moveTo>
                <a:lnTo>
                  <a:pt x="2511502" y="0"/>
                </a:lnTo>
                <a:lnTo>
                  <a:pt x="2511502" y="1215469"/>
                </a:lnTo>
                <a:lnTo>
                  <a:pt x="0" y="1215469"/>
                </a:lnTo>
                <a:close/>
              </a:path>
            </a:pathLst>
          </a:custGeom>
        </p:spPr>
      </p:pic>
      <p:pic>
        <p:nvPicPr>
          <p:cNvPr id="62" name="图形 3">
            <a:extLst>
              <a:ext uri="{FF2B5EF4-FFF2-40B4-BE49-F238E27FC236}">
                <a16:creationId xmlns:a16="http://schemas.microsoft.com/office/drawing/2014/main" id="{F44953E4-89CB-4778-B6D8-53A1B0126443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157338" y="779357"/>
            <a:ext cx="2511502" cy="1215469"/>
          </a:xfrm>
          <a:custGeom>
            <a:avLst/>
            <a:gdLst>
              <a:gd name="connsiteX0" fmla="*/ 0 w 2511502"/>
              <a:gd name="connsiteY0" fmla="*/ 0 h 1215469"/>
              <a:gd name="connsiteX1" fmla="*/ 2511502 w 2511502"/>
              <a:gd name="connsiteY1" fmla="*/ 0 h 1215469"/>
              <a:gd name="connsiteX2" fmla="*/ 2511502 w 2511502"/>
              <a:gd name="connsiteY2" fmla="*/ 1215469 h 1215469"/>
              <a:gd name="connsiteX3" fmla="*/ 0 w 2511502"/>
              <a:gd name="connsiteY3" fmla="*/ 1215469 h 121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1502" h="1215469">
                <a:moveTo>
                  <a:pt x="0" y="0"/>
                </a:moveTo>
                <a:lnTo>
                  <a:pt x="2511502" y="0"/>
                </a:lnTo>
                <a:lnTo>
                  <a:pt x="2511502" y="1215469"/>
                </a:lnTo>
                <a:lnTo>
                  <a:pt x="0" y="1215469"/>
                </a:lnTo>
                <a:close/>
              </a:path>
            </a:pathLst>
          </a:custGeom>
        </p:spPr>
      </p:pic>
      <p:pic>
        <p:nvPicPr>
          <p:cNvPr id="2" name="图形 1">
            <a:extLst>
              <a:ext uri="{FF2B5EF4-FFF2-40B4-BE49-F238E27FC236}">
                <a16:creationId xmlns:a16="http://schemas.microsoft.com/office/drawing/2014/main" id="{FBEA5147-5A55-4C49-9199-C224AF9B8C5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55" y="1493662"/>
            <a:ext cx="2919895" cy="4751744"/>
          </a:xfrm>
          <a:custGeom>
            <a:avLst/>
            <a:gdLst>
              <a:gd name="connsiteX0" fmla="*/ 0 w 2919895"/>
              <a:gd name="connsiteY0" fmla="*/ 0 h 4751744"/>
              <a:gd name="connsiteX1" fmla="*/ 2919895 w 2919895"/>
              <a:gd name="connsiteY1" fmla="*/ 0 h 4751744"/>
              <a:gd name="connsiteX2" fmla="*/ 2919895 w 2919895"/>
              <a:gd name="connsiteY2" fmla="*/ 4751744 h 4751744"/>
              <a:gd name="connsiteX3" fmla="*/ 0 w 2919895"/>
              <a:gd name="connsiteY3" fmla="*/ 4751744 h 475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9895" h="4751744">
                <a:moveTo>
                  <a:pt x="0" y="0"/>
                </a:moveTo>
                <a:lnTo>
                  <a:pt x="2919895" y="0"/>
                </a:lnTo>
                <a:lnTo>
                  <a:pt x="2919895" y="4751744"/>
                </a:lnTo>
                <a:lnTo>
                  <a:pt x="0" y="4751744"/>
                </a:lnTo>
                <a:close/>
              </a:path>
            </a:pathLst>
          </a:custGeom>
        </p:spPr>
      </p:pic>
      <p:sp>
        <p:nvSpPr>
          <p:cNvPr id="34" name="稿定PPT-4">
            <a:extLst>
              <a:ext uri="{FF2B5EF4-FFF2-40B4-BE49-F238E27FC236}">
                <a16:creationId xmlns:a16="http://schemas.microsoft.com/office/drawing/2014/main" id="{566684A7-97C7-47A7-A661-C89F52C71C6C}"/>
              </a:ext>
            </a:extLst>
          </p:cNvPr>
          <p:cNvSpPr txBox="1"/>
          <p:nvPr/>
        </p:nvSpPr>
        <p:spPr>
          <a:xfrm>
            <a:off x="807124" y="410531"/>
            <a:ext cx="3781482" cy="5819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，海量素材持续更新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36" name="稿定PPT-4">
            <a:extLst>
              <a:ext uri="{FF2B5EF4-FFF2-40B4-BE49-F238E27FC236}">
                <a16:creationId xmlns:a16="http://schemas.microsoft.com/office/drawing/2014/main" id="{4A8749E1-0FAF-4B99-BBFC-8AA40DFCD6FB}"/>
              </a:ext>
            </a:extLst>
          </p:cNvPr>
          <p:cNvSpPr txBox="1"/>
          <p:nvPr/>
        </p:nvSpPr>
        <p:spPr>
          <a:xfrm>
            <a:off x="807124" y="670820"/>
            <a:ext cx="4412400" cy="5819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38" name="弧形 1">
            <a:extLst>
              <a:ext uri="{FF2B5EF4-FFF2-40B4-BE49-F238E27FC236}">
                <a16:creationId xmlns:a16="http://schemas.microsoft.com/office/drawing/2014/main" id="{B11030B5-FC7E-414E-BEDF-0692707FFD7F}"/>
              </a:ext>
            </a:extLst>
          </p:cNvPr>
          <p:cNvSpPr/>
          <p:nvPr/>
        </p:nvSpPr>
        <p:spPr>
          <a:xfrm>
            <a:off x="525462" y="581209"/>
            <a:ext cx="203856" cy="203856"/>
          </a:xfrm>
          <a:prstGeom prst="arc">
            <a:avLst>
              <a:gd name="adj1" fmla="val 6763279"/>
              <a:gd name="adj2" fmla="val 4011750"/>
            </a:avLst>
          </a:prstGeom>
          <a:ln w="127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40" name="弧形 2">
            <a:extLst>
              <a:ext uri="{FF2B5EF4-FFF2-40B4-BE49-F238E27FC236}">
                <a16:creationId xmlns:a16="http://schemas.microsoft.com/office/drawing/2014/main" id="{A5110024-BCFF-4738-B781-4AD9230F5EDE}"/>
              </a:ext>
            </a:extLst>
          </p:cNvPr>
          <p:cNvSpPr/>
          <p:nvPr/>
        </p:nvSpPr>
        <p:spPr>
          <a:xfrm>
            <a:off x="564390" y="620137"/>
            <a:ext cx="126000" cy="126000"/>
          </a:xfrm>
          <a:prstGeom prst="arc">
            <a:avLst>
              <a:gd name="adj1" fmla="val 7687600"/>
              <a:gd name="adj2" fmla="val 3102560"/>
            </a:avLst>
          </a:prstGeom>
          <a:ln w="127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43" name="椭圆 1">
            <a:extLst>
              <a:ext uri="{FF2B5EF4-FFF2-40B4-BE49-F238E27FC236}">
                <a16:creationId xmlns:a16="http://schemas.microsoft.com/office/drawing/2014/main" id="{7B20C3E4-AE7E-4827-99B8-38A314A9E69A}"/>
              </a:ext>
            </a:extLst>
          </p:cNvPr>
          <p:cNvSpPr/>
          <p:nvPr/>
        </p:nvSpPr>
        <p:spPr>
          <a:xfrm>
            <a:off x="603268" y="649271"/>
            <a:ext cx="48245" cy="48245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44" name="矩形: 圆角 1">
            <a:extLst>
              <a:ext uri="{FF2B5EF4-FFF2-40B4-BE49-F238E27FC236}">
                <a16:creationId xmlns:a16="http://schemas.microsoft.com/office/drawing/2014/main" id="{D7EDFCCD-3EC9-4C62-B3F4-B630C5B489A3}"/>
              </a:ext>
            </a:extLst>
          </p:cNvPr>
          <p:cNvSpPr/>
          <p:nvPr/>
        </p:nvSpPr>
        <p:spPr>
          <a:xfrm>
            <a:off x="603268" y="705005"/>
            <a:ext cx="48245" cy="1167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345922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图片 53" descr="建筑的摆设布局&#10;&#10;中度可信度描述已自动生成">
            <a:extLst>
              <a:ext uri="{FF2B5EF4-FFF2-40B4-BE49-F238E27FC236}">
                <a16:creationId xmlns:a16="http://schemas.microsoft.com/office/drawing/2014/main" id="{946430C1-EB54-4EBC-9785-F2E3FE9B37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53" t="50000" r="353" b="8784"/>
          <a:stretch>
            <a:fillRect/>
          </a:stretch>
        </p:blipFill>
        <p:spPr>
          <a:xfrm>
            <a:off x="0" y="0"/>
            <a:ext cx="12192000" cy="3374264"/>
          </a:xfrm>
          <a:custGeom>
            <a:avLst/>
            <a:gdLst>
              <a:gd name="connsiteX0" fmla="*/ 0 w 12192000"/>
              <a:gd name="connsiteY0" fmla="*/ 0 h 3374264"/>
              <a:gd name="connsiteX1" fmla="*/ 12192000 w 12192000"/>
              <a:gd name="connsiteY1" fmla="*/ 0 h 3374264"/>
              <a:gd name="connsiteX2" fmla="*/ 12192000 w 12192000"/>
              <a:gd name="connsiteY2" fmla="*/ 3374264 h 3374264"/>
              <a:gd name="connsiteX3" fmla="*/ 0 w 12192000"/>
              <a:gd name="connsiteY3" fmla="*/ 3374264 h 3374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374264">
                <a:moveTo>
                  <a:pt x="0" y="0"/>
                </a:moveTo>
                <a:lnTo>
                  <a:pt x="12192000" y="0"/>
                </a:lnTo>
                <a:lnTo>
                  <a:pt x="12192000" y="3374264"/>
                </a:lnTo>
                <a:lnTo>
                  <a:pt x="0" y="3374264"/>
                </a:lnTo>
                <a:close/>
              </a:path>
            </a:pathLst>
          </a:custGeom>
        </p:spPr>
      </p:pic>
      <p:sp>
        <p:nvSpPr>
          <p:cNvPr id="53" name="矩形 52">
            <a:extLst>
              <a:ext uri="{FF2B5EF4-FFF2-40B4-BE49-F238E27FC236}">
                <a16:creationId xmlns:a16="http://schemas.microsoft.com/office/drawing/2014/main" id="{F96F209C-CBAE-4916-934A-DD87A82E4F77}"/>
              </a:ext>
            </a:extLst>
          </p:cNvPr>
          <p:cNvSpPr/>
          <p:nvPr/>
        </p:nvSpPr>
        <p:spPr>
          <a:xfrm>
            <a:off x="0" y="0"/>
            <a:ext cx="12192000" cy="3374264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" name="矩形 1">
            <a:extLst>
              <a:ext uri="{FF2B5EF4-FFF2-40B4-BE49-F238E27FC236}">
                <a16:creationId xmlns:a16="http://schemas.microsoft.com/office/drawing/2014/main" id="{8FF82FEB-0909-4E14-B2BE-B036F7E90584}"/>
              </a:ext>
            </a:extLst>
          </p:cNvPr>
          <p:cNvSpPr/>
          <p:nvPr/>
        </p:nvSpPr>
        <p:spPr>
          <a:xfrm>
            <a:off x="1" y="3374264"/>
            <a:ext cx="12192000" cy="3483736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4" name="稿定PPT-10-2">
            <a:extLst>
              <a:ext uri="{FF2B5EF4-FFF2-40B4-BE49-F238E27FC236}">
                <a16:creationId xmlns:a16="http://schemas.microsoft.com/office/drawing/2014/main" id="{C9A2FAF5-8AF8-46BB-A185-4662C443914A}"/>
              </a:ext>
            </a:extLst>
          </p:cNvPr>
          <p:cNvSpPr txBox="1"/>
          <p:nvPr/>
        </p:nvSpPr>
        <p:spPr>
          <a:xfrm>
            <a:off x="1160287" y="1864275"/>
            <a:ext cx="2329341" cy="9407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13" name="稿定PPT-0-1">
            <a:extLst>
              <a:ext uri="{FF2B5EF4-FFF2-40B4-BE49-F238E27FC236}">
                <a16:creationId xmlns:a16="http://schemas.microsoft.com/office/drawing/2014/main" id="{52BBBB68-B5D8-4A76-B5C1-E643617608EF}"/>
              </a:ext>
            </a:extLst>
          </p:cNvPr>
          <p:cNvSpPr txBox="1"/>
          <p:nvPr/>
        </p:nvSpPr>
        <p:spPr>
          <a:xfrm>
            <a:off x="1160287" y="1459733"/>
            <a:ext cx="2234747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15" name="箭头: 五边形 14">
            <a:extLst>
              <a:ext uri="{FF2B5EF4-FFF2-40B4-BE49-F238E27FC236}">
                <a16:creationId xmlns:a16="http://schemas.microsoft.com/office/drawing/2014/main" id="{36E6B85D-0748-479C-A0C6-47E19D7423B8}"/>
              </a:ext>
            </a:extLst>
          </p:cNvPr>
          <p:cNvSpPr/>
          <p:nvPr/>
        </p:nvSpPr>
        <p:spPr>
          <a:xfrm>
            <a:off x="1191698" y="1608053"/>
            <a:ext cx="92301" cy="84684"/>
          </a:xfrm>
          <a:prstGeom prst="homePlate">
            <a:avLst>
              <a:gd name="adj" fmla="val 27505"/>
            </a:avLst>
          </a:prstGeom>
          <a:gradFill>
            <a:gsLst>
              <a:gs pos="0">
                <a:schemeClr val="accent1"/>
              </a:gs>
              <a:gs pos="6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6" name="箭头: 五边形 15">
            <a:extLst>
              <a:ext uri="{FF2B5EF4-FFF2-40B4-BE49-F238E27FC236}">
                <a16:creationId xmlns:a16="http://schemas.microsoft.com/office/drawing/2014/main" id="{66C7E1F9-8CCD-499D-8A50-6B938746D0BB}"/>
              </a:ext>
            </a:extLst>
          </p:cNvPr>
          <p:cNvSpPr/>
          <p:nvPr/>
        </p:nvSpPr>
        <p:spPr>
          <a:xfrm flipH="1">
            <a:off x="3271323" y="1608053"/>
            <a:ext cx="92301" cy="84684"/>
          </a:xfrm>
          <a:prstGeom prst="homePlate">
            <a:avLst>
              <a:gd name="adj" fmla="val 27505"/>
            </a:avLst>
          </a:prstGeom>
          <a:gradFill>
            <a:gsLst>
              <a:gs pos="0">
                <a:schemeClr val="accent1"/>
              </a:gs>
              <a:gs pos="6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99CA863-8CE9-4FC3-9BA7-86C8091EFCC0}"/>
              </a:ext>
            </a:extLst>
          </p:cNvPr>
          <p:cNvCxnSpPr>
            <a:cxnSpLocks/>
          </p:cNvCxnSpPr>
          <p:nvPr/>
        </p:nvCxnSpPr>
        <p:spPr>
          <a:xfrm>
            <a:off x="4186830" y="1576235"/>
            <a:ext cx="0" cy="1199127"/>
          </a:xfrm>
          <a:prstGeom prst="line">
            <a:avLst/>
          </a:prstGeom>
          <a:ln>
            <a:gradFill>
              <a:gsLst>
                <a:gs pos="0">
                  <a:schemeClr val="accent2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稿定PPT-10-2">
            <a:extLst>
              <a:ext uri="{FF2B5EF4-FFF2-40B4-BE49-F238E27FC236}">
                <a16:creationId xmlns:a16="http://schemas.microsoft.com/office/drawing/2014/main" id="{81948FBA-8B60-4E10-AEA9-8509A93F258C}"/>
              </a:ext>
            </a:extLst>
          </p:cNvPr>
          <p:cNvSpPr txBox="1"/>
          <p:nvPr/>
        </p:nvSpPr>
        <p:spPr>
          <a:xfrm>
            <a:off x="4978627" y="1864275"/>
            <a:ext cx="2329341" cy="9407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39" name="稿定PPT-0-1">
            <a:extLst>
              <a:ext uri="{FF2B5EF4-FFF2-40B4-BE49-F238E27FC236}">
                <a16:creationId xmlns:a16="http://schemas.microsoft.com/office/drawing/2014/main" id="{1BF35E1E-C81A-4349-A09A-9027EAC37324}"/>
              </a:ext>
            </a:extLst>
          </p:cNvPr>
          <p:cNvSpPr txBox="1"/>
          <p:nvPr/>
        </p:nvSpPr>
        <p:spPr>
          <a:xfrm>
            <a:off x="4978627" y="1459733"/>
            <a:ext cx="2234747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40" name="箭头: 五边形 39">
            <a:extLst>
              <a:ext uri="{FF2B5EF4-FFF2-40B4-BE49-F238E27FC236}">
                <a16:creationId xmlns:a16="http://schemas.microsoft.com/office/drawing/2014/main" id="{08AE333D-8554-4ECD-9D17-12F1346629AD}"/>
              </a:ext>
            </a:extLst>
          </p:cNvPr>
          <p:cNvSpPr/>
          <p:nvPr/>
        </p:nvSpPr>
        <p:spPr>
          <a:xfrm>
            <a:off x="5010038" y="1608053"/>
            <a:ext cx="92301" cy="84684"/>
          </a:xfrm>
          <a:prstGeom prst="homePlate">
            <a:avLst>
              <a:gd name="adj" fmla="val 27505"/>
            </a:avLst>
          </a:prstGeom>
          <a:gradFill>
            <a:gsLst>
              <a:gs pos="0">
                <a:schemeClr val="accent1"/>
              </a:gs>
              <a:gs pos="6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1" name="箭头: 五边形 40">
            <a:extLst>
              <a:ext uri="{FF2B5EF4-FFF2-40B4-BE49-F238E27FC236}">
                <a16:creationId xmlns:a16="http://schemas.microsoft.com/office/drawing/2014/main" id="{C52A3635-FF71-4037-8AA7-278ABFE256B6}"/>
              </a:ext>
            </a:extLst>
          </p:cNvPr>
          <p:cNvSpPr/>
          <p:nvPr/>
        </p:nvSpPr>
        <p:spPr>
          <a:xfrm flipH="1">
            <a:off x="7089663" y="1608053"/>
            <a:ext cx="92301" cy="84684"/>
          </a:xfrm>
          <a:prstGeom prst="homePlate">
            <a:avLst>
              <a:gd name="adj" fmla="val 27505"/>
            </a:avLst>
          </a:prstGeom>
          <a:gradFill>
            <a:gsLst>
              <a:gs pos="0">
                <a:schemeClr val="accent1"/>
              </a:gs>
              <a:gs pos="6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E03A4D45-D60F-4EF4-819E-FE598154AD35}"/>
              </a:ext>
            </a:extLst>
          </p:cNvPr>
          <p:cNvCxnSpPr>
            <a:cxnSpLocks/>
          </p:cNvCxnSpPr>
          <p:nvPr/>
        </p:nvCxnSpPr>
        <p:spPr>
          <a:xfrm>
            <a:off x="8005170" y="1576235"/>
            <a:ext cx="0" cy="1199127"/>
          </a:xfrm>
          <a:prstGeom prst="line">
            <a:avLst/>
          </a:prstGeom>
          <a:ln>
            <a:gradFill>
              <a:gsLst>
                <a:gs pos="0">
                  <a:schemeClr val="accent2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稿定PPT-10-2">
            <a:extLst>
              <a:ext uri="{FF2B5EF4-FFF2-40B4-BE49-F238E27FC236}">
                <a16:creationId xmlns:a16="http://schemas.microsoft.com/office/drawing/2014/main" id="{7CE59796-3C05-4884-A8FC-931A0A3550F2}"/>
              </a:ext>
            </a:extLst>
          </p:cNvPr>
          <p:cNvSpPr txBox="1"/>
          <p:nvPr/>
        </p:nvSpPr>
        <p:spPr>
          <a:xfrm>
            <a:off x="8796967" y="1864275"/>
            <a:ext cx="2329341" cy="9407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di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46" name="稿定PPT-0-1">
            <a:extLst>
              <a:ext uri="{FF2B5EF4-FFF2-40B4-BE49-F238E27FC236}">
                <a16:creationId xmlns:a16="http://schemas.microsoft.com/office/drawing/2014/main" id="{007A5F53-31FA-4546-A6E4-7BE5232D270B}"/>
              </a:ext>
            </a:extLst>
          </p:cNvPr>
          <p:cNvSpPr txBox="1"/>
          <p:nvPr/>
        </p:nvSpPr>
        <p:spPr>
          <a:xfrm>
            <a:off x="8796967" y="1459733"/>
            <a:ext cx="2234747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设计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PP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F6FC6"/>
                    </a:gs>
                    <a:gs pos="100000">
                      <a:srgbClr val="14317B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47" name="箭头: 五边形 46">
            <a:extLst>
              <a:ext uri="{FF2B5EF4-FFF2-40B4-BE49-F238E27FC236}">
                <a16:creationId xmlns:a16="http://schemas.microsoft.com/office/drawing/2014/main" id="{4B2218F2-E461-4BC1-89C5-B57E2FE651EA}"/>
              </a:ext>
            </a:extLst>
          </p:cNvPr>
          <p:cNvSpPr/>
          <p:nvPr/>
        </p:nvSpPr>
        <p:spPr>
          <a:xfrm>
            <a:off x="8828378" y="1608053"/>
            <a:ext cx="92301" cy="84684"/>
          </a:xfrm>
          <a:prstGeom prst="homePlate">
            <a:avLst>
              <a:gd name="adj" fmla="val 27505"/>
            </a:avLst>
          </a:prstGeom>
          <a:gradFill>
            <a:gsLst>
              <a:gs pos="0">
                <a:schemeClr val="accent1"/>
              </a:gs>
              <a:gs pos="6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8" name="箭头: 五边形 47">
            <a:extLst>
              <a:ext uri="{FF2B5EF4-FFF2-40B4-BE49-F238E27FC236}">
                <a16:creationId xmlns:a16="http://schemas.microsoft.com/office/drawing/2014/main" id="{E22F77A4-D0E7-4134-A05D-353DD46E09FD}"/>
              </a:ext>
            </a:extLst>
          </p:cNvPr>
          <p:cNvSpPr/>
          <p:nvPr/>
        </p:nvSpPr>
        <p:spPr>
          <a:xfrm flipH="1">
            <a:off x="10908003" y="1608053"/>
            <a:ext cx="92301" cy="84684"/>
          </a:xfrm>
          <a:prstGeom prst="homePlate">
            <a:avLst>
              <a:gd name="adj" fmla="val 27505"/>
            </a:avLst>
          </a:prstGeom>
          <a:gradFill>
            <a:gsLst>
              <a:gs pos="0">
                <a:schemeClr val="accent1"/>
              </a:gs>
              <a:gs pos="6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B5DA6305-1D72-4A48-9B5B-0F49D6A03A64}"/>
              </a:ext>
            </a:extLst>
          </p:cNvPr>
          <p:cNvCxnSpPr>
            <a:cxnSpLocks/>
          </p:cNvCxnSpPr>
          <p:nvPr/>
        </p:nvCxnSpPr>
        <p:spPr>
          <a:xfrm>
            <a:off x="0" y="4163632"/>
            <a:ext cx="991434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BCBA527E-E23F-4ED2-BB52-72D326795DD5}"/>
              </a:ext>
            </a:extLst>
          </p:cNvPr>
          <p:cNvCxnSpPr>
            <a:cxnSpLocks/>
          </p:cNvCxnSpPr>
          <p:nvPr/>
        </p:nvCxnSpPr>
        <p:spPr>
          <a:xfrm>
            <a:off x="0" y="6068632"/>
            <a:ext cx="991434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弧形 58">
            <a:extLst>
              <a:ext uri="{FF2B5EF4-FFF2-40B4-BE49-F238E27FC236}">
                <a16:creationId xmlns:a16="http://schemas.microsoft.com/office/drawing/2014/main" id="{3C828D5F-3FDC-40EB-9FDF-52618966567F}"/>
              </a:ext>
            </a:extLst>
          </p:cNvPr>
          <p:cNvSpPr/>
          <p:nvPr/>
        </p:nvSpPr>
        <p:spPr>
          <a:xfrm>
            <a:off x="8947618" y="4163632"/>
            <a:ext cx="1904999" cy="1904999"/>
          </a:xfrm>
          <a:prstGeom prst="arc">
            <a:avLst>
              <a:gd name="adj1" fmla="val 16200000"/>
              <a:gd name="adj2" fmla="val 5375041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0" name="等腰三角形 79">
            <a:extLst>
              <a:ext uri="{FF2B5EF4-FFF2-40B4-BE49-F238E27FC236}">
                <a16:creationId xmlns:a16="http://schemas.microsoft.com/office/drawing/2014/main" id="{07CEF2C0-A09E-486E-8F43-0CEFC5C13B97}"/>
              </a:ext>
            </a:extLst>
          </p:cNvPr>
          <p:cNvSpPr/>
          <p:nvPr/>
        </p:nvSpPr>
        <p:spPr>
          <a:xfrm flipH="1" flipV="1">
            <a:off x="10775226" y="5031674"/>
            <a:ext cx="154781" cy="16891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49A082CB-B9F8-4FAD-8BB9-D237CE670377}"/>
              </a:ext>
            </a:extLst>
          </p:cNvPr>
          <p:cNvSpPr/>
          <p:nvPr/>
        </p:nvSpPr>
        <p:spPr>
          <a:xfrm>
            <a:off x="1341704" y="4032327"/>
            <a:ext cx="253084" cy="253084"/>
          </a:xfrm>
          <a:prstGeom prst="ellipse">
            <a:avLst/>
          </a:prstGeom>
          <a:solidFill>
            <a:schemeClr val="bg1">
              <a:alpha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2" name="椭圆 61">
            <a:extLst>
              <a:ext uri="{FF2B5EF4-FFF2-40B4-BE49-F238E27FC236}">
                <a16:creationId xmlns:a16="http://schemas.microsoft.com/office/drawing/2014/main" id="{01047A56-94DD-49BA-A0C5-5126FBEDA508}"/>
              </a:ext>
            </a:extLst>
          </p:cNvPr>
          <p:cNvSpPr/>
          <p:nvPr/>
        </p:nvSpPr>
        <p:spPr>
          <a:xfrm>
            <a:off x="1360246" y="4050869"/>
            <a:ext cx="216000" cy="216000"/>
          </a:xfrm>
          <a:prstGeom prst="ellipse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93643F54-E221-48DC-B42F-04E239482399}"/>
              </a:ext>
            </a:extLst>
          </p:cNvPr>
          <p:cNvSpPr txBox="1"/>
          <p:nvPr/>
        </p:nvSpPr>
        <p:spPr>
          <a:xfrm>
            <a:off x="817129" y="4379632"/>
            <a:ext cx="15122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上千款模板选择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80000">
                    <a:srgbClr val="0BD0D9"/>
                  </a:gs>
                  <a:gs pos="0">
                    <a:prstClr val="white"/>
                  </a:gs>
                  <a:gs pos="50000">
                    <a:prstClr val="white"/>
                  </a:gs>
                  <a:gs pos="20000">
                    <a:srgbClr val="0BD0D9"/>
                  </a:gs>
                  <a:gs pos="100000">
                    <a:prstClr val="white"/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OPPOSans M" panose="00020600040101010101" pitchFamily="18" charset="-122"/>
              <a:ea typeface="OPPOSans M" panose="00020600040101010101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71" name="椭圆 70">
            <a:extLst>
              <a:ext uri="{FF2B5EF4-FFF2-40B4-BE49-F238E27FC236}">
                <a16:creationId xmlns:a16="http://schemas.microsoft.com/office/drawing/2014/main" id="{F7FB4007-4FAC-4468-AD0A-D94828BA7519}"/>
              </a:ext>
            </a:extLst>
          </p:cNvPr>
          <p:cNvSpPr/>
          <p:nvPr/>
        </p:nvSpPr>
        <p:spPr>
          <a:xfrm>
            <a:off x="3690044" y="4032327"/>
            <a:ext cx="253084" cy="253084"/>
          </a:xfrm>
          <a:prstGeom prst="ellipse">
            <a:avLst/>
          </a:prstGeom>
          <a:solidFill>
            <a:schemeClr val="bg1">
              <a:alpha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2" name="椭圆 71">
            <a:extLst>
              <a:ext uri="{FF2B5EF4-FFF2-40B4-BE49-F238E27FC236}">
                <a16:creationId xmlns:a16="http://schemas.microsoft.com/office/drawing/2014/main" id="{F117383A-94BF-4380-8977-2DED78FEF837}"/>
              </a:ext>
            </a:extLst>
          </p:cNvPr>
          <p:cNvSpPr/>
          <p:nvPr/>
        </p:nvSpPr>
        <p:spPr>
          <a:xfrm>
            <a:off x="3708586" y="4050869"/>
            <a:ext cx="216000" cy="216000"/>
          </a:xfrm>
          <a:prstGeom prst="ellipse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33880DB8-C339-4636-8D96-6B10FFE8FAD8}"/>
              </a:ext>
            </a:extLst>
          </p:cNvPr>
          <p:cNvSpPr txBox="1"/>
          <p:nvPr/>
        </p:nvSpPr>
        <p:spPr>
          <a:xfrm>
            <a:off x="3165469" y="4379632"/>
            <a:ext cx="15122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1400">
                <a:gradFill flip="none" rotWithShape="1">
                  <a:gsLst>
                    <a:gs pos="80000">
                      <a:schemeClr val="accent3"/>
                    </a:gs>
                    <a:gs pos="0">
                      <a:schemeClr val="bg1"/>
                    </a:gs>
                    <a:gs pos="50000">
                      <a:schemeClr val="bg1"/>
                    </a:gs>
                    <a:gs pos="20000">
                      <a:schemeClr val="accent3"/>
                    </a:gs>
                    <a:gs pos="100000">
                      <a:schemeClr val="bg1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思源黑体 Medium" panose="020B0600000000000000" pitchFamily="34" charset="-122"/>
                <a:ea typeface="思源黑体 Medium" panose="020B06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上千款模板选择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80000">
                    <a:srgbClr val="0BD0D9"/>
                  </a:gs>
                  <a:gs pos="0">
                    <a:prstClr val="white"/>
                  </a:gs>
                  <a:gs pos="50000">
                    <a:prstClr val="white"/>
                  </a:gs>
                  <a:gs pos="20000">
                    <a:srgbClr val="0BD0D9"/>
                  </a:gs>
                  <a:gs pos="100000">
                    <a:prstClr val="white"/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OPPOSans M" panose="00020600040101010101" pitchFamily="18" charset="-122"/>
              <a:ea typeface="OPPOSans M" panose="00020600040101010101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77" name="椭圆 76">
            <a:extLst>
              <a:ext uri="{FF2B5EF4-FFF2-40B4-BE49-F238E27FC236}">
                <a16:creationId xmlns:a16="http://schemas.microsoft.com/office/drawing/2014/main" id="{673D44DE-27AA-48A7-B4D6-26E82B662BCE}"/>
              </a:ext>
            </a:extLst>
          </p:cNvPr>
          <p:cNvSpPr/>
          <p:nvPr/>
        </p:nvSpPr>
        <p:spPr>
          <a:xfrm>
            <a:off x="6038384" y="4032327"/>
            <a:ext cx="253084" cy="253084"/>
          </a:xfrm>
          <a:prstGeom prst="ellipse">
            <a:avLst/>
          </a:prstGeom>
          <a:solidFill>
            <a:schemeClr val="bg1">
              <a:alpha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E04DA0E6-A7FD-4F4E-BC02-E8E67E75C25F}"/>
              </a:ext>
            </a:extLst>
          </p:cNvPr>
          <p:cNvSpPr/>
          <p:nvPr/>
        </p:nvSpPr>
        <p:spPr>
          <a:xfrm>
            <a:off x="6056926" y="4050869"/>
            <a:ext cx="216000" cy="216000"/>
          </a:xfrm>
          <a:prstGeom prst="ellipse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2C783FA0-C8BF-4A54-A09A-D0B5B3FAC636}"/>
              </a:ext>
            </a:extLst>
          </p:cNvPr>
          <p:cNvSpPr txBox="1"/>
          <p:nvPr/>
        </p:nvSpPr>
        <p:spPr>
          <a:xfrm>
            <a:off x="5513809" y="4379632"/>
            <a:ext cx="15122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1400">
                <a:gradFill flip="none" rotWithShape="1">
                  <a:gsLst>
                    <a:gs pos="80000">
                      <a:schemeClr val="accent3"/>
                    </a:gs>
                    <a:gs pos="0">
                      <a:schemeClr val="bg1"/>
                    </a:gs>
                    <a:gs pos="50000">
                      <a:schemeClr val="bg1"/>
                    </a:gs>
                    <a:gs pos="20000">
                      <a:schemeClr val="accent3"/>
                    </a:gs>
                    <a:gs pos="100000">
                      <a:schemeClr val="bg1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思源黑体 Medium" panose="020B0600000000000000" pitchFamily="34" charset="-122"/>
                <a:ea typeface="思源黑体 Medium" panose="020B06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上千款模板选择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80000">
                    <a:srgbClr val="0BD0D9"/>
                  </a:gs>
                  <a:gs pos="0">
                    <a:prstClr val="white"/>
                  </a:gs>
                  <a:gs pos="50000">
                    <a:prstClr val="white"/>
                  </a:gs>
                  <a:gs pos="20000">
                    <a:srgbClr val="0BD0D9"/>
                  </a:gs>
                  <a:gs pos="100000">
                    <a:prstClr val="white"/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OPPOSans M" panose="00020600040101010101" pitchFamily="18" charset="-122"/>
              <a:ea typeface="OPPOSans M" panose="00020600040101010101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81" name="等腰三角形 80">
            <a:extLst>
              <a:ext uri="{FF2B5EF4-FFF2-40B4-BE49-F238E27FC236}">
                <a16:creationId xmlns:a16="http://schemas.microsoft.com/office/drawing/2014/main" id="{1C54D030-1547-4705-83EA-7A578A7B778B}"/>
              </a:ext>
            </a:extLst>
          </p:cNvPr>
          <p:cNvSpPr/>
          <p:nvPr/>
        </p:nvSpPr>
        <p:spPr>
          <a:xfrm rot="16200000" flipH="1" flipV="1">
            <a:off x="2516531" y="4078304"/>
            <a:ext cx="154781" cy="16891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5" name="椭圆 84">
            <a:extLst>
              <a:ext uri="{FF2B5EF4-FFF2-40B4-BE49-F238E27FC236}">
                <a16:creationId xmlns:a16="http://schemas.microsoft.com/office/drawing/2014/main" id="{0DB610BA-5C71-4E3A-A8E0-A47459B1037E}"/>
              </a:ext>
            </a:extLst>
          </p:cNvPr>
          <p:cNvSpPr/>
          <p:nvPr/>
        </p:nvSpPr>
        <p:spPr>
          <a:xfrm>
            <a:off x="8386724" y="4032327"/>
            <a:ext cx="253084" cy="253084"/>
          </a:xfrm>
          <a:prstGeom prst="ellipse">
            <a:avLst/>
          </a:prstGeom>
          <a:solidFill>
            <a:schemeClr val="bg1">
              <a:alpha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6" name="椭圆 85">
            <a:extLst>
              <a:ext uri="{FF2B5EF4-FFF2-40B4-BE49-F238E27FC236}">
                <a16:creationId xmlns:a16="http://schemas.microsoft.com/office/drawing/2014/main" id="{241F5D2A-1CC3-4A44-9AD2-A3E2CC4038BC}"/>
              </a:ext>
            </a:extLst>
          </p:cNvPr>
          <p:cNvSpPr/>
          <p:nvPr/>
        </p:nvSpPr>
        <p:spPr>
          <a:xfrm>
            <a:off x="8405266" y="4050869"/>
            <a:ext cx="216000" cy="216000"/>
          </a:xfrm>
          <a:prstGeom prst="ellipse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3E927FCE-F58A-4B79-87FA-6EFDBE73A51A}"/>
              </a:ext>
            </a:extLst>
          </p:cNvPr>
          <p:cNvSpPr txBox="1"/>
          <p:nvPr/>
        </p:nvSpPr>
        <p:spPr>
          <a:xfrm>
            <a:off x="7862149" y="4379632"/>
            <a:ext cx="15122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1400">
                <a:gradFill flip="none" rotWithShape="1">
                  <a:gsLst>
                    <a:gs pos="80000">
                      <a:schemeClr val="accent3"/>
                    </a:gs>
                    <a:gs pos="0">
                      <a:schemeClr val="bg1"/>
                    </a:gs>
                    <a:gs pos="50000">
                      <a:schemeClr val="bg1"/>
                    </a:gs>
                    <a:gs pos="20000">
                      <a:schemeClr val="accent3"/>
                    </a:gs>
                    <a:gs pos="100000">
                      <a:schemeClr val="bg1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思源黑体 Medium" panose="020B0600000000000000" pitchFamily="34" charset="-122"/>
                <a:ea typeface="思源黑体 Medium" panose="020B06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上千款模板选择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80000">
                    <a:srgbClr val="0BD0D9"/>
                  </a:gs>
                  <a:gs pos="0">
                    <a:prstClr val="white"/>
                  </a:gs>
                  <a:gs pos="50000">
                    <a:prstClr val="white"/>
                  </a:gs>
                  <a:gs pos="20000">
                    <a:srgbClr val="0BD0D9"/>
                  </a:gs>
                  <a:gs pos="100000">
                    <a:prstClr val="white"/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OPPOSans M" panose="00020600040101010101" pitchFamily="18" charset="-122"/>
              <a:ea typeface="OPPOSans M" panose="00020600040101010101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88" name="等腰三角形 87">
            <a:extLst>
              <a:ext uri="{FF2B5EF4-FFF2-40B4-BE49-F238E27FC236}">
                <a16:creationId xmlns:a16="http://schemas.microsoft.com/office/drawing/2014/main" id="{0DAB22BD-4911-439C-BB54-54BFF0F60D2E}"/>
              </a:ext>
            </a:extLst>
          </p:cNvPr>
          <p:cNvSpPr/>
          <p:nvPr/>
        </p:nvSpPr>
        <p:spPr>
          <a:xfrm rot="16200000" flipH="1" flipV="1">
            <a:off x="4864871" y="4078304"/>
            <a:ext cx="154781" cy="16891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9" name="等腰三角形 88">
            <a:extLst>
              <a:ext uri="{FF2B5EF4-FFF2-40B4-BE49-F238E27FC236}">
                <a16:creationId xmlns:a16="http://schemas.microsoft.com/office/drawing/2014/main" id="{CACFA0B9-148A-45A3-B33D-BA975464ADBE}"/>
              </a:ext>
            </a:extLst>
          </p:cNvPr>
          <p:cNvSpPr/>
          <p:nvPr/>
        </p:nvSpPr>
        <p:spPr>
          <a:xfrm rot="16200000" flipH="1" flipV="1">
            <a:off x="7213211" y="4078304"/>
            <a:ext cx="154781" cy="16891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5" name="等腰三角形 94">
            <a:extLst>
              <a:ext uri="{FF2B5EF4-FFF2-40B4-BE49-F238E27FC236}">
                <a16:creationId xmlns:a16="http://schemas.microsoft.com/office/drawing/2014/main" id="{81265983-B35C-4AC9-A20B-AA0DA43EE1A4}"/>
              </a:ext>
            </a:extLst>
          </p:cNvPr>
          <p:cNvSpPr/>
          <p:nvPr/>
        </p:nvSpPr>
        <p:spPr>
          <a:xfrm rot="5400000" flipV="1">
            <a:off x="2516531" y="5983304"/>
            <a:ext cx="154781" cy="16891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6" name="椭圆 115">
            <a:extLst>
              <a:ext uri="{FF2B5EF4-FFF2-40B4-BE49-F238E27FC236}">
                <a16:creationId xmlns:a16="http://schemas.microsoft.com/office/drawing/2014/main" id="{BB0035BC-7071-4408-81D7-6E2A3E0DC75B}"/>
              </a:ext>
            </a:extLst>
          </p:cNvPr>
          <p:cNvSpPr/>
          <p:nvPr/>
        </p:nvSpPr>
        <p:spPr>
          <a:xfrm>
            <a:off x="1341704" y="5937327"/>
            <a:ext cx="253084" cy="253084"/>
          </a:xfrm>
          <a:prstGeom prst="ellipse">
            <a:avLst/>
          </a:prstGeom>
          <a:solidFill>
            <a:schemeClr val="bg1">
              <a:alpha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7" name="椭圆 116">
            <a:extLst>
              <a:ext uri="{FF2B5EF4-FFF2-40B4-BE49-F238E27FC236}">
                <a16:creationId xmlns:a16="http://schemas.microsoft.com/office/drawing/2014/main" id="{4882ACE2-F19B-47C4-8E03-4F6891524157}"/>
              </a:ext>
            </a:extLst>
          </p:cNvPr>
          <p:cNvSpPr/>
          <p:nvPr/>
        </p:nvSpPr>
        <p:spPr>
          <a:xfrm>
            <a:off x="1360246" y="5955869"/>
            <a:ext cx="216000" cy="216000"/>
          </a:xfrm>
          <a:prstGeom prst="ellipse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5" name="文本框 114">
            <a:extLst>
              <a:ext uri="{FF2B5EF4-FFF2-40B4-BE49-F238E27FC236}">
                <a16:creationId xmlns:a16="http://schemas.microsoft.com/office/drawing/2014/main" id="{32E75E7A-6A09-4C14-B8D2-B883482A71EE}"/>
              </a:ext>
            </a:extLst>
          </p:cNvPr>
          <p:cNvSpPr txBox="1"/>
          <p:nvPr/>
        </p:nvSpPr>
        <p:spPr>
          <a:xfrm>
            <a:off x="817129" y="5370232"/>
            <a:ext cx="15122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上千款模板选择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80000">
                    <a:srgbClr val="0BD0D9"/>
                  </a:gs>
                  <a:gs pos="0">
                    <a:prstClr val="white"/>
                  </a:gs>
                  <a:gs pos="50000">
                    <a:prstClr val="white"/>
                  </a:gs>
                  <a:gs pos="20000">
                    <a:srgbClr val="0BD0D9"/>
                  </a:gs>
                  <a:gs pos="100000">
                    <a:prstClr val="white"/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OPPOSans M" panose="00020600040101010101" pitchFamily="18" charset="-122"/>
              <a:ea typeface="OPPOSans M" panose="00020600040101010101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111" name="椭圆 110">
            <a:extLst>
              <a:ext uri="{FF2B5EF4-FFF2-40B4-BE49-F238E27FC236}">
                <a16:creationId xmlns:a16="http://schemas.microsoft.com/office/drawing/2014/main" id="{156AB1E9-0235-4FCA-BBB5-D03F1B7EB702}"/>
              </a:ext>
            </a:extLst>
          </p:cNvPr>
          <p:cNvSpPr/>
          <p:nvPr/>
        </p:nvSpPr>
        <p:spPr>
          <a:xfrm>
            <a:off x="3690044" y="5937327"/>
            <a:ext cx="253084" cy="253084"/>
          </a:xfrm>
          <a:prstGeom prst="ellipse">
            <a:avLst/>
          </a:prstGeom>
          <a:solidFill>
            <a:schemeClr val="bg1">
              <a:alpha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2" name="椭圆 111">
            <a:extLst>
              <a:ext uri="{FF2B5EF4-FFF2-40B4-BE49-F238E27FC236}">
                <a16:creationId xmlns:a16="http://schemas.microsoft.com/office/drawing/2014/main" id="{C03E2BCE-6CA4-4D77-88DA-8E0E26376D4C}"/>
              </a:ext>
            </a:extLst>
          </p:cNvPr>
          <p:cNvSpPr/>
          <p:nvPr/>
        </p:nvSpPr>
        <p:spPr>
          <a:xfrm>
            <a:off x="3708586" y="5955869"/>
            <a:ext cx="216000" cy="216000"/>
          </a:xfrm>
          <a:prstGeom prst="ellipse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0" name="文本框 109">
            <a:extLst>
              <a:ext uri="{FF2B5EF4-FFF2-40B4-BE49-F238E27FC236}">
                <a16:creationId xmlns:a16="http://schemas.microsoft.com/office/drawing/2014/main" id="{ADDB6FB0-9E02-471B-A557-9FAD3EFFD3BA}"/>
              </a:ext>
            </a:extLst>
          </p:cNvPr>
          <p:cNvSpPr txBox="1"/>
          <p:nvPr/>
        </p:nvSpPr>
        <p:spPr>
          <a:xfrm>
            <a:off x="3165469" y="5370232"/>
            <a:ext cx="15122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1400">
                <a:gradFill flip="none" rotWithShape="1">
                  <a:gsLst>
                    <a:gs pos="80000">
                      <a:schemeClr val="accent3"/>
                    </a:gs>
                    <a:gs pos="0">
                      <a:schemeClr val="bg1"/>
                    </a:gs>
                    <a:gs pos="50000">
                      <a:schemeClr val="bg1"/>
                    </a:gs>
                    <a:gs pos="20000">
                      <a:schemeClr val="accent3"/>
                    </a:gs>
                    <a:gs pos="100000">
                      <a:schemeClr val="bg1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思源黑体 Medium" panose="020B0600000000000000" pitchFamily="34" charset="-122"/>
                <a:ea typeface="思源黑体 Medium" panose="020B06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上千款模板选择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80000">
                    <a:srgbClr val="0BD0D9"/>
                  </a:gs>
                  <a:gs pos="0">
                    <a:prstClr val="white"/>
                  </a:gs>
                  <a:gs pos="50000">
                    <a:prstClr val="white"/>
                  </a:gs>
                  <a:gs pos="20000">
                    <a:srgbClr val="0BD0D9"/>
                  </a:gs>
                  <a:gs pos="100000">
                    <a:prstClr val="white"/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OPPOSans M" panose="00020600040101010101" pitchFamily="18" charset="-122"/>
              <a:ea typeface="OPPOSans M" panose="00020600040101010101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106" name="椭圆 105">
            <a:extLst>
              <a:ext uri="{FF2B5EF4-FFF2-40B4-BE49-F238E27FC236}">
                <a16:creationId xmlns:a16="http://schemas.microsoft.com/office/drawing/2014/main" id="{F9123280-4A7F-4E31-9805-4D36BD760138}"/>
              </a:ext>
            </a:extLst>
          </p:cNvPr>
          <p:cNvSpPr/>
          <p:nvPr/>
        </p:nvSpPr>
        <p:spPr>
          <a:xfrm>
            <a:off x="6038384" y="5937327"/>
            <a:ext cx="253084" cy="253084"/>
          </a:xfrm>
          <a:prstGeom prst="ellipse">
            <a:avLst/>
          </a:prstGeom>
          <a:solidFill>
            <a:schemeClr val="bg1">
              <a:alpha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7" name="椭圆 106">
            <a:extLst>
              <a:ext uri="{FF2B5EF4-FFF2-40B4-BE49-F238E27FC236}">
                <a16:creationId xmlns:a16="http://schemas.microsoft.com/office/drawing/2014/main" id="{02C3DE25-E1EE-49CC-9701-8E27476786BD}"/>
              </a:ext>
            </a:extLst>
          </p:cNvPr>
          <p:cNvSpPr/>
          <p:nvPr/>
        </p:nvSpPr>
        <p:spPr>
          <a:xfrm>
            <a:off x="6056926" y="5955869"/>
            <a:ext cx="216000" cy="216000"/>
          </a:xfrm>
          <a:prstGeom prst="ellipse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5" name="文本框 104">
            <a:extLst>
              <a:ext uri="{FF2B5EF4-FFF2-40B4-BE49-F238E27FC236}">
                <a16:creationId xmlns:a16="http://schemas.microsoft.com/office/drawing/2014/main" id="{29257F70-5B4C-4881-8464-0B47A1E223CB}"/>
              </a:ext>
            </a:extLst>
          </p:cNvPr>
          <p:cNvSpPr txBox="1"/>
          <p:nvPr/>
        </p:nvSpPr>
        <p:spPr>
          <a:xfrm>
            <a:off x="5513809" y="5370232"/>
            <a:ext cx="15122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1400">
                <a:gradFill flip="none" rotWithShape="1">
                  <a:gsLst>
                    <a:gs pos="80000">
                      <a:schemeClr val="accent3"/>
                    </a:gs>
                    <a:gs pos="0">
                      <a:schemeClr val="bg1"/>
                    </a:gs>
                    <a:gs pos="50000">
                      <a:schemeClr val="bg1"/>
                    </a:gs>
                    <a:gs pos="20000">
                      <a:schemeClr val="accent3"/>
                    </a:gs>
                    <a:gs pos="100000">
                      <a:schemeClr val="bg1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思源黑体 Medium" panose="020B0600000000000000" pitchFamily="34" charset="-122"/>
                <a:ea typeface="思源黑体 Medium" panose="020B06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上千款模板选择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80000">
                    <a:srgbClr val="0BD0D9"/>
                  </a:gs>
                  <a:gs pos="0">
                    <a:prstClr val="white"/>
                  </a:gs>
                  <a:gs pos="50000">
                    <a:prstClr val="white"/>
                  </a:gs>
                  <a:gs pos="20000">
                    <a:srgbClr val="0BD0D9"/>
                  </a:gs>
                  <a:gs pos="100000">
                    <a:prstClr val="white"/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OPPOSans M" panose="00020600040101010101" pitchFamily="18" charset="-122"/>
              <a:ea typeface="OPPOSans M" panose="00020600040101010101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101" name="椭圆 100">
            <a:extLst>
              <a:ext uri="{FF2B5EF4-FFF2-40B4-BE49-F238E27FC236}">
                <a16:creationId xmlns:a16="http://schemas.microsoft.com/office/drawing/2014/main" id="{7792D0AF-5C72-4732-B92A-8979F628BAC3}"/>
              </a:ext>
            </a:extLst>
          </p:cNvPr>
          <p:cNvSpPr/>
          <p:nvPr/>
        </p:nvSpPr>
        <p:spPr>
          <a:xfrm>
            <a:off x="8386724" y="5937327"/>
            <a:ext cx="253084" cy="253084"/>
          </a:xfrm>
          <a:prstGeom prst="ellipse">
            <a:avLst/>
          </a:prstGeom>
          <a:solidFill>
            <a:schemeClr val="bg1">
              <a:alpha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2" name="椭圆 101">
            <a:extLst>
              <a:ext uri="{FF2B5EF4-FFF2-40B4-BE49-F238E27FC236}">
                <a16:creationId xmlns:a16="http://schemas.microsoft.com/office/drawing/2014/main" id="{1D05A483-16C5-44A8-8D57-F076C4F9C314}"/>
              </a:ext>
            </a:extLst>
          </p:cNvPr>
          <p:cNvSpPr/>
          <p:nvPr/>
        </p:nvSpPr>
        <p:spPr>
          <a:xfrm>
            <a:off x="8405266" y="5955869"/>
            <a:ext cx="216000" cy="216000"/>
          </a:xfrm>
          <a:prstGeom prst="ellipse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0" name="文本框 99">
            <a:extLst>
              <a:ext uri="{FF2B5EF4-FFF2-40B4-BE49-F238E27FC236}">
                <a16:creationId xmlns:a16="http://schemas.microsoft.com/office/drawing/2014/main" id="{4C0FA967-EC3D-4B5A-93B9-64D1F9BDEE8B}"/>
              </a:ext>
            </a:extLst>
          </p:cNvPr>
          <p:cNvSpPr txBox="1"/>
          <p:nvPr/>
        </p:nvSpPr>
        <p:spPr>
          <a:xfrm>
            <a:off x="7862149" y="5370232"/>
            <a:ext cx="15122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1400">
                <a:gradFill flip="none" rotWithShape="1">
                  <a:gsLst>
                    <a:gs pos="80000">
                      <a:schemeClr val="accent3"/>
                    </a:gs>
                    <a:gs pos="0">
                      <a:schemeClr val="bg1"/>
                    </a:gs>
                    <a:gs pos="50000">
                      <a:schemeClr val="bg1"/>
                    </a:gs>
                    <a:gs pos="20000">
                      <a:schemeClr val="accent3"/>
                    </a:gs>
                    <a:gs pos="100000">
                      <a:schemeClr val="bg1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思源黑体 Medium" panose="020B0600000000000000" pitchFamily="34" charset="-122"/>
                <a:ea typeface="思源黑体 Medium" panose="020B0600000000000000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上千款模板选择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80000">
                    <a:srgbClr val="0BD0D9"/>
                  </a:gs>
                  <a:gs pos="0">
                    <a:prstClr val="white"/>
                  </a:gs>
                  <a:gs pos="50000">
                    <a:prstClr val="white"/>
                  </a:gs>
                  <a:gs pos="20000">
                    <a:srgbClr val="0BD0D9"/>
                  </a:gs>
                  <a:gs pos="100000">
                    <a:prstClr val="white"/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OPPOSans M" panose="00020600040101010101" pitchFamily="18" charset="-122"/>
              <a:ea typeface="OPPOSans M" panose="00020600040101010101" pitchFamily="18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80000">
                      <a:srgbClr val="0BD0D9"/>
                    </a:gs>
                    <a:gs pos="0">
                      <a:prstClr val="white"/>
                    </a:gs>
                    <a:gs pos="50000">
                      <a:prstClr val="white"/>
                    </a:gs>
                    <a:gs pos="20000">
                      <a:srgbClr val="0BD0D9"/>
                    </a:gs>
                    <a:gs pos="100000">
                      <a:prstClr val="white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总有一款适合你</a:t>
            </a:r>
          </a:p>
        </p:txBody>
      </p:sp>
      <p:sp>
        <p:nvSpPr>
          <p:cNvPr id="97" name="等腰三角形 96">
            <a:extLst>
              <a:ext uri="{FF2B5EF4-FFF2-40B4-BE49-F238E27FC236}">
                <a16:creationId xmlns:a16="http://schemas.microsoft.com/office/drawing/2014/main" id="{D169E0DC-EC7D-48CA-8F6A-0E32F047CC25}"/>
              </a:ext>
            </a:extLst>
          </p:cNvPr>
          <p:cNvSpPr/>
          <p:nvPr/>
        </p:nvSpPr>
        <p:spPr>
          <a:xfrm rot="5400000" flipV="1">
            <a:off x="4864871" y="5983304"/>
            <a:ext cx="154781" cy="16891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8" name="等腰三角形 97">
            <a:extLst>
              <a:ext uri="{FF2B5EF4-FFF2-40B4-BE49-F238E27FC236}">
                <a16:creationId xmlns:a16="http://schemas.microsoft.com/office/drawing/2014/main" id="{2D02D56C-CA81-41EF-A4E0-59B538F5D7FB}"/>
              </a:ext>
            </a:extLst>
          </p:cNvPr>
          <p:cNvSpPr/>
          <p:nvPr/>
        </p:nvSpPr>
        <p:spPr>
          <a:xfrm rot="5400000" flipV="1">
            <a:off x="7213211" y="5983304"/>
            <a:ext cx="154781" cy="168916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23" name="稿定PPT-1-1">
            <a:extLst>
              <a:ext uri="{FF2B5EF4-FFF2-40B4-BE49-F238E27FC236}">
                <a16:creationId xmlns:a16="http://schemas.microsoft.com/office/drawing/2014/main" id="{2AE321A3-48B5-43F4-B471-56F9FBEF5CDE}"/>
              </a:ext>
            </a:extLst>
          </p:cNvPr>
          <p:cNvSpPr txBox="1"/>
          <p:nvPr/>
        </p:nvSpPr>
        <p:spPr>
          <a:xfrm>
            <a:off x="807500" y="478291"/>
            <a:ext cx="3584290" cy="38685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海量素材持续更新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124" name="稿定PPT-1-2">
            <a:extLst>
              <a:ext uri="{FF2B5EF4-FFF2-40B4-BE49-F238E27FC236}">
                <a16:creationId xmlns:a16="http://schemas.microsoft.com/office/drawing/2014/main" id="{ABF9536F-0785-4680-9B30-E562230531B6}"/>
              </a:ext>
            </a:extLst>
          </p:cNvPr>
          <p:cNvSpPr txBox="1"/>
          <p:nvPr/>
        </p:nvSpPr>
        <p:spPr>
          <a:xfrm>
            <a:off x="807499" y="790245"/>
            <a:ext cx="5288501" cy="32163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125" name="任意多边形: 形状 1">
            <a:extLst>
              <a:ext uri="{FF2B5EF4-FFF2-40B4-BE49-F238E27FC236}">
                <a16:creationId xmlns:a16="http://schemas.microsoft.com/office/drawing/2014/main" id="{369A6C75-DC98-4C46-9C99-31C808ED100C}"/>
              </a:ext>
            </a:extLst>
          </p:cNvPr>
          <p:cNvSpPr/>
          <p:nvPr/>
        </p:nvSpPr>
        <p:spPr>
          <a:xfrm>
            <a:off x="442914" y="549274"/>
            <a:ext cx="218365" cy="223510"/>
          </a:xfrm>
          <a:custGeom>
            <a:avLst/>
            <a:gdLst>
              <a:gd name="connsiteX0" fmla="*/ 197318 w 385551"/>
              <a:gd name="connsiteY0" fmla="*/ 0 h 394636"/>
              <a:gd name="connsiteX1" fmla="*/ 379130 w 385551"/>
              <a:gd name="connsiteY1" fmla="*/ 120513 h 394636"/>
              <a:gd name="connsiteX2" fmla="*/ 385551 w 385551"/>
              <a:gd name="connsiteY2" fmla="*/ 152318 h 394636"/>
              <a:gd name="connsiteX3" fmla="*/ 197322 w 385551"/>
              <a:gd name="connsiteY3" fmla="*/ 152318 h 394636"/>
              <a:gd name="connsiteX4" fmla="*/ 197317 w 385551"/>
              <a:gd name="connsiteY4" fmla="*/ 152317 h 394636"/>
              <a:gd name="connsiteX5" fmla="*/ 152317 w 385551"/>
              <a:gd name="connsiteY5" fmla="*/ 197317 h 394636"/>
              <a:gd name="connsiteX6" fmla="*/ 197317 w 385551"/>
              <a:gd name="connsiteY6" fmla="*/ 242317 h 394636"/>
              <a:gd name="connsiteX7" fmla="*/ 197318 w 385551"/>
              <a:gd name="connsiteY7" fmla="*/ 242317 h 394636"/>
              <a:gd name="connsiteX8" fmla="*/ 197318 w 385551"/>
              <a:gd name="connsiteY8" fmla="*/ 242318 h 394636"/>
              <a:gd name="connsiteX9" fmla="*/ 385551 w 385551"/>
              <a:gd name="connsiteY9" fmla="*/ 242318 h 394636"/>
              <a:gd name="connsiteX10" fmla="*/ 379130 w 385551"/>
              <a:gd name="connsiteY10" fmla="*/ 274123 h 394636"/>
              <a:gd name="connsiteX11" fmla="*/ 197318 w 385551"/>
              <a:gd name="connsiteY11" fmla="*/ 394636 h 394636"/>
              <a:gd name="connsiteX12" fmla="*/ 0 w 385551"/>
              <a:gd name="connsiteY12" fmla="*/ 197318 h 394636"/>
              <a:gd name="connsiteX13" fmla="*/ 197318 w 385551"/>
              <a:gd name="connsiteY13" fmla="*/ 0 h 394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85551" h="394636">
                <a:moveTo>
                  <a:pt x="197318" y="0"/>
                </a:moveTo>
                <a:cubicBezTo>
                  <a:pt x="279050" y="0"/>
                  <a:pt x="349175" y="49692"/>
                  <a:pt x="379130" y="120513"/>
                </a:cubicBezTo>
                <a:lnTo>
                  <a:pt x="385551" y="152318"/>
                </a:lnTo>
                <a:lnTo>
                  <a:pt x="197322" y="152318"/>
                </a:lnTo>
                <a:lnTo>
                  <a:pt x="197317" y="152317"/>
                </a:lnTo>
                <a:cubicBezTo>
                  <a:pt x="172464" y="152317"/>
                  <a:pt x="152317" y="172464"/>
                  <a:pt x="152317" y="197317"/>
                </a:cubicBezTo>
                <a:cubicBezTo>
                  <a:pt x="152317" y="222170"/>
                  <a:pt x="172464" y="242317"/>
                  <a:pt x="197317" y="242317"/>
                </a:cubicBezTo>
                <a:lnTo>
                  <a:pt x="197318" y="242317"/>
                </a:lnTo>
                <a:lnTo>
                  <a:pt x="197318" y="242318"/>
                </a:lnTo>
                <a:lnTo>
                  <a:pt x="385551" y="242318"/>
                </a:lnTo>
                <a:lnTo>
                  <a:pt x="379130" y="274123"/>
                </a:lnTo>
                <a:cubicBezTo>
                  <a:pt x="349175" y="344944"/>
                  <a:pt x="279050" y="394636"/>
                  <a:pt x="197318" y="394636"/>
                </a:cubicBezTo>
                <a:cubicBezTo>
                  <a:pt x="88342" y="394636"/>
                  <a:pt x="0" y="306294"/>
                  <a:pt x="0" y="197318"/>
                </a:cubicBezTo>
                <a:cubicBezTo>
                  <a:pt x="0" y="88342"/>
                  <a:pt x="88342" y="0"/>
                  <a:pt x="19731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26" name="矩形: 圆角 1">
            <a:extLst>
              <a:ext uri="{FF2B5EF4-FFF2-40B4-BE49-F238E27FC236}">
                <a16:creationId xmlns:a16="http://schemas.microsoft.com/office/drawing/2014/main" id="{65DD46E5-22B6-41B0-A678-0DD591AD5842}"/>
              </a:ext>
            </a:extLst>
          </p:cNvPr>
          <p:cNvSpPr/>
          <p:nvPr/>
        </p:nvSpPr>
        <p:spPr>
          <a:xfrm>
            <a:off x="558626" y="643385"/>
            <a:ext cx="102654" cy="352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27" name="椭圆 1">
            <a:extLst>
              <a:ext uri="{FF2B5EF4-FFF2-40B4-BE49-F238E27FC236}">
                <a16:creationId xmlns:a16="http://schemas.microsoft.com/office/drawing/2014/main" id="{55924AC7-40C3-4EE6-908A-F1542E79E9C0}"/>
              </a:ext>
            </a:extLst>
          </p:cNvPr>
          <p:cNvSpPr/>
          <p:nvPr/>
        </p:nvSpPr>
        <p:spPr>
          <a:xfrm>
            <a:off x="672377" y="643385"/>
            <a:ext cx="35287" cy="35287"/>
          </a:xfrm>
          <a:prstGeom prst="ellipse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28" name="弧形 1">
            <a:extLst>
              <a:ext uri="{FF2B5EF4-FFF2-40B4-BE49-F238E27FC236}">
                <a16:creationId xmlns:a16="http://schemas.microsoft.com/office/drawing/2014/main" id="{BB14D33E-24EC-4A87-9A5A-524977A92124}"/>
              </a:ext>
            </a:extLst>
          </p:cNvPr>
          <p:cNvSpPr/>
          <p:nvPr/>
        </p:nvSpPr>
        <p:spPr>
          <a:xfrm>
            <a:off x="589134" y="588883"/>
            <a:ext cx="144291" cy="144291"/>
          </a:xfrm>
          <a:prstGeom prst="arc">
            <a:avLst>
              <a:gd name="adj1" fmla="val 21513936"/>
              <a:gd name="adj2" fmla="val 4392892"/>
            </a:avLst>
          </a:prstGeom>
          <a:ln w="9525" cap="rnd">
            <a:gradFill>
              <a:gsLst>
                <a:gs pos="6200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3" name="文本框 6">
            <a:extLst>
              <a:ext uri="{FF2B5EF4-FFF2-40B4-BE49-F238E27FC236}">
                <a16:creationId xmlns:a16="http://schemas.microsoft.com/office/drawing/2014/main" id="{2495A9FE-4E2C-493C-94CA-C0AC6437F5D9}"/>
              </a:ext>
            </a:extLst>
          </p:cNvPr>
          <p:cNvSpPr txBox="1"/>
          <p:nvPr/>
        </p:nvSpPr>
        <p:spPr>
          <a:xfrm>
            <a:off x="1298110" y="4065645"/>
            <a:ext cx="340273" cy="4616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1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3" name="文本框 6">
            <a:extLst>
              <a:ext uri="{FF2B5EF4-FFF2-40B4-BE49-F238E27FC236}">
                <a16:creationId xmlns:a16="http://schemas.microsoft.com/office/drawing/2014/main" id="{16016BAB-D04D-4DAD-A4D1-2D5C39E42F12}"/>
              </a:ext>
            </a:extLst>
          </p:cNvPr>
          <p:cNvSpPr txBox="1"/>
          <p:nvPr/>
        </p:nvSpPr>
        <p:spPr>
          <a:xfrm>
            <a:off x="3646450" y="4065645"/>
            <a:ext cx="340273" cy="4616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2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9" name="文本框 6">
            <a:extLst>
              <a:ext uri="{FF2B5EF4-FFF2-40B4-BE49-F238E27FC236}">
                <a16:creationId xmlns:a16="http://schemas.microsoft.com/office/drawing/2014/main" id="{D748B2A9-CCB1-4709-A29A-D127908995F0}"/>
              </a:ext>
            </a:extLst>
          </p:cNvPr>
          <p:cNvSpPr txBox="1"/>
          <p:nvPr/>
        </p:nvSpPr>
        <p:spPr>
          <a:xfrm>
            <a:off x="5994790" y="4065645"/>
            <a:ext cx="340273" cy="4616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3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7" name="文本框 6">
            <a:extLst>
              <a:ext uri="{FF2B5EF4-FFF2-40B4-BE49-F238E27FC236}">
                <a16:creationId xmlns:a16="http://schemas.microsoft.com/office/drawing/2014/main" id="{0339D2B3-5993-4A5B-88A4-7C7A774AE8D6}"/>
              </a:ext>
            </a:extLst>
          </p:cNvPr>
          <p:cNvSpPr txBox="1"/>
          <p:nvPr/>
        </p:nvSpPr>
        <p:spPr>
          <a:xfrm>
            <a:off x="8343130" y="4065645"/>
            <a:ext cx="340273" cy="4616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4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8" name="文本框 6">
            <a:extLst>
              <a:ext uri="{FF2B5EF4-FFF2-40B4-BE49-F238E27FC236}">
                <a16:creationId xmlns:a16="http://schemas.microsoft.com/office/drawing/2014/main" id="{D139B4CE-54E5-4A8C-9CDB-914216BF42CA}"/>
              </a:ext>
            </a:extLst>
          </p:cNvPr>
          <p:cNvSpPr txBox="1"/>
          <p:nvPr/>
        </p:nvSpPr>
        <p:spPr>
          <a:xfrm>
            <a:off x="1298110" y="5970645"/>
            <a:ext cx="340273" cy="4616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8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3" name="文本框 6">
            <a:extLst>
              <a:ext uri="{FF2B5EF4-FFF2-40B4-BE49-F238E27FC236}">
                <a16:creationId xmlns:a16="http://schemas.microsoft.com/office/drawing/2014/main" id="{36433394-01D1-49CB-9F37-BA6D6F2B4D53}"/>
              </a:ext>
            </a:extLst>
          </p:cNvPr>
          <p:cNvSpPr txBox="1"/>
          <p:nvPr/>
        </p:nvSpPr>
        <p:spPr>
          <a:xfrm>
            <a:off x="3646450" y="5970645"/>
            <a:ext cx="340273" cy="4616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7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8" name="文本框 6">
            <a:extLst>
              <a:ext uri="{FF2B5EF4-FFF2-40B4-BE49-F238E27FC236}">
                <a16:creationId xmlns:a16="http://schemas.microsoft.com/office/drawing/2014/main" id="{CBA83601-5087-496C-BF20-CC1FC1B813AA}"/>
              </a:ext>
            </a:extLst>
          </p:cNvPr>
          <p:cNvSpPr txBox="1"/>
          <p:nvPr/>
        </p:nvSpPr>
        <p:spPr>
          <a:xfrm>
            <a:off x="5994790" y="5970645"/>
            <a:ext cx="340273" cy="46166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6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3" name="文本框 6">
            <a:extLst>
              <a:ext uri="{FF2B5EF4-FFF2-40B4-BE49-F238E27FC236}">
                <a16:creationId xmlns:a16="http://schemas.microsoft.com/office/drawing/2014/main" id="{F41C5733-D3C1-4FF0-BF9E-8E86DC327E06}"/>
              </a:ext>
            </a:extLst>
          </p:cNvPr>
          <p:cNvSpPr txBox="1"/>
          <p:nvPr/>
        </p:nvSpPr>
        <p:spPr>
          <a:xfrm>
            <a:off x="8331166" y="5970645"/>
            <a:ext cx="364202" cy="2769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5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225741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" name="组合 159">
            <a:extLst>
              <a:ext uri="{FF2B5EF4-FFF2-40B4-BE49-F238E27FC236}">
                <a16:creationId xmlns:a16="http://schemas.microsoft.com/office/drawing/2014/main" id="{7686F826-C5D8-4239-BB5E-9645EE78D5F7}"/>
              </a:ext>
            </a:extLst>
          </p:cNvPr>
          <p:cNvGrpSpPr/>
          <p:nvPr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61" name="组合 160">
              <a:extLst>
                <a:ext uri="{FF2B5EF4-FFF2-40B4-BE49-F238E27FC236}">
                  <a16:creationId xmlns:a16="http://schemas.microsoft.com/office/drawing/2014/main" id="{852BC6B6-0621-48EE-AB48-87360FCD0A6B}"/>
                </a:ext>
              </a:extLst>
            </p:cNvPr>
            <p:cNvGrpSpPr/>
            <p:nvPr/>
          </p:nvGrpSpPr>
          <p:grpSpPr>
            <a:xfrm>
              <a:off x="1586" y="0"/>
              <a:ext cx="12190414" cy="6858000"/>
              <a:chOff x="1586" y="272"/>
              <a:chExt cx="12190414" cy="6858000"/>
            </a:xfrm>
          </p:grpSpPr>
          <p:sp>
            <p:nvSpPr>
              <p:cNvPr id="169" name="矩形 168">
                <a:extLst>
                  <a:ext uri="{FF2B5EF4-FFF2-40B4-BE49-F238E27FC236}">
                    <a16:creationId xmlns:a16="http://schemas.microsoft.com/office/drawing/2014/main" id="{1D67C6D3-6208-4522-9B99-DF094E5489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587" y="272"/>
                <a:ext cx="12190413" cy="6858000"/>
              </a:xfrm>
              <a:prstGeom prst="rect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70" name="图形 9">
                <a:extLst>
                  <a:ext uri="{FF2B5EF4-FFF2-40B4-BE49-F238E27FC236}">
                    <a16:creationId xmlns:a16="http://schemas.microsoft.com/office/drawing/2014/main" id="{AB843C9E-8BE5-45D0-9433-EC6E99DA1FD3}"/>
                  </a:ext>
                </a:extLst>
              </p:cNvPr>
              <p:cNvSpPr/>
              <p:nvPr/>
            </p:nvSpPr>
            <p:spPr>
              <a:xfrm>
                <a:off x="1586" y="272"/>
                <a:ext cx="12187339" cy="6851196"/>
              </a:xfrm>
              <a:custGeom>
                <a:avLst/>
                <a:gdLst>
                  <a:gd name="connsiteX0" fmla="*/ 12185574 w 12187339"/>
                  <a:gd name="connsiteY0" fmla="*/ 2197 h 6851196"/>
                  <a:gd name="connsiteX1" fmla="*/ 12182372 w 12187339"/>
                  <a:gd name="connsiteY1" fmla="*/ 2197 h 6851196"/>
                  <a:gd name="connsiteX2" fmla="*/ 12182372 w 12187339"/>
                  <a:gd name="connsiteY2" fmla="*/ -1205 h 6851196"/>
                  <a:gd name="connsiteX3" fmla="*/ 1435 w 12187339"/>
                  <a:gd name="connsiteY3" fmla="*/ -1205 h 6851196"/>
                  <a:gd name="connsiteX4" fmla="*/ 1435 w 12187339"/>
                  <a:gd name="connsiteY4" fmla="*/ 2197 h 6851196"/>
                  <a:gd name="connsiteX5" fmla="*/ -1766 w 12187339"/>
                  <a:gd name="connsiteY5" fmla="*/ 2197 h 6851196"/>
                  <a:gd name="connsiteX6" fmla="*/ -1766 w 12187339"/>
                  <a:gd name="connsiteY6" fmla="*/ 6846590 h 6851196"/>
                  <a:gd name="connsiteX7" fmla="*/ 1435 w 12187339"/>
                  <a:gd name="connsiteY7" fmla="*/ 6846590 h 6851196"/>
                  <a:gd name="connsiteX8" fmla="*/ 1435 w 12187339"/>
                  <a:gd name="connsiteY8" fmla="*/ 6849992 h 6851196"/>
                  <a:gd name="connsiteX9" fmla="*/ 12182372 w 12187339"/>
                  <a:gd name="connsiteY9" fmla="*/ 6849992 h 6851196"/>
                  <a:gd name="connsiteX10" fmla="*/ 12182372 w 12187339"/>
                  <a:gd name="connsiteY10" fmla="*/ 6846590 h 6851196"/>
                  <a:gd name="connsiteX11" fmla="*/ 12185574 w 12187339"/>
                  <a:gd name="connsiteY11" fmla="*/ 6846590 h 6851196"/>
                  <a:gd name="connsiteX12" fmla="*/ 8728209 w 12187339"/>
                  <a:gd name="connsiteY12" fmla="*/ 3421264 h 6851196"/>
                  <a:gd name="connsiteX13" fmla="*/ 8504120 w 12187339"/>
                  <a:gd name="connsiteY13" fmla="*/ 3421264 h 6851196"/>
                  <a:gd name="connsiteX14" fmla="*/ 8504120 w 12187339"/>
                  <a:gd name="connsiteY14" fmla="*/ 3183139 h 6851196"/>
                  <a:gd name="connsiteX15" fmla="*/ 8728209 w 12187339"/>
                  <a:gd name="connsiteY15" fmla="*/ 3183139 h 6851196"/>
                  <a:gd name="connsiteX16" fmla="*/ 8734611 w 12187339"/>
                  <a:gd name="connsiteY16" fmla="*/ 3183139 h 6851196"/>
                  <a:gd name="connsiteX17" fmla="*/ 8957162 w 12187339"/>
                  <a:gd name="connsiteY17" fmla="*/ 3183139 h 6851196"/>
                  <a:gd name="connsiteX18" fmla="*/ 8957162 w 12187339"/>
                  <a:gd name="connsiteY18" fmla="*/ 3421264 h 6851196"/>
                  <a:gd name="connsiteX19" fmla="*/ 8734611 w 12187339"/>
                  <a:gd name="connsiteY19" fmla="*/ 3421264 h 6851196"/>
                  <a:gd name="connsiteX20" fmla="*/ 8497718 w 12187339"/>
                  <a:gd name="connsiteY20" fmla="*/ 3421264 h 6851196"/>
                  <a:gd name="connsiteX21" fmla="*/ 8273629 w 12187339"/>
                  <a:gd name="connsiteY21" fmla="*/ 3421264 h 6851196"/>
                  <a:gd name="connsiteX22" fmla="*/ 8273629 w 12187339"/>
                  <a:gd name="connsiteY22" fmla="*/ 3183139 h 6851196"/>
                  <a:gd name="connsiteX23" fmla="*/ 8497718 w 12187339"/>
                  <a:gd name="connsiteY23" fmla="*/ 3183139 h 6851196"/>
                  <a:gd name="connsiteX24" fmla="*/ 8267227 w 12187339"/>
                  <a:gd name="connsiteY24" fmla="*/ 3421264 h 6851196"/>
                  <a:gd name="connsiteX25" fmla="*/ 8044420 w 12187339"/>
                  <a:gd name="connsiteY25" fmla="*/ 3421264 h 6851196"/>
                  <a:gd name="connsiteX26" fmla="*/ 8044420 w 12187339"/>
                  <a:gd name="connsiteY26" fmla="*/ 3183139 h 6851196"/>
                  <a:gd name="connsiteX27" fmla="*/ 8267227 w 12187339"/>
                  <a:gd name="connsiteY27" fmla="*/ 3183139 h 6851196"/>
                  <a:gd name="connsiteX28" fmla="*/ 8038274 w 12187339"/>
                  <a:gd name="connsiteY28" fmla="*/ 3421264 h 6851196"/>
                  <a:gd name="connsiteX29" fmla="*/ 7814186 w 12187339"/>
                  <a:gd name="connsiteY29" fmla="*/ 3421264 h 6851196"/>
                  <a:gd name="connsiteX30" fmla="*/ 7814186 w 12187339"/>
                  <a:gd name="connsiteY30" fmla="*/ 3183139 h 6851196"/>
                  <a:gd name="connsiteX31" fmla="*/ 8038274 w 12187339"/>
                  <a:gd name="connsiteY31" fmla="*/ 3183139 h 6851196"/>
                  <a:gd name="connsiteX32" fmla="*/ 7807783 w 12187339"/>
                  <a:gd name="connsiteY32" fmla="*/ 3421264 h 6851196"/>
                  <a:gd name="connsiteX33" fmla="*/ 7583695 w 12187339"/>
                  <a:gd name="connsiteY33" fmla="*/ 3421264 h 6851196"/>
                  <a:gd name="connsiteX34" fmla="*/ 7583695 w 12187339"/>
                  <a:gd name="connsiteY34" fmla="*/ 3183139 h 6851196"/>
                  <a:gd name="connsiteX35" fmla="*/ 7807783 w 12187339"/>
                  <a:gd name="connsiteY35" fmla="*/ 3183139 h 6851196"/>
                  <a:gd name="connsiteX36" fmla="*/ 7577292 w 12187339"/>
                  <a:gd name="connsiteY36" fmla="*/ 3421264 h 6851196"/>
                  <a:gd name="connsiteX37" fmla="*/ 7353204 w 12187339"/>
                  <a:gd name="connsiteY37" fmla="*/ 3421264 h 6851196"/>
                  <a:gd name="connsiteX38" fmla="*/ 7353204 w 12187339"/>
                  <a:gd name="connsiteY38" fmla="*/ 3183139 h 6851196"/>
                  <a:gd name="connsiteX39" fmla="*/ 7577292 w 12187339"/>
                  <a:gd name="connsiteY39" fmla="*/ 3183139 h 6851196"/>
                  <a:gd name="connsiteX40" fmla="*/ 7346801 w 12187339"/>
                  <a:gd name="connsiteY40" fmla="*/ 3421264 h 6851196"/>
                  <a:gd name="connsiteX41" fmla="*/ 7124247 w 12187339"/>
                  <a:gd name="connsiteY41" fmla="*/ 3421264 h 6851196"/>
                  <a:gd name="connsiteX42" fmla="*/ 7124247 w 12187339"/>
                  <a:gd name="connsiteY42" fmla="*/ 3183139 h 6851196"/>
                  <a:gd name="connsiteX43" fmla="*/ 7346801 w 12187339"/>
                  <a:gd name="connsiteY43" fmla="*/ 3183139 h 6851196"/>
                  <a:gd name="connsiteX44" fmla="*/ 7117845 w 12187339"/>
                  <a:gd name="connsiteY44" fmla="*/ 3421264 h 6851196"/>
                  <a:gd name="connsiteX45" fmla="*/ 6893756 w 12187339"/>
                  <a:gd name="connsiteY45" fmla="*/ 3421264 h 6851196"/>
                  <a:gd name="connsiteX46" fmla="*/ 6893756 w 12187339"/>
                  <a:gd name="connsiteY46" fmla="*/ 3183139 h 6851196"/>
                  <a:gd name="connsiteX47" fmla="*/ 7117845 w 12187339"/>
                  <a:gd name="connsiteY47" fmla="*/ 3183139 h 6851196"/>
                  <a:gd name="connsiteX48" fmla="*/ 6887354 w 12187339"/>
                  <a:gd name="connsiteY48" fmla="*/ 3421264 h 6851196"/>
                  <a:gd name="connsiteX49" fmla="*/ 6663265 w 12187339"/>
                  <a:gd name="connsiteY49" fmla="*/ 3421264 h 6851196"/>
                  <a:gd name="connsiteX50" fmla="*/ 6663265 w 12187339"/>
                  <a:gd name="connsiteY50" fmla="*/ 3183139 h 6851196"/>
                  <a:gd name="connsiteX51" fmla="*/ 6887354 w 12187339"/>
                  <a:gd name="connsiteY51" fmla="*/ 3183139 h 6851196"/>
                  <a:gd name="connsiteX52" fmla="*/ 6656863 w 12187339"/>
                  <a:gd name="connsiteY52" fmla="*/ 3421264 h 6851196"/>
                  <a:gd name="connsiteX53" fmla="*/ 6446349 w 12187339"/>
                  <a:gd name="connsiteY53" fmla="*/ 3421264 h 6851196"/>
                  <a:gd name="connsiteX54" fmla="*/ 6446349 w 12187339"/>
                  <a:gd name="connsiteY54" fmla="*/ 3183139 h 6851196"/>
                  <a:gd name="connsiteX55" fmla="*/ 6656863 w 12187339"/>
                  <a:gd name="connsiteY55" fmla="*/ 3183139 h 6851196"/>
                  <a:gd name="connsiteX56" fmla="*/ 6439946 w 12187339"/>
                  <a:gd name="connsiteY56" fmla="*/ 3421264 h 6851196"/>
                  <a:gd name="connsiteX57" fmla="*/ 6217136 w 12187339"/>
                  <a:gd name="connsiteY57" fmla="*/ 3421264 h 6851196"/>
                  <a:gd name="connsiteX58" fmla="*/ 6217136 w 12187339"/>
                  <a:gd name="connsiteY58" fmla="*/ 3183139 h 6851196"/>
                  <a:gd name="connsiteX59" fmla="*/ 6439690 w 12187339"/>
                  <a:gd name="connsiteY59" fmla="*/ 3183139 h 6851196"/>
                  <a:gd name="connsiteX60" fmla="*/ 6210990 w 12187339"/>
                  <a:gd name="connsiteY60" fmla="*/ 3421264 h 6851196"/>
                  <a:gd name="connsiteX61" fmla="*/ 5986902 w 12187339"/>
                  <a:gd name="connsiteY61" fmla="*/ 3421264 h 6851196"/>
                  <a:gd name="connsiteX62" fmla="*/ 5986902 w 12187339"/>
                  <a:gd name="connsiteY62" fmla="*/ 3183139 h 6851196"/>
                  <a:gd name="connsiteX63" fmla="*/ 6210990 w 12187339"/>
                  <a:gd name="connsiteY63" fmla="*/ 3183139 h 6851196"/>
                  <a:gd name="connsiteX64" fmla="*/ 5980499 w 12187339"/>
                  <a:gd name="connsiteY64" fmla="*/ 3421264 h 6851196"/>
                  <a:gd name="connsiteX65" fmla="*/ 5756411 w 12187339"/>
                  <a:gd name="connsiteY65" fmla="*/ 3421264 h 6851196"/>
                  <a:gd name="connsiteX66" fmla="*/ 5756411 w 12187339"/>
                  <a:gd name="connsiteY66" fmla="*/ 3183139 h 6851196"/>
                  <a:gd name="connsiteX67" fmla="*/ 5980499 w 12187339"/>
                  <a:gd name="connsiteY67" fmla="*/ 3183139 h 6851196"/>
                  <a:gd name="connsiteX68" fmla="*/ 5750008 w 12187339"/>
                  <a:gd name="connsiteY68" fmla="*/ 3421264 h 6851196"/>
                  <a:gd name="connsiteX69" fmla="*/ 5526945 w 12187339"/>
                  <a:gd name="connsiteY69" fmla="*/ 3421264 h 6851196"/>
                  <a:gd name="connsiteX70" fmla="*/ 5526945 w 12187339"/>
                  <a:gd name="connsiteY70" fmla="*/ 3183139 h 6851196"/>
                  <a:gd name="connsiteX71" fmla="*/ 5749495 w 12187339"/>
                  <a:gd name="connsiteY71" fmla="*/ 3183139 h 6851196"/>
                  <a:gd name="connsiteX72" fmla="*/ 5521055 w 12187339"/>
                  <a:gd name="connsiteY72" fmla="*/ 3421264 h 6851196"/>
                  <a:gd name="connsiteX73" fmla="*/ 5296454 w 12187339"/>
                  <a:gd name="connsiteY73" fmla="*/ 3421264 h 6851196"/>
                  <a:gd name="connsiteX74" fmla="*/ 5296454 w 12187339"/>
                  <a:gd name="connsiteY74" fmla="*/ 3183139 h 6851196"/>
                  <a:gd name="connsiteX75" fmla="*/ 5520542 w 12187339"/>
                  <a:gd name="connsiteY75" fmla="*/ 3183139 h 6851196"/>
                  <a:gd name="connsiteX76" fmla="*/ 5290564 w 12187339"/>
                  <a:gd name="connsiteY76" fmla="*/ 3421264 h 6851196"/>
                  <a:gd name="connsiteX77" fmla="*/ 5065963 w 12187339"/>
                  <a:gd name="connsiteY77" fmla="*/ 3421264 h 6851196"/>
                  <a:gd name="connsiteX78" fmla="*/ 5065963 w 12187339"/>
                  <a:gd name="connsiteY78" fmla="*/ 3183139 h 6851196"/>
                  <a:gd name="connsiteX79" fmla="*/ 5290051 w 12187339"/>
                  <a:gd name="connsiteY79" fmla="*/ 3183139 h 6851196"/>
                  <a:gd name="connsiteX80" fmla="*/ 5060073 w 12187339"/>
                  <a:gd name="connsiteY80" fmla="*/ 3421264 h 6851196"/>
                  <a:gd name="connsiteX81" fmla="*/ 4835472 w 12187339"/>
                  <a:gd name="connsiteY81" fmla="*/ 3421264 h 6851196"/>
                  <a:gd name="connsiteX82" fmla="*/ 4835472 w 12187339"/>
                  <a:gd name="connsiteY82" fmla="*/ 3183139 h 6851196"/>
                  <a:gd name="connsiteX83" fmla="*/ 5059560 w 12187339"/>
                  <a:gd name="connsiteY83" fmla="*/ 3183139 h 6851196"/>
                  <a:gd name="connsiteX84" fmla="*/ 4829582 w 12187339"/>
                  <a:gd name="connsiteY84" fmla="*/ 3421264 h 6851196"/>
                  <a:gd name="connsiteX85" fmla="*/ 4607029 w 12187339"/>
                  <a:gd name="connsiteY85" fmla="*/ 3421264 h 6851196"/>
                  <a:gd name="connsiteX86" fmla="*/ 4607029 w 12187339"/>
                  <a:gd name="connsiteY86" fmla="*/ 3183139 h 6851196"/>
                  <a:gd name="connsiteX87" fmla="*/ 4829582 w 12187339"/>
                  <a:gd name="connsiteY87" fmla="*/ 3183139 h 6851196"/>
                  <a:gd name="connsiteX88" fmla="*/ 4600626 w 12187339"/>
                  <a:gd name="connsiteY88" fmla="*/ 3421264 h 6851196"/>
                  <a:gd name="connsiteX89" fmla="*/ 4376538 w 12187339"/>
                  <a:gd name="connsiteY89" fmla="*/ 3421264 h 6851196"/>
                  <a:gd name="connsiteX90" fmla="*/ 4376538 w 12187339"/>
                  <a:gd name="connsiteY90" fmla="*/ 3183139 h 6851196"/>
                  <a:gd name="connsiteX91" fmla="*/ 4600626 w 12187339"/>
                  <a:gd name="connsiteY91" fmla="*/ 3183139 h 6851196"/>
                  <a:gd name="connsiteX92" fmla="*/ 4370135 w 12187339"/>
                  <a:gd name="connsiteY92" fmla="*/ 3421264 h 6851196"/>
                  <a:gd name="connsiteX93" fmla="*/ 4146047 w 12187339"/>
                  <a:gd name="connsiteY93" fmla="*/ 3421264 h 6851196"/>
                  <a:gd name="connsiteX94" fmla="*/ 4146047 w 12187339"/>
                  <a:gd name="connsiteY94" fmla="*/ 3183139 h 6851196"/>
                  <a:gd name="connsiteX95" fmla="*/ 4370135 w 12187339"/>
                  <a:gd name="connsiteY95" fmla="*/ 3183139 h 6851196"/>
                  <a:gd name="connsiteX96" fmla="*/ 4139644 w 12187339"/>
                  <a:gd name="connsiteY96" fmla="*/ 3421264 h 6851196"/>
                  <a:gd name="connsiteX97" fmla="*/ 3917094 w 12187339"/>
                  <a:gd name="connsiteY97" fmla="*/ 3421264 h 6851196"/>
                  <a:gd name="connsiteX98" fmla="*/ 3917094 w 12187339"/>
                  <a:gd name="connsiteY98" fmla="*/ 3183139 h 6851196"/>
                  <a:gd name="connsiteX99" fmla="*/ 4139644 w 12187339"/>
                  <a:gd name="connsiteY99" fmla="*/ 3183139 h 6851196"/>
                  <a:gd name="connsiteX100" fmla="*/ 3910691 w 12187339"/>
                  <a:gd name="connsiteY100" fmla="*/ 3421264 h 6851196"/>
                  <a:gd name="connsiteX101" fmla="*/ 3686603 w 12187339"/>
                  <a:gd name="connsiteY101" fmla="*/ 3421264 h 6851196"/>
                  <a:gd name="connsiteX102" fmla="*/ 3686603 w 12187339"/>
                  <a:gd name="connsiteY102" fmla="*/ 3183139 h 6851196"/>
                  <a:gd name="connsiteX103" fmla="*/ 3910691 w 12187339"/>
                  <a:gd name="connsiteY103" fmla="*/ 3183139 h 6851196"/>
                  <a:gd name="connsiteX104" fmla="*/ 3680200 w 12187339"/>
                  <a:gd name="connsiteY104" fmla="*/ 3421264 h 6851196"/>
                  <a:gd name="connsiteX105" fmla="*/ 3456112 w 12187339"/>
                  <a:gd name="connsiteY105" fmla="*/ 3421264 h 6851196"/>
                  <a:gd name="connsiteX106" fmla="*/ 3456112 w 12187339"/>
                  <a:gd name="connsiteY106" fmla="*/ 3183139 h 6851196"/>
                  <a:gd name="connsiteX107" fmla="*/ 3680200 w 12187339"/>
                  <a:gd name="connsiteY107" fmla="*/ 3183139 h 6851196"/>
                  <a:gd name="connsiteX108" fmla="*/ 3449709 w 12187339"/>
                  <a:gd name="connsiteY108" fmla="*/ 3421264 h 6851196"/>
                  <a:gd name="connsiteX109" fmla="*/ 3225621 w 12187339"/>
                  <a:gd name="connsiteY109" fmla="*/ 3421264 h 6851196"/>
                  <a:gd name="connsiteX110" fmla="*/ 3225621 w 12187339"/>
                  <a:gd name="connsiteY110" fmla="*/ 3183139 h 6851196"/>
                  <a:gd name="connsiteX111" fmla="*/ 3449709 w 12187339"/>
                  <a:gd name="connsiteY111" fmla="*/ 3183139 h 6851196"/>
                  <a:gd name="connsiteX112" fmla="*/ 3219218 w 12187339"/>
                  <a:gd name="connsiteY112" fmla="*/ 3421264 h 6851196"/>
                  <a:gd name="connsiteX113" fmla="*/ 2996666 w 12187339"/>
                  <a:gd name="connsiteY113" fmla="*/ 3421264 h 6851196"/>
                  <a:gd name="connsiteX114" fmla="*/ 2996666 w 12187339"/>
                  <a:gd name="connsiteY114" fmla="*/ 3183139 h 6851196"/>
                  <a:gd name="connsiteX115" fmla="*/ 3219218 w 12187339"/>
                  <a:gd name="connsiteY115" fmla="*/ 3183139 h 6851196"/>
                  <a:gd name="connsiteX116" fmla="*/ 3219218 w 12187339"/>
                  <a:gd name="connsiteY116" fmla="*/ 3428068 h 6851196"/>
                  <a:gd name="connsiteX117" fmla="*/ 3219218 w 12187339"/>
                  <a:gd name="connsiteY117" fmla="*/ 3664560 h 6851196"/>
                  <a:gd name="connsiteX118" fmla="*/ 2996666 w 12187339"/>
                  <a:gd name="connsiteY118" fmla="*/ 3664560 h 6851196"/>
                  <a:gd name="connsiteX119" fmla="*/ 2996666 w 12187339"/>
                  <a:gd name="connsiteY119" fmla="*/ 3428068 h 6851196"/>
                  <a:gd name="connsiteX120" fmla="*/ 3225621 w 12187339"/>
                  <a:gd name="connsiteY120" fmla="*/ 3428068 h 6851196"/>
                  <a:gd name="connsiteX121" fmla="*/ 3449709 w 12187339"/>
                  <a:gd name="connsiteY121" fmla="*/ 3428068 h 6851196"/>
                  <a:gd name="connsiteX122" fmla="*/ 3449709 w 12187339"/>
                  <a:gd name="connsiteY122" fmla="*/ 3664560 h 6851196"/>
                  <a:gd name="connsiteX123" fmla="*/ 3225621 w 12187339"/>
                  <a:gd name="connsiteY123" fmla="*/ 3664560 h 6851196"/>
                  <a:gd name="connsiteX124" fmla="*/ 3456112 w 12187339"/>
                  <a:gd name="connsiteY124" fmla="*/ 3428068 h 6851196"/>
                  <a:gd name="connsiteX125" fmla="*/ 3680200 w 12187339"/>
                  <a:gd name="connsiteY125" fmla="*/ 3428068 h 6851196"/>
                  <a:gd name="connsiteX126" fmla="*/ 3680200 w 12187339"/>
                  <a:gd name="connsiteY126" fmla="*/ 3664560 h 6851196"/>
                  <a:gd name="connsiteX127" fmla="*/ 3456112 w 12187339"/>
                  <a:gd name="connsiteY127" fmla="*/ 3664560 h 6851196"/>
                  <a:gd name="connsiteX128" fmla="*/ 3686603 w 12187339"/>
                  <a:gd name="connsiteY128" fmla="*/ 3428068 h 6851196"/>
                  <a:gd name="connsiteX129" fmla="*/ 3910691 w 12187339"/>
                  <a:gd name="connsiteY129" fmla="*/ 3428068 h 6851196"/>
                  <a:gd name="connsiteX130" fmla="*/ 3910691 w 12187339"/>
                  <a:gd name="connsiteY130" fmla="*/ 3664560 h 6851196"/>
                  <a:gd name="connsiteX131" fmla="*/ 3686603 w 12187339"/>
                  <a:gd name="connsiteY131" fmla="*/ 3664560 h 6851196"/>
                  <a:gd name="connsiteX132" fmla="*/ 3917094 w 12187339"/>
                  <a:gd name="connsiteY132" fmla="*/ 3428068 h 6851196"/>
                  <a:gd name="connsiteX133" fmla="*/ 4139644 w 12187339"/>
                  <a:gd name="connsiteY133" fmla="*/ 3428068 h 6851196"/>
                  <a:gd name="connsiteX134" fmla="*/ 4139644 w 12187339"/>
                  <a:gd name="connsiteY134" fmla="*/ 3664560 h 6851196"/>
                  <a:gd name="connsiteX135" fmla="*/ 3917094 w 12187339"/>
                  <a:gd name="connsiteY135" fmla="*/ 3664560 h 6851196"/>
                  <a:gd name="connsiteX136" fmla="*/ 4146047 w 12187339"/>
                  <a:gd name="connsiteY136" fmla="*/ 3428068 h 6851196"/>
                  <a:gd name="connsiteX137" fmla="*/ 4370135 w 12187339"/>
                  <a:gd name="connsiteY137" fmla="*/ 3428068 h 6851196"/>
                  <a:gd name="connsiteX138" fmla="*/ 4370135 w 12187339"/>
                  <a:gd name="connsiteY138" fmla="*/ 3664560 h 6851196"/>
                  <a:gd name="connsiteX139" fmla="*/ 4146047 w 12187339"/>
                  <a:gd name="connsiteY139" fmla="*/ 3664560 h 6851196"/>
                  <a:gd name="connsiteX140" fmla="*/ 4376538 w 12187339"/>
                  <a:gd name="connsiteY140" fmla="*/ 3428068 h 6851196"/>
                  <a:gd name="connsiteX141" fmla="*/ 4600626 w 12187339"/>
                  <a:gd name="connsiteY141" fmla="*/ 3428068 h 6851196"/>
                  <a:gd name="connsiteX142" fmla="*/ 4600626 w 12187339"/>
                  <a:gd name="connsiteY142" fmla="*/ 3664560 h 6851196"/>
                  <a:gd name="connsiteX143" fmla="*/ 4376538 w 12187339"/>
                  <a:gd name="connsiteY143" fmla="*/ 3664560 h 6851196"/>
                  <a:gd name="connsiteX144" fmla="*/ 4607029 w 12187339"/>
                  <a:gd name="connsiteY144" fmla="*/ 3428068 h 6851196"/>
                  <a:gd name="connsiteX145" fmla="*/ 4829582 w 12187339"/>
                  <a:gd name="connsiteY145" fmla="*/ 3428068 h 6851196"/>
                  <a:gd name="connsiteX146" fmla="*/ 4829582 w 12187339"/>
                  <a:gd name="connsiteY146" fmla="*/ 3664560 h 6851196"/>
                  <a:gd name="connsiteX147" fmla="*/ 4607029 w 12187339"/>
                  <a:gd name="connsiteY147" fmla="*/ 3664560 h 6851196"/>
                  <a:gd name="connsiteX148" fmla="*/ 4835985 w 12187339"/>
                  <a:gd name="connsiteY148" fmla="*/ 3428068 h 6851196"/>
                  <a:gd name="connsiteX149" fmla="*/ 5060073 w 12187339"/>
                  <a:gd name="connsiteY149" fmla="*/ 3428068 h 6851196"/>
                  <a:gd name="connsiteX150" fmla="*/ 5060073 w 12187339"/>
                  <a:gd name="connsiteY150" fmla="*/ 3664560 h 6851196"/>
                  <a:gd name="connsiteX151" fmla="*/ 4835472 w 12187339"/>
                  <a:gd name="connsiteY151" fmla="*/ 3664560 h 6851196"/>
                  <a:gd name="connsiteX152" fmla="*/ 5066476 w 12187339"/>
                  <a:gd name="connsiteY152" fmla="*/ 3428068 h 6851196"/>
                  <a:gd name="connsiteX153" fmla="*/ 5290564 w 12187339"/>
                  <a:gd name="connsiteY153" fmla="*/ 3428068 h 6851196"/>
                  <a:gd name="connsiteX154" fmla="*/ 5290564 w 12187339"/>
                  <a:gd name="connsiteY154" fmla="*/ 3664560 h 6851196"/>
                  <a:gd name="connsiteX155" fmla="*/ 5065963 w 12187339"/>
                  <a:gd name="connsiteY155" fmla="*/ 3664560 h 6851196"/>
                  <a:gd name="connsiteX156" fmla="*/ 5296967 w 12187339"/>
                  <a:gd name="connsiteY156" fmla="*/ 3428068 h 6851196"/>
                  <a:gd name="connsiteX157" fmla="*/ 5521055 w 12187339"/>
                  <a:gd name="connsiteY157" fmla="*/ 3428068 h 6851196"/>
                  <a:gd name="connsiteX158" fmla="*/ 5521055 w 12187339"/>
                  <a:gd name="connsiteY158" fmla="*/ 3664560 h 6851196"/>
                  <a:gd name="connsiteX159" fmla="*/ 5296454 w 12187339"/>
                  <a:gd name="connsiteY159" fmla="*/ 3664560 h 6851196"/>
                  <a:gd name="connsiteX160" fmla="*/ 5527458 w 12187339"/>
                  <a:gd name="connsiteY160" fmla="*/ 3428068 h 6851196"/>
                  <a:gd name="connsiteX161" fmla="*/ 5750008 w 12187339"/>
                  <a:gd name="connsiteY161" fmla="*/ 3428068 h 6851196"/>
                  <a:gd name="connsiteX162" fmla="*/ 5750008 w 12187339"/>
                  <a:gd name="connsiteY162" fmla="*/ 3664560 h 6851196"/>
                  <a:gd name="connsiteX163" fmla="*/ 5526945 w 12187339"/>
                  <a:gd name="connsiteY163" fmla="*/ 3664560 h 6851196"/>
                  <a:gd name="connsiteX164" fmla="*/ 5756411 w 12187339"/>
                  <a:gd name="connsiteY164" fmla="*/ 3428068 h 6851196"/>
                  <a:gd name="connsiteX165" fmla="*/ 5980499 w 12187339"/>
                  <a:gd name="connsiteY165" fmla="*/ 3428068 h 6851196"/>
                  <a:gd name="connsiteX166" fmla="*/ 5980499 w 12187339"/>
                  <a:gd name="connsiteY166" fmla="*/ 3664560 h 6851196"/>
                  <a:gd name="connsiteX167" fmla="*/ 5756411 w 12187339"/>
                  <a:gd name="connsiteY167" fmla="*/ 3664560 h 6851196"/>
                  <a:gd name="connsiteX168" fmla="*/ 5986902 w 12187339"/>
                  <a:gd name="connsiteY168" fmla="*/ 3428068 h 6851196"/>
                  <a:gd name="connsiteX169" fmla="*/ 6210990 w 12187339"/>
                  <a:gd name="connsiteY169" fmla="*/ 3428068 h 6851196"/>
                  <a:gd name="connsiteX170" fmla="*/ 6210990 w 12187339"/>
                  <a:gd name="connsiteY170" fmla="*/ 3664560 h 6851196"/>
                  <a:gd name="connsiteX171" fmla="*/ 5986902 w 12187339"/>
                  <a:gd name="connsiteY171" fmla="*/ 3664560 h 6851196"/>
                  <a:gd name="connsiteX172" fmla="*/ 6217393 w 12187339"/>
                  <a:gd name="connsiteY172" fmla="*/ 3428068 h 6851196"/>
                  <a:gd name="connsiteX173" fmla="*/ 6439946 w 12187339"/>
                  <a:gd name="connsiteY173" fmla="*/ 3428068 h 6851196"/>
                  <a:gd name="connsiteX174" fmla="*/ 6439946 w 12187339"/>
                  <a:gd name="connsiteY174" fmla="*/ 3664560 h 6851196"/>
                  <a:gd name="connsiteX175" fmla="*/ 6217136 w 12187339"/>
                  <a:gd name="connsiteY175" fmla="*/ 3664560 h 6851196"/>
                  <a:gd name="connsiteX176" fmla="*/ 6446349 w 12187339"/>
                  <a:gd name="connsiteY176" fmla="*/ 3428068 h 6851196"/>
                  <a:gd name="connsiteX177" fmla="*/ 6656863 w 12187339"/>
                  <a:gd name="connsiteY177" fmla="*/ 3428068 h 6851196"/>
                  <a:gd name="connsiteX178" fmla="*/ 6656863 w 12187339"/>
                  <a:gd name="connsiteY178" fmla="*/ 3664560 h 6851196"/>
                  <a:gd name="connsiteX179" fmla="*/ 6446349 w 12187339"/>
                  <a:gd name="connsiteY179" fmla="*/ 3664560 h 6851196"/>
                  <a:gd name="connsiteX180" fmla="*/ 6663265 w 12187339"/>
                  <a:gd name="connsiteY180" fmla="*/ 3428068 h 6851196"/>
                  <a:gd name="connsiteX181" fmla="*/ 6887354 w 12187339"/>
                  <a:gd name="connsiteY181" fmla="*/ 3428068 h 6851196"/>
                  <a:gd name="connsiteX182" fmla="*/ 6887354 w 12187339"/>
                  <a:gd name="connsiteY182" fmla="*/ 3664560 h 6851196"/>
                  <a:gd name="connsiteX183" fmla="*/ 6663265 w 12187339"/>
                  <a:gd name="connsiteY183" fmla="*/ 3664560 h 6851196"/>
                  <a:gd name="connsiteX184" fmla="*/ 6893756 w 12187339"/>
                  <a:gd name="connsiteY184" fmla="*/ 3428068 h 6851196"/>
                  <a:gd name="connsiteX185" fmla="*/ 7117845 w 12187339"/>
                  <a:gd name="connsiteY185" fmla="*/ 3428068 h 6851196"/>
                  <a:gd name="connsiteX186" fmla="*/ 7117845 w 12187339"/>
                  <a:gd name="connsiteY186" fmla="*/ 3664560 h 6851196"/>
                  <a:gd name="connsiteX187" fmla="*/ 6893756 w 12187339"/>
                  <a:gd name="connsiteY187" fmla="*/ 3664560 h 6851196"/>
                  <a:gd name="connsiteX188" fmla="*/ 7124247 w 12187339"/>
                  <a:gd name="connsiteY188" fmla="*/ 3428068 h 6851196"/>
                  <a:gd name="connsiteX189" fmla="*/ 7346801 w 12187339"/>
                  <a:gd name="connsiteY189" fmla="*/ 3428068 h 6851196"/>
                  <a:gd name="connsiteX190" fmla="*/ 7346801 w 12187339"/>
                  <a:gd name="connsiteY190" fmla="*/ 3664560 h 6851196"/>
                  <a:gd name="connsiteX191" fmla="*/ 7124247 w 12187339"/>
                  <a:gd name="connsiteY191" fmla="*/ 3664560 h 6851196"/>
                  <a:gd name="connsiteX192" fmla="*/ 7353204 w 12187339"/>
                  <a:gd name="connsiteY192" fmla="*/ 3428068 h 6851196"/>
                  <a:gd name="connsiteX193" fmla="*/ 7577292 w 12187339"/>
                  <a:gd name="connsiteY193" fmla="*/ 3428068 h 6851196"/>
                  <a:gd name="connsiteX194" fmla="*/ 7577292 w 12187339"/>
                  <a:gd name="connsiteY194" fmla="*/ 3664560 h 6851196"/>
                  <a:gd name="connsiteX195" fmla="*/ 7353204 w 12187339"/>
                  <a:gd name="connsiteY195" fmla="*/ 3664560 h 6851196"/>
                  <a:gd name="connsiteX196" fmla="*/ 7583695 w 12187339"/>
                  <a:gd name="connsiteY196" fmla="*/ 3428068 h 6851196"/>
                  <a:gd name="connsiteX197" fmla="*/ 7807783 w 12187339"/>
                  <a:gd name="connsiteY197" fmla="*/ 3428068 h 6851196"/>
                  <a:gd name="connsiteX198" fmla="*/ 7807783 w 12187339"/>
                  <a:gd name="connsiteY198" fmla="*/ 3664560 h 6851196"/>
                  <a:gd name="connsiteX199" fmla="*/ 7583695 w 12187339"/>
                  <a:gd name="connsiteY199" fmla="*/ 3664560 h 6851196"/>
                  <a:gd name="connsiteX200" fmla="*/ 7814186 w 12187339"/>
                  <a:gd name="connsiteY200" fmla="*/ 3428068 h 6851196"/>
                  <a:gd name="connsiteX201" fmla="*/ 8038274 w 12187339"/>
                  <a:gd name="connsiteY201" fmla="*/ 3428068 h 6851196"/>
                  <a:gd name="connsiteX202" fmla="*/ 8038274 w 12187339"/>
                  <a:gd name="connsiteY202" fmla="*/ 3664560 h 6851196"/>
                  <a:gd name="connsiteX203" fmla="*/ 7814186 w 12187339"/>
                  <a:gd name="connsiteY203" fmla="*/ 3664560 h 6851196"/>
                  <a:gd name="connsiteX204" fmla="*/ 8044677 w 12187339"/>
                  <a:gd name="connsiteY204" fmla="*/ 3428068 h 6851196"/>
                  <a:gd name="connsiteX205" fmla="*/ 8267227 w 12187339"/>
                  <a:gd name="connsiteY205" fmla="*/ 3428068 h 6851196"/>
                  <a:gd name="connsiteX206" fmla="*/ 8267227 w 12187339"/>
                  <a:gd name="connsiteY206" fmla="*/ 3664560 h 6851196"/>
                  <a:gd name="connsiteX207" fmla="*/ 8044420 w 12187339"/>
                  <a:gd name="connsiteY207" fmla="*/ 3664560 h 6851196"/>
                  <a:gd name="connsiteX208" fmla="*/ 8273629 w 12187339"/>
                  <a:gd name="connsiteY208" fmla="*/ 3428068 h 6851196"/>
                  <a:gd name="connsiteX209" fmla="*/ 8497718 w 12187339"/>
                  <a:gd name="connsiteY209" fmla="*/ 3428068 h 6851196"/>
                  <a:gd name="connsiteX210" fmla="*/ 8497718 w 12187339"/>
                  <a:gd name="connsiteY210" fmla="*/ 3664560 h 6851196"/>
                  <a:gd name="connsiteX211" fmla="*/ 8273629 w 12187339"/>
                  <a:gd name="connsiteY211" fmla="*/ 3664560 h 6851196"/>
                  <a:gd name="connsiteX212" fmla="*/ 8504120 w 12187339"/>
                  <a:gd name="connsiteY212" fmla="*/ 3428068 h 6851196"/>
                  <a:gd name="connsiteX213" fmla="*/ 8728209 w 12187339"/>
                  <a:gd name="connsiteY213" fmla="*/ 3428068 h 6851196"/>
                  <a:gd name="connsiteX214" fmla="*/ 8728209 w 12187339"/>
                  <a:gd name="connsiteY214" fmla="*/ 3664560 h 6851196"/>
                  <a:gd name="connsiteX215" fmla="*/ 8504120 w 12187339"/>
                  <a:gd name="connsiteY215" fmla="*/ 3664560 h 6851196"/>
                  <a:gd name="connsiteX216" fmla="*/ 8734611 w 12187339"/>
                  <a:gd name="connsiteY216" fmla="*/ 3428068 h 6851196"/>
                  <a:gd name="connsiteX217" fmla="*/ 8957162 w 12187339"/>
                  <a:gd name="connsiteY217" fmla="*/ 3428068 h 6851196"/>
                  <a:gd name="connsiteX218" fmla="*/ 8957162 w 12187339"/>
                  <a:gd name="connsiteY218" fmla="*/ 3664560 h 6851196"/>
                  <a:gd name="connsiteX219" fmla="*/ 8734611 w 12187339"/>
                  <a:gd name="connsiteY219" fmla="*/ 3664560 h 6851196"/>
                  <a:gd name="connsiteX220" fmla="*/ 8963564 w 12187339"/>
                  <a:gd name="connsiteY220" fmla="*/ 3428068 h 6851196"/>
                  <a:gd name="connsiteX221" fmla="*/ 9187653 w 12187339"/>
                  <a:gd name="connsiteY221" fmla="*/ 3428068 h 6851196"/>
                  <a:gd name="connsiteX222" fmla="*/ 9187653 w 12187339"/>
                  <a:gd name="connsiteY222" fmla="*/ 3664560 h 6851196"/>
                  <a:gd name="connsiteX223" fmla="*/ 8963564 w 12187339"/>
                  <a:gd name="connsiteY223" fmla="*/ 3664560 h 6851196"/>
                  <a:gd name="connsiteX224" fmla="*/ 8963564 w 12187339"/>
                  <a:gd name="connsiteY224" fmla="*/ 3421264 h 6851196"/>
                  <a:gd name="connsiteX225" fmla="*/ 8963564 w 12187339"/>
                  <a:gd name="connsiteY225" fmla="*/ 3183139 h 6851196"/>
                  <a:gd name="connsiteX226" fmla="*/ 9187653 w 12187339"/>
                  <a:gd name="connsiteY226" fmla="*/ 3183139 h 6851196"/>
                  <a:gd name="connsiteX227" fmla="*/ 9187653 w 12187339"/>
                  <a:gd name="connsiteY227" fmla="*/ 3421264 h 6851196"/>
                  <a:gd name="connsiteX228" fmla="*/ 8963564 w 12187339"/>
                  <a:gd name="connsiteY228" fmla="*/ 3176336 h 6851196"/>
                  <a:gd name="connsiteX229" fmla="*/ 8963564 w 12187339"/>
                  <a:gd name="connsiteY229" fmla="*/ 2938211 h 6851196"/>
                  <a:gd name="connsiteX230" fmla="*/ 9187653 w 12187339"/>
                  <a:gd name="connsiteY230" fmla="*/ 2938211 h 6851196"/>
                  <a:gd name="connsiteX231" fmla="*/ 9187653 w 12187339"/>
                  <a:gd name="connsiteY231" fmla="*/ 3176336 h 6851196"/>
                  <a:gd name="connsiteX232" fmla="*/ 8957162 w 12187339"/>
                  <a:gd name="connsiteY232" fmla="*/ 3176336 h 6851196"/>
                  <a:gd name="connsiteX233" fmla="*/ 8734611 w 12187339"/>
                  <a:gd name="connsiteY233" fmla="*/ 3176336 h 6851196"/>
                  <a:gd name="connsiteX234" fmla="*/ 8734611 w 12187339"/>
                  <a:gd name="connsiteY234" fmla="*/ 2938211 h 6851196"/>
                  <a:gd name="connsiteX235" fmla="*/ 8957162 w 12187339"/>
                  <a:gd name="connsiteY235" fmla="*/ 2938211 h 6851196"/>
                  <a:gd name="connsiteX236" fmla="*/ 8728209 w 12187339"/>
                  <a:gd name="connsiteY236" fmla="*/ 3176336 h 6851196"/>
                  <a:gd name="connsiteX237" fmla="*/ 8504120 w 12187339"/>
                  <a:gd name="connsiteY237" fmla="*/ 3176336 h 6851196"/>
                  <a:gd name="connsiteX238" fmla="*/ 8504120 w 12187339"/>
                  <a:gd name="connsiteY238" fmla="*/ 2938211 h 6851196"/>
                  <a:gd name="connsiteX239" fmla="*/ 8728209 w 12187339"/>
                  <a:gd name="connsiteY239" fmla="*/ 2938211 h 6851196"/>
                  <a:gd name="connsiteX240" fmla="*/ 8497718 w 12187339"/>
                  <a:gd name="connsiteY240" fmla="*/ 3176336 h 6851196"/>
                  <a:gd name="connsiteX241" fmla="*/ 8273629 w 12187339"/>
                  <a:gd name="connsiteY241" fmla="*/ 3176336 h 6851196"/>
                  <a:gd name="connsiteX242" fmla="*/ 8273629 w 12187339"/>
                  <a:gd name="connsiteY242" fmla="*/ 2938211 h 6851196"/>
                  <a:gd name="connsiteX243" fmla="*/ 8497718 w 12187339"/>
                  <a:gd name="connsiteY243" fmla="*/ 2938211 h 6851196"/>
                  <a:gd name="connsiteX244" fmla="*/ 8267227 w 12187339"/>
                  <a:gd name="connsiteY244" fmla="*/ 3176336 h 6851196"/>
                  <a:gd name="connsiteX245" fmla="*/ 8044420 w 12187339"/>
                  <a:gd name="connsiteY245" fmla="*/ 3176336 h 6851196"/>
                  <a:gd name="connsiteX246" fmla="*/ 8044420 w 12187339"/>
                  <a:gd name="connsiteY246" fmla="*/ 2938211 h 6851196"/>
                  <a:gd name="connsiteX247" fmla="*/ 8267227 w 12187339"/>
                  <a:gd name="connsiteY247" fmla="*/ 2938211 h 6851196"/>
                  <a:gd name="connsiteX248" fmla="*/ 8038274 w 12187339"/>
                  <a:gd name="connsiteY248" fmla="*/ 3176336 h 6851196"/>
                  <a:gd name="connsiteX249" fmla="*/ 7814186 w 12187339"/>
                  <a:gd name="connsiteY249" fmla="*/ 3176336 h 6851196"/>
                  <a:gd name="connsiteX250" fmla="*/ 7814186 w 12187339"/>
                  <a:gd name="connsiteY250" fmla="*/ 2938211 h 6851196"/>
                  <a:gd name="connsiteX251" fmla="*/ 8038274 w 12187339"/>
                  <a:gd name="connsiteY251" fmla="*/ 2938211 h 6851196"/>
                  <a:gd name="connsiteX252" fmla="*/ 7807783 w 12187339"/>
                  <a:gd name="connsiteY252" fmla="*/ 3176336 h 6851196"/>
                  <a:gd name="connsiteX253" fmla="*/ 7583695 w 12187339"/>
                  <a:gd name="connsiteY253" fmla="*/ 3176336 h 6851196"/>
                  <a:gd name="connsiteX254" fmla="*/ 7583695 w 12187339"/>
                  <a:gd name="connsiteY254" fmla="*/ 2938211 h 6851196"/>
                  <a:gd name="connsiteX255" fmla="*/ 7807783 w 12187339"/>
                  <a:gd name="connsiteY255" fmla="*/ 2938211 h 6851196"/>
                  <a:gd name="connsiteX256" fmla="*/ 7577292 w 12187339"/>
                  <a:gd name="connsiteY256" fmla="*/ 3176336 h 6851196"/>
                  <a:gd name="connsiteX257" fmla="*/ 7353204 w 12187339"/>
                  <a:gd name="connsiteY257" fmla="*/ 3176336 h 6851196"/>
                  <a:gd name="connsiteX258" fmla="*/ 7353204 w 12187339"/>
                  <a:gd name="connsiteY258" fmla="*/ 2938211 h 6851196"/>
                  <a:gd name="connsiteX259" fmla="*/ 7577292 w 12187339"/>
                  <a:gd name="connsiteY259" fmla="*/ 2938211 h 6851196"/>
                  <a:gd name="connsiteX260" fmla="*/ 7346801 w 12187339"/>
                  <a:gd name="connsiteY260" fmla="*/ 3176336 h 6851196"/>
                  <a:gd name="connsiteX261" fmla="*/ 7124247 w 12187339"/>
                  <a:gd name="connsiteY261" fmla="*/ 3176336 h 6851196"/>
                  <a:gd name="connsiteX262" fmla="*/ 7124247 w 12187339"/>
                  <a:gd name="connsiteY262" fmla="*/ 2938211 h 6851196"/>
                  <a:gd name="connsiteX263" fmla="*/ 7346801 w 12187339"/>
                  <a:gd name="connsiteY263" fmla="*/ 2938211 h 6851196"/>
                  <a:gd name="connsiteX264" fmla="*/ 7117845 w 12187339"/>
                  <a:gd name="connsiteY264" fmla="*/ 3176336 h 6851196"/>
                  <a:gd name="connsiteX265" fmla="*/ 6893756 w 12187339"/>
                  <a:gd name="connsiteY265" fmla="*/ 3176336 h 6851196"/>
                  <a:gd name="connsiteX266" fmla="*/ 6893756 w 12187339"/>
                  <a:gd name="connsiteY266" fmla="*/ 2938211 h 6851196"/>
                  <a:gd name="connsiteX267" fmla="*/ 7117845 w 12187339"/>
                  <a:gd name="connsiteY267" fmla="*/ 2938211 h 6851196"/>
                  <a:gd name="connsiteX268" fmla="*/ 6887354 w 12187339"/>
                  <a:gd name="connsiteY268" fmla="*/ 3176336 h 6851196"/>
                  <a:gd name="connsiteX269" fmla="*/ 6663265 w 12187339"/>
                  <a:gd name="connsiteY269" fmla="*/ 3176336 h 6851196"/>
                  <a:gd name="connsiteX270" fmla="*/ 6663265 w 12187339"/>
                  <a:gd name="connsiteY270" fmla="*/ 2938211 h 6851196"/>
                  <a:gd name="connsiteX271" fmla="*/ 6887354 w 12187339"/>
                  <a:gd name="connsiteY271" fmla="*/ 2938211 h 6851196"/>
                  <a:gd name="connsiteX272" fmla="*/ 6656863 w 12187339"/>
                  <a:gd name="connsiteY272" fmla="*/ 3176336 h 6851196"/>
                  <a:gd name="connsiteX273" fmla="*/ 6446349 w 12187339"/>
                  <a:gd name="connsiteY273" fmla="*/ 3176336 h 6851196"/>
                  <a:gd name="connsiteX274" fmla="*/ 6446349 w 12187339"/>
                  <a:gd name="connsiteY274" fmla="*/ 2938211 h 6851196"/>
                  <a:gd name="connsiteX275" fmla="*/ 6656863 w 12187339"/>
                  <a:gd name="connsiteY275" fmla="*/ 2938211 h 6851196"/>
                  <a:gd name="connsiteX276" fmla="*/ 6439946 w 12187339"/>
                  <a:gd name="connsiteY276" fmla="*/ 3176336 h 6851196"/>
                  <a:gd name="connsiteX277" fmla="*/ 6217136 w 12187339"/>
                  <a:gd name="connsiteY277" fmla="*/ 3176336 h 6851196"/>
                  <a:gd name="connsiteX278" fmla="*/ 6217136 w 12187339"/>
                  <a:gd name="connsiteY278" fmla="*/ 2938211 h 6851196"/>
                  <a:gd name="connsiteX279" fmla="*/ 6439690 w 12187339"/>
                  <a:gd name="connsiteY279" fmla="*/ 2938211 h 6851196"/>
                  <a:gd name="connsiteX280" fmla="*/ 6210990 w 12187339"/>
                  <a:gd name="connsiteY280" fmla="*/ 3176336 h 6851196"/>
                  <a:gd name="connsiteX281" fmla="*/ 5986902 w 12187339"/>
                  <a:gd name="connsiteY281" fmla="*/ 3176336 h 6851196"/>
                  <a:gd name="connsiteX282" fmla="*/ 5986902 w 12187339"/>
                  <a:gd name="connsiteY282" fmla="*/ 2938211 h 6851196"/>
                  <a:gd name="connsiteX283" fmla="*/ 6210990 w 12187339"/>
                  <a:gd name="connsiteY283" fmla="*/ 2938211 h 6851196"/>
                  <a:gd name="connsiteX284" fmla="*/ 5980499 w 12187339"/>
                  <a:gd name="connsiteY284" fmla="*/ 3176336 h 6851196"/>
                  <a:gd name="connsiteX285" fmla="*/ 5756411 w 12187339"/>
                  <a:gd name="connsiteY285" fmla="*/ 3176336 h 6851196"/>
                  <a:gd name="connsiteX286" fmla="*/ 5756411 w 12187339"/>
                  <a:gd name="connsiteY286" fmla="*/ 2938211 h 6851196"/>
                  <a:gd name="connsiteX287" fmla="*/ 5980499 w 12187339"/>
                  <a:gd name="connsiteY287" fmla="*/ 2938211 h 6851196"/>
                  <a:gd name="connsiteX288" fmla="*/ 5750008 w 12187339"/>
                  <a:gd name="connsiteY288" fmla="*/ 3176336 h 6851196"/>
                  <a:gd name="connsiteX289" fmla="*/ 5526945 w 12187339"/>
                  <a:gd name="connsiteY289" fmla="*/ 3176336 h 6851196"/>
                  <a:gd name="connsiteX290" fmla="*/ 5526945 w 12187339"/>
                  <a:gd name="connsiteY290" fmla="*/ 2938211 h 6851196"/>
                  <a:gd name="connsiteX291" fmla="*/ 5749495 w 12187339"/>
                  <a:gd name="connsiteY291" fmla="*/ 2938211 h 6851196"/>
                  <a:gd name="connsiteX292" fmla="*/ 5521055 w 12187339"/>
                  <a:gd name="connsiteY292" fmla="*/ 3176336 h 6851196"/>
                  <a:gd name="connsiteX293" fmla="*/ 5296454 w 12187339"/>
                  <a:gd name="connsiteY293" fmla="*/ 3176336 h 6851196"/>
                  <a:gd name="connsiteX294" fmla="*/ 5296454 w 12187339"/>
                  <a:gd name="connsiteY294" fmla="*/ 2938211 h 6851196"/>
                  <a:gd name="connsiteX295" fmla="*/ 5520542 w 12187339"/>
                  <a:gd name="connsiteY295" fmla="*/ 2938211 h 6851196"/>
                  <a:gd name="connsiteX296" fmla="*/ 5290564 w 12187339"/>
                  <a:gd name="connsiteY296" fmla="*/ 3176336 h 6851196"/>
                  <a:gd name="connsiteX297" fmla="*/ 5065963 w 12187339"/>
                  <a:gd name="connsiteY297" fmla="*/ 3176336 h 6851196"/>
                  <a:gd name="connsiteX298" fmla="*/ 5065963 w 12187339"/>
                  <a:gd name="connsiteY298" fmla="*/ 2938211 h 6851196"/>
                  <a:gd name="connsiteX299" fmla="*/ 5290051 w 12187339"/>
                  <a:gd name="connsiteY299" fmla="*/ 2938211 h 6851196"/>
                  <a:gd name="connsiteX300" fmla="*/ 5060073 w 12187339"/>
                  <a:gd name="connsiteY300" fmla="*/ 3176336 h 6851196"/>
                  <a:gd name="connsiteX301" fmla="*/ 4835472 w 12187339"/>
                  <a:gd name="connsiteY301" fmla="*/ 3176336 h 6851196"/>
                  <a:gd name="connsiteX302" fmla="*/ 4835472 w 12187339"/>
                  <a:gd name="connsiteY302" fmla="*/ 2938211 h 6851196"/>
                  <a:gd name="connsiteX303" fmla="*/ 5059560 w 12187339"/>
                  <a:gd name="connsiteY303" fmla="*/ 2938211 h 6851196"/>
                  <a:gd name="connsiteX304" fmla="*/ 4829582 w 12187339"/>
                  <a:gd name="connsiteY304" fmla="*/ 3176336 h 6851196"/>
                  <a:gd name="connsiteX305" fmla="*/ 4607029 w 12187339"/>
                  <a:gd name="connsiteY305" fmla="*/ 3176336 h 6851196"/>
                  <a:gd name="connsiteX306" fmla="*/ 4607029 w 12187339"/>
                  <a:gd name="connsiteY306" fmla="*/ 2938211 h 6851196"/>
                  <a:gd name="connsiteX307" fmla="*/ 4829582 w 12187339"/>
                  <a:gd name="connsiteY307" fmla="*/ 2938211 h 6851196"/>
                  <a:gd name="connsiteX308" fmla="*/ 4600626 w 12187339"/>
                  <a:gd name="connsiteY308" fmla="*/ 3176336 h 6851196"/>
                  <a:gd name="connsiteX309" fmla="*/ 4376538 w 12187339"/>
                  <a:gd name="connsiteY309" fmla="*/ 3176336 h 6851196"/>
                  <a:gd name="connsiteX310" fmla="*/ 4376538 w 12187339"/>
                  <a:gd name="connsiteY310" fmla="*/ 2938211 h 6851196"/>
                  <a:gd name="connsiteX311" fmla="*/ 4600626 w 12187339"/>
                  <a:gd name="connsiteY311" fmla="*/ 2938211 h 6851196"/>
                  <a:gd name="connsiteX312" fmla="*/ 4370135 w 12187339"/>
                  <a:gd name="connsiteY312" fmla="*/ 3176336 h 6851196"/>
                  <a:gd name="connsiteX313" fmla="*/ 4146047 w 12187339"/>
                  <a:gd name="connsiteY313" fmla="*/ 3176336 h 6851196"/>
                  <a:gd name="connsiteX314" fmla="*/ 4146047 w 12187339"/>
                  <a:gd name="connsiteY314" fmla="*/ 2938211 h 6851196"/>
                  <a:gd name="connsiteX315" fmla="*/ 4370135 w 12187339"/>
                  <a:gd name="connsiteY315" fmla="*/ 2938211 h 6851196"/>
                  <a:gd name="connsiteX316" fmla="*/ 4139644 w 12187339"/>
                  <a:gd name="connsiteY316" fmla="*/ 3176336 h 6851196"/>
                  <a:gd name="connsiteX317" fmla="*/ 3917094 w 12187339"/>
                  <a:gd name="connsiteY317" fmla="*/ 3176336 h 6851196"/>
                  <a:gd name="connsiteX318" fmla="*/ 3917094 w 12187339"/>
                  <a:gd name="connsiteY318" fmla="*/ 2938211 h 6851196"/>
                  <a:gd name="connsiteX319" fmla="*/ 4139644 w 12187339"/>
                  <a:gd name="connsiteY319" fmla="*/ 2938211 h 6851196"/>
                  <a:gd name="connsiteX320" fmla="*/ 3910691 w 12187339"/>
                  <a:gd name="connsiteY320" fmla="*/ 3176336 h 6851196"/>
                  <a:gd name="connsiteX321" fmla="*/ 3686603 w 12187339"/>
                  <a:gd name="connsiteY321" fmla="*/ 3176336 h 6851196"/>
                  <a:gd name="connsiteX322" fmla="*/ 3686603 w 12187339"/>
                  <a:gd name="connsiteY322" fmla="*/ 2938211 h 6851196"/>
                  <a:gd name="connsiteX323" fmla="*/ 3910691 w 12187339"/>
                  <a:gd name="connsiteY323" fmla="*/ 2938211 h 6851196"/>
                  <a:gd name="connsiteX324" fmla="*/ 3680200 w 12187339"/>
                  <a:gd name="connsiteY324" fmla="*/ 3176336 h 6851196"/>
                  <a:gd name="connsiteX325" fmla="*/ 3456112 w 12187339"/>
                  <a:gd name="connsiteY325" fmla="*/ 3176336 h 6851196"/>
                  <a:gd name="connsiteX326" fmla="*/ 3456112 w 12187339"/>
                  <a:gd name="connsiteY326" fmla="*/ 2938211 h 6851196"/>
                  <a:gd name="connsiteX327" fmla="*/ 3680200 w 12187339"/>
                  <a:gd name="connsiteY327" fmla="*/ 2938211 h 6851196"/>
                  <a:gd name="connsiteX328" fmla="*/ 3449709 w 12187339"/>
                  <a:gd name="connsiteY328" fmla="*/ 3176336 h 6851196"/>
                  <a:gd name="connsiteX329" fmla="*/ 3225621 w 12187339"/>
                  <a:gd name="connsiteY329" fmla="*/ 3176336 h 6851196"/>
                  <a:gd name="connsiteX330" fmla="*/ 3225621 w 12187339"/>
                  <a:gd name="connsiteY330" fmla="*/ 2938211 h 6851196"/>
                  <a:gd name="connsiteX331" fmla="*/ 3449709 w 12187339"/>
                  <a:gd name="connsiteY331" fmla="*/ 2938211 h 6851196"/>
                  <a:gd name="connsiteX332" fmla="*/ 3219218 w 12187339"/>
                  <a:gd name="connsiteY332" fmla="*/ 3176336 h 6851196"/>
                  <a:gd name="connsiteX333" fmla="*/ 2996666 w 12187339"/>
                  <a:gd name="connsiteY333" fmla="*/ 3176336 h 6851196"/>
                  <a:gd name="connsiteX334" fmla="*/ 2996666 w 12187339"/>
                  <a:gd name="connsiteY334" fmla="*/ 2938211 h 6851196"/>
                  <a:gd name="connsiteX335" fmla="*/ 3219218 w 12187339"/>
                  <a:gd name="connsiteY335" fmla="*/ 2938211 h 6851196"/>
                  <a:gd name="connsiteX336" fmla="*/ 2990264 w 12187339"/>
                  <a:gd name="connsiteY336" fmla="*/ 3176336 h 6851196"/>
                  <a:gd name="connsiteX337" fmla="*/ 2766175 w 12187339"/>
                  <a:gd name="connsiteY337" fmla="*/ 3176336 h 6851196"/>
                  <a:gd name="connsiteX338" fmla="*/ 2766175 w 12187339"/>
                  <a:gd name="connsiteY338" fmla="*/ 2938211 h 6851196"/>
                  <a:gd name="connsiteX339" fmla="*/ 2990264 w 12187339"/>
                  <a:gd name="connsiteY339" fmla="*/ 2938211 h 6851196"/>
                  <a:gd name="connsiteX340" fmla="*/ 2990264 w 12187339"/>
                  <a:gd name="connsiteY340" fmla="*/ 3183139 h 6851196"/>
                  <a:gd name="connsiteX341" fmla="*/ 2990264 w 12187339"/>
                  <a:gd name="connsiteY341" fmla="*/ 3421264 h 6851196"/>
                  <a:gd name="connsiteX342" fmla="*/ 2766175 w 12187339"/>
                  <a:gd name="connsiteY342" fmla="*/ 3421264 h 6851196"/>
                  <a:gd name="connsiteX343" fmla="*/ 2766175 w 12187339"/>
                  <a:gd name="connsiteY343" fmla="*/ 3183139 h 6851196"/>
                  <a:gd name="connsiteX344" fmla="*/ 2990264 w 12187339"/>
                  <a:gd name="connsiteY344" fmla="*/ 3428068 h 6851196"/>
                  <a:gd name="connsiteX345" fmla="*/ 2990264 w 12187339"/>
                  <a:gd name="connsiteY345" fmla="*/ 3664560 h 6851196"/>
                  <a:gd name="connsiteX346" fmla="*/ 2766175 w 12187339"/>
                  <a:gd name="connsiteY346" fmla="*/ 3664560 h 6851196"/>
                  <a:gd name="connsiteX347" fmla="*/ 2766175 w 12187339"/>
                  <a:gd name="connsiteY347" fmla="*/ 3428068 h 6851196"/>
                  <a:gd name="connsiteX348" fmla="*/ 2990264 w 12187339"/>
                  <a:gd name="connsiteY348" fmla="*/ 3671364 h 6851196"/>
                  <a:gd name="connsiteX349" fmla="*/ 2990264 w 12187339"/>
                  <a:gd name="connsiteY349" fmla="*/ 3909489 h 6851196"/>
                  <a:gd name="connsiteX350" fmla="*/ 2766175 w 12187339"/>
                  <a:gd name="connsiteY350" fmla="*/ 3909489 h 6851196"/>
                  <a:gd name="connsiteX351" fmla="*/ 2766175 w 12187339"/>
                  <a:gd name="connsiteY351" fmla="*/ 3671364 h 6851196"/>
                  <a:gd name="connsiteX352" fmla="*/ 2996666 w 12187339"/>
                  <a:gd name="connsiteY352" fmla="*/ 3671364 h 6851196"/>
                  <a:gd name="connsiteX353" fmla="*/ 3219218 w 12187339"/>
                  <a:gd name="connsiteY353" fmla="*/ 3671364 h 6851196"/>
                  <a:gd name="connsiteX354" fmla="*/ 3219218 w 12187339"/>
                  <a:gd name="connsiteY354" fmla="*/ 3909489 h 6851196"/>
                  <a:gd name="connsiteX355" fmla="*/ 2996666 w 12187339"/>
                  <a:gd name="connsiteY355" fmla="*/ 3909489 h 6851196"/>
                  <a:gd name="connsiteX356" fmla="*/ 3225621 w 12187339"/>
                  <a:gd name="connsiteY356" fmla="*/ 3671364 h 6851196"/>
                  <a:gd name="connsiteX357" fmla="*/ 3449709 w 12187339"/>
                  <a:gd name="connsiteY357" fmla="*/ 3671364 h 6851196"/>
                  <a:gd name="connsiteX358" fmla="*/ 3449709 w 12187339"/>
                  <a:gd name="connsiteY358" fmla="*/ 3909489 h 6851196"/>
                  <a:gd name="connsiteX359" fmla="*/ 3225621 w 12187339"/>
                  <a:gd name="connsiteY359" fmla="*/ 3909489 h 6851196"/>
                  <a:gd name="connsiteX360" fmla="*/ 3456112 w 12187339"/>
                  <a:gd name="connsiteY360" fmla="*/ 3671364 h 6851196"/>
                  <a:gd name="connsiteX361" fmla="*/ 3680200 w 12187339"/>
                  <a:gd name="connsiteY361" fmla="*/ 3671364 h 6851196"/>
                  <a:gd name="connsiteX362" fmla="*/ 3680200 w 12187339"/>
                  <a:gd name="connsiteY362" fmla="*/ 3909489 h 6851196"/>
                  <a:gd name="connsiteX363" fmla="*/ 3456112 w 12187339"/>
                  <a:gd name="connsiteY363" fmla="*/ 3909489 h 6851196"/>
                  <a:gd name="connsiteX364" fmla="*/ 3686603 w 12187339"/>
                  <a:gd name="connsiteY364" fmla="*/ 3671364 h 6851196"/>
                  <a:gd name="connsiteX365" fmla="*/ 3910691 w 12187339"/>
                  <a:gd name="connsiteY365" fmla="*/ 3671364 h 6851196"/>
                  <a:gd name="connsiteX366" fmla="*/ 3910691 w 12187339"/>
                  <a:gd name="connsiteY366" fmla="*/ 3909489 h 6851196"/>
                  <a:gd name="connsiteX367" fmla="*/ 3686603 w 12187339"/>
                  <a:gd name="connsiteY367" fmla="*/ 3909489 h 6851196"/>
                  <a:gd name="connsiteX368" fmla="*/ 3917094 w 12187339"/>
                  <a:gd name="connsiteY368" fmla="*/ 3671364 h 6851196"/>
                  <a:gd name="connsiteX369" fmla="*/ 4139644 w 12187339"/>
                  <a:gd name="connsiteY369" fmla="*/ 3671364 h 6851196"/>
                  <a:gd name="connsiteX370" fmla="*/ 4139644 w 12187339"/>
                  <a:gd name="connsiteY370" fmla="*/ 3909489 h 6851196"/>
                  <a:gd name="connsiteX371" fmla="*/ 3917094 w 12187339"/>
                  <a:gd name="connsiteY371" fmla="*/ 3909489 h 6851196"/>
                  <a:gd name="connsiteX372" fmla="*/ 4146047 w 12187339"/>
                  <a:gd name="connsiteY372" fmla="*/ 3671364 h 6851196"/>
                  <a:gd name="connsiteX373" fmla="*/ 4370135 w 12187339"/>
                  <a:gd name="connsiteY373" fmla="*/ 3671364 h 6851196"/>
                  <a:gd name="connsiteX374" fmla="*/ 4370135 w 12187339"/>
                  <a:gd name="connsiteY374" fmla="*/ 3909489 h 6851196"/>
                  <a:gd name="connsiteX375" fmla="*/ 4146047 w 12187339"/>
                  <a:gd name="connsiteY375" fmla="*/ 3909489 h 6851196"/>
                  <a:gd name="connsiteX376" fmla="*/ 4376538 w 12187339"/>
                  <a:gd name="connsiteY376" fmla="*/ 3671364 h 6851196"/>
                  <a:gd name="connsiteX377" fmla="*/ 4600626 w 12187339"/>
                  <a:gd name="connsiteY377" fmla="*/ 3671364 h 6851196"/>
                  <a:gd name="connsiteX378" fmla="*/ 4600626 w 12187339"/>
                  <a:gd name="connsiteY378" fmla="*/ 3909489 h 6851196"/>
                  <a:gd name="connsiteX379" fmla="*/ 4376538 w 12187339"/>
                  <a:gd name="connsiteY379" fmla="*/ 3909489 h 6851196"/>
                  <a:gd name="connsiteX380" fmla="*/ 4607029 w 12187339"/>
                  <a:gd name="connsiteY380" fmla="*/ 3671364 h 6851196"/>
                  <a:gd name="connsiteX381" fmla="*/ 4829582 w 12187339"/>
                  <a:gd name="connsiteY381" fmla="*/ 3671364 h 6851196"/>
                  <a:gd name="connsiteX382" fmla="*/ 4829582 w 12187339"/>
                  <a:gd name="connsiteY382" fmla="*/ 3909489 h 6851196"/>
                  <a:gd name="connsiteX383" fmla="*/ 4607029 w 12187339"/>
                  <a:gd name="connsiteY383" fmla="*/ 3909489 h 6851196"/>
                  <a:gd name="connsiteX384" fmla="*/ 4835985 w 12187339"/>
                  <a:gd name="connsiteY384" fmla="*/ 3671364 h 6851196"/>
                  <a:gd name="connsiteX385" fmla="*/ 5060073 w 12187339"/>
                  <a:gd name="connsiteY385" fmla="*/ 3671364 h 6851196"/>
                  <a:gd name="connsiteX386" fmla="*/ 5060073 w 12187339"/>
                  <a:gd name="connsiteY386" fmla="*/ 3909489 h 6851196"/>
                  <a:gd name="connsiteX387" fmla="*/ 4835472 w 12187339"/>
                  <a:gd name="connsiteY387" fmla="*/ 3909489 h 6851196"/>
                  <a:gd name="connsiteX388" fmla="*/ 5066476 w 12187339"/>
                  <a:gd name="connsiteY388" fmla="*/ 3671364 h 6851196"/>
                  <a:gd name="connsiteX389" fmla="*/ 5290564 w 12187339"/>
                  <a:gd name="connsiteY389" fmla="*/ 3671364 h 6851196"/>
                  <a:gd name="connsiteX390" fmla="*/ 5290564 w 12187339"/>
                  <a:gd name="connsiteY390" fmla="*/ 3909489 h 6851196"/>
                  <a:gd name="connsiteX391" fmla="*/ 5065963 w 12187339"/>
                  <a:gd name="connsiteY391" fmla="*/ 3909489 h 6851196"/>
                  <a:gd name="connsiteX392" fmla="*/ 5296967 w 12187339"/>
                  <a:gd name="connsiteY392" fmla="*/ 3671364 h 6851196"/>
                  <a:gd name="connsiteX393" fmla="*/ 5521055 w 12187339"/>
                  <a:gd name="connsiteY393" fmla="*/ 3671364 h 6851196"/>
                  <a:gd name="connsiteX394" fmla="*/ 5521055 w 12187339"/>
                  <a:gd name="connsiteY394" fmla="*/ 3909489 h 6851196"/>
                  <a:gd name="connsiteX395" fmla="*/ 5296454 w 12187339"/>
                  <a:gd name="connsiteY395" fmla="*/ 3909489 h 6851196"/>
                  <a:gd name="connsiteX396" fmla="*/ 5527458 w 12187339"/>
                  <a:gd name="connsiteY396" fmla="*/ 3671364 h 6851196"/>
                  <a:gd name="connsiteX397" fmla="*/ 5750008 w 12187339"/>
                  <a:gd name="connsiteY397" fmla="*/ 3671364 h 6851196"/>
                  <a:gd name="connsiteX398" fmla="*/ 5750008 w 12187339"/>
                  <a:gd name="connsiteY398" fmla="*/ 3909489 h 6851196"/>
                  <a:gd name="connsiteX399" fmla="*/ 5526945 w 12187339"/>
                  <a:gd name="connsiteY399" fmla="*/ 3909489 h 6851196"/>
                  <a:gd name="connsiteX400" fmla="*/ 5756411 w 12187339"/>
                  <a:gd name="connsiteY400" fmla="*/ 3671364 h 6851196"/>
                  <a:gd name="connsiteX401" fmla="*/ 5980499 w 12187339"/>
                  <a:gd name="connsiteY401" fmla="*/ 3671364 h 6851196"/>
                  <a:gd name="connsiteX402" fmla="*/ 5980499 w 12187339"/>
                  <a:gd name="connsiteY402" fmla="*/ 3909489 h 6851196"/>
                  <a:gd name="connsiteX403" fmla="*/ 5756411 w 12187339"/>
                  <a:gd name="connsiteY403" fmla="*/ 3909489 h 6851196"/>
                  <a:gd name="connsiteX404" fmla="*/ 5986902 w 12187339"/>
                  <a:gd name="connsiteY404" fmla="*/ 3671364 h 6851196"/>
                  <a:gd name="connsiteX405" fmla="*/ 6210990 w 12187339"/>
                  <a:gd name="connsiteY405" fmla="*/ 3671364 h 6851196"/>
                  <a:gd name="connsiteX406" fmla="*/ 6210990 w 12187339"/>
                  <a:gd name="connsiteY406" fmla="*/ 3909489 h 6851196"/>
                  <a:gd name="connsiteX407" fmla="*/ 5986902 w 12187339"/>
                  <a:gd name="connsiteY407" fmla="*/ 3909489 h 6851196"/>
                  <a:gd name="connsiteX408" fmla="*/ 6217393 w 12187339"/>
                  <a:gd name="connsiteY408" fmla="*/ 3671364 h 6851196"/>
                  <a:gd name="connsiteX409" fmla="*/ 6439946 w 12187339"/>
                  <a:gd name="connsiteY409" fmla="*/ 3671364 h 6851196"/>
                  <a:gd name="connsiteX410" fmla="*/ 6439946 w 12187339"/>
                  <a:gd name="connsiteY410" fmla="*/ 3909489 h 6851196"/>
                  <a:gd name="connsiteX411" fmla="*/ 6217136 w 12187339"/>
                  <a:gd name="connsiteY411" fmla="*/ 3909489 h 6851196"/>
                  <a:gd name="connsiteX412" fmla="*/ 6446349 w 12187339"/>
                  <a:gd name="connsiteY412" fmla="*/ 3671364 h 6851196"/>
                  <a:gd name="connsiteX413" fmla="*/ 6656863 w 12187339"/>
                  <a:gd name="connsiteY413" fmla="*/ 3671364 h 6851196"/>
                  <a:gd name="connsiteX414" fmla="*/ 6656863 w 12187339"/>
                  <a:gd name="connsiteY414" fmla="*/ 3909489 h 6851196"/>
                  <a:gd name="connsiteX415" fmla="*/ 6446349 w 12187339"/>
                  <a:gd name="connsiteY415" fmla="*/ 3909489 h 6851196"/>
                  <a:gd name="connsiteX416" fmla="*/ 6663265 w 12187339"/>
                  <a:gd name="connsiteY416" fmla="*/ 3671364 h 6851196"/>
                  <a:gd name="connsiteX417" fmla="*/ 6887354 w 12187339"/>
                  <a:gd name="connsiteY417" fmla="*/ 3671364 h 6851196"/>
                  <a:gd name="connsiteX418" fmla="*/ 6887354 w 12187339"/>
                  <a:gd name="connsiteY418" fmla="*/ 3909489 h 6851196"/>
                  <a:gd name="connsiteX419" fmla="*/ 6663265 w 12187339"/>
                  <a:gd name="connsiteY419" fmla="*/ 3909489 h 6851196"/>
                  <a:gd name="connsiteX420" fmla="*/ 6893756 w 12187339"/>
                  <a:gd name="connsiteY420" fmla="*/ 3671364 h 6851196"/>
                  <a:gd name="connsiteX421" fmla="*/ 7117845 w 12187339"/>
                  <a:gd name="connsiteY421" fmla="*/ 3671364 h 6851196"/>
                  <a:gd name="connsiteX422" fmla="*/ 7117845 w 12187339"/>
                  <a:gd name="connsiteY422" fmla="*/ 3909489 h 6851196"/>
                  <a:gd name="connsiteX423" fmla="*/ 6893756 w 12187339"/>
                  <a:gd name="connsiteY423" fmla="*/ 3909489 h 6851196"/>
                  <a:gd name="connsiteX424" fmla="*/ 7124247 w 12187339"/>
                  <a:gd name="connsiteY424" fmla="*/ 3671364 h 6851196"/>
                  <a:gd name="connsiteX425" fmla="*/ 7346801 w 12187339"/>
                  <a:gd name="connsiteY425" fmla="*/ 3671364 h 6851196"/>
                  <a:gd name="connsiteX426" fmla="*/ 7346801 w 12187339"/>
                  <a:gd name="connsiteY426" fmla="*/ 3909489 h 6851196"/>
                  <a:gd name="connsiteX427" fmla="*/ 7124247 w 12187339"/>
                  <a:gd name="connsiteY427" fmla="*/ 3909489 h 6851196"/>
                  <a:gd name="connsiteX428" fmla="*/ 7353204 w 12187339"/>
                  <a:gd name="connsiteY428" fmla="*/ 3671364 h 6851196"/>
                  <a:gd name="connsiteX429" fmla="*/ 7577292 w 12187339"/>
                  <a:gd name="connsiteY429" fmla="*/ 3671364 h 6851196"/>
                  <a:gd name="connsiteX430" fmla="*/ 7577292 w 12187339"/>
                  <a:gd name="connsiteY430" fmla="*/ 3909489 h 6851196"/>
                  <a:gd name="connsiteX431" fmla="*/ 7353204 w 12187339"/>
                  <a:gd name="connsiteY431" fmla="*/ 3909489 h 6851196"/>
                  <a:gd name="connsiteX432" fmla="*/ 7583695 w 12187339"/>
                  <a:gd name="connsiteY432" fmla="*/ 3671364 h 6851196"/>
                  <a:gd name="connsiteX433" fmla="*/ 7807783 w 12187339"/>
                  <a:gd name="connsiteY433" fmla="*/ 3671364 h 6851196"/>
                  <a:gd name="connsiteX434" fmla="*/ 7807783 w 12187339"/>
                  <a:gd name="connsiteY434" fmla="*/ 3909489 h 6851196"/>
                  <a:gd name="connsiteX435" fmla="*/ 7583695 w 12187339"/>
                  <a:gd name="connsiteY435" fmla="*/ 3909489 h 6851196"/>
                  <a:gd name="connsiteX436" fmla="*/ 7814186 w 12187339"/>
                  <a:gd name="connsiteY436" fmla="*/ 3671364 h 6851196"/>
                  <a:gd name="connsiteX437" fmla="*/ 8038274 w 12187339"/>
                  <a:gd name="connsiteY437" fmla="*/ 3671364 h 6851196"/>
                  <a:gd name="connsiteX438" fmla="*/ 8038274 w 12187339"/>
                  <a:gd name="connsiteY438" fmla="*/ 3909489 h 6851196"/>
                  <a:gd name="connsiteX439" fmla="*/ 7814186 w 12187339"/>
                  <a:gd name="connsiteY439" fmla="*/ 3909489 h 6851196"/>
                  <a:gd name="connsiteX440" fmla="*/ 8044677 w 12187339"/>
                  <a:gd name="connsiteY440" fmla="*/ 3671364 h 6851196"/>
                  <a:gd name="connsiteX441" fmla="*/ 8267227 w 12187339"/>
                  <a:gd name="connsiteY441" fmla="*/ 3671364 h 6851196"/>
                  <a:gd name="connsiteX442" fmla="*/ 8267227 w 12187339"/>
                  <a:gd name="connsiteY442" fmla="*/ 3909489 h 6851196"/>
                  <a:gd name="connsiteX443" fmla="*/ 8044420 w 12187339"/>
                  <a:gd name="connsiteY443" fmla="*/ 3909489 h 6851196"/>
                  <a:gd name="connsiteX444" fmla="*/ 8273629 w 12187339"/>
                  <a:gd name="connsiteY444" fmla="*/ 3671364 h 6851196"/>
                  <a:gd name="connsiteX445" fmla="*/ 8497718 w 12187339"/>
                  <a:gd name="connsiteY445" fmla="*/ 3671364 h 6851196"/>
                  <a:gd name="connsiteX446" fmla="*/ 8497718 w 12187339"/>
                  <a:gd name="connsiteY446" fmla="*/ 3909489 h 6851196"/>
                  <a:gd name="connsiteX447" fmla="*/ 8273629 w 12187339"/>
                  <a:gd name="connsiteY447" fmla="*/ 3909489 h 6851196"/>
                  <a:gd name="connsiteX448" fmla="*/ 8504120 w 12187339"/>
                  <a:gd name="connsiteY448" fmla="*/ 3671364 h 6851196"/>
                  <a:gd name="connsiteX449" fmla="*/ 8728209 w 12187339"/>
                  <a:gd name="connsiteY449" fmla="*/ 3671364 h 6851196"/>
                  <a:gd name="connsiteX450" fmla="*/ 8728209 w 12187339"/>
                  <a:gd name="connsiteY450" fmla="*/ 3909489 h 6851196"/>
                  <a:gd name="connsiteX451" fmla="*/ 8504120 w 12187339"/>
                  <a:gd name="connsiteY451" fmla="*/ 3909489 h 6851196"/>
                  <a:gd name="connsiteX452" fmla="*/ 8734611 w 12187339"/>
                  <a:gd name="connsiteY452" fmla="*/ 3671364 h 6851196"/>
                  <a:gd name="connsiteX453" fmla="*/ 8957162 w 12187339"/>
                  <a:gd name="connsiteY453" fmla="*/ 3671364 h 6851196"/>
                  <a:gd name="connsiteX454" fmla="*/ 8957162 w 12187339"/>
                  <a:gd name="connsiteY454" fmla="*/ 3909489 h 6851196"/>
                  <a:gd name="connsiteX455" fmla="*/ 8734611 w 12187339"/>
                  <a:gd name="connsiteY455" fmla="*/ 3909489 h 6851196"/>
                  <a:gd name="connsiteX456" fmla="*/ 8963564 w 12187339"/>
                  <a:gd name="connsiteY456" fmla="*/ 3671364 h 6851196"/>
                  <a:gd name="connsiteX457" fmla="*/ 9187653 w 12187339"/>
                  <a:gd name="connsiteY457" fmla="*/ 3671364 h 6851196"/>
                  <a:gd name="connsiteX458" fmla="*/ 9187653 w 12187339"/>
                  <a:gd name="connsiteY458" fmla="*/ 3909489 h 6851196"/>
                  <a:gd name="connsiteX459" fmla="*/ 8963564 w 12187339"/>
                  <a:gd name="connsiteY459" fmla="*/ 3909489 h 6851196"/>
                  <a:gd name="connsiteX460" fmla="*/ 9194055 w 12187339"/>
                  <a:gd name="connsiteY460" fmla="*/ 3671364 h 6851196"/>
                  <a:gd name="connsiteX461" fmla="*/ 9418144 w 12187339"/>
                  <a:gd name="connsiteY461" fmla="*/ 3671364 h 6851196"/>
                  <a:gd name="connsiteX462" fmla="*/ 9418144 w 12187339"/>
                  <a:gd name="connsiteY462" fmla="*/ 3909489 h 6851196"/>
                  <a:gd name="connsiteX463" fmla="*/ 9194055 w 12187339"/>
                  <a:gd name="connsiteY463" fmla="*/ 3909489 h 6851196"/>
                  <a:gd name="connsiteX464" fmla="*/ 9194055 w 12187339"/>
                  <a:gd name="connsiteY464" fmla="*/ 3664560 h 6851196"/>
                  <a:gd name="connsiteX465" fmla="*/ 9194055 w 12187339"/>
                  <a:gd name="connsiteY465" fmla="*/ 3428068 h 6851196"/>
                  <a:gd name="connsiteX466" fmla="*/ 9418144 w 12187339"/>
                  <a:gd name="connsiteY466" fmla="*/ 3428068 h 6851196"/>
                  <a:gd name="connsiteX467" fmla="*/ 9418144 w 12187339"/>
                  <a:gd name="connsiteY467" fmla="*/ 3664560 h 6851196"/>
                  <a:gd name="connsiteX468" fmla="*/ 9194055 w 12187339"/>
                  <a:gd name="connsiteY468" fmla="*/ 3421264 h 6851196"/>
                  <a:gd name="connsiteX469" fmla="*/ 9194055 w 12187339"/>
                  <a:gd name="connsiteY469" fmla="*/ 3183139 h 6851196"/>
                  <a:gd name="connsiteX470" fmla="*/ 9418144 w 12187339"/>
                  <a:gd name="connsiteY470" fmla="*/ 3183139 h 6851196"/>
                  <a:gd name="connsiteX471" fmla="*/ 9418144 w 12187339"/>
                  <a:gd name="connsiteY471" fmla="*/ 3421264 h 6851196"/>
                  <a:gd name="connsiteX472" fmla="*/ 9194055 w 12187339"/>
                  <a:gd name="connsiteY472" fmla="*/ 3176336 h 6851196"/>
                  <a:gd name="connsiteX473" fmla="*/ 9194055 w 12187339"/>
                  <a:gd name="connsiteY473" fmla="*/ 2938211 h 6851196"/>
                  <a:gd name="connsiteX474" fmla="*/ 9418144 w 12187339"/>
                  <a:gd name="connsiteY474" fmla="*/ 2938211 h 6851196"/>
                  <a:gd name="connsiteX475" fmla="*/ 9418144 w 12187339"/>
                  <a:gd name="connsiteY475" fmla="*/ 3176336 h 6851196"/>
                  <a:gd name="connsiteX476" fmla="*/ 9194055 w 12187339"/>
                  <a:gd name="connsiteY476" fmla="*/ 2931407 h 6851196"/>
                  <a:gd name="connsiteX477" fmla="*/ 9194055 w 12187339"/>
                  <a:gd name="connsiteY477" fmla="*/ 2693282 h 6851196"/>
                  <a:gd name="connsiteX478" fmla="*/ 9418144 w 12187339"/>
                  <a:gd name="connsiteY478" fmla="*/ 2693282 h 6851196"/>
                  <a:gd name="connsiteX479" fmla="*/ 9418144 w 12187339"/>
                  <a:gd name="connsiteY479" fmla="*/ 2931407 h 6851196"/>
                  <a:gd name="connsiteX480" fmla="*/ 9187653 w 12187339"/>
                  <a:gd name="connsiteY480" fmla="*/ 2931407 h 6851196"/>
                  <a:gd name="connsiteX481" fmla="*/ 8963564 w 12187339"/>
                  <a:gd name="connsiteY481" fmla="*/ 2931407 h 6851196"/>
                  <a:gd name="connsiteX482" fmla="*/ 8963564 w 12187339"/>
                  <a:gd name="connsiteY482" fmla="*/ 2693282 h 6851196"/>
                  <a:gd name="connsiteX483" fmla="*/ 9187653 w 12187339"/>
                  <a:gd name="connsiteY483" fmla="*/ 2693282 h 6851196"/>
                  <a:gd name="connsiteX484" fmla="*/ 8957162 w 12187339"/>
                  <a:gd name="connsiteY484" fmla="*/ 2931407 h 6851196"/>
                  <a:gd name="connsiteX485" fmla="*/ 8734611 w 12187339"/>
                  <a:gd name="connsiteY485" fmla="*/ 2931407 h 6851196"/>
                  <a:gd name="connsiteX486" fmla="*/ 8734611 w 12187339"/>
                  <a:gd name="connsiteY486" fmla="*/ 2693282 h 6851196"/>
                  <a:gd name="connsiteX487" fmla="*/ 8957162 w 12187339"/>
                  <a:gd name="connsiteY487" fmla="*/ 2693282 h 6851196"/>
                  <a:gd name="connsiteX488" fmla="*/ 8728209 w 12187339"/>
                  <a:gd name="connsiteY488" fmla="*/ 2931407 h 6851196"/>
                  <a:gd name="connsiteX489" fmla="*/ 8504120 w 12187339"/>
                  <a:gd name="connsiteY489" fmla="*/ 2931407 h 6851196"/>
                  <a:gd name="connsiteX490" fmla="*/ 8504120 w 12187339"/>
                  <a:gd name="connsiteY490" fmla="*/ 2693282 h 6851196"/>
                  <a:gd name="connsiteX491" fmla="*/ 8728209 w 12187339"/>
                  <a:gd name="connsiteY491" fmla="*/ 2693282 h 6851196"/>
                  <a:gd name="connsiteX492" fmla="*/ 8497718 w 12187339"/>
                  <a:gd name="connsiteY492" fmla="*/ 2931407 h 6851196"/>
                  <a:gd name="connsiteX493" fmla="*/ 8273629 w 12187339"/>
                  <a:gd name="connsiteY493" fmla="*/ 2931407 h 6851196"/>
                  <a:gd name="connsiteX494" fmla="*/ 8273629 w 12187339"/>
                  <a:gd name="connsiteY494" fmla="*/ 2693282 h 6851196"/>
                  <a:gd name="connsiteX495" fmla="*/ 8497718 w 12187339"/>
                  <a:gd name="connsiteY495" fmla="*/ 2693282 h 6851196"/>
                  <a:gd name="connsiteX496" fmla="*/ 8267227 w 12187339"/>
                  <a:gd name="connsiteY496" fmla="*/ 2931407 h 6851196"/>
                  <a:gd name="connsiteX497" fmla="*/ 8044420 w 12187339"/>
                  <a:gd name="connsiteY497" fmla="*/ 2931407 h 6851196"/>
                  <a:gd name="connsiteX498" fmla="*/ 8044420 w 12187339"/>
                  <a:gd name="connsiteY498" fmla="*/ 2693282 h 6851196"/>
                  <a:gd name="connsiteX499" fmla="*/ 8267227 w 12187339"/>
                  <a:gd name="connsiteY499" fmla="*/ 2693282 h 6851196"/>
                  <a:gd name="connsiteX500" fmla="*/ 8038274 w 12187339"/>
                  <a:gd name="connsiteY500" fmla="*/ 2931407 h 6851196"/>
                  <a:gd name="connsiteX501" fmla="*/ 7814186 w 12187339"/>
                  <a:gd name="connsiteY501" fmla="*/ 2931407 h 6851196"/>
                  <a:gd name="connsiteX502" fmla="*/ 7814186 w 12187339"/>
                  <a:gd name="connsiteY502" fmla="*/ 2693282 h 6851196"/>
                  <a:gd name="connsiteX503" fmla="*/ 8038274 w 12187339"/>
                  <a:gd name="connsiteY503" fmla="*/ 2693282 h 6851196"/>
                  <a:gd name="connsiteX504" fmla="*/ 7807783 w 12187339"/>
                  <a:gd name="connsiteY504" fmla="*/ 2931407 h 6851196"/>
                  <a:gd name="connsiteX505" fmla="*/ 7583695 w 12187339"/>
                  <a:gd name="connsiteY505" fmla="*/ 2931407 h 6851196"/>
                  <a:gd name="connsiteX506" fmla="*/ 7583695 w 12187339"/>
                  <a:gd name="connsiteY506" fmla="*/ 2693282 h 6851196"/>
                  <a:gd name="connsiteX507" fmla="*/ 7807783 w 12187339"/>
                  <a:gd name="connsiteY507" fmla="*/ 2693282 h 6851196"/>
                  <a:gd name="connsiteX508" fmla="*/ 7577292 w 12187339"/>
                  <a:gd name="connsiteY508" fmla="*/ 2931407 h 6851196"/>
                  <a:gd name="connsiteX509" fmla="*/ 7353204 w 12187339"/>
                  <a:gd name="connsiteY509" fmla="*/ 2931407 h 6851196"/>
                  <a:gd name="connsiteX510" fmla="*/ 7353204 w 12187339"/>
                  <a:gd name="connsiteY510" fmla="*/ 2693282 h 6851196"/>
                  <a:gd name="connsiteX511" fmla="*/ 7577292 w 12187339"/>
                  <a:gd name="connsiteY511" fmla="*/ 2693282 h 6851196"/>
                  <a:gd name="connsiteX512" fmla="*/ 7346801 w 12187339"/>
                  <a:gd name="connsiteY512" fmla="*/ 2931407 h 6851196"/>
                  <a:gd name="connsiteX513" fmla="*/ 7124247 w 12187339"/>
                  <a:gd name="connsiteY513" fmla="*/ 2931407 h 6851196"/>
                  <a:gd name="connsiteX514" fmla="*/ 7124247 w 12187339"/>
                  <a:gd name="connsiteY514" fmla="*/ 2693282 h 6851196"/>
                  <a:gd name="connsiteX515" fmla="*/ 7346801 w 12187339"/>
                  <a:gd name="connsiteY515" fmla="*/ 2693282 h 6851196"/>
                  <a:gd name="connsiteX516" fmla="*/ 7117845 w 12187339"/>
                  <a:gd name="connsiteY516" fmla="*/ 2931407 h 6851196"/>
                  <a:gd name="connsiteX517" fmla="*/ 6893756 w 12187339"/>
                  <a:gd name="connsiteY517" fmla="*/ 2931407 h 6851196"/>
                  <a:gd name="connsiteX518" fmla="*/ 6893756 w 12187339"/>
                  <a:gd name="connsiteY518" fmla="*/ 2693282 h 6851196"/>
                  <a:gd name="connsiteX519" fmla="*/ 7117845 w 12187339"/>
                  <a:gd name="connsiteY519" fmla="*/ 2693282 h 6851196"/>
                  <a:gd name="connsiteX520" fmla="*/ 6887354 w 12187339"/>
                  <a:gd name="connsiteY520" fmla="*/ 2931407 h 6851196"/>
                  <a:gd name="connsiteX521" fmla="*/ 6663265 w 12187339"/>
                  <a:gd name="connsiteY521" fmla="*/ 2931407 h 6851196"/>
                  <a:gd name="connsiteX522" fmla="*/ 6663265 w 12187339"/>
                  <a:gd name="connsiteY522" fmla="*/ 2693282 h 6851196"/>
                  <a:gd name="connsiteX523" fmla="*/ 6887354 w 12187339"/>
                  <a:gd name="connsiteY523" fmla="*/ 2693282 h 6851196"/>
                  <a:gd name="connsiteX524" fmla="*/ 6656863 w 12187339"/>
                  <a:gd name="connsiteY524" fmla="*/ 2931407 h 6851196"/>
                  <a:gd name="connsiteX525" fmla="*/ 6446349 w 12187339"/>
                  <a:gd name="connsiteY525" fmla="*/ 2931407 h 6851196"/>
                  <a:gd name="connsiteX526" fmla="*/ 6446349 w 12187339"/>
                  <a:gd name="connsiteY526" fmla="*/ 2693282 h 6851196"/>
                  <a:gd name="connsiteX527" fmla="*/ 6656863 w 12187339"/>
                  <a:gd name="connsiteY527" fmla="*/ 2693282 h 6851196"/>
                  <a:gd name="connsiteX528" fmla="*/ 6439946 w 12187339"/>
                  <a:gd name="connsiteY528" fmla="*/ 2931407 h 6851196"/>
                  <a:gd name="connsiteX529" fmla="*/ 6217136 w 12187339"/>
                  <a:gd name="connsiteY529" fmla="*/ 2931407 h 6851196"/>
                  <a:gd name="connsiteX530" fmla="*/ 6217136 w 12187339"/>
                  <a:gd name="connsiteY530" fmla="*/ 2693282 h 6851196"/>
                  <a:gd name="connsiteX531" fmla="*/ 6439690 w 12187339"/>
                  <a:gd name="connsiteY531" fmla="*/ 2693282 h 6851196"/>
                  <a:gd name="connsiteX532" fmla="*/ 6210990 w 12187339"/>
                  <a:gd name="connsiteY532" fmla="*/ 2931407 h 6851196"/>
                  <a:gd name="connsiteX533" fmla="*/ 5986902 w 12187339"/>
                  <a:gd name="connsiteY533" fmla="*/ 2931407 h 6851196"/>
                  <a:gd name="connsiteX534" fmla="*/ 5986902 w 12187339"/>
                  <a:gd name="connsiteY534" fmla="*/ 2693282 h 6851196"/>
                  <a:gd name="connsiteX535" fmla="*/ 6210990 w 12187339"/>
                  <a:gd name="connsiteY535" fmla="*/ 2693282 h 6851196"/>
                  <a:gd name="connsiteX536" fmla="*/ 5980499 w 12187339"/>
                  <a:gd name="connsiteY536" fmla="*/ 2931407 h 6851196"/>
                  <a:gd name="connsiteX537" fmla="*/ 5756411 w 12187339"/>
                  <a:gd name="connsiteY537" fmla="*/ 2931407 h 6851196"/>
                  <a:gd name="connsiteX538" fmla="*/ 5756411 w 12187339"/>
                  <a:gd name="connsiteY538" fmla="*/ 2693282 h 6851196"/>
                  <a:gd name="connsiteX539" fmla="*/ 5980499 w 12187339"/>
                  <a:gd name="connsiteY539" fmla="*/ 2693282 h 6851196"/>
                  <a:gd name="connsiteX540" fmla="*/ 5750008 w 12187339"/>
                  <a:gd name="connsiteY540" fmla="*/ 2931407 h 6851196"/>
                  <a:gd name="connsiteX541" fmla="*/ 5526945 w 12187339"/>
                  <a:gd name="connsiteY541" fmla="*/ 2931407 h 6851196"/>
                  <a:gd name="connsiteX542" fmla="*/ 5526945 w 12187339"/>
                  <a:gd name="connsiteY542" fmla="*/ 2693282 h 6851196"/>
                  <a:gd name="connsiteX543" fmla="*/ 5749495 w 12187339"/>
                  <a:gd name="connsiteY543" fmla="*/ 2693282 h 6851196"/>
                  <a:gd name="connsiteX544" fmla="*/ 5521055 w 12187339"/>
                  <a:gd name="connsiteY544" fmla="*/ 2931407 h 6851196"/>
                  <a:gd name="connsiteX545" fmla="*/ 5296454 w 12187339"/>
                  <a:gd name="connsiteY545" fmla="*/ 2931407 h 6851196"/>
                  <a:gd name="connsiteX546" fmla="*/ 5296454 w 12187339"/>
                  <a:gd name="connsiteY546" fmla="*/ 2693282 h 6851196"/>
                  <a:gd name="connsiteX547" fmla="*/ 5520542 w 12187339"/>
                  <a:gd name="connsiteY547" fmla="*/ 2693282 h 6851196"/>
                  <a:gd name="connsiteX548" fmla="*/ 5290564 w 12187339"/>
                  <a:gd name="connsiteY548" fmla="*/ 2931407 h 6851196"/>
                  <a:gd name="connsiteX549" fmla="*/ 5065963 w 12187339"/>
                  <a:gd name="connsiteY549" fmla="*/ 2931407 h 6851196"/>
                  <a:gd name="connsiteX550" fmla="*/ 5065963 w 12187339"/>
                  <a:gd name="connsiteY550" fmla="*/ 2693282 h 6851196"/>
                  <a:gd name="connsiteX551" fmla="*/ 5290051 w 12187339"/>
                  <a:gd name="connsiteY551" fmla="*/ 2693282 h 6851196"/>
                  <a:gd name="connsiteX552" fmla="*/ 5060073 w 12187339"/>
                  <a:gd name="connsiteY552" fmla="*/ 2931407 h 6851196"/>
                  <a:gd name="connsiteX553" fmla="*/ 4835472 w 12187339"/>
                  <a:gd name="connsiteY553" fmla="*/ 2931407 h 6851196"/>
                  <a:gd name="connsiteX554" fmla="*/ 4835472 w 12187339"/>
                  <a:gd name="connsiteY554" fmla="*/ 2693282 h 6851196"/>
                  <a:gd name="connsiteX555" fmla="*/ 5059560 w 12187339"/>
                  <a:gd name="connsiteY555" fmla="*/ 2693282 h 6851196"/>
                  <a:gd name="connsiteX556" fmla="*/ 4829582 w 12187339"/>
                  <a:gd name="connsiteY556" fmla="*/ 2931407 h 6851196"/>
                  <a:gd name="connsiteX557" fmla="*/ 4607029 w 12187339"/>
                  <a:gd name="connsiteY557" fmla="*/ 2931407 h 6851196"/>
                  <a:gd name="connsiteX558" fmla="*/ 4607029 w 12187339"/>
                  <a:gd name="connsiteY558" fmla="*/ 2693282 h 6851196"/>
                  <a:gd name="connsiteX559" fmla="*/ 4829582 w 12187339"/>
                  <a:gd name="connsiteY559" fmla="*/ 2693282 h 6851196"/>
                  <a:gd name="connsiteX560" fmla="*/ 4600626 w 12187339"/>
                  <a:gd name="connsiteY560" fmla="*/ 2931407 h 6851196"/>
                  <a:gd name="connsiteX561" fmla="*/ 4376538 w 12187339"/>
                  <a:gd name="connsiteY561" fmla="*/ 2931407 h 6851196"/>
                  <a:gd name="connsiteX562" fmla="*/ 4376538 w 12187339"/>
                  <a:gd name="connsiteY562" fmla="*/ 2693282 h 6851196"/>
                  <a:gd name="connsiteX563" fmla="*/ 4600626 w 12187339"/>
                  <a:gd name="connsiteY563" fmla="*/ 2693282 h 6851196"/>
                  <a:gd name="connsiteX564" fmla="*/ 4370135 w 12187339"/>
                  <a:gd name="connsiteY564" fmla="*/ 2931407 h 6851196"/>
                  <a:gd name="connsiteX565" fmla="*/ 4146047 w 12187339"/>
                  <a:gd name="connsiteY565" fmla="*/ 2931407 h 6851196"/>
                  <a:gd name="connsiteX566" fmla="*/ 4146047 w 12187339"/>
                  <a:gd name="connsiteY566" fmla="*/ 2693282 h 6851196"/>
                  <a:gd name="connsiteX567" fmla="*/ 4370135 w 12187339"/>
                  <a:gd name="connsiteY567" fmla="*/ 2693282 h 6851196"/>
                  <a:gd name="connsiteX568" fmla="*/ 4139644 w 12187339"/>
                  <a:gd name="connsiteY568" fmla="*/ 2931407 h 6851196"/>
                  <a:gd name="connsiteX569" fmla="*/ 3917094 w 12187339"/>
                  <a:gd name="connsiteY569" fmla="*/ 2931407 h 6851196"/>
                  <a:gd name="connsiteX570" fmla="*/ 3917094 w 12187339"/>
                  <a:gd name="connsiteY570" fmla="*/ 2693282 h 6851196"/>
                  <a:gd name="connsiteX571" fmla="*/ 4139644 w 12187339"/>
                  <a:gd name="connsiteY571" fmla="*/ 2693282 h 6851196"/>
                  <a:gd name="connsiteX572" fmla="*/ 3910691 w 12187339"/>
                  <a:gd name="connsiteY572" fmla="*/ 2931407 h 6851196"/>
                  <a:gd name="connsiteX573" fmla="*/ 3686603 w 12187339"/>
                  <a:gd name="connsiteY573" fmla="*/ 2931407 h 6851196"/>
                  <a:gd name="connsiteX574" fmla="*/ 3686603 w 12187339"/>
                  <a:gd name="connsiteY574" fmla="*/ 2693282 h 6851196"/>
                  <a:gd name="connsiteX575" fmla="*/ 3910691 w 12187339"/>
                  <a:gd name="connsiteY575" fmla="*/ 2693282 h 6851196"/>
                  <a:gd name="connsiteX576" fmla="*/ 3680200 w 12187339"/>
                  <a:gd name="connsiteY576" fmla="*/ 2931407 h 6851196"/>
                  <a:gd name="connsiteX577" fmla="*/ 3456112 w 12187339"/>
                  <a:gd name="connsiteY577" fmla="*/ 2931407 h 6851196"/>
                  <a:gd name="connsiteX578" fmla="*/ 3456112 w 12187339"/>
                  <a:gd name="connsiteY578" fmla="*/ 2693282 h 6851196"/>
                  <a:gd name="connsiteX579" fmla="*/ 3680200 w 12187339"/>
                  <a:gd name="connsiteY579" fmla="*/ 2693282 h 6851196"/>
                  <a:gd name="connsiteX580" fmla="*/ 3449709 w 12187339"/>
                  <a:gd name="connsiteY580" fmla="*/ 2931407 h 6851196"/>
                  <a:gd name="connsiteX581" fmla="*/ 3225621 w 12187339"/>
                  <a:gd name="connsiteY581" fmla="*/ 2931407 h 6851196"/>
                  <a:gd name="connsiteX582" fmla="*/ 3225621 w 12187339"/>
                  <a:gd name="connsiteY582" fmla="*/ 2693282 h 6851196"/>
                  <a:gd name="connsiteX583" fmla="*/ 3449709 w 12187339"/>
                  <a:gd name="connsiteY583" fmla="*/ 2693282 h 6851196"/>
                  <a:gd name="connsiteX584" fmla="*/ 3219218 w 12187339"/>
                  <a:gd name="connsiteY584" fmla="*/ 2931407 h 6851196"/>
                  <a:gd name="connsiteX585" fmla="*/ 2996666 w 12187339"/>
                  <a:gd name="connsiteY585" fmla="*/ 2931407 h 6851196"/>
                  <a:gd name="connsiteX586" fmla="*/ 2996666 w 12187339"/>
                  <a:gd name="connsiteY586" fmla="*/ 2693282 h 6851196"/>
                  <a:gd name="connsiteX587" fmla="*/ 3219218 w 12187339"/>
                  <a:gd name="connsiteY587" fmla="*/ 2693282 h 6851196"/>
                  <a:gd name="connsiteX588" fmla="*/ 2990264 w 12187339"/>
                  <a:gd name="connsiteY588" fmla="*/ 2931407 h 6851196"/>
                  <a:gd name="connsiteX589" fmla="*/ 2766175 w 12187339"/>
                  <a:gd name="connsiteY589" fmla="*/ 2931407 h 6851196"/>
                  <a:gd name="connsiteX590" fmla="*/ 2766175 w 12187339"/>
                  <a:gd name="connsiteY590" fmla="*/ 2693282 h 6851196"/>
                  <a:gd name="connsiteX591" fmla="*/ 2990264 w 12187339"/>
                  <a:gd name="connsiteY591" fmla="*/ 2693282 h 6851196"/>
                  <a:gd name="connsiteX592" fmla="*/ 2759773 w 12187339"/>
                  <a:gd name="connsiteY592" fmla="*/ 2931407 h 6851196"/>
                  <a:gd name="connsiteX593" fmla="*/ 2535684 w 12187339"/>
                  <a:gd name="connsiteY593" fmla="*/ 2931407 h 6851196"/>
                  <a:gd name="connsiteX594" fmla="*/ 2535684 w 12187339"/>
                  <a:gd name="connsiteY594" fmla="*/ 2693282 h 6851196"/>
                  <a:gd name="connsiteX595" fmla="*/ 2759773 w 12187339"/>
                  <a:gd name="connsiteY595" fmla="*/ 2693282 h 6851196"/>
                  <a:gd name="connsiteX596" fmla="*/ 2759773 w 12187339"/>
                  <a:gd name="connsiteY596" fmla="*/ 2938211 h 6851196"/>
                  <a:gd name="connsiteX597" fmla="*/ 2759773 w 12187339"/>
                  <a:gd name="connsiteY597" fmla="*/ 3176336 h 6851196"/>
                  <a:gd name="connsiteX598" fmla="*/ 2535684 w 12187339"/>
                  <a:gd name="connsiteY598" fmla="*/ 3176336 h 6851196"/>
                  <a:gd name="connsiteX599" fmla="*/ 2535684 w 12187339"/>
                  <a:gd name="connsiteY599" fmla="*/ 2938211 h 6851196"/>
                  <a:gd name="connsiteX600" fmla="*/ 2759773 w 12187339"/>
                  <a:gd name="connsiteY600" fmla="*/ 3183139 h 6851196"/>
                  <a:gd name="connsiteX601" fmla="*/ 2759773 w 12187339"/>
                  <a:gd name="connsiteY601" fmla="*/ 3421264 h 6851196"/>
                  <a:gd name="connsiteX602" fmla="*/ 2535684 w 12187339"/>
                  <a:gd name="connsiteY602" fmla="*/ 3421264 h 6851196"/>
                  <a:gd name="connsiteX603" fmla="*/ 2535684 w 12187339"/>
                  <a:gd name="connsiteY603" fmla="*/ 3183139 h 6851196"/>
                  <a:gd name="connsiteX604" fmla="*/ 2759773 w 12187339"/>
                  <a:gd name="connsiteY604" fmla="*/ 3428068 h 6851196"/>
                  <a:gd name="connsiteX605" fmla="*/ 2759773 w 12187339"/>
                  <a:gd name="connsiteY605" fmla="*/ 3664560 h 6851196"/>
                  <a:gd name="connsiteX606" fmla="*/ 2535684 w 12187339"/>
                  <a:gd name="connsiteY606" fmla="*/ 3664560 h 6851196"/>
                  <a:gd name="connsiteX607" fmla="*/ 2535684 w 12187339"/>
                  <a:gd name="connsiteY607" fmla="*/ 3428068 h 6851196"/>
                  <a:gd name="connsiteX608" fmla="*/ 2759773 w 12187339"/>
                  <a:gd name="connsiteY608" fmla="*/ 3671364 h 6851196"/>
                  <a:gd name="connsiteX609" fmla="*/ 2759773 w 12187339"/>
                  <a:gd name="connsiteY609" fmla="*/ 3909489 h 6851196"/>
                  <a:gd name="connsiteX610" fmla="*/ 2535684 w 12187339"/>
                  <a:gd name="connsiteY610" fmla="*/ 3909489 h 6851196"/>
                  <a:gd name="connsiteX611" fmla="*/ 2535684 w 12187339"/>
                  <a:gd name="connsiteY611" fmla="*/ 3671364 h 6851196"/>
                  <a:gd name="connsiteX612" fmla="*/ 2759773 w 12187339"/>
                  <a:gd name="connsiteY612" fmla="*/ 3916292 h 6851196"/>
                  <a:gd name="connsiteX613" fmla="*/ 2759773 w 12187339"/>
                  <a:gd name="connsiteY613" fmla="*/ 4154417 h 6851196"/>
                  <a:gd name="connsiteX614" fmla="*/ 2535684 w 12187339"/>
                  <a:gd name="connsiteY614" fmla="*/ 4154417 h 6851196"/>
                  <a:gd name="connsiteX615" fmla="*/ 2535684 w 12187339"/>
                  <a:gd name="connsiteY615" fmla="*/ 3916292 h 6851196"/>
                  <a:gd name="connsiteX616" fmla="*/ 2766175 w 12187339"/>
                  <a:gd name="connsiteY616" fmla="*/ 3916292 h 6851196"/>
                  <a:gd name="connsiteX617" fmla="*/ 2990264 w 12187339"/>
                  <a:gd name="connsiteY617" fmla="*/ 3916292 h 6851196"/>
                  <a:gd name="connsiteX618" fmla="*/ 2990264 w 12187339"/>
                  <a:gd name="connsiteY618" fmla="*/ 4154417 h 6851196"/>
                  <a:gd name="connsiteX619" fmla="*/ 2766175 w 12187339"/>
                  <a:gd name="connsiteY619" fmla="*/ 4154417 h 6851196"/>
                  <a:gd name="connsiteX620" fmla="*/ 2996666 w 12187339"/>
                  <a:gd name="connsiteY620" fmla="*/ 3916292 h 6851196"/>
                  <a:gd name="connsiteX621" fmla="*/ 3219218 w 12187339"/>
                  <a:gd name="connsiteY621" fmla="*/ 3916292 h 6851196"/>
                  <a:gd name="connsiteX622" fmla="*/ 3219218 w 12187339"/>
                  <a:gd name="connsiteY622" fmla="*/ 4154417 h 6851196"/>
                  <a:gd name="connsiteX623" fmla="*/ 2996666 w 12187339"/>
                  <a:gd name="connsiteY623" fmla="*/ 4154417 h 6851196"/>
                  <a:gd name="connsiteX624" fmla="*/ 3225621 w 12187339"/>
                  <a:gd name="connsiteY624" fmla="*/ 3916292 h 6851196"/>
                  <a:gd name="connsiteX625" fmla="*/ 3449709 w 12187339"/>
                  <a:gd name="connsiteY625" fmla="*/ 3916292 h 6851196"/>
                  <a:gd name="connsiteX626" fmla="*/ 3449709 w 12187339"/>
                  <a:gd name="connsiteY626" fmla="*/ 4154417 h 6851196"/>
                  <a:gd name="connsiteX627" fmla="*/ 3225621 w 12187339"/>
                  <a:gd name="connsiteY627" fmla="*/ 4154417 h 6851196"/>
                  <a:gd name="connsiteX628" fmla="*/ 3456112 w 12187339"/>
                  <a:gd name="connsiteY628" fmla="*/ 3916292 h 6851196"/>
                  <a:gd name="connsiteX629" fmla="*/ 3680200 w 12187339"/>
                  <a:gd name="connsiteY629" fmla="*/ 3916292 h 6851196"/>
                  <a:gd name="connsiteX630" fmla="*/ 3680200 w 12187339"/>
                  <a:gd name="connsiteY630" fmla="*/ 4154417 h 6851196"/>
                  <a:gd name="connsiteX631" fmla="*/ 3456112 w 12187339"/>
                  <a:gd name="connsiteY631" fmla="*/ 4154417 h 6851196"/>
                  <a:gd name="connsiteX632" fmla="*/ 3686603 w 12187339"/>
                  <a:gd name="connsiteY632" fmla="*/ 3916292 h 6851196"/>
                  <a:gd name="connsiteX633" fmla="*/ 3910691 w 12187339"/>
                  <a:gd name="connsiteY633" fmla="*/ 3916292 h 6851196"/>
                  <a:gd name="connsiteX634" fmla="*/ 3910691 w 12187339"/>
                  <a:gd name="connsiteY634" fmla="*/ 4154417 h 6851196"/>
                  <a:gd name="connsiteX635" fmla="*/ 3686603 w 12187339"/>
                  <a:gd name="connsiteY635" fmla="*/ 4154417 h 6851196"/>
                  <a:gd name="connsiteX636" fmla="*/ 3917094 w 12187339"/>
                  <a:gd name="connsiteY636" fmla="*/ 3916292 h 6851196"/>
                  <a:gd name="connsiteX637" fmla="*/ 4139644 w 12187339"/>
                  <a:gd name="connsiteY637" fmla="*/ 3916292 h 6851196"/>
                  <a:gd name="connsiteX638" fmla="*/ 4139644 w 12187339"/>
                  <a:gd name="connsiteY638" fmla="*/ 4154417 h 6851196"/>
                  <a:gd name="connsiteX639" fmla="*/ 3917094 w 12187339"/>
                  <a:gd name="connsiteY639" fmla="*/ 4154417 h 6851196"/>
                  <a:gd name="connsiteX640" fmla="*/ 4146047 w 12187339"/>
                  <a:gd name="connsiteY640" fmla="*/ 3916292 h 6851196"/>
                  <a:gd name="connsiteX641" fmla="*/ 4370135 w 12187339"/>
                  <a:gd name="connsiteY641" fmla="*/ 3916292 h 6851196"/>
                  <a:gd name="connsiteX642" fmla="*/ 4370135 w 12187339"/>
                  <a:gd name="connsiteY642" fmla="*/ 4154417 h 6851196"/>
                  <a:gd name="connsiteX643" fmla="*/ 4146047 w 12187339"/>
                  <a:gd name="connsiteY643" fmla="*/ 4154417 h 6851196"/>
                  <a:gd name="connsiteX644" fmla="*/ 4376538 w 12187339"/>
                  <a:gd name="connsiteY644" fmla="*/ 3916292 h 6851196"/>
                  <a:gd name="connsiteX645" fmla="*/ 4600626 w 12187339"/>
                  <a:gd name="connsiteY645" fmla="*/ 3916292 h 6851196"/>
                  <a:gd name="connsiteX646" fmla="*/ 4600626 w 12187339"/>
                  <a:gd name="connsiteY646" fmla="*/ 4154417 h 6851196"/>
                  <a:gd name="connsiteX647" fmla="*/ 4376538 w 12187339"/>
                  <a:gd name="connsiteY647" fmla="*/ 4154417 h 6851196"/>
                  <a:gd name="connsiteX648" fmla="*/ 4607029 w 12187339"/>
                  <a:gd name="connsiteY648" fmla="*/ 3916292 h 6851196"/>
                  <a:gd name="connsiteX649" fmla="*/ 4829582 w 12187339"/>
                  <a:gd name="connsiteY649" fmla="*/ 3916292 h 6851196"/>
                  <a:gd name="connsiteX650" fmla="*/ 4829582 w 12187339"/>
                  <a:gd name="connsiteY650" fmla="*/ 4154417 h 6851196"/>
                  <a:gd name="connsiteX651" fmla="*/ 4607029 w 12187339"/>
                  <a:gd name="connsiteY651" fmla="*/ 4154417 h 6851196"/>
                  <a:gd name="connsiteX652" fmla="*/ 4835985 w 12187339"/>
                  <a:gd name="connsiteY652" fmla="*/ 3916292 h 6851196"/>
                  <a:gd name="connsiteX653" fmla="*/ 5060073 w 12187339"/>
                  <a:gd name="connsiteY653" fmla="*/ 3916292 h 6851196"/>
                  <a:gd name="connsiteX654" fmla="*/ 5060073 w 12187339"/>
                  <a:gd name="connsiteY654" fmla="*/ 4154417 h 6851196"/>
                  <a:gd name="connsiteX655" fmla="*/ 4835472 w 12187339"/>
                  <a:gd name="connsiteY655" fmla="*/ 4154417 h 6851196"/>
                  <a:gd name="connsiteX656" fmla="*/ 5066476 w 12187339"/>
                  <a:gd name="connsiteY656" fmla="*/ 3916292 h 6851196"/>
                  <a:gd name="connsiteX657" fmla="*/ 5290564 w 12187339"/>
                  <a:gd name="connsiteY657" fmla="*/ 3916292 h 6851196"/>
                  <a:gd name="connsiteX658" fmla="*/ 5290564 w 12187339"/>
                  <a:gd name="connsiteY658" fmla="*/ 4154417 h 6851196"/>
                  <a:gd name="connsiteX659" fmla="*/ 5065963 w 12187339"/>
                  <a:gd name="connsiteY659" fmla="*/ 4154417 h 6851196"/>
                  <a:gd name="connsiteX660" fmla="*/ 5296967 w 12187339"/>
                  <a:gd name="connsiteY660" fmla="*/ 3916292 h 6851196"/>
                  <a:gd name="connsiteX661" fmla="*/ 5521055 w 12187339"/>
                  <a:gd name="connsiteY661" fmla="*/ 3916292 h 6851196"/>
                  <a:gd name="connsiteX662" fmla="*/ 5521055 w 12187339"/>
                  <a:gd name="connsiteY662" fmla="*/ 4154417 h 6851196"/>
                  <a:gd name="connsiteX663" fmla="*/ 5296454 w 12187339"/>
                  <a:gd name="connsiteY663" fmla="*/ 4154417 h 6851196"/>
                  <a:gd name="connsiteX664" fmla="*/ 5527458 w 12187339"/>
                  <a:gd name="connsiteY664" fmla="*/ 3916292 h 6851196"/>
                  <a:gd name="connsiteX665" fmla="*/ 5750008 w 12187339"/>
                  <a:gd name="connsiteY665" fmla="*/ 3916292 h 6851196"/>
                  <a:gd name="connsiteX666" fmla="*/ 5750008 w 12187339"/>
                  <a:gd name="connsiteY666" fmla="*/ 4154417 h 6851196"/>
                  <a:gd name="connsiteX667" fmla="*/ 5526945 w 12187339"/>
                  <a:gd name="connsiteY667" fmla="*/ 4154417 h 6851196"/>
                  <a:gd name="connsiteX668" fmla="*/ 5756411 w 12187339"/>
                  <a:gd name="connsiteY668" fmla="*/ 3916292 h 6851196"/>
                  <a:gd name="connsiteX669" fmla="*/ 5980499 w 12187339"/>
                  <a:gd name="connsiteY669" fmla="*/ 3916292 h 6851196"/>
                  <a:gd name="connsiteX670" fmla="*/ 5980499 w 12187339"/>
                  <a:gd name="connsiteY670" fmla="*/ 4154417 h 6851196"/>
                  <a:gd name="connsiteX671" fmla="*/ 5756411 w 12187339"/>
                  <a:gd name="connsiteY671" fmla="*/ 4154417 h 6851196"/>
                  <a:gd name="connsiteX672" fmla="*/ 5986902 w 12187339"/>
                  <a:gd name="connsiteY672" fmla="*/ 3916292 h 6851196"/>
                  <a:gd name="connsiteX673" fmla="*/ 6210990 w 12187339"/>
                  <a:gd name="connsiteY673" fmla="*/ 3916292 h 6851196"/>
                  <a:gd name="connsiteX674" fmla="*/ 6210990 w 12187339"/>
                  <a:gd name="connsiteY674" fmla="*/ 4154417 h 6851196"/>
                  <a:gd name="connsiteX675" fmla="*/ 5986902 w 12187339"/>
                  <a:gd name="connsiteY675" fmla="*/ 4154417 h 6851196"/>
                  <a:gd name="connsiteX676" fmla="*/ 6217393 w 12187339"/>
                  <a:gd name="connsiteY676" fmla="*/ 3916292 h 6851196"/>
                  <a:gd name="connsiteX677" fmla="*/ 6439946 w 12187339"/>
                  <a:gd name="connsiteY677" fmla="*/ 3916292 h 6851196"/>
                  <a:gd name="connsiteX678" fmla="*/ 6439946 w 12187339"/>
                  <a:gd name="connsiteY678" fmla="*/ 4154417 h 6851196"/>
                  <a:gd name="connsiteX679" fmla="*/ 6217136 w 12187339"/>
                  <a:gd name="connsiteY679" fmla="*/ 4154417 h 6851196"/>
                  <a:gd name="connsiteX680" fmla="*/ 6446349 w 12187339"/>
                  <a:gd name="connsiteY680" fmla="*/ 3916292 h 6851196"/>
                  <a:gd name="connsiteX681" fmla="*/ 6656863 w 12187339"/>
                  <a:gd name="connsiteY681" fmla="*/ 3916292 h 6851196"/>
                  <a:gd name="connsiteX682" fmla="*/ 6656863 w 12187339"/>
                  <a:gd name="connsiteY682" fmla="*/ 4154417 h 6851196"/>
                  <a:gd name="connsiteX683" fmla="*/ 6446349 w 12187339"/>
                  <a:gd name="connsiteY683" fmla="*/ 4154417 h 6851196"/>
                  <a:gd name="connsiteX684" fmla="*/ 6663265 w 12187339"/>
                  <a:gd name="connsiteY684" fmla="*/ 3916292 h 6851196"/>
                  <a:gd name="connsiteX685" fmla="*/ 6887354 w 12187339"/>
                  <a:gd name="connsiteY685" fmla="*/ 3916292 h 6851196"/>
                  <a:gd name="connsiteX686" fmla="*/ 6887354 w 12187339"/>
                  <a:gd name="connsiteY686" fmla="*/ 4154417 h 6851196"/>
                  <a:gd name="connsiteX687" fmla="*/ 6663265 w 12187339"/>
                  <a:gd name="connsiteY687" fmla="*/ 4154417 h 6851196"/>
                  <a:gd name="connsiteX688" fmla="*/ 6893756 w 12187339"/>
                  <a:gd name="connsiteY688" fmla="*/ 3916292 h 6851196"/>
                  <a:gd name="connsiteX689" fmla="*/ 7117845 w 12187339"/>
                  <a:gd name="connsiteY689" fmla="*/ 3916292 h 6851196"/>
                  <a:gd name="connsiteX690" fmla="*/ 7117845 w 12187339"/>
                  <a:gd name="connsiteY690" fmla="*/ 4154417 h 6851196"/>
                  <a:gd name="connsiteX691" fmla="*/ 6893756 w 12187339"/>
                  <a:gd name="connsiteY691" fmla="*/ 4154417 h 6851196"/>
                  <a:gd name="connsiteX692" fmla="*/ 7124247 w 12187339"/>
                  <a:gd name="connsiteY692" fmla="*/ 3916292 h 6851196"/>
                  <a:gd name="connsiteX693" fmla="*/ 7346801 w 12187339"/>
                  <a:gd name="connsiteY693" fmla="*/ 3916292 h 6851196"/>
                  <a:gd name="connsiteX694" fmla="*/ 7346801 w 12187339"/>
                  <a:gd name="connsiteY694" fmla="*/ 4154417 h 6851196"/>
                  <a:gd name="connsiteX695" fmla="*/ 7124247 w 12187339"/>
                  <a:gd name="connsiteY695" fmla="*/ 4154417 h 6851196"/>
                  <a:gd name="connsiteX696" fmla="*/ 7353204 w 12187339"/>
                  <a:gd name="connsiteY696" fmla="*/ 3916292 h 6851196"/>
                  <a:gd name="connsiteX697" fmla="*/ 7577292 w 12187339"/>
                  <a:gd name="connsiteY697" fmla="*/ 3916292 h 6851196"/>
                  <a:gd name="connsiteX698" fmla="*/ 7577292 w 12187339"/>
                  <a:gd name="connsiteY698" fmla="*/ 4154417 h 6851196"/>
                  <a:gd name="connsiteX699" fmla="*/ 7353204 w 12187339"/>
                  <a:gd name="connsiteY699" fmla="*/ 4154417 h 6851196"/>
                  <a:gd name="connsiteX700" fmla="*/ 7583695 w 12187339"/>
                  <a:gd name="connsiteY700" fmla="*/ 3916292 h 6851196"/>
                  <a:gd name="connsiteX701" fmla="*/ 7807783 w 12187339"/>
                  <a:gd name="connsiteY701" fmla="*/ 3916292 h 6851196"/>
                  <a:gd name="connsiteX702" fmla="*/ 7807783 w 12187339"/>
                  <a:gd name="connsiteY702" fmla="*/ 4154417 h 6851196"/>
                  <a:gd name="connsiteX703" fmla="*/ 7583695 w 12187339"/>
                  <a:gd name="connsiteY703" fmla="*/ 4154417 h 6851196"/>
                  <a:gd name="connsiteX704" fmla="*/ 7814186 w 12187339"/>
                  <a:gd name="connsiteY704" fmla="*/ 3916292 h 6851196"/>
                  <a:gd name="connsiteX705" fmla="*/ 8038274 w 12187339"/>
                  <a:gd name="connsiteY705" fmla="*/ 3916292 h 6851196"/>
                  <a:gd name="connsiteX706" fmla="*/ 8038274 w 12187339"/>
                  <a:gd name="connsiteY706" fmla="*/ 4154417 h 6851196"/>
                  <a:gd name="connsiteX707" fmla="*/ 7814186 w 12187339"/>
                  <a:gd name="connsiteY707" fmla="*/ 4154417 h 6851196"/>
                  <a:gd name="connsiteX708" fmla="*/ 8044677 w 12187339"/>
                  <a:gd name="connsiteY708" fmla="*/ 3916292 h 6851196"/>
                  <a:gd name="connsiteX709" fmla="*/ 8267227 w 12187339"/>
                  <a:gd name="connsiteY709" fmla="*/ 3916292 h 6851196"/>
                  <a:gd name="connsiteX710" fmla="*/ 8267227 w 12187339"/>
                  <a:gd name="connsiteY710" fmla="*/ 4154417 h 6851196"/>
                  <a:gd name="connsiteX711" fmla="*/ 8044420 w 12187339"/>
                  <a:gd name="connsiteY711" fmla="*/ 4154417 h 6851196"/>
                  <a:gd name="connsiteX712" fmla="*/ 8273629 w 12187339"/>
                  <a:gd name="connsiteY712" fmla="*/ 3916292 h 6851196"/>
                  <a:gd name="connsiteX713" fmla="*/ 8497718 w 12187339"/>
                  <a:gd name="connsiteY713" fmla="*/ 3916292 h 6851196"/>
                  <a:gd name="connsiteX714" fmla="*/ 8497718 w 12187339"/>
                  <a:gd name="connsiteY714" fmla="*/ 4154417 h 6851196"/>
                  <a:gd name="connsiteX715" fmla="*/ 8273629 w 12187339"/>
                  <a:gd name="connsiteY715" fmla="*/ 4154417 h 6851196"/>
                  <a:gd name="connsiteX716" fmla="*/ 8504120 w 12187339"/>
                  <a:gd name="connsiteY716" fmla="*/ 3916292 h 6851196"/>
                  <a:gd name="connsiteX717" fmla="*/ 8728209 w 12187339"/>
                  <a:gd name="connsiteY717" fmla="*/ 3916292 h 6851196"/>
                  <a:gd name="connsiteX718" fmla="*/ 8728209 w 12187339"/>
                  <a:gd name="connsiteY718" fmla="*/ 4154417 h 6851196"/>
                  <a:gd name="connsiteX719" fmla="*/ 8504120 w 12187339"/>
                  <a:gd name="connsiteY719" fmla="*/ 4154417 h 6851196"/>
                  <a:gd name="connsiteX720" fmla="*/ 8734611 w 12187339"/>
                  <a:gd name="connsiteY720" fmla="*/ 3916292 h 6851196"/>
                  <a:gd name="connsiteX721" fmla="*/ 8957162 w 12187339"/>
                  <a:gd name="connsiteY721" fmla="*/ 3916292 h 6851196"/>
                  <a:gd name="connsiteX722" fmla="*/ 8957162 w 12187339"/>
                  <a:gd name="connsiteY722" fmla="*/ 4154417 h 6851196"/>
                  <a:gd name="connsiteX723" fmla="*/ 8734611 w 12187339"/>
                  <a:gd name="connsiteY723" fmla="*/ 4154417 h 6851196"/>
                  <a:gd name="connsiteX724" fmla="*/ 8963564 w 12187339"/>
                  <a:gd name="connsiteY724" fmla="*/ 3916292 h 6851196"/>
                  <a:gd name="connsiteX725" fmla="*/ 9187653 w 12187339"/>
                  <a:gd name="connsiteY725" fmla="*/ 3916292 h 6851196"/>
                  <a:gd name="connsiteX726" fmla="*/ 9187653 w 12187339"/>
                  <a:gd name="connsiteY726" fmla="*/ 4154417 h 6851196"/>
                  <a:gd name="connsiteX727" fmla="*/ 8963564 w 12187339"/>
                  <a:gd name="connsiteY727" fmla="*/ 4154417 h 6851196"/>
                  <a:gd name="connsiteX728" fmla="*/ 9194055 w 12187339"/>
                  <a:gd name="connsiteY728" fmla="*/ 3916292 h 6851196"/>
                  <a:gd name="connsiteX729" fmla="*/ 9418144 w 12187339"/>
                  <a:gd name="connsiteY729" fmla="*/ 3916292 h 6851196"/>
                  <a:gd name="connsiteX730" fmla="*/ 9418144 w 12187339"/>
                  <a:gd name="connsiteY730" fmla="*/ 4154417 h 6851196"/>
                  <a:gd name="connsiteX731" fmla="*/ 9194055 w 12187339"/>
                  <a:gd name="connsiteY731" fmla="*/ 4154417 h 6851196"/>
                  <a:gd name="connsiteX732" fmla="*/ 9424546 w 12187339"/>
                  <a:gd name="connsiteY732" fmla="*/ 3916292 h 6851196"/>
                  <a:gd name="connsiteX733" fmla="*/ 9648635 w 12187339"/>
                  <a:gd name="connsiteY733" fmla="*/ 3916292 h 6851196"/>
                  <a:gd name="connsiteX734" fmla="*/ 9648635 w 12187339"/>
                  <a:gd name="connsiteY734" fmla="*/ 4154417 h 6851196"/>
                  <a:gd name="connsiteX735" fmla="*/ 9424546 w 12187339"/>
                  <a:gd name="connsiteY735" fmla="*/ 4154417 h 6851196"/>
                  <a:gd name="connsiteX736" fmla="*/ 9424546 w 12187339"/>
                  <a:gd name="connsiteY736" fmla="*/ 3909489 h 6851196"/>
                  <a:gd name="connsiteX737" fmla="*/ 9424546 w 12187339"/>
                  <a:gd name="connsiteY737" fmla="*/ 3671364 h 6851196"/>
                  <a:gd name="connsiteX738" fmla="*/ 9648635 w 12187339"/>
                  <a:gd name="connsiteY738" fmla="*/ 3671364 h 6851196"/>
                  <a:gd name="connsiteX739" fmla="*/ 9648635 w 12187339"/>
                  <a:gd name="connsiteY739" fmla="*/ 3909489 h 6851196"/>
                  <a:gd name="connsiteX740" fmla="*/ 9424546 w 12187339"/>
                  <a:gd name="connsiteY740" fmla="*/ 3664560 h 6851196"/>
                  <a:gd name="connsiteX741" fmla="*/ 9424546 w 12187339"/>
                  <a:gd name="connsiteY741" fmla="*/ 3428068 h 6851196"/>
                  <a:gd name="connsiteX742" fmla="*/ 9648635 w 12187339"/>
                  <a:gd name="connsiteY742" fmla="*/ 3428068 h 6851196"/>
                  <a:gd name="connsiteX743" fmla="*/ 9648635 w 12187339"/>
                  <a:gd name="connsiteY743" fmla="*/ 3664560 h 6851196"/>
                  <a:gd name="connsiteX744" fmla="*/ 9424546 w 12187339"/>
                  <a:gd name="connsiteY744" fmla="*/ 3421264 h 6851196"/>
                  <a:gd name="connsiteX745" fmla="*/ 9424546 w 12187339"/>
                  <a:gd name="connsiteY745" fmla="*/ 3183139 h 6851196"/>
                  <a:gd name="connsiteX746" fmla="*/ 9648635 w 12187339"/>
                  <a:gd name="connsiteY746" fmla="*/ 3183139 h 6851196"/>
                  <a:gd name="connsiteX747" fmla="*/ 9648635 w 12187339"/>
                  <a:gd name="connsiteY747" fmla="*/ 3421264 h 6851196"/>
                  <a:gd name="connsiteX748" fmla="*/ 9424546 w 12187339"/>
                  <a:gd name="connsiteY748" fmla="*/ 3176336 h 6851196"/>
                  <a:gd name="connsiteX749" fmla="*/ 9424546 w 12187339"/>
                  <a:gd name="connsiteY749" fmla="*/ 2938211 h 6851196"/>
                  <a:gd name="connsiteX750" fmla="*/ 9648635 w 12187339"/>
                  <a:gd name="connsiteY750" fmla="*/ 2938211 h 6851196"/>
                  <a:gd name="connsiteX751" fmla="*/ 9648635 w 12187339"/>
                  <a:gd name="connsiteY751" fmla="*/ 3176336 h 6851196"/>
                  <a:gd name="connsiteX752" fmla="*/ 9424546 w 12187339"/>
                  <a:gd name="connsiteY752" fmla="*/ 2931407 h 6851196"/>
                  <a:gd name="connsiteX753" fmla="*/ 9424546 w 12187339"/>
                  <a:gd name="connsiteY753" fmla="*/ 2693282 h 6851196"/>
                  <a:gd name="connsiteX754" fmla="*/ 9648635 w 12187339"/>
                  <a:gd name="connsiteY754" fmla="*/ 2693282 h 6851196"/>
                  <a:gd name="connsiteX755" fmla="*/ 9648635 w 12187339"/>
                  <a:gd name="connsiteY755" fmla="*/ 2931407 h 6851196"/>
                  <a:gd name="connsiteX756" fmla="*/ 9424546 w 12187339"/>
                  <a:gd name="connsiteY756" fmla="*/ 2686479 h 6851196"/>
                  <a:gd name="connsiteX757" fmla="*/ 9424546 w 12187339"/>
                  <a:gd name="connsiteY757" fmla="*/ 2449986 h 6851196"/>
                  <a:gd name="connsiteX758" fmla="*/ 9648635 w 12187339"/>
                  <a:gd name="connsiteY758" fmla="*/ 2449986 h 6851196"/>
                  <a:gd name="connsiteX759" fmla="*/ 9648635 w 12187339"/>
                  <a:gd name="connsiteY759" fmla="*/ 2686479 h 6851196"/>
                  <a:gd name="connsiteX760" fmla="*/ 9418144 w 12187339"/>
                  <a:gd name="connsiteY760" fmla="*/ 2686479 h 6851196"/>
                  <a:gd name="connsiteX761" fmla="*/ 9194055 w 12187339"/>
                  <a:gd name="connsiteY761" fmla="*/ 2686479 h 6851196"/>
                  <a:gd name="connsiteX762" fmla="*/ 9194055 w 12187339"/>
                  <a:gd name="connsiteY762" fmla="*/ 2449986 h 6851196"/>
                  <a:gd name="connsiteX763" fmla="*/ 9418144 w 12187339"/>
                  <a:gd name="connsiteY763" fmla="*/ 2449986 h 6851196"/>
                  <a:gd name="connsiteX764" fmla="*/ 9187653 w 12187339"/>
                  <a:gd name="connsiteY764" fmla="*/ 2686479 h 6851196"/>
                  <a:gd name="connsiteX765" fmla="*/ 8963564 w 12187339"/>
                  <a:gd name="connsiteY765" fmla="*/ 2686479 h 6851196"/>
                  <a:gd name="connsiteX766" fmla="*/ 8963564 w 12187339"/>
                  <a:gd name="connsiteY766" fmla="*/ 2449986 h 6851196"/>
                  <a:gd name="connsiteX767" fmla="*/ 9187653 w 12187339"/>
                  <a:gd name="connsiteY767" fmla="*/ 2449986 h 6851196"/>
                  <a:gd name="connsiteX768" fmla="*/ 8957162 w 12187339"/>
                  <a:gd name="connsiteY768" fmla="*/ 2686479 h 6851196"/>
                  <a:gd name="connsiteX769" fmla="*/ 8734611 w 12187339"/>
                  <a:gd name="connsiteY769" fmla="*/ 2686479 h 6851196"/>
                  <a:gd name="connsiteX770" fmla="*/ 8734611 w 12187339"/>
                  <a:gd name="connsiteY770" fmla="*/ 2449986 h 6851196"/>
                  <a:gd name="connsiteX771" fmla="*/ 8957162 w 12187339"/>
                  <a:gd name="connsiteY771" fmla="*/ 2449986 h 6851196"/>
                  <a:gd name="connsiteX772" fmla="*/ 8728209 w 12187339"/>
                  <a:gd name="connsiteY772" fmla="*/ 2686479 h 6851196"/>
                  <a:gd name="connsiteX773" fmla="*/ 8504120 w 12187339"/>
                  <a:gd name="connsiteY773" fmla="*/ 2686479 h 6851196"/>
                  <a:gd name="connsiteX774" fmla="*/ 8504120 w 12187339"/>
                  <a:gd name="connsiteY774" fmla="*/ 2449986 h 6851196"/>
                  <a:gd name="connsiteX775" fmla="*/ 8728209 w 12187339"/>
                  <a:gd name="connsiteY775" fmla="*/ 2449986 h 6851196"/>
                  <a:gd name="connsiteX776" fmla="*/ 8497718 w 12187339"/>
                  <a:gd name="connsiteY776" fmla="*/ 2686479 h 6851196"/>
                  <a:gd name="connsiteX777" fmla="*/ 8273629 w 12187339"/>
                  <a:gd name="connsiteY777" fmla="*/ 2686479 h 6851196"/>
                  <a:gd name="connsiteX778" fmla="*/ 8273629 w 12187339"/>
                  <a:gd name="connsiteY778" fmla="*/ 2449986 h 6851196"/>
                  <a:gd name="connsiteX779" fmla="*/ 8497718 w 12187339"/>
                  <a:gd name="connsiteY779" fmla="*/ 2449986 h 6851196"/>
                  <a:gd name="connsiteX780" fmla="*/ 8267227 w 12187339"/>
                  <a:gd name="connsiteY780" fmla="*/ 2686479 h 6851196"/>
                  <a:gd name="connsiteX781" fmla="*/ 8044420 w 12187339"/>
                  <a:gd name="connsiteY781" fmla="*/ 2686479 h 6851196"/>
                  <a:gd name="connsiteX782" fmla="*/ 8044420 w 12187339"/>
                  <a:gd name="connsiteY782" fmla="*/ 2449986 h 6851196"/>
                  <a:gd name="connsiteX783" fmla="*/ 8267227 w 12187339"/>
                  <a:gd name="connsiteY783" fmla="*/ 2449986 h 6851196"/>
                  <a:gd name="connsiteX784" fmla="*/ 8038274 w 12187339"/>
                  <a:gd name="connsiteY784" fmla="*/ 2686479 h 6851196"/>
                  <a:gd name="connsiteX785" fmla="*/ 7814186 w 12187339"/>
                  <a:gd name="connsiteY785" fmla="*/ 2686479 h 6851196"/>
                  <a:gd name="connsiteX786" fmla="*/ 7814186 w 12187339"/>
                  <a:gd name="connsiteY786" fmla="*/ 2449986 h 6851196"/>
                  <a:gd name="connsiteX787" fmla="*/ 8038274 w 12187339"/>
                  <a:gd name="connsiteY787" fmla="*/ 2449986 h 6851196"/>
                  <a:gd name="connsiteX788" fmla="*/ 7807783 w 12187339"/>
                  <a:gd name="connsiteY788" fmla="*/ 2686479 h 6851196"/>
                  <a:gd name="connsiteX789" fmla="*/ 7583695 w 12187339"/>
                  <a:gd name="connsiteY789" fmla="*/ 2686479 h 6851196"/>
                  <a:gd name="connsiteX790" fmla="*/ 7583695 w 12187339"/>
                  <a:gd name="connsiteY790" fmla="*/ 2449986 h 6851196"/>
                  <a:gd name="connsiteX791" fmla="*/ 7807783 w 12187339"/>
                  <a:gd name="connsiteY791" fmla="*/ 2449986 h 6851196"/>
                  <a:gd name="connsiteX792" fmla="*/ 7577292 w 12187339"/>
                  <a:gd name="connsiteY792" fmla="*/ 2686479 h 6851196"/>
                  <a:gd name="connsiteX793" fmla="*/ 7353204 w 12187339"/>
                  <a:gd name="connsiteY793" fmla="*/ 2686479 h 6851196"/>
                  <a:gd name="connsiteX794" fmla="*/ 7353204 w 12187339"/>
                  <a:gd name="connsiteY794" fmla="*/ 2449986 h 6851196"/>
                  <a:gd name="connsiteX795" fmla="*/ 7577292 w 12187339"/>
                  <a:gd name="connsiteY795" fmla="*/ 2449986 h 6851196"/>
                  <a:gd name="connsiteX796" fmla="*/ 7346801 w 12187339"/>
                  <a:gd name="connsiteY796" fmla="*/ 2686479 h 6851196"/>
                  <a:gd name="connsiteX797" fmla="*/ 7124247 w 12187339"/>
                  <a:gd name="connsiteY797" fmla="*/ 2686479 h 6851196"/>
                  <a:gd name="connsiteX798" fmla="*/ 7124247 w 12187339"/>
                  <a:gd name="connsiteY798" fmla="*/ 2449986 h 6851196"/>
                  <a:gd name="connsiteX799" fmla="*/ 7346801 w 12187339"/>
                  <a:gd name="connsiteY799" fmla="*/ 2449986 h 6851196"/>
                  <a:gd name="connsiteX800" fmla="*/ 7117845 w 12187339"/>
                  <a:gd name="connsiteY800" fmla="*/ 2686479 h 6851196"/>
                  <a:gd name="connsiteX801" fmla="*/ 6893756 w 12187339"/>
                  <a:gd name="connsiteY801" fmla="*/ 2686479 h 6851196"/>
                  <a:gd name="connsiteX802" fmla="*/ 6893756 w 12187339"/>
                  <a:gd name="connsiteY802" fmla="*/ 2449986 h 6851196"/>
                  <a:gd name="connsiteX803" fmla="*/ 7117845 w 12187339"/>
                  <a:gd name="connsiteY803" fmla="*/ 2449986 h 6851196"/>
                  <a:gd name="connsiteX804" fmla="*/ 6887354 w 12187339"/>
                  <a:gd name="connsiteY804" fmla="*/ 2686479 h 6851196"/>
                  <a:gd name="connsiteX805" fmla="*/ 6663265 w 12187339"/>
                  <a:gd name="connsiteY805" fmla="*/ 2686479 h 6851196"/>
                  <a:gd name="connsiteX806" fmla="*/ 6663265 w 12187339"/>
                  <a:gd name="connsiteY806" fmla="*/ 2449986 h 6851196"/>
                  <a:gd name="connsiteX807" fmla="*/ 6887354 w 12187339"/>
                  <a:gd name="connsiteY807" fmla="*/ 2449986 h 6851196"/>
                  <a:gd name="connsiteX808" fmla="*/ 6656863 w 12187339"/>
                  <a:gd name="connsiteY808" fmla="*/ 2686479 h 6851196"/>
                  <a:gd name="connsiteX809" fmla="*/ 6446349 w 12187339"/>
                  <a:gd name="connsiteY809" fmla="*/ 2686479 h 6851196"/>
                  <a:gd name="connsiteX810" fmla="*/ 6446349 w 12187339"/>
                  <a:gd name="connsiteY810" fmla="*/ 2449986 h 6851196"/>
                  <a:gd name="connsiteX811" fmla="*/ 6656863 w 12187339"/>
                  <a:gd name="connsiteY811" fmla="*/ 2449986 h 6851196"/>
                  <a:gd name="connsiteX812" fmla="*/ 6439946 w 12187339"/>
                  <a:gd name="connsiteY812" fmla="*/ 2686479 h 6851196"/>
                  <a:gd name="connsiteX813" fmla="*/ 6217136 w 12187339"/>
                  <a:gd name="connsiteY813" fmla="*/ 2686479 h 6851196"/>
                  <a:gd name="connsiteX814" fmla="*/ 6217136 w 12187339"/>
                  <a:gd name="connsiteY814" fmla="*/ 2449986 h 6851196"/>
                  <a:gd name="connsiteX815" fmla="*/ 6439690 w 12187339"/>
                  <a:gd name="connsiteY815" fmla="*/ 2449986 h 6851196"/>
                  <a:gd name="connsiteX816" fmla="*/ 6210990 w 12187339"/>
                  <a:gd name="connsiteY816" fmla="*/ 2686479 h 6851196"/>
                  <a:gd name="connsiteX817" fmla="*/ 5986902 w 12187339"/>
                  <a:gd name="connsiteY817" fmla="*/ 2686479 h 6851196"/>
                  <a:gd name="connsiteX818" fmla="*/ 5986902 w 12187339"/>
                  <a:gd name="connsiteY818" fmla="*/ 2449986 h 6851196"/>
                  <a:gd name="connsiteX819" fmla="*/ 6210990 w 12187339"/>
                  <a:gd name="connsiteY819" fmla="*/ 2449986 h 6851196"/>
                  <a:gd name="connsiteX820" fmla="*/ 5980499 w 12187339"/>
                  <a:gd name="connsiteY820" fmla="*/ 2686479 h 6851196"/>
                  <a:gd name="connsiteX821" fmla="*/ 5756411 w 12187339"/>
                  <a:gd name="connsiteY821" fmla="*/ 2686479 h 6851196"/>
                  <a:gd name="connsiteX822" fmla="*/ 5756411 w 12187339"/>
                  <a:gd name="connsiteY822" fmla="*/ 2449986 h 6851196"/>
                  <a:gd name="connsiteX823" fmla="*/ 5980499 w 12187339"/>
                  <a:gd name="connsiteY823" fmla="*/ 2449986 h 6851196"/>
                  <a:gd name="connsiteX824" fmla="*/ 5750008 w 12187339"/>
                  <a:gd name="connsiteY824" fmla="*/ 2686479 h 6851196"/>
                  <a:gd name="connsiteX825" fmla="*/ 5526945 w 12187339"/>
                  <a:gd name="connsiteY825" fmla="*/ 2686479 h 6851196"/>
                  <a:gd name="connsiteX826" fmla="*/ 5526945 w 12187339"/>
                  <a:gd name="connsiteY826" fmla="*/ 2449986 h 6851196"/>
                  <a:gd name="connsiteX827" fmla="*/ 5749495 w 12187339"/>
                  <a:gd name="connsiteY827" fmla="*/ 2449986 h 6851196"/>
                  <a:gd name="connsiteX828" fmla="*/ 5521055 w 12187339"/>
                  <a:gd name="connsiteY828" fmla="*/ 2686479 h 6851196"/>
                  <a:gd name="connsiteX829" fmla="*/ 5296454 w 12187339"/>
                  <a:gd name="connsiteY829" fmla="*/ 2686479 h 6851196"/>
                  <a:gd name="connsiteX830" fmla="*/ 5296454 w 12187339"/>
                  <a:gd name="connsiteY830" fmla="*/ 2449986 h 6851196"/>
                  <a:gd name="connsiteX831" fmla="*/ 5520542 w 12187339"/>
                  <a:gd name="connsiteY831" fmla="*/ 2449986 h 6851196"/>
                  <a:gd name="connsiteX832" fmla="*/ 5290564 w 12187339"/>
                  <a:gd name="connsiteY832" fmla="*/ 2686479 h 6851196"/>
                  <a:gd name="connsiteX833" fmla="*/ 5065963 w 12187339"/>
                  <a:gd name="connsiteY833" fmla="*/ 2686479 h 6851196"/>
                  <a:gd name="connsiteX834" fmla="*/ 5065963 w 12187339"/>
                  <a:gd name="connsiteY834" fmla="*/ 2449986 h 6851196"/>
                  <a:gd name="connsiteX835" fmla="*/ 5290051 w 12187339"/>
                  <a:gd name="connsiteY835" fmla="*/ 2449986 h 6851196"/>
                  <a:gd name="connsiteX836" fmla="*/ 5060073 w 12187339"/>
                  <a:gd name="connsiteY836" fmla="*/ 2686479 h 6851196"/>
                  <a:gd name="connsiteX837" fmla="*/ 4835472 w 12187339"/>
                  <a:gd name="connsiteY837" fmla="*/ 2686479 h 6851196"/>
                  <a:gd name="connsiteX838" fmla="*/ 4835472 w 12187339"/>
                  <a:gd name="connsiteY838" fmla="*/ 2449986 h 6851196"/>
                  <a:gd name="connsiteX839" fmla="*/ 5059560 w 12187339"/>
                  <a:gd name="connsiteY839" fmla="*/ 2449986 h 6851196"/>
                  <a:gd name="connsiteX840" fmla="*/ 4829582 w 12187339"/>
                  <a:gd name="connsiteY840" fmla="*/ 2686479 h 6851196"/>
                  <a:gd name="connsiteX841" fmla="*/ 4607029 w 12187339"/>
                  <a:gd name="connsiteY841" fmla="*/ 2686479 h 6851196"/>
                  <a:gd name="connsiteX842" fmla="*/ 4607029 w 12187339"/>
                  <a:gd name="connsiteY842" fmla="*/ 2449986 h 6851196"/>
                  <a:gd name="connsiteX843" fmla="*/ 4829582 w 12187339"/>
                  <a:gd name="connsiteY843" fmla="*/ 2449986 h 6851196"/>
                  <a:gd name="connsiteX844" fmla="*/ 4600626 w 12187339"/>
                  <a:gd name="connsiteY844" fmla="*/ 2686479 h 6851196"/>
                  <a:gd name="connsiteX845" fmla="*/ 4376538 w 12187339"/>
                  <a:gd name="connsiteY845" fmla="*/ 2686479 h 6851196"/>
                  <a:gd name="connsiteX846" fmla="*/ 4376538 w 12187339"/>
                  <a:gd name="connsiteY846" fmla="*/ 2449986 h 6851196"/>
                  <a:gd name="connsiteX847" fmla="*/ 4600626 w 12187339"/>
                  <a:gd name="connsiteY847" fmla="*/ 2449986 h 6851196"/>
                  <a:gd name="connsiteX848" fmla="*/ 4370135 w 12187339"/>
                  <a:gd name="connsiteY848" fmla="*/ 2686479 h 6851196"/>
                  <a:gd name="connsiteX849" fmla="*/ 4146047 w 12187339"/>
                  <a:gd name="connsiteY849" fmla="*/ 2686479 h 6851196"/>
                  <a:gd name="connsiteX850" fmla="*/ 4146047 w 12187339"/>
                  <a:gd name="connsiteY850" fmla="*/ 2449986 h 6851196"/>
                  <a:gd name="connsiteX851" fmla="*/ 4370135 w 12187339"/>
                  <a:gd name="connsiteY851" fmla="*/ 2449986 h 6851196"/>
                  <a:gd name="connsiteX852" fmla="*/ 4139644 w 12187339"/>
                  <a:gd name="connsiteY852" fmla="*/ 2686479 h 6851196"/>
                  <a:gd name="connsiteX853" fmla="*/ 3917094 w 12187339"/>
                  <a:gd name="connsiteY853" fmla="*/ 2686479 h 6851196"/>
                  <a:gd name="connsiteX854" fmla="*/ 3917094 w 12187339"/>
                  <a:gd name="connsiteY854" fmla="*/ 2449986 h 6851196"/>
                  <a:gd name="connsiteX855" fmla="*/ 4139644 w 12187339"/>
                  <a:gd name="connsiteY855" fmla="*/ 2449986 h 6851196"/>
                  <a:gd name="connsiteX856" fmla="*/ 3910691 w 12187339"/>
                  <a:gd name="connsiteY856" fmla="*/ 2686479 h 6851196"/>
                  <a:gd name="connsiteX857" fmla="*/ 3686603 w 12187339"/>
                  <a:gd name="connsiteY857" fmla="*/ 2686479 h 6851196"/>
                  <a:gd name="connsiteX858" fmla="*/ 3686603 w 12187339"/>
                  <a:gd name="connsiteY858" fmla="*/ 2449986 h 6851196"/>
                  <a:gd name="connsiteX859" fmla="*/ 3910691 w 12187339"/>
                  <a:gd name="connsiteY859" fmla="*/ 2449986 h 6851196"/>
                  <a:gd name="connsiteX860" fmla="*/ 3680200 w 12187339"/>
                  <a:gd name="connsiteY860" fmla="*/ 2686479 h 6851196"/>
                  <a:gd name="connsiteX861" fmla="*/ 3456112 w 12187339"/>
                  <a:gd name="connsiteY861" fmla="*/ 2686479 h 6851196"/>
                  <a:gd name="connsiteX862" fmla="*/ 3456112 w 12187339"/>
                  <a:gd name="connsiteY862" fmla="*/ 2449986 h 6851196"/>
                  <a:gd name="connsiteX863" fmla="*/ 3680200 w 12187339"/>
                  <a:gd name="connsiteY863" fmla="*/ 2449986 h 6851196"/>
                  <a:gd name="connsiteX864" fmla="*/ 3449709 w 12187339"/>
                  <a:gd name="connsiteY864" fmla="*/ 2686479 h 6851196"/>
                  <a:gd name="connsiteX865" fmla="*/ 3225621 w 12187339"/>
                  <a:gd name="connsiteY865" fmla="*/ 2686479 h 6851196"/>
                  <a:gd name="connsiteX866" fmla="*/ 3225621 w 12187339"/>
                  <a:gd name="connsiteY866" fmla="*/ 2449986 h 6851196"/>
                  <a:gd name="connsiteX867" fmla="*/ 3449709 w 12187339"/>
                  <a:gd name="connsiteY867" fmla="*/ 2449986 h 6851196"/>
                  <a:gd name="connsiteX868" fmla="*/ 3219218 w 12187339"/>
                  <a:gd name="connsiteY868" fmla="*/ 2686479 h 6851196"/>
                  <a:gd name="connsiteX869" fmla="*/ 2996666 w 12187339"/>
                  <a:gd name="connsiteY869" fmla="*/ 2686479 h 6851196"/>
                  <a:gd name="connsiteX870" fmla="*/ 2996666 w 12187339"/>
                  <a:gd name="connsiteY870" fmla="*/ 2449986 h 6851196"/>
                  <a:gd name="connsiteX871" fmla="*/ 3219218 w 12187339"/>
                  <a:gd name="connsiteY871" fmla="*/ 2449986 h 6851196"/>
                  <a:gd name="connsiteX872" fmla="*/ 2990264 w 12187339"/>
                  <a:gd name="connsiteY872" fmla="*/ 2686479 h 6851196"/>
                  <a:gd name="connsiteX873" fmla="*/ 2766175 w 12187339"/>
                  <a:gd name="connsiteY873" fmla="*/ 2686479 h 6851196"/>
                  <a:gd name="connsiteX874" fmla="*/ 2766175 w 12187339"/>
                  <a:gd name="connsiteY874" fmla="*/ 2449986 h 6851196"/>
                  <a:gd name="connsiteX875" fmla="*/ 2990264 w 12187339"/>
                  <a:gd name="connsiteY875" fmla="*/ 2449986 h 6851196"/>
                  <a:gd name="connsiteX876" fmla="*/ 2759773 w 12187339"/>
                  <a:gd name="connsiteY876" fmla="*/ 2686479 h 6851196"/>
                  <a:gd name="connsiteX877" fmla="*/ 2535684 w 12187339"/>
                  <a:gd name="connsiteY877" fmla="*/ 2686479 h 6851196"/>
                  <a:gd name="connsiteX878" fmla="*/ 2535684 w 12187339"/>
                  <a:gd name="connsiteY878" fmla="*/ 2449986 h 6851196"/>
                  <a:gd name="connsiteX879" fmla="*/ 2759773 w 12187339"/>
                  <a:gd name="connsiteY879" fmla="*/ 2449986 h 6851196"/>
                  <a:gd name="connsiteX880" fmla="*/ 2529282 w 12187339"/>
                  <a:gd name="connsiteY880" fmla="*/ 2686479 h 6851196"/>
                  <a:gd name="connsiteX881" fmla="*/ 2305193 w 12187339"/>
                  <a:gd name="connsiteY881" fmla="*/ 2686479 h 6851196"/>
                  <a:gd name="connsiteX882" fmla="*/ 2305193 w 12187339"/>
                  <a:gd name="connsiteY882" fmla="*/ 2449986 h 6851196"/>
                  <a:gd name="connsiteX883" fmla="*/ 2529282 w 12187339"/>
                  <a:gd name="connsiteY883" fmla="*/ 2449986 h 6851196"/>
                  <a:gd name="connsiteX884" fmla="*/ 2529282 w 12187339"/>
                  <a:gd name="connsiteY884" fmla="*/ 2693282 h 6851196"/>
                  <a:gd name="connsiteX885" fmla="*/ 2529282 w 12187339"/>
                  <a:gd name="connsiteY885" fmla="*/ 2931407 h 6851196"/>
                  <a:gd name="connsiteX886" fmla="*/ 2305193 w 12187339"/>
                  <a:gd name="connsiteY886" fmla="*/ 2931407 h 6851196"/>
                  <a:gd name="connsiteX887" fmla="*/ 2305193 w 12187339"/>
                  <a:gd name="connsiteY887" fmla="*/ 2693282 h 6851196"/>
                  <a:gd name="connsiteX888" fmla="*/ 2529282 w 12187339"/>
                  <a:gd name="connsiteY888" fmla="*/ 2938211 h 6851196"/>
                  <a:gd name="connsiteX889" fmla="*/ 2529282 w 12187339"/>
                  <a:gd name="connsiteY889" fmla="*/ 3176336 h 6851196"/>
                  <a:gd name="connsiteX890" fmla="*/ 2305193 w 12187339"/>
                  <a:gd name="connsiteY890" fmla="*/ 3176336 h 6851196"/>
                  <a:gd name="connsiteX891" fmla="*/ 2305193 w 12187339"/>
                  <a:gd name="connsiteY891" fmla="*/ 2938211 h 6851196"/>
                  <a:gd name="connsiteX892" fmla="*/ 2529282 w 12187339"/>
                  <a:gd name="connsiteY892" fmla="*/ 3183139 h 6851196"/>
                  <a:gd name="connsiteX893" fmla="*/ 2529282 w 12187339"/>
                  <a:gd name="connsiteY893" fmla="*/ 3421264 h 6851196"/>
                  <a:gd name="connsiteX894" fmla="*/ 2305193 w 12187339"/>
                  <a:gd name="connsiteY894" fmla="*/ 3421264 h 6851196"/>
                  <a:gd name="connsiteX895" fmla="*/ 2305193 w 12187339"/>
                  <a:gd name="connsiteY895" fmla="*/ 3183139 h 6851196"/>
                  <a:gd name="connsiteX896" fmla="*/ 2529282 w 12187339"/>
                  <a:gd name="connsiteY896" fmla="*/ 3428068 h 6851196"/>
                  <a:gd name="connsiteX897" fmla="*/ 2529282 w 12187339"/>
                  <a:gd name="connsiteY897" fmla="*/ 3664560 h 6851196"/>
                  <a:gd name="connsiteX898" fmla="*/ 2305193 w 12187339"/>
                  <a:gd name="connsiteY898" fmla="*/ 3664560 h 6851196"/>
                  <a:gd name="connsiteX899" fmla="*/ 2305193 w 12187339"/>
                  <a:gd name="connsiteY899" fmla="*/ 3428068 h 6851196"/>
                  <a:gd name="connsiteX900" fmla="*/ 2529282 w 12187339"/>
                  <a:gd name="connsiteY900" fmla="*/ 3671364 h 6851196"/>
                  <a:gd name="connsiteX901" fmla="*/ 2529282 w 12187339"/>
                  <a:gd name="connsiteY901" fmla="*/ 3909489 h 6851196"/>
                  <a:gd name="connsiteX902" fmla="*/ 2305193 w 12187339"/>
                  <a:gd name="connsiteY902" fmla="*/ 3909489 h 6851196"/>
                  <a:gd name="connsiteX903" fmla="*/ 2305193 w 12187339"/>
                  <a:gd name="connsiteY903" fmla="*/ 3671364 h 6851196"/>
                  <a:gd name="connsiteX904" fmla="*/ 2529282 w 12187339"/>
                  <a:gd name="connsiteY904" fmla="*/ 3916292 h 6851196"/>
                  <a:gd name="connsiteX905" fmla="*/ 2529282 w 12187339"/>
                  <a:gd name="connsiteY905" fmla="*/ 4154417 h 6851196"/>
                  <a:gd name="connsiteX906" fmla="*/ 2305193 w 12187339"/>
                  <a:gd name="connsiteY906" fmla="*/ 4154417 h 6851196"/>
                  <a:gd name="connsiteX907" fmla="*/ 2305193 w 12187339"/>
                  <a:gd name="connsiteY907" fmla="*/ 3916292 h 6851196"/>
                  <a:gd name="connsiteX908" fmla="*/ 2529282 w 12187339"/>
                  <a:gd name="connsiteY908" fmla="*/ 4161221 h 6851196"/>
                  <a:gd name="connsiteX909" fmla="*/ 2529282 w 12187339"/>
                  <a:gd name="connsiteY909" fmla="*/ 4399346 h 6851196"/>
                  <a:gd name="connsiteX910" fmla="*/ 2305193 w 12187339"/>
                  <a:gd name="connsiteY910" fmla="*/ 4399346 h 6851196"/>
                  <a:gd name="connsiteX911" fmla="*/ 2305193 w 12187339"/>
                  <a:gd name="connsiteY911" fmla="*/ 4161221 h 6851196"/>
                  <a:gd name="connsiteX912" fmla="*/ 2535684 w 12187339"/>
                  <a:gd name="connsiteY912" fmla="*/ 4161221 h 6851196"/>
                  <a:gd name="connsiteX913" fmla="*/ 2759773 w 12187339"/>
                  <a:gd name="connsiteY913" fmla="*/ 4161221 h 6851196"/>
                  <a:gd name="connsiteX914" fmla="*/ 2759773 w 12187339"/>
                  <a:gd name="connsiteY914" fmla="*/ 4399346 h 6851196"/>
                  <a:gd name="connsiteX915" fmla="*/ 2535684 w 12187339"/>
                  <a:gd name="connsiteY915" fmla="*/ 4399346 h 6851196"/>
                  <a:gd name="connsiteX916" fmla="*/ 2766175 w 12187339"/>
                  <a:gd name="connsiteY916" fmla="*/ 4161221 h 6851196"/>
                  <a:gd name="connsiteX917" fmla="*/ 2990264 w 12187339"/>
                  <a:gd name="connsiteY917" fmla="*/ 4161221 h 6851196"/>
                  <a:gd name="connsiteX918" fmla="*/ 2990264 w 12187339"/>
                  <a:gd name="connsiteY918" fmla="*/ 4399346 h 6851196"/>
                  <a:gd name="connsiteX919" fmla="*/ 2766175 w 12187339"/>
                  <a:gd name="connsiteY919" fmla="*/ 4399346 h 6851196"/>
                  <a:gd name="connsiteX920" fmla="*/ 2996666 w 12187339"/>
                  <a:gd name="connsiteY920" fmla="*/ 4161221 h 6851196"/>
                  <a:gd name="connsiteX921" fmla="*/ 3219218 w 12187339"/>
                  <a:gd name="connsiteY921" fmla="*/ 4161221 h 6851196"/>
                  <a:gd name="connsiteX922" fmla="*/ 3219218 w 12187339"/>
                  <a:gd name="connsiteY922" fmla="*/ 4399346 h 6851196"/>
                  <a:gd name="connsiteX923" fmla="*/ 2996666 w 12187339"/>
                  <a:gd name="connsiteY923" fmla="*/ 4399346 h 6851196"/>
                  <a:gd name="connsiteX924" fmla="*/ 3225621 w 12187339"/>
                  <a:gd name="connsiteY924" fmla="*/ 4161221 h 6851196"/>
                  <a:gd name="connsiteX925" fmla="*/ 3449709 w 12187339"/>
                  <a:gd name="connsiteY925" fmla="*/ 4161221 h 6851196"/>
                  <a:gd name="connsiteX926" fmla="*/ 3449709 w 12187339"/>
                  <a:gd name="connsiteY926" fmla="*/ 4399346 h 6851196"/>
                  <a:gd name="connsiteX927" fmla="*/ 3225621 w 12187339"/>
                  <a:gd name="connsiteY927" fmla="*/ 4399346 h 6851196"/>
                  <a:gd name="connsiteX928" fmla="*/ 3456112 w 12187339"/>
                  <a:gd name="connsiteY928" fmla="*/ 4161221 h 6851196"/>
                  <a:gd name="connsiteX929" fmla="*/ 3680200 w 12187339"/>
                  <a:gd name="connsiteY929" fmla="*/ 4161221 h 6851196"/>
                  <a:gd name="connsiteX930" fmla="*/ 3680200 w 12187339"/>
                  <a:gd name="connsiteY930" fmla="*/ 4399346 h 6851196"/>
                  <a:gd name="connsiteX931" fmla="*/ 3456112 w 12187339"/>
                  <a:gd name="connsiteY931" fmla="*/ 4399346 h 6851196"/>
                  <a:gd name="connsiteX932" fmla="*/ 3686603 w 12187339"/>
                  <a:gd name="connsiteY932" fmla="*/ 4161221 h 6851196"/>
                  <a:gd name="connsiteX933" fmla="*/ 3910691 w 12187339"/>
                  <a:gd name="connsiteY933" fmla="*/ 4161221 h 6851196"/>
                  <a:gd name="connsiteX934" fmla="*/ 3910691 w 12187339"/>
                  <a:gd name="connsiteY934" fmla="*/ 4399346 h 6851196"/>
                  <a:gd name="connsiteX935" fmla="*/ 3686603 w 12187339"/>
                  <a:gd name="connsiteY935" fmla="*/ 4399346 h 6851196"/>
                  <a:gd name="connsiteX936" fmla="*/ 3917094 w 12187339"/>
                  <a:gd name="connsiteY936" fmla="*/ 4161221 h 6851196"/>
                  <a:gd name="connsiteX937" fmla="*/ 4139644 w 12187339"/>
                  <a:gd name="connsiteY937" fmla="*/ 4161221 h 6851196"/>
                  <a:gd name="connsiteX938" fmla="*/ 4139644 w 12187339"/>
                  <a:gd name="connsiteY938" fmla="*/ 4399346 h 6851196"/>
                  <a:gd name="connsiteX939" fmla="*/ 3917094 w 12187339"/>
                  <a:gd name="connsiteY939" fmla="*/ 4399346 h 6851196"/>
                  <a:gd name="connsiteX940" fmla="*/ 4146047 w 12187339"/>
                  <a:gd name="connsiteY940" fmla="*/ 4161221 h 6851196"/>
                  <a:gd name="connsiteX941" fmla="*/ 4370135 w 12187339"/>
                  <a:gd name="connsiteY941" fmla="*/ 4161221 h 6851196"/>
                  <a:gd name="connsiteX942" fmla="*/ 4370135 w 12187339"/>
                  <a:gd name="connsiteY942" fmla="*/ 4399346 h 6851196"/>
                  <a:gd name="connsiteX943" fmla="*/ 4146047 w 12187339"/>
                  <a:gd name="connsiteY943" fmla="*/ 4399346 h 6851196"/>
                  <a:gd name="connsiteX944" fmla="*/ 4376538 w 12187339"/>
                  <a:gd name="connsiteY944" fmla="*/ 4161221 h 6851196"/>
                  <a:gd name="connsiteX945" fmla="*/ 4600626 w 12187339"/>
                  <a:gd name="connsiteY945" fmla="*/ 4161221 h 6851196"/>
                  <a:gd name="connsiteX946" fmla="*/ 4600626 w 12187339"/>
                  <a:gd name="connsiteY946" fmla="*/ 4399346 h 6851196"/>
                  <a:gd name="connsiteX947" fmla="*/ 4376538 w 12187339"/>
                  <a:gd name="connsiteY947" fmla="*/ 4399346 h 6851196"/>
                  <a:gd name="connsiteX948" fmla="*/ 4607029 w 12187339"/>
                  <a:gd name="connsiteY948" fmla="*/ 4161221 h 6851196"/>
                  <a:gd name="connsiteX949" fmla="*/ 4829582 w 12187339"/>
                  <a:gd name="connsiteY949" fmla="*/ 4161221 h 6851196"/>
                  <a:gd name="connsiteX950" fmla="*/ 4829582 w 12187339"/>
                  <a:gd name="connsiteY950" fmla="*/ 4399346 h 6851196"/>
                  <a:gd name="connsiteX951" fmla="*/ 4607029 w 12187339"/>
                  <a:gd name="connsiteY951" fmla="*/ 4399346 h 6851196"/>
                  <a:gd name="connsiteX952" fmla="*/ 4835985 w 12187339"/>
                  <a:gd name="connsiteY952" fmla="*/ 4161221 h 6851196"/>
                  <a:gd name="connsiteX953" fmla="*/ 5060073 w 12187339"/>
                  <a:gd name="connsiteY953" fmla="*/ 4161221 h 6851196"/>
                  <a:gd name="connsiteX954" fmla="*/ 5060073 w 12187339"/>
                  <a:gd name="connsiteY954" fmla="*/ 4399346 h 6851196"/>
                  <a:gd name="connsiteX955" fmla="*/ 4835472 w 12187339"/>
                  <a:gd name="connsiteY955" fmla="*/ 4399346 h 6851196"/>
                  <a:gd name="connsiteX956" fmla="*/ 5066476 w 12187339"/>
                  <a:gd name="connsiteY956" fmla="*/ 4161221 h 6851196"/>
                  <a:gd name="connsiteX957" fmla="*/ 5290564 w 12187339"/>
                  <a:gd name="connsiteY957" fmla="*/ 4161221 h 6851196"/>
                  <a:gd name="connsiteX958" fmla="*/ 5290564 w 12187339"/>
                  <a:gd name="connsiteY958" fmla="*/ 4399346 h 6851196"/>
                  <a:gd name="connsiteX959" fmla="*/ 5065963 w 12187339"/>
                  <a:gd name="connsiteY959" fmla="*/ 4399346 h 6851196"/>
                  <a:gd name="connsiteX960" fmla="*/ 5296967 w 12187339"/>
                  <a:gd name="connsiteY960" fmla="*/ 4161221 h 6851196"/>
                  <a:gd name="connsiteX961" fmla="*/ 5521055 w 12187339"/>
                  <a:gd name="connsiteY961" fmla="*/ 4161221 h 6851196"/>
                  <a:gd name="connsiteX962" fmla="*/ 5521055 w 12187339"/>
                  <a:gd name="connsiteY962" fmla="*/ 4399346 h 6851196"/>
                  <a:gd name="connsiteX963" fmla="*/ 5296454 w 12187339"/>
                  <a:gd name="connsiteY963" fmla="*/ 4399346 h 6851196"/>
                  <a:gd name="connsiteX964" fmla="*/ 5527458 w 12187339"/>
                  <a:gd name="connsiteY964" fmla="*/ 4161221 h 6851196"/>
                  <a:gd name="connsiteX965" fmla="*/ 5750008 w 12187339"/>
                  <a:gd name="connsiteY965" fmla="*/ 4161221 h 6851196"/>
                  <a:gd name="connsiteX966" fmla="*/ 5750008 w 12187339"/>
                  <a:gd name="connsiteY966" fmla="*/ 4399346 h 6851196"/>
                  <a:gd name="connsiteX967" fmla="*/ 5526945 w 12187339"/>
                  <a:gd name="connsiteY967" fmla="*/ 4399346 h 6851196"/>
                  <a:gd name="connsiteX968" fmla="*/ 5756411 w 12187339"/>
                  <a:gd name="connsiteY968" fmla="*/ 4161221 h 6851196"/>
                  <a:gd name="connsiteX969" fmla="*/ 5980499 w 12187339"/>
                  <a:gd name="connsiteY969" fmla="*/ 4161221 h 6851196"/>
                  <a:gd name="connsiteX970" fmla="*/ 5980499 w 12187339"/>
                  <a:gd name="connsiteY970" fmla="*/ 4399346 h 6851196"/>
                  <a:gd name="connsiteX971" fmla="*/ 5756411 w 12187339"/>
                  <a:gd name="connsiteY971" fmla="*/ 4399346 h 6851196"/>
                  <a:gd name="connsiteX972" fmla="*/ 5986902 w 12187339"/>
                  <a:gd name="connsiteY972" fmla="*/ 4161221 h 6851196"/>
                  <a:gd name="connsiteX973" fmla="*/ 6210990 w 12187339"/>
                  <a:gd name="connsiteY973" fmla="*/ 4161221 h 6851196"/>
                  <a:gd name="connsiteX974" fmla="*/ 6210990 w 12187339"/>
                  <a:gd name="connsiteY974" fmla="*/ 4399346 h 6851196"/>
                  <a:gd name="connsiteX975" fmla="*/ 5986902 w 12187339"/>
                  <a:gd name="connsiteY975" fmla="*/ 4399346 h 6851196"/>
                  <a:gd name="connsiteX976" fmla="*/ 6217393 w 12187339"/>
                  <a:gd name="connsiteY976" fmla="*/ 4161221 h 6851196"/>
                  <a:gd name="connsiteX977" fmla="*/ 6439946 w 12187339"/>
                  <a:gd name="connsiteY977" fmla="*/ 4161221 h 6851196"/>
                  <a:gd name="connsiteX978" fmla="*/ 6439946 w 12187339"/>
                  <a:gd name="connsiteY978" fmla="*/ 4399346 h 6851196"/>
                  <a:gd name="connsiteX979" fmla="*/ 6217136 w 12187339"/>
                  <a:gd name="connsiteY979" fmla="*/ 4399346 h 6851196"/>
                  <a:gd name="connsiteX980" fmla="*/ 6446349 w 12187339"/>
                  <a:gd name="connsiteY980" fmla="*/ 4161221 h 6851196"/>
                  <a:gd name="connsiteX981" fmla="*/ 6656863 w 12187339"/>
                  <a:gd name="connsiteY981" fmla="*/ 4161221 h 6851196"/>
                  <a:gd name="connsiteX982" fmla="*/ 6656863 w 12187339"/>
                  <a:gd name="connsiteY982" fmla="*/ 4399346 h 6851196"/>
                  <a:gd name="connsiteX983" fmla="*/ 6446349 w 12187339"/>
                  <a:gd name="connsiteY983" fmla="*/ 4399346 h 6851196"/>
                  <a:gd name="connsiteX984" fmla="*/ 6663265 w 12187339"/>
                  <a:gd name="connsiteY984" fmla="*/ 4161221 h 6851196"/>
                  <a:gd name="connsiteX985" fmla="*/ 6887354 w 12187339"/>
                  <a:gd name="connsiteY985" fmla="*/ 4161221 h 6851196"/>
                  <a:gd name="connsiteX986" fmla="*/ 6887354 w 12187339"/>
                  <a:gd name="connsiteY986" fmla="*/ 4399346 h 6851196"/>
                  <a:gd name="connsiteX987" fmla="*/ 6663265 w 12187339"/>
                  <a:gd name="connsiteY987" fmla="*/ 4399346 h 6851196"/>
                  <a:gd name="connsiteX988" fmla="*/ 6893756 w 12187339"/>
                  <a:gd name="connsiteY988" fmla="*/ 4161221 h 6851196"/>
                  <a:gd name="connsiteX989" fmla="*/ 7117845 w 12187339"/>
                  <a:gd name="connsiteY989" fmla="*/ 4161221 h 6851196"/>
                  <a:gd name="connsiteX990" fmla="*/ 7117845 w 12187339"/>
                  <a:gd name="connsiteY990" fmla="*/ 4399346 h 6851196"/>
                  <a:gd name="connsiteX991" fmla="*/ 6893756 w 12187339"/>
                  <a:gd name="connsiteY991" fmla="*/ 4399346 h 6851196"/>
                  <a:gd name="connsiteX992" fmla="*/ 7124247 w 12187339"/>
                  <a:gd name="connsiteY992" fmla="*/ 4161221 h 6851196"/>
                  <a:gd name="connsiteX993" fmla="*/ 7346801 w 12187339"/>
                  <a:gd name="connsiteY993" fmla="*/ 4161221 h 6851196"/>
                  <a:gd name="connsiteX994" fmla="*/ 7346801 w 12187339"/>
                  <a:gd name="connsiteY994" fmla="*/ 4399346 h 6851196"/>
                  <a:gd name="connsiteX995" fmla="*/ 7124247 w 12187339"/>
                  <a:gd name="connsiteY995" fmla="*/ 4399346 h 6851196"/>
                  <a:gd name="connsiteX996" fmla="*/ 7353204 w 12187339"/>
                  <a:gd name="connsiteY996" fmla="*/ 4161221 h 6851196"/>
                  <a:gd name="connsiteX997" fmla="*/ 7577292 w 12187339"/>
                  <a:gd name="connsiteY997" fmla="*/ 4161221 h 6851196"/>
                  <a:gd name="connsiteX998" fmla="*/ 7577292 w 12187339"/>
                  <a:gd name="connsiteY998" fmla="*/ 4399346 h 6851196"/>
                  <a:gd name="connsiteX999" fmla="*/ 7353204 w 12187339"/>
                  <a:gd name="connsiteY999" fmla="*/ 4399346 h 6851196"/>
                  <a:gd name="connsiteX1000" fmla="*/ 7583695 w 12187339"/>
                  <a:gd name="connsiteY1000" fmla="*/ 4161221 h 6851196"/>
                  <a:gd name="connsiteX1001" fmla="*/ 7807783 w 12187339"/>
                  <a:gd name="connsiteY1001" fmla="*/ 4161221 h 6851196"/>
                  <a:gd name="connsiteX1002" fmla="*/ 7807783 w 12187339"/>
                  <a:gd name="connsiteY1002" fmla="*/ 4399346 h 6851196"/>
                  <a:gd name="connsiteX1003" fmla="*/ 7583695 w 12187339"/>
                  <a:gd name="connsiteY1003" fmla="*/ 4399346 h 6851196"/>
                  <a:gd name="connsiteX1004" fmla="*/ 7814186 w 12187339"/>
                  <a:gd name="connsiteY1004" fmla="*/ 4161221 h 6851196"/>
                  <a:gd name="connsiteX1005" fmla="*/ 8038274 w 12187339"/>
                  <a:gd name="connsiteY1005" fmla="*/ 4161221 h 6851196"/>
                  <a:gd name="connsiteX1006" fmla="*/ 8038274 w 12187339"/>
                  <a:gd name="connsiteY1006" fmla="*/ 4399346 h 6851196"/>
                  <a:gd name="connsiteX1007" fmla="*/ 7814186 w 12187339"/>
                  <a:gd name="connsiteY1007" fmla="*/ 4399346 h 6851196"/>
                  <a:gd name="connsiteX1008" fmla="*/ 8044677 w 12187339"/>
                  <a:gd name="connsiteY1008" fmla="*/ 4161221 h 6851196"/>
                  <a:gd name="connsiteX1009" fmla="*/ 8267227 w 12187339"/>
                  <a:gd name="connsiteY1009" fmla="*/ 4161221 h 6851196"/>
                  <a:gd name="connsiteX1010" fmla="*/ 8267227 w 12187339"/>
                  <a:gd name="connsiteY1010" fmla="*/ 4399346 h 6851196"/>
                  <a:gd name="connsiteX1011" fmla="*/ 8044420 w 12187339"/>
                  <a:gd name="connsiteY1011" fmla="*/ 4399346 h 6851196"/>
                  <a:gd name="connsiteX1012" fmla="*/ 8273629 w 12187339"/>
                  <a:gd name="connsiteY1012" fmla="*/ 4161221 h 6851196"/>
                  <a:gd name="connsiteX1013" fmla="*/ 8497718 w 12187339"/>
                  <a:gd name="connsiteY1013" fmla="*/ 4161221 h 6851196"/>
                  <a:gd name="connsiteX1014" fmla="*/ 8497718 w 12187339"/>
                  <a:gd name="connsiteY1014" fmla="*/ 4399346 h 6851196"/>
                  <a:gd name="connsiteX1015" fmla="*/ 8273629 w 12187339"/>
                  <a:gd name="connsiteY1015" fmla="*/ 4399346 h 6851196"/>
                  <a:gd name="connsiteX1016" fmla="*/ 8504120 w 12187339"/>
                  <a:gd name="connsiteY1016" fmla="*/ 4161221 h 6851196"/>
                  <a:gd name="connsiteX1017" fmla="*/ 8728209 w 12187339"/>
                  <a:gd name="connsiteY1017" fmla="*/ 4161221 h 6851196"/>
                  <a:gd name="connsiteX1018" fmla="*/ 8728209 w 12187339"/>
                  <a:gd name="connsiteY1018" fmla="*/ 4399346 h 6851196"/>
                  <a:gd name="connsiteX1019" fmla="*/ 8504120 w 12187339"/>
                  <a:gd name="connsiteY1019" fmla="*/ 4399346 h 6851196"/>
                  <a:gd name="connsiteX1020" fmla="*/ 8734611 w 12187339"/>
                  <a:gd name="connsiteY1020" fmla="*/ 4161221 h 6851196"/>
                  <a:gd name="connsiteX1021" fmla="*/ 8957162 w 12187339"/>
                  <a:gd name="connsiteY1021" fmla="*/ 4161221 h 6851196"/>
                  <a:gd name="connsiteX1022" fmla="*/ 8957162 w 12187339"/>
                  <a:gd name="connsiteY1022" fmla="*/ 4399346 h 6851196"/>
                  <a:gd name="connsiteX1023" fmla="*/ 8734611 w 12187339"/>
                  <a:gd name="connsiteY1023" fmla="*/ 4399346 h 6851196"/>
                  <a:gd name="connsiteX1024" fmla="*/ 8963564 w 12187339"/>
                  <a:gd name="connsiteY1024" fmla="*/ 4161221 h 6851196"/>
                  <a:gd name="connsiteX1025" fmla="*/ 9187653 w 12187339"/>
                  <a:gd name="connsiteY1025" fmla="*/ 4161221 h 6851196"/>
                  <a:gd name="connsiteX1026" fmla="*/ 9187653 w 12187339"/>
                  <a:gd name="connsiteY1026" fmla="*/ 4399346 h 6851196"/>
                  <a:gd name="connsiteX1027" fmla="*/ 8963564 w 12187339"/>
                  <a:gd name="connsiteY1027" fmla="*/ 4399346 h 6851196"/>
                  <a:gd name="connsiteX1028" fmla="*/ 9194055 w 12187339"/>
                  <a:gd name="connsiteY1028" fmla="*/ 4161221 h 6851196"/>
                  <a:gd name="connsiteX1029" fmla="*/ 9418144 w 12187339"/>
                  <a:gd name="connsiteY1029" fmla="*/ 4161221 h 6851196"/>
                  <a:gd name="connsiteX1030" fmla="*/ 9418144 w 12187339"/>
                  <a:gd name="connsiteY1030" fmla="*/ 4399346 h 6851196"/>
                  <a:gd name="connsiteX1031" fmla="*/ 9194055 w 12187339"/>
                  <a:gd name="connsiteY1031" fmla="*/ 4399346 h 6851196"/>
                  <a:gd name="connsiteX1032" fmla="*/ 9424546 w 12187339"/>
                  <a:gd name="connsiteY1032" fmla="*/ 4161221 h 6851196"/>
                  <a:gd name="connsiteX1033" fmla="*/ 9648635 w 12187339"/>
                  <a:gd name="connsiteY1033" fmla="*/ 4161221 h 6851196"/>
                  <a:gd name="connsiteX1034" fmla="*/ 9648635 w 12187339"/>
                  <a:gd name="connsiteY1034" fmla="*/ 4399346 h 6851196"/>
                  <a:gd name="connsiteX1035" fmla="*/ 9424546 w 12187339"/>
                  <a:gd name="connsiteY1035" fmla="*/ 4399346 h 6851196"/>
                  <a:gd name="connsiteX1036" fmla="*/ 9655037 w 12187339"/>
                  <a:gd name="connsiteY1036" fmla="*/ 4161221 h 6851196"/>
                  <a:gd name="connsiteX1037" fmla="*/ 9877591 w 12187339"/>
                  <a:gd name="connsiteY1037" fmla="*/ 4161221 h 6851196"/>
                  <a:gd name="connsiteX1038" fmla="*/ 9877591 w 12187339"/>
                  <a:gd name="connsiteY1038" fmla="*/ 4399346 h 6851196"/>
                  <a:gd name="connsiteX1039" fmla="*/ 9655037 w 12187339"/>
                  <a:gd name="connsiteY1039" fmla="*/ 4399346 h 6851196"/>
                  <a:gd name="connsiteX1040" fmla="*/ 9655037 w 12187339"/>
                  <a:gd name="connsiteY1040" fmla="*/ 4154417 h 6851196"/>
                  <a:gd name="connsiteX1041" fmla="*/ 9655037 w 12187339"/>
                  <a:gd name="connsiteY1041" fmla="*/ 3916292 h 6851196"/>
                  <a:gd name="connsiteX1042" fmla="*/ 9877591 w 12187339"/>
                  <a:gd name="connsiteY1042" fmla="*/ 3916292 h 6851196"/>
                  <a:gd name="connsiteX1043" fmla="*/ 9877591 w 12187339"/>
                  <a:gd name="connsiteY1043" fmla="*/ 4154417 h 6851196"/>
                  <a:gd name="connsiteX1044" fmla="*/ 9655037 w 12187339"/>
                  <a:gd name="connsiteY1044" fmla="*/ 3909489 h 6851196"/>
                  <a:gd name="connsiteX1045" fmla="*/ 9655037 w 12187339"/>
                  <a:gd name="connsiteY1045" fmla="*/ 3671364 h 6851196"/>
                  <a:gd name="connsiteX1046" fmla="*/ 9877591 w 12187339"/>
                  <a:gd name="connsiteY1046" fmla="*/ 3671364 h 6851196"/>
                  <a:gd name="connsiteX1047" fmla="*/ 9877591 w 12187339"/>
                  <a:gd name="connsiteY1047" fmla="*/ 3909489 h 6851196"/>
                  <a:gd name="connsiteX1048" fmla="*/ 9655037 w 12187339"/>
                  <a:gd name="connsiteY1048" fmla="*/ 3664560 h 6851196"/>
                  <a:gd name="connsiteX1049" fmla="*/ 9655037 w 12187339"/>
                  <a:gd name="connsiteY1049" fmla="*/ 3428068 h 6851196"/>
                  <a:gd name="connsiteX1050" fmla="*/ 9877591 w 12187339"/>
                  <a:gd name="connsiteY1050" fmla="*/ 3428068 h 6851196"/>
                  <a:gd name="connsiteX1051" fmla="*/ 9877591 w 12187339"/>
                  <a:gd name="connsiteY1051" fmla="*/ 3664560 h 6851196"/>
                  <a:gd name="connsiteX1052" fmla="*/ 9655037 w 12187339"/>
                  <a:gd name="connsiteY1052" fmla="*/ 3421264 h 6851196"/>
                  <a:gd name="connsiteX1053" fmla="*/ 9655037 w 12187339"/>
                  <a:gd name="connsiteY1053" fmla="*/ 3183139 h 6851196"/>
                  <a:gd name="connsiteX1054" fmla="*/ 9877591 w 12187339"/>
                  <a:gd name="connsiteY1054" fmla="*/ 3183139 h 6851196"/>
                  <a:gd name="connsiteX1055" fmla="*/ 9877591 w 12187339"/>
                  <a:gd name="connsiteY1055" fmla="*/ 3421264 h 6851196"/>
                  <a:gd name="connsiteX1056" fmla="*/ 9655037 w 12187339"/>
                  <a:gd name="connsiteY1056" fmla="*/ 3176336 h 6851196"/>
                  <a:gd name="connsiteX1057" fmla="*/ 9655037 w 12187339"/>
                  <a:gd name="connsiteY1057" fmla="*/ 2938211 h 6851196"/>
                  <a:gd name="connsiteX1058" fmla="*/ 9877591 w 12187339"/>
                  <a:gd name="connsiteY1058" fmla="*/ 2938211 h 6851196"/>
                  <a:gd name="connsiteX1059" fmla="*/ 9877591 w 12187339"/>
                  <a:gd name="connsiteY1059" fmla="*/ 3176336 h 6851196"/>
                  <a:gd name="connsiteX1060" fmla="*/ 9655037 w 12187339"/>
                  <a:gd name="connsiteY1060" fmla="*/ 2931407 h 6851196"/>
                  <a:gd name="connsiteX1061" fmla="*/ 9655037 w 12187339"/>
                  <a:gd name="connsiteY1061" fmla="*/ 2693282 h 6851196"/>
                  <a:gd name="connsiteX1062" fmla="*/ 9877591 w 12187339"/>
                  <a:gd name="connsiteY1062" fmla="*/ 2693282 h 6851196"/>
                  <a:gd name="connsiteX1063" fmla="*/ 9877591 w 12187339"/>
                  <a:gd name="connsiteY1063" fmla="*/ 2931407 h 6851196"/>
                  <a:gd name="connsiteX1064" fmla="*/ 9655037 w 12187339"/>
                  <a:gd name="connsiteY1064" fmla="*/ 2686479 h 6851196"/>
                  <a:gd name="connsiteX1065" fmla="*/ 9655037 w 12187339"/>
                  <a:gd name="connsiteY1065" fmla="*/ 2449986 h 6851196"/>
                  <a:gd name="connsiteX1066" fmla="*/ 9877591 w 12187339"/>
                  <a:gd name="connsiteY1066" fmla="*/ 2449986 h 6851196"/>
                  <a:gd name="connsiteX1067" fmla="*/ 9877591 w 12187339"/>
                  <a:gd name="connsiteY1067" fmla="*/ 2686479 h 6851196"/>
                  <a:gd name="connsiteX1068" fmla="*/ 9655037 w 12187339"/>
                  <a:gd name="connsiteY1068" fmla="*/ 2443183 h 6851196"/>
                  <a:gd name="connsiteX1069" fmla="*/ 9655037 w 12187339"/>
                  <a:gd name="connsiteY1069" fmla="*/ 2205058 h 6851196"/>
                  <a:gd name="connsiteX1070" fmla="*/ 9877591 w 12187339"/>
                  <a:gd name="connsiteY1070" fmla="*/ 2205058 h 6851196"/>
                  <a:gd name="connsiteX1071" fmla="*/ 9877591 w 12187339"/>
                  <a:gd name="connsiteY1071" fmla="*/ 2443183 h 6851196"/>
                  <a:gd name="connsiteX1072" fmla="*/ 9648635 w 12187339"/>
                  <a:gd name="connsiteY1072" fmla="*/ 2443183 h 6851196"/>
                  <a:gd name="connsiteX1073" fmla="*/ 9424546 w 12187339"/>
                  <a:gd name="connsiteY1073" fmla="*/ 2443183 h 6851196"/>
                  <a:gd name="connsiteX1074" fmla="*/ 9424546 w 12187339"/>
                  <a:gd name="connsiteY1074" fmla="*/ 2205058 h 6851196"/>
                  <a:gd name="connsiteX1075" fmla="*/ 9648635 w 12187339"/>
                  <a:gd name="connsiteY1075" fmla="*/ 2205058 h 6851196"/>
                  <a:gd name="connsiteX1076" fmla="*/ 9418144 w 12187339"/>
                  <a:gd name="connsiteY1076" fmla="*/ 2443183 h 6851196"/>
                  <a:gd name="connsiteX1077" fmla="*/ 9194055 w 12187339"/>
                  <a:gd name="connsiteY1077" fmla="*/ 2443183 h 6851196"/>
                  <a:gd name="connsiteX1078" fmla="*/ 9194055 w 12187339"/>
                  <a:gd name="connsiteY1078" fmla="*/ 2205058 h 6851196"/>
                  <a:gd name="connsiteX1079" fmla="*/ 9418144 w 12187339"/>
                  <a:gd name="connsiteY1079" fmla="*/ 2205058 h 6851196"/>
                  <a:gd name="connsiteX1080" fmla="*/ 9187653 w 12187339"/>
                  <a:gd name="connsiteY1080" fmla="*/ 2443183 h 6851196"/>
                  <a:gd name="connsiteX1081" fmla="*/ 8963564 w 12187339"/>
                  <a:gd name="connsiteY1081" fmla="*/ 2443183 h 6851196"/>
                  <a:gd name="connsiteX1082" fmla="*/ 8963564 w 12187339"/>
                  <a:gd name="connsiteY1082" fmla="*/ 2205058 h 6851196"/>
                  <a:gd name="connsiteX1083" fmla="*/ 9187653 w 12187339"/>
                  <a:gd name="connsiteY1083" fmla="*/ 2205058 h 6851196"/>
                  <a:gd name="connsiteX1084" fmla="*/ 8957162 w 12187339"/>
                  <a:gd name="connsiteY1084" fmla="*/ 2443183 h 6851196"/>
                  <a:gd name="connsiteX1085" fmla="*/ 8734611 w 12187339"/>
                  <a:gd name="connsiteY1085" fmla="*/ 2443183 h 6851196"/>
                  <a:gd name="connsiteX1086" fmla="*/ 8734611 w 12187339"/>
                  <a:gd name="connsiteY1086" fmla="*/ 2205058 h 6851196"/>
                  <a:gd name="connsiteX1087" fmla="*/ 8957162 w 12187339"/>
                  <a:gd name="connsiteY1087" fmla="*/ 2205058 h 6851196"/>
                  <a:gd name="connsiteX1088" fmla="*/ 8728209 w 12187339"/>
                  <a:gd name="connsiteY1088" fmla="*/ 2443183 h 6851196"/>
                  <a:gd name="connsiteX1089" fmla="*/ 8504120 w 12187339"/>
                  <a:gd name="connsiteY1089" fmla="*/ 2443183 h 6851196"/>
                  <a:gd name="connsiteX1090" fmla="*/ 8504120 w 12187339"/>
                  <a:gd name="connsiteY1090" fmla="*/ 2205058 h 6851196"/>
                  <a:gd name="connsiteX1091" fmla="*/ 8728209 w 12187339"/>
                  <a:gd name="connsiteY1091" fmla="*/ 2205058 h 6851196"/>
                  <a:gd name="connsiteX1092" fmla="*/ 8497718 w 12187339"/>
                  <a:gd name="connsiteY1092" fmla="*/ 2443183 h 6851196"/>
                  <a:gd name="connsiteX1093" fmla="*/ 8273629 w 12187339"/>
                  <a:gd name="connsiteY1093" fmla="*/ 2443183 h 6851196"/>
                  <a:gd name="connsiteX1094" fmla="*/ 8273629 w 12187339"/>
                  <a:gd name="connsiteY1094" fmla="*/ 2205058 h 6851196"/>
                  <a:gd name="connsiteX1095" fmla="*/ 8497718 w 12187339"/>
                  <a:gd name="connsiteY1095" fmla="*/ 2205058 h 6851196"/>
                  <a:gd name="connsiteX1096" fmla="*/ 8267227 w 12187339"/>
                  <a:gd name="connsiteY1096" fmla="*/ 2443183 h 6851196"/>
                  <a:gd name="connsiteX1097" fmla="*/ 8044420 w 12187339"/>
                  <a:gd name="connsiteY1097" fmla="*/ 2443183 h 6851196"/>
                  <a:gd name="connsiteX1098" fmla="*/ 8044420 w 12187339"/>
                  <a:gd name="connsiteY1098" fmla="*/ 2205058 h 6851196"/>
                  <a:gd name="connsiteX1099" fmla="*/ 8267227 w 12187339"/>
                  <a:gd name="connsiteY1099" fmla="*/ 2205058 h 6851196"/>
                  <a:gd name="connsiteX1100" fmla="*/ 8038274 w 12187339"/>
                  <a:gd name="connsiteY1100" fmla="*/ 2443183 h 6851196"/>
                  <a:gd name="connsiteX1101" fmla="*/ 7814186 w 12187339"/>
                  <a:gd name="connsiteY1101" fmla="*/ 2443183 h 6851196"/>
                  <a:gd name="connsiteX1102" fmla="*/ 7814186 w 12187339"/>
                  <a:gd name="connsiteY1102" fmla="*/ 2205058 h 6851196"/>
                  <a:gd name="connsiteX1103" fmla="*/ 8038274 w 12187339"/>
                  <a:gd name="connsiteY1103" fmla="*/ 2205058 h 6851196"/>
                  <a:gd name="connsiteX1104" fmla="*/ 7807783 w 12187339"/>
                  <a:gd name="connsiteY1104" fmla="*/ 2443183 h 6851196"/>
                  <a:gd name="connsiteX1105" fmla="*/ 7583695 w 12187339"/>
                  <a:gd name="connsiteY1105" fmla="*/ 2443183 h 6851196"/>
                  <a:gd name="connsiteX1106" fmla="*/ 7583695 w 12187339"/>
                  <a:gd name="connsiteY1106" fmla="*/ 2205058 h 6851196"/>
                  <a:gd name="connsiteX1107" fmla="*/ 7807783 w 12187339"/>
                  <a:gd name="connsiteY1107" fmla="*/ 2205058 h 6851196"/>
                  <a:gd name="connsiteX1108" fmla="*/ 7577292 w 12187339"/>
                  <a:gd name="connsiteY1108" fmla="*/ 2443183 h 6851196"/>
                  <a:gd name="connsiteX1109" fmla="*/ 7353204 w 12187339"/>
                  <a:gd name="connsiteY1109" fmla="*/ 2443183 h 6851196"/>
                  <a:gd name="connsiteX1110" fmla="*/ 7353204 w 12187339"/>
                  <a:gd name="connsiteY1110" fmla="*/ 2205058 h 6851196"/>
                  <a:gd name="connsiteX1111" fmla="*/ 7577292 w 12187339"/>
                  <a:gd name="connsiteY1111" fmla="*/ 2205058 h 6851196"/>
                  <a:gd name="connsiteX1112" fmla="*/ 7346801 w 12187339"/>
                  <a:gd name="connsiteY1112" fmla="*/ 2443183 h 6851196"/>
                  <a:gd name="connsiteX1113" fmla="*/ 7124247 w 12187339"/>
                  <a:gd name="connsiteY1113" fmla="*/ 2443183 h 6851196"/>
                  <a:gd name="connsiteX1114" fmla="*/ 7124247 w 12187339"/>
                  <a:gd name="connsiteY1114" fmla="*/ 2205058 h 6851196"/>
                  <a:gd name="connsiteX1115" fmla="*/ 7346801 w 12187339"/>
                  <a:gd name="connsiteY1115" fmla="*/ 2205058 h 6851196"/>
                  <a:gd name="connsiteX1116" fmla="*/ 7117845 w 12187339"/>
                  <a:gd name="connsiteY1116" fmla="*/ 2443183 h 6851196"/>
                  <a:gd name="connsiteX1117" fmla="*/ 6893756 w 12187339"/>
                  <a:gd name="connsiteY1117" fmla="*/ 2443183 h 6851196"/>
                  <a:gd name="connsiteX1118" fmla="*/ 6893756 w 12187339"/>
                  <a:gd name="connsiteY1118" fmla="*/ 2205058 h 6851196"/>
                  <a:gd name="connsiteX1119" fmla="*/ 7117845 w 12187339"/>
                  <a:gd name="connsiteY1119" fmla="*/ 2205058 h 6851196"/>
                  <a:gd name="connsiteX1120" fmla="*/ 6887354 w 12187339"/>
                  <a:gd name="connsiteY1120" fmla="*/ 2443183 h 6851196"/>
                  <a:gd name="connsiteX1121" fmla="*/ 6663265 w 12187339"/>
                  <a:gd name="connsiteY1121" fmla="*/ 2443183 h 6851196"/>
                  <a:gd name="connsiteX1122" fmla="*/ 6663265 w 12187339"/>
                  <a:gd name="connsiteY1122" fmla="*/ 2205058 h 6851196"/>
                  <a:gd name="connsiteX1123" fmla="*/ 6887354 w 12187339"/>
                  <a:gd name="connsiteY1123" fmla="*/ 2205058 h 6851196"/>
                  <a:gd name="connsiteX1124" fmla="*/ 6656863 w 12187339"/>
                  <a:gd name="connsiteY1124" fmla="*/ 2443183 h 6851196"/>
                  <a:gd name="connsiteX1125" fmla="*/ 6446349 w 12187339"/>
                  <a:gd name="connsiteY1125" fmla="*/ 2443183 h 6851196"/>
                  <a:gd name="connsiteX1126" fmla="*/ 6446349 w 12187339"/>
                  <a:gd name="connsiteY1126" fmla="*/ 2205058 h 6851196"/>
                  <a:gd name="connsiteX1127" fmla="*/ 6656863 w 12187339"/>
                  <a:gd name="connsiteY1127" fmla="*/ 2205058 h 6851196"/>
                  <a:gd name="connsiteX1128" fmla="*/ 6439946 w 12187339"/>
                  <a:gd name="connsiteY1128" fmla="*/ 2443183 h 6851196"/>
                  <a:gd name="connsiteX1129" fmla="*/ 6217136 w 12187339"/>
                  <a:gd name="connsiteY1129" fmla="*/ 2443183 h 6851196"/>
                  <a:gd name="connsiteX1130" fmla="*/ 6217136 w 12187339"/>
                  <a:gd name="connsiteY1130" fmla="*/ 2205058 h 6851196"/>
                  <a:gd name="connsiteX1131" fmla="*/ 6439690 w 12187339"/>
                  <a:gd name="connsiteY1131" fmla="*/ 2205058 h 6851196"/>
                  <a:gd name="connsiteX1132" fmla="*/ 6210990 w 12187339"/>
                  <a:gd name="connsiteY1132" fmla="*/ 2443183 h 6851196"/>
                  <a:gd name="connsiteX1133" fmla="*/ 5986902 w 12187339"/>
                  <a:gd name="connsiteY1133" fmla="*/ 2443183 h 6851196"/>
                  <a:gd name="connsiteX1134" fmla="*/ 5986902 w 12187339"/>
                  <a:gd name="connsiteY1134" fmla="*/ 2205058 h 6851196"/>
                  <a:gd name="connsiteX1135" fmla="*/ 6210990 w 12187339"/>
                  <a:gd name="connsiteY1135" fmla="*/ 2205058 h 6851196"/>
                  <a:gd name="connsiteX1136" fmla="*/ 5980499 w 12187339"/>
                  <a:gd name="connsiteY1136" fmla="*/ 2443183 h 6851196"/>
                  <a:gd name="connsiteX1137" fmla="*/ 5756411 w 12187339"/>
                  <a:gd name="connsiteY1137" fmla="*/ 2443183 h 6851196"/>
                  <a:gd name="connsiteX1138" fmla="*/ 5756411 w 12187339"/>
                  <a:gd name="connsiteY1138" fmla="*/ 2205058 h 6851196"/>
                  <a:gd name="connsiteX1139" fmla="*/ 5980499 w 12187339"/>
                  <a:gd name="connsiteY1139" fmla="*/ 2205058 h 6851196"/>
                  <a:gd name="connsiteX1140" fmla="*/ 5750008 w 12187339"/>
                  <a:gd name="connsiteY1140" fmla="*/ 2443183 h 6851196"/>
                  <a:gd name="connsiteX1141" fmla="*/ 5526945 w 12187339"/>
                  <a:gd name="connsiteY1141" fmla="*/ 2443183 h 6851196"/>
                  <a:gd name="connsiteX1142" fmla="*/ 5526945 w 12187339"/>
                  <a:gd name="connsiteY1142" fmla="*/ 2205058 h 6851196"/>
                  <a:gd name="connsiteX1143" fmla="*/ 5749495 w 12187339"/>
                  <a:gd name="connsiteY1143" fmla="*/ 2205058 h 6851196"/>
                  <a:gd name="connsiteX1144" fmla="*/ 5521055 w 12187339"/>
                  <a:gd name="connsiteY1144" fmla="*/ 2443183 h 6851196"/>
                  <a:gd name="connsiteX1145" fmla="*/ 5296454 w 12187339"/>
                  <a:gd name="connsiteY1145" fmla="*/ 2443183 h 6851196"/>
                  <a:gd name="connsiteX1146" fmla="*/ 5296454 w 12187339"/>
                  <a:gd name="connsiteY1146" fmla="*/ 2205058 h 6851196"/>
                  <a:gd name="connsiteX1147" fmla="*/ 5520542 w 12187339"/>
                  <a:gd name="connsiteY1147" fmla="*/ 2205058 h 6851196"/>
                  <a:gd name="connsiteX1148" fmla="*/ 5290564 w 12187339"/>
                  <a:gd name="connsiteY1148" fmla="*/ 2443183 h 6851196"/>
                  <a:gd name="connsiteX1149" fmla="*/ 5065963 w 12187339"/>
                  <a:gd name="connsiteY1149" fmla="*/ 2443183 h 6851196"/>
                  <a:gd name="connsiteX1150" fmla="*/ 5065963 w 12187339"/>
                  <a:gd name="connsiteY1150" fmla="*/ 2205058 h 6851196"/>
                  <a:gd name="connsiteX1151" fmla="*/ 5290051 w 12187339"/>
                  <a:gd name="connsiteY1151" fmla="*/ 2205058 h 6851196"/>
                  <a:gd name="connsiteX1152" fmla="*/ 5060073 w 12187339"/>
                  <a:gd name="connsiteY1152" fmla="*/ 2443183 h 6851196"/>
                  <a:gd name="connsiteX1153" fmla="*/ 4835472 w 12187339"/>
                  <a:gd name="connsiteY1153" fmla="*/ 2443183 h 6851196"/>
                  <a:gd name="connsiteX1154" fmla="*/ 4835472 w 12187339"/>
                  <a:gd name="connsiteY1154" fmla="*/ 2205058 h 6851196"/>
                  <a:gd name="connsiteX1155" fmla="*/ 5059560 w 12187339"/>
                  <a:gd name="connsiteY1155" fmla="*/ 2205058 h 6851196"/>
                  <a:gd name="connsiteX1156" fmla="*/ 4829582 w 12187339"/>
                  <a:gd name="connsiteY1156" fmla="*/ 2443183 h 6851196"/>
                  <a:gd name="connsiteX1157" fmla="*/ 4607029 w 12187339"/>
                  <a:gd name="connsiteY1157" fmla="*/ 2443183 h 6851196"/>
                  <a:gd name="connsiteX1158" fmla="*/ 4607029 w 12187339"/>
                  <a:gd name="connsiteY1158" fmla="*/ 2205058 h 6851196"/>
                  <a:gd name="connsiteX1159" fmla="*/ 4829582 w 12187339"/>
                  <a:gd name="connsiteY1159" fmla="*/ 2205058 h 6851196"/>
                  <a:gd name="connsiteX1160" fmla="*/ 4600626 w 12187339"/>
                  <a:gd name="connsiteY1160" fmla="*/ 2443183 h 6851196"/>
                  <a:gd name="connsiteX1161" fmla="*/ 4376538 w 12187339"/>
                  <a:gd name="connsiteY1161" fmla="*/ 2443183 h 6851196"/>
                  <a:gd name="connsiteX1162" fmla="*/ 4376538 w 12187339"/>
                  <a:gd name="connsiteY1162" fmla="*/ 2205058 h 6851196"/>
                  <a:gd name="connsiteX1163" fmla="*/ 4600626 w 12187339"/>
                  <a:gd name="connsiteY1163" fmla="*/ 2205058 h 6851196"/>
                  <a:gd name="connsiteX1164" fmla="*/ 4370135 w 12187339"/>
                  <a:gd name="connsiteY1164" fmla="*/ 2443183 h 6851196"/>
                  <a:gd name="connsiteX1165" fmla="*/ 4146047 w 12187339"/>
                  <a:gd name="connsiteY1165" fmla="*/ 2443183 h 6851196"/>
                  <a:gd name="connsiteX1166" fmla="*/ 4146047 w 12187339"/>
                  <a:gd name="connsiteY1166" fmla="*/ 2205058 h 6851196"/>
                  <a:gd name="connsiteX1167" fmla="*/ 4370135 w 12187339"/>
                  <a:gd name="connsiteY1167" fmla="*/ 2205058 h 6851196"/>
                  <a:gd name="connsiteX1168" fmla="*/ 4139644 w 12187339"/>
                  <a:gd name="connsiteY1168" fmla="*/ 2443183 h 6851196"/>
                  <a:gd name="connsiteX1169" fmla="*/ 3917094 w 12187339"/>
                  <a:gd name="connsiteY1169" fmla="*/ 2443183 h 6851196"/>
                  <a:gd name="connsiteX1170" fmla="*/ 3917094 w 12187339"/>
                  <a:gd name="connsiteY1170" fmla="*/ 2205058 h 6851196"/>
                  <a:gd name="connsiteX1171" fmla="*/ 4139644 w 12187339"/>
                  <a:gd name="connsiteY1171" fmla="*/ 2205058 h 6851196"/>
                  <a:gd name="connsiteX1172" fmla="*/ 3910691 w 12187339"/>
                  <a:gd name="connsiteY1172" fmla="*/ 2443183 h 6851196"/>
                  <a:gd name="connsiteX1173" fmla="*/ 3686603 w 12187339"/>
                  <a:gd name="connsiteY1173" fmla="*/ 2443183 h 6851196"/>
                  <a:gd name="connsiteX1174" fmla="*/ 3686603 w 12187339"/>
                  <a:gd name="connsiteY1174" fmla="*/ 2205058 h 6851196"/>
                  <a:gd name="connsiteX1175" fmla="*/ 3910691 w 12187339"/>
                  <a:gd name="connsiteY1175" fmla="*/ 2205058 h 6851196"/>
                  <a:gd name="connsiteX1176" fmla="*/ 3680200 w 12187339"/>
                  <a:gd name="connsiteY1176" fmla="*/ 2443183 h 6851196"/>
                  <a:gd name="connsiteX1177" fmla="*/ 3456112 w 12187339"/>
                  <a:gd name="connsiteY1177" fmla="*/ 2443183 h 6851196"/>
                  <a:gd name="connsiteX1178" fmla="*/ 3456112 w 12187339"/>
                  <a:gd name="connsiteY1178" fmla="*/ 2205058 h 6851196"/>
                  <a:gd name="connsiteX1179" fmla="*/ 3680200 w 12187339"/>
                  <a:gd name="connsiteY1179" fmla="*/ 2205058 h 6851196"/>
                  <a:gd name="connsiteX1180" fmla="*/ 3449709 w 12187339"/>
                  <a:gd name="connsiteY1180" fmla="*/ 2443183 h 6851196"/>
                  <a:gd name="connsiteX1181" fmla="*/ 3225621 w 12187339"/>
                  <a:gd name="connsiteY1181" fmla="*/ 2443183 h 6851196"/>
                  <a:gd name="connsiteX1182" fmla="*/ 3225621 w 12187339"/>
                  <a:gd name="connsiteY1182" fmla="*/ 2205058 h 6851196"/>
                  <a:gd name="connsiteX1183" fmla="*/ 3449709 w 12187339"/>
                  <a:gd name="connsiteY1183" fmla="*/ 2205058 h 6851196"/>
                  <a:gd name="connsiteX1184" fmla="*/ 3219218 w 12187339"/>
                  <a:gd name="connsiteY1184" fmla="*/ 2443183 h 6851196"/>
                  <a:gd name="connsiteX1185" fmla="*/ 2996666 w 12187339"/>
                  <a:gd name="connsiteY1185" fmla="*/ 2443183 h 6851196"/>
                  <a:gd name="connsiteX1186" fmla="*/ 2996666 w 12187339"/>
                  <a:gd name="connsiteY1186" fmla="*/ 2205058 h 6851196"/>
                  <a:gd name="connsiteX1187" fmla="*/ 3219218 w 12187339"/>
                  <a:gd name="connsiteY1187" fmla="*/ 2205058 h 6851196"/>
                  <a:gd name="connsiteX1188" fmla="*/ 2990264 w 12187339"/>
                  <a:gd name="connsiteY1188" fmla="*/ 2443183 h 6851196"/>
                  <a:gd name="connsiteX1189" fmla="*/ 2766175 w 12187339"/>
                  <a:gd name="connsiteY1189" fmla="*/ 2443183 h 6851196"/>
                  <a:gd name="connsiteX1190" fmla="*/ 2766175 w 12187339"/>
                  <a:gd name="connsiteY1190" fmla="*/ 2205058 h 6851196"/>
                  <a:gd name="connsiteX1191" fmla="*/ 2990264 w 12187339"/>
                  <a:gd name="connsiteY1191" fmla="*/ 2205058 h 6851196"/>
                  <a:gd name="connsiteX1192" fmla="*/ 2759773 w 12187339"/>
                  <a:gd name="connsiteY1192" fmla="*/ 2443183 h 6851196"/>
                  <a:gd name="connsiteX1193" fmla="*/ 2535684 w 12187339"/>
                  <a:gd name="connsiteY1193" fmla="*/ 2443183 h 6851196"/>
                  <a:gd name="connsiteX1194" fmla="*/ 2535684 w 12187339"/>
                  <a:gd name="connsiteY1194" fmla="*/ 2205058 h 6851196"/>
                  <a:gd name="connsiteX1195" fmla="*/ 2759773 w 12187339"/>
                  <a:gd name="connsiteY1195" fmla="*/ 2205058 h 6851196"/>
                  <a:gd name="connsiteX1196" fmla="*/ 2529282 w 12187339"/>
                  <a:gd name="connsiteY1196" fmla="*/ 2443183 h 6851196"/>
                  <a:gd name="connsiteX1197" fmla="*/ 2305193 w 12187339"/>
                  <a:gd name="connsiteY1197" fmla="*/ 2443183 h 6851196"/>
                  <a:gd name="connsiteX1198" fmla="*/ 2305193 w 12187339"/>
                  <a:gd name="connsiteY1198" fmla="*/ 2205058 h 6851196"/>
                  <a:gd name="connsiteX1199" fmla="*/ 2529282 w 12187339"/>
                  <a:gd name="connsiteY1199" fmla="*/ 2205058 h 6851196"/>
                  <a:gd name="connsiteX1200" fmla="*/ 2298791 w 12187339"/>
                  <a:gd name="connsiteY1200" fmla="*/ 2443183 h 6851196"/>
                  <a:gd name="connsiteX1201" fmla="*/ 2075982 w 12187339"/>
                  <a:gd name="connsiteY1201" fmla="*/ 2443183 h 6851196"/>
                  <a:gd name="connsiteX1202" fmla="*/ 2075982 w 12187339"/>
                  <a:gd name="connsiteY1202" fmla="*/ 2205058 h 6851196"/>
                  <a:gd name="connsiteX1203" fmla="*/ 2298534 w 12187339"/>
                  <a:gd name="connsiteY1203" fmla="*/ 2205058 h 6851196"/>
                  <a:gd name="connsiteX1204" fmla="*/ 2298791 w 12187339"/>
                  <a:gd name="connsiteY1204" fmla="*/ 2449986 h 6851196"/>
                  <a:gd name="connsiteX1205" fmla="*/ 2298791 w 12187339"/>
                  <a:gd name="connsiteY1205" fmla="*/ 2686479 h 6851196"/>
                  <a:gd name="connsiteX1206" fmla="*/ 2075982 w 12187339"/>
                  <a:gd name="connsiteY1206" fmla="*/ 2686479 h 6851196"/>
                  <a:gd name="connsiteX1207" fmla="*/ 2075982 w 12187339"/>
                  <a:gd name="connsiteY1207" fmla="*/ 2449986 h 6851196"/>
                  <a:gd name="connsiteX1208" fmla="*/ 2298791 w 12187339"/>
                  <a:gd name="connsiteY1208" fmla="*/ 2693282 h 6851196"/>
                  <a:gd name="connsiteX1209" fmla="*/ 2298791 w 12187339"/>
                  <a:gd name="connsiteY1209" fmla="*/ 2931407 h 6851196"/>
                  <a:gd name="connsiteX1210" fmla="*/ 2075982 w 12187339"/>
                  <a:gd name="connsiteY1210" fmla="*/ 2931407 h 6851196"/>
                  <a:gd name="connsiteX1211" fmla="*/ 2075982 w 12187339"/>
                  <a:gd name="connsiteY1211" fmla="*/ 2693282 h 6851196"/>
                  <a:gd name="connsiteX1212" fmla="*/ 2298791 w 12187339"/>
                  <a:gd name="connsiteY1212" fmla="*/ 2938211 h 6851196"/>
                  <a:gd name="connsiteX1213" fmla="*/ 2298791 w 12187339"/>
                  <a:gd name="connsiteY1213" fmla="*/ 3176336 h 6851196"/>
                  <a:gd name="connsiteX1214" fmla="*/ 2075982 w 12187339"/>
                  <a:gd name="connsiteY1214" fmla="*/ 3176336 h 6851196"/>
                  <a:gd name="connsiteX1215" fmla="*/ 2075982 w 12187339"/>
                  <a:gd name="connsiteY1215" fmla="*/ 2938211 h 6851196"/>
                  <a:gd name="connsiteX1216" fmla="*/ 2298791 w 12187339"/>
                  <a:gd name="connsiteY1216" fmla="*/ 3183139 h 6851196"/>
                  <a:gd name="connsiteX1217" fmla="*/ 2298791 w 12187339"/>
                  <a:gd name="connsiteY1217" fmla="*/ 3421264 h 6851196"/>
                  <a:gd name="connsiteX1218" fmla="*/ 2075982 w 12187339"/>
                  <a:gd name="connsiteY1218" fmla="*/ 3421264 h 6851196"/>
                  <a:gd name="connsiteX1219" fmla="*/ 2075982 w 12187339"/>
                  <a:gd name="connsiteY1219" fmla="*/ 3183139 h 6851196"/>
                  <a:gd name="connsiteX1220" fmla="*/ 2298791 w 12187339"/>
                  <a:gd name="connsiteY1220" fmla="*/ 3428068 h 6851196"/>
                  <a:gd name="connsiteX1221" fmla="*/ 2298791 w 12187339"/>
                  <a:gd name="connsiteY1221" fmla="*/ 3664560 h 6851196"/>
                  <a:gd name="connsiteX1222" fmla="*/ 2075982 w 12187339"/>
                  <a:gd name="connsiteY1222" fmla="*/ 3664560 h 6851196"/>
                  <a:gd name="connsiteX1223" fmla="*/ 2075982 w 12187339"/>
                  <a:gd name="connsiteY1223" fmla="*/ 3428068 h 6851196"/>
                  <a:gd name="connsiteX1224" fmla="*/ 2298791 w 12187339"/>
                  <a:gd name="connsiteY1224" fmla="*/ 3671364 h 6851196"/>
                  <a:gd name="connsiteX1225" fmla="*/ 2298791 w 12187339"/>
                  <a:gd name="connsiteY1225" fmla="*/ 3909489 h 6851196"/>
                  <a:gd name="connsiteX1226" fmla="*/ 2075982 w 12187339"/>
                  <a:gd name="connsiteY1226" fmla="*/ 3909489 h 6851196"/>
                  <a:gd name="connsiteX1227" fmla="*/ 2075982 w 12187339"/>
                  <a:gd name="connsiteY1227" fmla="*/ 3671364 h 6851196"/>
                  <a:gd name="connsiteX1228" fmla="*/ 2298791 w 12187339"/>
                  <a:gd name="connsiteY1228" fmla="*/ 3916292 h 6851196"/>
                  <a:gd name="connsiteX1229" fmla="*/ 2298791 w 12187339"/>
                  <a:gd name="connsiteY1229" fmla="*/ 4154417 h 6851196"/>
                  <a:gd name="connsiteX1230" fmla="*/ 2075982 w 12187339"/>
                  <a:gd name="connsiteY1230" fmla="*/ 4154417 h 6851196"/>
                  <a:gd name="connsiteX1231" fmla="*/ 2075982 w 12187339"/>
                  <a:gd name="connsiteY1231" fmla="*/ 3916292 h 6851196"/>
                  <a:gd name="connsiteX1232" fmla="*/ 2298791 w 12187339"/>
                  <a:gd name="connsiteY1232" fmla="*/ 4161221 h 6851196"/>
                  <a:gd name="connsiteX1233" fmla="*/ 2298791 w 12187339"/>
                  <a:gd name="connsiteY1233" fmla="*/ 4399346 h 6851196"/>
                  <a:gd name="connsiteX1234" fmla="*/ 2075982 w 12187339"/>
                  <a:gd name="connsiteY1234" fmla="*/ 4399346 h 6851196"/>
                  <a:gd name="connsiteX1235" fmla="*/ 2075982 w 12187339"/>
                  <a:gd name="connsiteY1235" fmla="*/ 4161221 h 6851196"/>
                  <a:gd name="connsiteX1236" fmla="*/ 2298791 w 12187339"/>
                  <a:gd name="connsiteY1236" fmla="*/ 4406149 h 6851196"/>
                  <a:gd name="connsiteX1237" fmla="*/ 2298791 w 12187339"/>
                  <a:gd name="connsiteY1237" fmla="*/ 4642233 h 6851196"/>
                  <a:gd name="connsiteX1238" fmla="*/ 2075982 w 12187339"/>
                  <a:gd name="connsiteY1238" fmla="*/ 4642233 h 6851196"/>
                  <a:gd name="connsiteX1239" fmla="*/ 2075982 w 12187339"/>
                  <a:gd name="connsiteY1239" fmla="*/ 4405741 h 6851196"/>
                  <a:gd name="connsiteX1240" fmla="*/ 2305193 w 12187339"/>
                  <a:gd name="connsiteY1240" fmla="*/ 4406149 h 6851196"/>
                  <a:gd name="connsiteX1241" fmla="*/ 2529282 w 12187339"/>
                  <a:gd name="connsiteY1241" fmla="*/ 4406149 h 6851196"/>
                  <a:gd name="connsiteX1242" fmla="*/ 2529282 w 12187339"/>
                  <a:gd name="connsiteY1242" fmla="*/ 4642233 h 6851196"/>
                  <a:gd name="connsiteX1243" fmla="*/ 2305193 w 12187339"/>
                  <a:gd name="connsiteY1243" fmla="*/ 4642233 h 6851196"/>
                  <a:gd name="connsiteX1244" fmla="*/ 2535684 w 12187339"/>
                  <a:gd name="connsiteY1244" fmla="*/ 4406149 h 6851196"/>
                  <a:gd name="connsiteX1245" fmla="*/ 2759773 w 12187339"/>
                  <a:gd name="connsiteY1245" fmla="*/ 4406149 h 6851196"/>
                  <a:gd name="connsiteX1246" fmla="*/ 2759773 w 12187339"/>
                  <a:gd name="connsiteY1246" fmla="*/ 4642233 h 6851196"/>
                  <a:gd name="connsiteX1247" fmla="*/ 2535684 w 12187339"/>
                  <a:gd name="connsiteY1247" fmla="*/ 4642233 h 6851196"/>
                  <a:gd name="connsiteX1248" fmla="*/ 2766175 w 12187339"/>
                  <a:gd name="connsiteY1248" fmla="*/ 4406149 h 6851196"/>
                  <a:gd name="connsiteX1249" fmla="*/ 2990264 w 12187339"/>
                  <a:gd name="connsiteY1249" fmla="*/ 4406149 h 6851196"/>
                  <a:gd name="connsiteX1250" fmla="*/ 2990264 w 12187339"/>
                  <a:gd name="connsiteY1250" fmla="*/ 4642233 h 6851196"/>
                  <a:gd name="connsiteX1251" fmla="*/ 2766175 w 12187339"/>
                  <a:gd name="connsiteY1251" fmla="*/ 4642233 h 6851196"/>
                  <a:gd name="connsiteX1252" fmla="*/ 2996666 w 12187339"/>
                  <a:gd name="connsiteY1252" fmla="*/ 4406149 h 6851196"/>
                  <a:gd name="connsiteX1253" fmla="*/ 3219218 w 12187339"/>
                  <a:gd name="connsiteY1253" fmla="*/ 4406149 h 6851196"/>
                  <a:gd name="connsiteX1254" fmla="*/ 3219218 w 12187339"/>
                  <a:gd name="connsiteY1254" fmla="*/ 4642233 h 6851196"/>
                  <a:gd name="connsiteX1255" fmla="*/ 2996666 w 12187339"/>
                  <a:gd name="connsiteY1255" fmla="*/ 4642233 h 6851196"/>
                  <a:gd name="connsiteX1256" fmla="*/ 3225621 w 12187339"/>
                  <a:gd name="connsiteY1256" fmla="*/ 4406149 h 6851196"/>
                  <a:gd name="connsiteX1257" fmla="*/ 3449709 w 12187339"/>
                  <a:gd name="connsiteY1257" fmla="*/ 4406149 h 6851196"/>
                  <a:gd name="connsiteX1258" fmla="*/ 3449709 w 12187339"/>
                  <a:gd name="connsiteY1258" fmla="*/ 4642233 h 6851196"/>
                  <a:gd name="connsiteX1259" fmla="*/ 3225621 w 12187339"/>
                  <a:gd name="connsiteY1259" fmla="*/ 4642233 h 6851196"/>
                  <a:gd name="connsiteX1260" fmla="*/ 3456112 w 12187339"/>
                  <a:gd name="connsiteY1260" fmla="*/ 4406149 h 6851196"/>
                  <a:gd name="connsiteX1261" fmla="*/ 3680200 w 12187339"/>
                  <a:gd name="connsiteY1261" fmla="*/ 4406149 h 6851196"/>
                  <a:gd name="connsiteX1262" fmla="*/ 3680200 w 12187339"/>
                  <a:gd name="connsiteY1262" fmla="*/ 4642233 h 6851196"/>
                  <a:gd name="connsiteX1263" fmla="*/ 3456112 w 12187339"/>
                  <a:gd name="connsiteY1263" fmla="*/ 4642233 h 6851196"/>
                  <a:gd name="connsiteX1264" fmla="*/ 3686603 w 12187339"/>
                  <a:gd name="connsiteY1264" fmla="*/ 4406149 h 6851196"/>
                  <a:gd name="connsiteX1265" fmla="*/ 3910691 w 12187339"/>
                  <a:gd name="connsiteY1265" fmla="*/ 4406149 h 6851196"/>
                  <a:gd name="connsiteX1266" fmla="*/ 3910691 w 12187339"/>
                  <a:gd name="connsiteY1266" fmla="*/ 4642233 h 6851196"/>
                  <a:gd name="connsiteX1267" fmla="*/ 3686603 w 12187339"/>
                  <a:gd name="connsiteY1267" fmla="*/ 4642233 h 6851196"/>
                  <a:gd name="connsiteX1268" fmla="*/ 3917094 w 12187339"/>
                  <a:gd name="connsiteY1268" fmla="*/ 4406149 h 6851196"/>
                  <a:gd name="connsiteX1269" fmla="*/ 4139644 w 12187339"/>
                  <a:gd name="connsiteY1269" fmla="*/ 4406149 h 6851196"/>
                  <a:gd name="connsiteX1270" fmla="*/ 4139644 w 12187339"/>
                  <a:gd name="connsiteY1270" fmla="*/ 4642233 h 6851196"/>
                  <a:gd name="connsiteX1271" fmla="*/ 3917094 w 12187339"/>
                  <a:gd name="connsiteY1271" fmla="*/ 4642233 h 6851196"/>
                  <a:gd name="connsiteX1272" fmla="*/ 4146047 w 12187339"/>
                  <a:gd name="connsiteY1272" fmla="*/ 4406149 h 6851196"/>
                  <a:gd name="connsiteX1273" fmla="*/ 4370135 w 12187339"/>
                  <a:gd name="connsiteY1273" fmla="*/ 4406149 h 6851196"/>
                  <a:gd name="connsiteX1274" fmla="*/ 4370135 w 12187339"/>
                  <a:gd name="connsiteY1274" fmla="*/ 4642233 h 6851196"/>
                  <a:gd name="connsiteX1275" fmla="*/ 4146047 w 12187339"/>
                  <a:gd name="connsiteY1275" fmla="*/ 4642233 h 6851196"/>
                  <a:gd name="connsiteX1276" fmla="*/ 4376538 w 12187339"/>
                  <a:gd name="connsiteY1276" fmla="*/ 4406149 h 6851196"/>
                  <a:gd name="connsiteX1277" fmla="*/ 4600626 w 12187339"/>
                  <a:gd name="connsiteY1277" fmla="*/ 4406149 h 6851196"/>
                  <a:gd name="connsiteX1278" fmla="*/ 4600626 w 12187339"/>
                  <a:gd name="connsiteY1278" fmla="*/ 4642233 h 6851196"/>
                  <a:gd name="connsiteX1279" fmla="*/ 4376538 w 12187339"/>
                  <a:gd name="connsiteY1279" fmla="*/ 4642233 h 6851196"/>
                  <a:gd name="connsiteX1280" fmla="*/ 4607029 w 12187339"/>
                  <a:gd name="connsiteY1280" fmla="*/ 4406149 h 6851196"/>
                  <a:gd name="connsiteX1281" fmla="*/ 4829582 w 12187339"/>
                  <a:gd name="connsiteY1281" fmla="*/ 4406149 h 6851196"/>
                  <a:gd name="connsiteX1282" fmla="*/ 4829582 w 12187339"/>
                  <a:gd name="connsiteY1282" fmla="*/ 4642233 h 6851196"/>
                  <a:gd name="connsiteX1283" fmla="*/ 4607029 w 12187339"/>
                  <a:gd name="connsiteY1283" fmla="*/ 4642233 h 6851196"/>
                  <a:gd name="connsiteX1284" fmla="*/ 4835985 w 12187339"/>
                  <a:gd name="connsiteY1284" fmla="*/ 4406149 h 6851196"/>
                  <a:gd name="connsiteX1285" fmla="*/ 5060073 w 12187339"/>
                  <a:gd name="connsiteY1285" fmla="*/ 4406149 h 6851196"/>
                  <a:gd name="connsiteX1286" fmla="*/ 5060073 w 12187339"/>
                  <a:gd name="connsiteY1286" fmla="*/ 4642233 h 6851196"/>
                  <a:gd name="connsiteX1287" fmla="*/ 4835472 w 12187339"/>
                  <a:gd name="connsiteY1287" fmla="*/ 4642233 h 6851196"/>
                  <a:gd name="connsiteX1288" fmla="*/ 5066476 w 12187339"/>
                  <a:gd name="connsiteY1288" fmla="*/ 4406149 h 6851196"/>
                  <a:gd name="connsiteX1289" fmla="*/ 5290564 w 12187339"/>
                  <a:gd name="connsiteY1289" fmla="*/ 4406149 h 6851196"/>
                  <a:gd name="connsiteX1290" fmla="*/ 5290564 w 12187339"/>
                  <a:gd name="connsiteY1290" fmla="*/ 4642233 h 6851196"/>
                  <a:gd name="connsiteX1291" fmla="*/ 5065963 w 12187339"/>
                  <a:gd name="connsiteY1291" fmla="*/ 4642233 h 6851196"/>
                  <a:gd name="connsiteX1292" fmla="*/ 5296967 w 12187339"/>
                  <a:gd name="connsiteY1292" fmla="*/ 4406149 h 6851196"/>
                  <a:gd name="connsiteX1293" fmla="*/ 5521055 w 12187339"/>
                  <a:gd name="connsiteY1293" fmla="*/ 4406149 h 6851196"/>
                  <a:gd name="connsiteX1294" fmla="*/ 5521055 w 12187339"/>
                  <a:gd name="connsiteY1294" fmla="*/ 4642233 h 6851196"/>
                  <a:gd name="connsiteX1295" fmla="*/ 5296454 w 12187339"/>
                  <a:gd name="connsiteY1295" fmla="*/ 4642233 h 6851196"/>
                  <a:gd name="connsiteX1296" fmla="*/ 5527458 w 12187339"/>
                  <a:gd name="connsiteY1296" fmla="*/ 4406149 h 6851196"/>
                  <a:gd name="connsiteX1297" fmla="*/ 5750008 w 12187339"/>
                  <a:gd name="connsiteY1297" fmla="*/ 4406149 h 6851196"/>
                  <a:gd name="connsiteX1298" fmla="*/ 5750008 w 12187339"/>
                  <a:gd name="connsiteY1298" fmla="*/ 4642233 h 6851196"/>
                  <a:gd name="connsiteX1299" fmla="*/ 5526945 w 12187339"/>
                  <a:gd name="connsiteY1299" fmla="*/ 4642233 h 6851196"/>
                  <a:gd name="connsiteX1300" fmla="*/ 5756411 w 12187339"/>
                  <a:gd name="connsiteY1300" fmla="*/ 4406149 h 6851196"/>
                  <a:gd name="connsiteX1301" fmla="*/ 5980499 w 12187339"/>
                  <a:gd name="connsiteY1301" fmla="*/ 4406149 h 6851196"/>
                  <a:gd name="connsiteX1302" fmla="*/ 5980499 w 12187339"/>
                  <a:gd name="connsiteY1302" fmla="*/ 4642233 h 6851196"/>
                  <a:gd name="connsiteX1303" fmla="*/ 5756411 w 12187339"/>
                  <a:gd name="connsiteY1303" fmla="*/ 4642233 h 6851196"/>
                  <a:gd name="connsiteX1304" fmla="*/ 5986902 w 12187339"/>
                  <a:gd name="connsiteY1304" fmla="*/ 4406149 h 6851196"/>
                  <a:gd name="connsiteX1305" fmla="*/ 6210990 w 12187339"/>
                  <a:gd name="connsiteY1305" fmla="*/ 4406149 h 6851196"/>
                  <a:gd name="connsiteX1306" fmla="*/ 6210990 w 12187339"/>
                  <a:gd name="connsiteY1306" fmla="*/ 4642233 h 6851196"/>
                  <a:gd name="connsiteX1307" fmla="*/ 5986902 w 12187339"/>
                  <a:gd name="connsiteY1307" fmla="*/ 4642233 h 6851196"/>
                  <a:gd name="connsiteX1308" fmla="*/ 6217393 w 12187339"/>
                  <a:gd name="connsiteY1308" fmla="*/ 4406149 h 6851196"/>
                  <a:gd name="connsiteX1309" fmla="*/ 6439946 w 12187339"/>
                  <a:gd name="connsiteY1309" fmla="*/ 4406149 h 6851196"/>
                  <a:gd name="connsiteX1310" fmla="*/ 6439946 w 12187339"/>
                  <a:gd name="connsiteY1310" fmla="*/ 4642233 h 6851196"/>
                  <a:gd name="connsiteX1311" fmla="*/ 6217136 w 12187339"/>
                  <a:gd name="connsiteY1311" fmla="*/ 4642233 h 6851196"/>
                  <a:gd name="connsiteX1312" fmla="*/ 6446349 w 12187339"/>
                  <a:gd name="connsiteY1312" fmla="*/ 4406149 h 6851196"/>
                  <a:gd name="connsiteX1313" fmla="*/ 6656863 w 12187339"/>
                  <a:gd name="connsiteY1313" fmla="*/ 4406149 h 6851196"/>
                  <a:gd name="connsiteX1314" fmla="*/ 6656863 w 12187339"/>
                  <a:gd name="connsiteY1314" fmla="*/ 4642233 h 6851196"/>
                  <a:gd name="connsiteX1315" fmla="*/ 6446349 w 12187339"/>
                  <a:gd name="connsiteY1315" fmla="*/ 4642233 h 6851196"/>
                  <a:gd name="connsiteX1316" fmla="*/ 6663265 w 12187339"/>
                  <a:gd name="connsiteY1316" fmla="*/ 4406149 h 6851196"/>
                  <a:gd name="connsiteX1317" fmla="*/ 6887354 w 12187339"/>
                  <a:gd name="connsiteY1317" fmla="*/ 4406149 h 6851196"/>
                  <a:gd name="connsiteX1318" fmla="*/ 6887354 w 12187339"/>
                  <a:gd name="connsiteY1318" fmla="*/ 4642233 h 6851196"/>
                  <a:gd name="connsiteX1319" fmla="*/ 6663265 w 12187339"/>
                  <a:gd name="connsiteY1319" fmla="*/ 4642233 h 6851196"/>
                  <a:gd name="connsiteX1320" fmla="*/ 6893756 w 12187339"/>
                  <a:gd name="connsiteY1320" fmla="*/ 4406149 h 6851196"/>
                  <a:gd name="connsiteX1321" fmla="*/ 7117845 w 12187339"/>
                  <a:gd name="connsiteY1321" fmla="*/ 4406149 h 6851196"/>
                  <a:gd name="connsiteX1322" fmla="*/ 7117845 w 12187339"/>
                  <a:gd name="connsiteY1322" fmla="*/ 4642233 h 6851196"/>
                  <a:gd name="connsiteX1323" fmla="*/ 6893756 w 12187339"/>
                  <a:gd name="connsiteY1323" fmla="*/ 4642233 h 6851196"/>
                  <a:gd name="connsiteX1324" fmla="*/ 7124247 w 12187339"/>
                  <a:gd name="connsiteY1324" fmla="*/ 4406149 h 6851196"/>
                  <a:gd name="connsiteX1325" fmla="*/ 7346801 w 12187339"/>
                  <a:gd name="connsiteY1325" fmla="*/ 4406149 h 6851196"/>
                  <a:gd name="connsiteX1326" fmla="*/ 7346801 w 12187339"/>
                  <a:gd name="connsiteY1326" fmla="*/ 4642233 h 6851196"/>
                  <a:gd name="connsiteX1327" fmla="*/ 7124247 w 12187339"/>
                  <a:gd name="connsiteY1327" fmla="*/ 4642233 h 6851196"/>
                  <a:gd name="connsiteX1328" fmla="*/ 7353204 w 12187339"/>
                  <a:gd name="connsiteY1328" fmla="*/ 4406149 h 6851196"/>
                  <a:gd name="connsiteX1329" fmla="*/ 7577292 w 12187339"/>
                  <a:gd name="connsiteY1329" fmla="*/ 4406149 h 6851196"/>
                  <a:gd name="connsiteX1330" fmla="*/ 7577292 w 12187339"/>
                  <a:gd name="connsiteY1330" fmla="*/ 4642233 h 6851196"/>
                  <a:gd name="connsiteX1331" fmla="*/ 7353204 w 12187339"/>
                  <a:gd name="connsiteY1331" fmla="*/ 4642233 h 6851196"/>
                  <a:gd name="connsiteX1332" fmla="*/ 7583695 w 12187339"/>
                  <a:gd name="connsiteY1332" fmla="*/ 4406149 h 6851196"/>
                  <a:gd name="connsiteX1333" fmla="*/ 7807783 w 12187339"/>
                  <a:gd name="connsiteY1333" fmla="*/ 4406149 h 6851196"/>
                  <a:gd name="connsiteX1334" fmla="*/ 7807783 w 12187339"/>
                  <a:gd name="connsiteY1334" fmla="*/ 4642233 h 6851196"/>
                  <a:gd name="connsiteX1335" fmla="*/ 7583695 w 12187339"/>
                  <a:gd name="connsiteY1335" fmla="*/ 4642233 h 6851196"/>
                  <a:gd name="connsiteX1336" fmla="*/ 7814186 w 12187339"/>
                  <a:gd name="connsiteY1336" fmla="*/ 4406149 h 6851196"/>
                  <a:gd name="connsiteX1337" fmla="*/ 8038274 w 12187339"/>
                  <a:gd name="connsiteY1337" fmla="*/ 4406149 h 6851196"/>
                  <a:gd name="connsiteX1338" fmla="*/ 8038274 w 12187339"/>
                  <a:gd name="connsiteY1338" fmla="*/ 4642233 h 6851196"/>
                  <a:gd name="connsiteX1339" fmla="*/ 7814186 w 12187339"/>
                  <a:gd name="connsiteY1339" fmla="*/ 4642233 h 6851196"/>
                  <a:gd name="connsiteX1340" fmla="*/ 8044677 w 12187339"/>
                  <a:gd name="connsiteY1340" fmla="*/ 4406149 h 6851196"/>
                  <a:gd name="connsiteX1341" fmla="*/ 8267227 w 12187339"/>
                  <a:gd name="connsiteY1341" fmla="*/ 4406149 h 6851196"/>
                  <a:gd name="connsiteX1342" fmla="*/ 8267227 w 12187339"/>
                  <a:gd name="connsiteY1342" fmla="*/ 4642233 h 6851196"/>
                  <a:gd name="connsiteX1343" fmla="*/ 8044420 w 12187339"/>
                  <a:gd name="connsiteY1343" fmla="*/ 4642233 h 6851196"/>
                  <a:gd name="connsiteX1344" fmla="*/ 8273629 w 12187339"/>
                  <a:gd name="connsiteY1344" fmla="*/ 4406149 h 6851196"/>
                  <a:gd name="connsiteX1345" fmla="*/ 8497718 w 12187339"/>
                  <a:gd name="connsiteY1345" fmla="*/ 4406149 h 6851196"/>
                  <a:gd name="connsiteX1346" fmla="*/ 8497718 w 12187339"/>
                  <a:gd name="connsiteY1346" fmla="*/ 4642233 h 6851196"/>
                  <a:gd name="connsiteX1347" fmla="*/ 8273629 w 12187339"/>
                  <a:gd name="connsiteY1347" fmla="*/ 4642233 h 6851196"/>
                  <a:gd name="connsiteX1348" fmla="*/ 8504120 w 12187339"/>
                  <a:gd name="connsiteY1348" fmla="*/ 4406149 h 6851196"/>
                  <a:gd name="connsiteX1349" fmla="*/ 8728209 w 12187339"/>
                  <a:gd name="connsiteY1349" fmla="*/ 4406149 h 6851196"/>
                  <a:gd name="connsiteX1350" fmla="*/ 8728209 w 12187339"/>
                  <a:gd name="connsiteY1350" fmla="*/ 4642233 h 6851196"/>
                  <a:gd name="connsiteX1351" fmla="*/ 8504120 w 12187339"/>
                  <a:gd name="connsiteY1351" fmla="*/ 4642233 h 6851196"/>
                  <a:gd name="connsiteX1352" fmla="*/ 8734611 w 12187339"/>
                  <a:gd name="connsiteY1352" fmla="*/ 4406149 h 6851196"/>
                  <a:gd name="connsiteX1353" fmla="*/ 8957162 w 12187339"/>
                  <a:gd name="connsiteY1353" fmla="*/ 4406149 h 6851196"/>
                  <a:gd name="connsiteX1354" fmla="*/ 8957162 w 12187339"/>
                  <a:gd name="connsiteY1354" fmla="*/ 4642233 h 6851196"/>
                  <a:gd name="connsiteX1355" fmla="*/ 8734611 w 12187339"/>
                  <a:gd name="connsiteY1355" fmla="*/ 4642233 h 6851196"/>
                  <a:gd name="connsiteX1356" fmla="*/ 8963564 w 12187339"/>
                  <a:gd name="connsiteY1356" fmla="*/ 4406149 h 6851196"/>
                  <a:gd name="connsiteX1357" fmla="*/ 9187653 w 12187339"/>
                  <a:gd name="connsiteY1357" fmla="*/ 4406149 h 6851196"/>
                  <a:gd name="connsiteX1358" fmla="*/ 9187653 w 12187339"/>
                  <a:gd name="connsiteY1358" fmla="*/ 4642233 h 6851196"/>
                  <a:gd name="connsiteX1359" fmla="*/ 8963564 w 12187339"/>
                  <a:gd name="connsiteY1359" fmla="*/ 4642233 h 6851196"/>
                  <a:gd name="connsiteX1360" fmla="*/ 9194055 w 12187339"/>
                  <a:gd name="connsiteY1360" fmla="*/ 4406149 h 6851196"/>
                  <a:gd name="connsiteX1361" fmla="*/ 9418144 w 12187339"/>
                  <a:gd name="connsiteY1361" fmla="*/ 4406149 h 6851196"/>
                  <a:gd name="connsiteX1362" fmla="*/ 9418144 w 12187339"/>
                  <a:gd name="connsiteY1362" fmla="*/ 4642233 h 6851196"/>
                  <a:gd name="connsiteX1363" fmla="*/ 9194055 w 12187339"/>
                  <a:gd name="connsiteY1363" fmla="*/ 4642233 h 6851196"/>
                  <a:gd name="connsiteX1364" fmla="*/ 9424546 w 12187339"/>
                  <a:gd name="connsiteY1364" fmla="*/ 4406149 h 6851196"/>
                  <a:gd name="connsiteX1365" fmla="*/ 9648635 w 12187339"/>
                  <a:gd name="connsiteY1365" fmla="*/ 4406149 h 6851196"/>
                  <a:gd name="connsiteX1366" fmla="*/ 9648635 w 12187339"/>
                  <a:gd name="connsiteY1366" fmla="*/ 4642233 h 6851196"/>
                  <a:gd name="connsiteX1367" fmla="*/ 9424546 w 12187339"/>
                  <a:gd name="connsiteY1367" fmla="*/ 4642233 h 6851196"/>
                  <a:gd name="connsiteX1368" fmla="*/ 9655037 w 12187339"/>
                  <a:gd name="connsiteY1368" fmla="*/ 4406149 h 6851196"/>
                  <a:gd name="connsiteX1369" fmla="*/ 9877591 w 12187339"/>
                  <a:gd name="connsiteY1369" fmla="*/ 4406149 h 6851196"/>
                  <a:gd name="connsiteX1370" fmla="*/ 9877591 w 12187339"/>
                  <a:gd name="connsiteY1370" fmla="*/ 4642233 h 6851196"/>
                  <a:gd name="connsiteX1371" fmla="*/ 9655037 w 12187339"/>
                  <a:gd name="connsiteY1371" fmla="*/ 4642233 h 6851196"/>
                  <a:gd name="connsiteX1372" fmla="*/ 9883993 w 12187339"/>
                  <a:gd name="connsiteY1372" fmla="*/ 4406149 h 6851196"/>
                  <a:gd name="connsiteX1373" fmla="*/ 10108082 w 12187339"/>
                  <a:gd name="connsiteY1373" fmla="*/ 4406149 h 6851196"/>
                  <a:gd name="connsiteX1374" fmla="*/ 10108082 w 12187339"/>
                  <a:gd name="connsiteY1374" fmla="*/ 4642233 h 6851196"/>
                  <a:gd name="connsiteX1375" fmla="*/ 9883993 w 12187339"/>
                  <a:gd name="connsiteY1375" fmla="*/ 4642233 h 6851196"/>
                  <a:gd name="connsiteX1376" fmla="*/ 9883993 w 12187339"/>
                  <a:gd name="connsiteY1376" fmla="*/ 4399346 h 6851196"/>
                  <a:gd name="connsiteX1377" fmla="*/ 9883993 w 12187339"/>
                  <a:gd name="connsiteY1377" fmla="*/ 4161221 h 6851196"/>
                  <a:gd name="connsiteX1378" fmla="*/ 10108082 w 12187339"/>
                  <a:gd name="connsiteY1378" fmla="*/ 4161221 h 6851196"/>
                  <a:gd name="connsiteX1379" fmla="*/ 10108082 w 12187339"/>
                  <a:gd name="connsiteY1379" fmla="*/ 4399346 h 6851196"/>
                  <a:gd name="connsiteX1380" fmla="*/ 9883993 w 12187339"/>
                  <a:gd name="connsiteY1380" fmla="*/ 4154417 h 6851196"/>
                  <a:gd name="connsiteX1381" fmla="*/ 9883993 w 12187339"/>
                  <a:gd name="connsiteY1381" fmla="*/ 3916292 h 6851196"/>
                  <a:gd name="connsiteX1382" fmla="*/ 10108082 w 12187339"/>
                  <a:gd name="connsiteY1382" fmla="*/ 3916292 h 6851196"/>
                  <a:gd name="connsiteX1383" fmla="*/ 10108082 w 12187339"/>
                  <a:gd name="connsiteY1383" fmla="*/ 4154417 h 6851196"/>
                  <a:gd name="connsiteX1384" fmla="*/ 9883993 w 12187339"/>
                  <a:gd name="connsiteY1384" fmla="*/ 3909489 h 6851196"/>
                  <a:gd name="connsiteX1385" fmla="*/ 9883993 w 12187339"/>
                  <a:gd name="connsiteY1385" fmla="*/ 3671364 h 6851196"/>
                  <a:gd name="connsiteX1386" fmla="*/ 10108082 w 12187339"/>
                  <a:gd name="connsiteY1386" fmla="*/ 3671364 h 6851196"/>
                  <a:gd name="connsiteX1387" fmla="*/ 10108082 w 12187339"/>
                  <a:gd name="connsiteY1387" fmla="*/ 3909489 h 6851196"/>
                  <a:gd name="connsiteX1388" fmla="*/ 9883993 w 12187339"/>
                  <a:gd name="connsiteY1388" fmla="*/ 3664560 h 6851196"/>
                  <a:gd name="connsiteX1389" fmla="*/ 9883993 w 12187339"/>
                  <a:gd name="connsiteY1389" fmla="*/ 3428068 h 6851196"/>
                  <a:gd name="connsiteX1390" fmla="*/ 10108082 w 12187339"/>
                  <a:gd name="connsiteY1390" fmla="*/ 3428068 h 6851196"/>
                  <a:gd name="connsiteX1391" fmla="*/ 10108082 w 12187339"/>
                  <a:gd name="connsiteY1391" fmla="*/ 3664560 h 6851196"/>
                  <a:gd name="connsiteX1392" fmla="*/ 9883993 w 12187339"/>
                  <a:gd name="connsiteY1392" fmla="*/ 3421264 h 6851196"/>
                  <a:gd name="connsiteX1393" fmla="*/ 9883993 w 12187339"/>
                  <a:gd name="connsiteY1393" fmla="*/ 3183139 h 6851196"/>
                  <a:gd name="connsiteX1394" fmla="*/ 10108082 w 12187339"/>
                  <a:gd name="connsiteY1394" fmla="*/ 3183139 h 6851196"/>
                  <a:gd name="connsiteX1395" fmla="*/ 10108082 w 12187339"/>
                  <a:gd name="connsiteY1395" fmla="*/ 3421264 h 6851196"/>
                  <a:gd name="connsiteX1396" fmla="*/ 9883993 w 12187339"/>
                  <a:gd name="connsiteY1396" fmla="*/ 3176336 h 6851196"/>
                  <a:gd name="connsiteX1397" fmla="*/ 9883993 w 12187339"/>
                  <a:gd name="connsiteY1397" fmla="*/ 2938211 h 6851196"/>
                  <a:gd name="connsiteX1398" fmla="*/ 10108082 w 12187339"/>
                  <a:gd name="connsiteY1398" fmla="*/ 2938211 h 6851196"/>
                  <a:gd name="connsiteX1399" fmla="*/ 10108082 w 12187339"/>
                  <a:gd name="connsiteY1399" fmla="*/ 3176336 h 6851196"/>
                  <a:gd name="connsiteX1400" fmla="*/ 9883993 w 12187339"/>
                  <a:gd name="connsiteY1400" fmla="*/ 2931407 h 6851196"/>
                  <a:gd name="connsiteX1401" fmla="*/ 9883993 w 12187339"/>
                  <a:gd name="connsiteY1401" fmla="*/ 2693282 h 6851196"/>
                  <a:gd name="connsiteX1402" fmla="*/ 10108082 w 12187339"/>
                  <a:gd name="connsiteY1402" fmla="*/ 2693282 h 6851196"/>
                  <a:gd name="connsiteX1403" fmla="*/ 10108082 w 12187339"/>
                  <a:gd name="connsiteY1403" fmla="*/ 2931407 h 6851196"/>
                  <a:gd name="connsiteX1404" fmla="*/ 9883993 w 12187339"/>
                  <a:gd name="connsiteY1404" fmla="*/ 2686479 h 6851196"/>
                  <a:gd name="connsiteX1405" fmla="*/ 9883993 w 12187339"/>
                  <a:gd name="connsiteY1405" fmla="*/ 2449986 h 6851196"/>
                  <a:gd name="connsiteX1406" fmla="*/ 10108082 w 12187339"/>
                  <a:gd name="connsiteY1406" fmla="*/ 2449986 h 6851196"/>
                  <a:gd name="connsiteX1407" fmla="*/ 10108082 w 12187339"/>
                  <a:gd name="connsiteY1407" fmla="*/ 2686479 h 6851196"/>
                  <a:gd name="connsiteX1408" fmla="*/ 9883993 w 12187339"/>
                  <a:gd name="connsiteY1408" fmla="*/ 2443183 h 6851196"/>
                  <a:gd name="connsiteX1409" fmla="*/ 9883993 w 12187339"/>
                  <a:gd name="connsiteY1409" fmla="*/ 2205058 h 6851196"/>
                  <a:gd name="connsiteX1410" fmla="*/ 10108082 w 12187339"/>
                  <a:gd name="connsiteY1410" fmla="*/ 2205058 h 6851196"/>
                  <a:gd name="connsiteX1411" fmla="*/ 10108082 w 12187339"/>
                  <a:gd name="connsiteY1411" fmla="*/ 2443183 h 6851196"/>
                  <a:gd name="connsiteX1412" fmla="*/ 9883993 w 12187339"/>
                  <a:gd name="connsiteY1412" fmla="*/ 2198254 h 6851196"/>
                  <a:gd name="connsiteX1413" fmla="*/ 9883993 w 12187339"/>
                  <a:gd name="connsiteY1413" fmla="*/ 1960129 h 6851196"/>
                  <a:gd name="connsiteX1414" fmla="*/ 10108082 w 12187339"/>
                  <a:gd name="connsiteY1414" fmla="*/ 1960129 h 6851196"/>
                  <a:gd name="connsiteX1415" fmla="*/ 10108082 w 12187339"/>
                  <a:gd name="connsiteY1415" fmla="*/ 2198254 h 6851196"/>
                  <a:gd name="connsiteX1416" fmla="*/ 9877591 w 12187339"/>
                  <a:gd name="connsiteY1416" fmla="*/ 2198254 h 6851196"/>
                  <a:gd name="connsiteX1417" fmla="*/ 9655037 w 12187339"/>
                  <a:gd name="connsiteY1417" fmla="*/ 2198254 h 6851196"/>
                  <a:gd name="connsiteX1418" fmla="*/ 9655037 w 12187339"/>
                  <a:gd name="connsiteY1418" fmla="*/ 1960129 h 6851196"/>
                  <a:gd name="connsiteX1419" fmla="*/ 9877591 w 12187339"/>
                  <a:gd name="connsiteY1419" fmla="*/ 1960129 h 6851196"/>
                  <a:gd name="connsiteX1420" fmla="*/ 9648635 w 12187339"/>
                  <a:gd name="connsiteY1420" fmla="*/ 2198254 h 6851196"/>
                  <a:gd name="connsiteX1421" fmla="*/ 9424546 w 12187339"/>
                  <a:gd name="connsiteY1421" fmla="*/ 2198254 h 6851196"/>
                  <a:gd name="connsiteX1422" fmla="*/ 9424546 w 12187339"/>
                  <a:gd name="connsiteY1422" fmla="*/ 1960129 h 6851196"/>
                  <a:gd name="connsiteX1423" fmla="*/ 9648635 w 12187339"/>
                  <a:gd name="connsiteY1423" fmla="*/ 1960129 h 6851196"/>
                  <a:gd name="connsiteX1424" fmla="*/ 9418144 w 12187339"/>
                  <a:gd name="connsiteY1424" fmla="*/ 2198254 h 6851196"/>
                  <a:gd name="connsiteX1425" fmla="*/ 9194055 w 12187339"/>
                  <a:gd name="connsiteY1425" fmla="*/ 2198254 h 6851196"/>
                  <a:gd name="connsiteX1426" fmla="*/ 9194055 w 12187339"/>
                  <a:gd name="connsiteY1426" fmla="*/ 1960129 h 6851196"/>
                  <a:gd name="connsiteX1427" fmla="*/ 9418144 w 12187339"/>
                  <a:gd name="connsiteY1427" fmla="*/ 1960129 h 6851196"/>
                  <a:gd name="connsiteX1428" fmla="*/ 9187653 w 12187339"/>
                  <a:gd name="connsiteY1428" fmla="*/ 2198254 h 6851196"/>
                  <a:gd name="connsiteX1429" fmla="*/ 8963564 w 12187339"/>
                  <a:gd name="connsiteY1429" fmla="*/ 2198254 h 6851196"/>
                  <a:gd name="connsiteX1430" fmla="*/ 8963564 w 12187339"/>
                  <a:gd name="connsiteY1430" fmla="*/ 1960129 h 6851196"/>
                  <a:gd name="connsiteX1431" fmla="*/ 9187653 w 12187339"/>
                  <a:gd name="connsiteY1431" fmla="*/ 1960129 h 6851196"/>
                  <a:gd name="connsiteX1432" fmla="*/ 8957162 w 12187339"/>
                  <a:gd name="connsiteY1432" fmla="*/ 2198254 h 6851196"/>
                  <a:gd name="connsiteX1433" fmla="*/ 8734611 w 12187339"/>
                  <a:gd name="connsiteY1433" fmla="*/ 2198254 h 6851196"/>
                  <a:gd name="connsiteX1434" fmla="*/ 8734611 w 12187339"/>
                  <a:gd name="connsiteY1434" fmla="*/ 1960129 h 6851196"/>
                  <a:gd name="connsiteX1435" fmla="*/ 8957162 w 12187339"/>
                  <a:gd name="connsiteY1435" fmla="*/ 1960129 h 6851196"/>
                  <a:gd name="connsiteX1436" fmla="*/ 8728209 w 12187339"/>
                  <a:gd name="connsiteY1436" fmla="*/ 2198254 h 6851196"/>
                  <a:gd name="connsiteX1437" fmla="*/ 8504120 w 12187339"/>
                  <a:gd name="connsiteY1437" fmla="*/ 2198254 h 6851196"/>
                  <a:gd name="connsiteX1438" fmla="*/ 8504120 w 12187339"/>
                  <a:gd name="connsiteY1438" fmla="*/ 1960129 h 6851196"/>
                  <a:gd name="connsiteX1439" fmla="*/ 8728209 w 12187339"/>
                  <a:gd name="connsiteY1439" fmla="*/ 1960129 h 6851196"/>
                  <a:gd name="connsiteX1440" fmla="*/ 8497718 w 12187339"/>
                  <a:gd name="connsiteY1440" fmla="*/ 2198254 h 6851196"/>
                  <a:gd name="connsiteX1441" fmla="*/ 8273629 w 12187339"/>
                  <a:gd name="connsiteY1441" fmla="*/ 2198254 h 6851196"/>
                  <a:gd name="connsiteX1442" fmla="*/ 8273629 w 12187339"/>
                  <a:gd name="connsiteY1442" fmla="*/ 1960129 h 6851196"/>
                  <a:gd name="connsiteX1443" fmla="*/ 8497718 w 12187339"/>
                  <a:gd name="connsiteY1443" fmla="*/ 1960129 h 6851196"/>
                  <a:gd name="connsiteX1444" fmla="*/ 8267227 w 12187339"/>
                  <a:gd name="connsiteY1444" fmla="*/ 2198254 h 6851196"/>
                  <a:gd name="connsiteX1445" fmla="*/ 8044420 w 12187339"/>
                  <a:gd name="connsiteY1445" fmla="*/ 2198254 h 6851196"/>
                  <a:gd name="connsiteX1446" fmla="*/ 8044420 w 12187339"/>
                  <a:gd name="connsiteY1446" fmla="*/ 1960129 h 6851196"/>
                  <a:gd name="connsiteX1447" fmla="*/ 8267227 w 12187339"/>
                  <a:gd name="connsiteY1447" fmla="*/ 1960129 h 6851196"/>
                  <a:gd name="connsiteX1448" fmla="*/ 8038274 w 12187339"/>
                  <a:gd name="connsiteY1448" fmla="*/ 2198254 h 6851196"/>
                  <a:gd name="connsiteX1449" fmla="*/ 7814186 w 12187339"/>
                  <a:gd name="connsiteY1449" fmla="*/ 2198254 h 6851196"/>
                  <a:gd name="connsiteX1450" fmla="*/ 7814186 w 12187339"/>
                  <a:gd name="connsiteY1450" fmla="*/ 1960129 h 6851196"/>
                  <a:gd name="connsiteX1451" fmla="*/ 8038274 w 12187339"/>
                  <a:gd name="connsiteY1451" fmla="*/ 1960129 h 6851196"/>
                  <a:gd name="connsiteX1452" fmla="*/ 7807783 w 12187339"/>
                  <a:gd name="connsiteY1452" fmla="*/ 2198254 h 6851196"/>
                  <a:gd name="connsiteX1453" fmla="*/ 7583695 w 12187339"/>
                  <a:gd name="connsiteY1453" fmla="*/ 2198254 h 6851196"/>
                  <a:gd name="connsiteX1454" fmla="*/ 7583695 w 12187339"/>
                  <a:gd name="connsiteY1454" fmla="*/ 1960129 h 6851196"/>
                  <a:gd name="connsiteX1455" fmla="*/ 7807783 w 12187339"/>
                  <a:gd name="connsiteY1455" fmla="*/ 1960129 h 6851196"/>
                  <a:gd name="connsiteX1456" fmla="*/ 7577292 w 12187339"/>
                  <a:gd name="connsiteY1456" fmla="*/ 2198254 h 6851196"/>
                  <a:gd name="connsiteX1457" fmla="*/ 7353204 w 12187339"/>
                  <a:gd name="connsiteY1457" fmla="*/ 2198254 h 6851196"/>
                  <a:gd name="connsiteX1458" fmla="*/ 7353204 w 12187339"/>
                  <a:gd name="connsiteY1458" fmla="*/ 1960129 h 6851196"/>
                  <a:gd name="connsiteX1459" fmla="*/ 7577292 w 12187339"/>
                  <a:gd name="connsiteY1459" fmla="*/ 1960129 h 6851196"/>
                  <a:gd name="connsiteX1460" fmla="*/ 7346801 w 12187339"/>
                  <a:gd name="connsiteY1460" fmla="*/ 2198254 h 6851196"/>
                  <a:gd name="connsiteX1461" fmla="*/ 7124247 w 12187339"/>
                  <a:gd name="connsiteY1461" fmla="*/ 2198254 h 6851196"/>
                  <a:gd name="connsiteX1462" fmla="*/ 7124247 w 12187339"/>
                  <a:gd name="connsiteY1462" fmla="*/ 1960129 h 6851196"/>
                  <a:gd name="connsiteX1463" fmla="*/ 7346801 w 12187339"/>
                  <a:gd name="connsiteY1463" fmla="*/ 1960129 h 6851196"/>
                  <a:gd name="connsiteX1464" fmla="*/ 7117845 w 12187339"/>
                  <a:gd name="connsiteY1464" fmla="*/ 2198254 h 6851196"/>
                  <a:gd name="connsiteX1465" fmla="*/ 6893756 w 12187339"/>
                  <a:gd name="connsiteY1465" fmla="*/ 2198254 h 6851196"/>
                  <a:gd name="connsiteX1466" fmla="*/ 6893756 w 12187339"/>
                  <a:gd name="connsiteY1466" fmla="*/ 1960129 h 6851196"/>
                  <a:gd name="connsiteX1467" fmla="*/ 7117845 w 12187339"/>
                  <a:gd name="connsiteY1467" fmla="*/ 1960129 h 6851196"/>
                  <a:gd name="connsiteX1468" fmla="*/ 6887354 w 12187339"/>
                  <a:gd name="connsiteY1468" fmla="*/ 2198254 h 6851196"/>
                  <a:gd name="connsiteX1469" fmla="*/ 6663265 w 12187339"/>
                  <a:gd name="connsiteY1469" fmla="*/ 2198254 h 6851196"/>
                  <a:gd name="connsiteX1470" fmla="*/ 6663265 w 12187339"/>
                  <a:gd name="connsiteY1470" fmla="*/ 1960129 h 6851196"/>
                  <a:gd name="connsiteX1471" fmla="*/ 6887354 w 12187339"/>
                  <a:gd name="connsiteY1471" fmla="*/ 1960129 h 6851196"/>
                  <a:gd name="connsiteX1472" fmla="*/ 6656863 w 12187339"/>
                  <a:gd name="connsiteY1472" fmla="*/ 2198254 h 6851196"/>
                  <a:gd name="connsiteX1473" fmla="*/ 6446349 w 12187339"/>
                  <a:gd name="connsiteY1473" fmla="*/ 2198254 h 6851196"/>
                  <a:gd name="connsiteX1474" fmla="*/ 6446349 w 12187339"/>
                  <a:gd name="connsiteY1474" fmla="*/ 1960129 h 6851196"/>
                  <a:gd name="connsiteX1475" fmla="*/ 6656863 w 12187339"/>
                  <a:gd name="connsiteY1475" fmla="*/ 1960129 h 6851196"/>
                  <a:gd name="connsiteX1476" fmla="*/ 6439946 w 12187339"/>
                  <a:gd name="connsiteY1476" fmla="*/ 2198254 h 6851196"/>
                  <a:gd name="connsiteX1477" fmla="*/ 6217136 w 12187339"/>
                  <a:gd name="connsiteY1477" fmla="*/ 2198254 h 6851196"/>
                  <a:gd name="connsiteX1478" fmla="*/ 6217136 w 12187339"/>
                  <a:gd name="connsiteY1478" fmla="*/ 1960129 h 6851196"/>
                  <a:gd name="connsiteX1479" fmla="*/ 6439690 w 12187339"/>
                  <a:gd name="connsiteY1479" fmla="*/ 1960129 h 6851196"/>
                  <a:gd name="connsiteX1480" fmla="*/ 6210990 w 12187339"/>
                  <a:gd name="connsiteY1480" fmla="*/ 2198254 h 6851196"/>
                  <a:gd name="connsiteX1481" fmla="*/ 5986902 w 12187339"/>
                  <a:gd name="connsiteY1481" fmla="*/ 2198254 h 6851196"/>
                  <a:gd name="connsiteX1482" fmla="*/ 5986902 w 12187339"/>
                  <a:gd name="connsiteY1482" fmla="*/ 1960129 h 6851196"/>
                  <a:gd name="connsiteX1483" fmla="*/ 6210990 w 12187339"/>
                  <a:gd name="connsiteY1483" fmla="*/ 1960129 h 6851196"/>
                  <a:gd name="connsiteX1484" fmla="*/ 5980499 w 12187339"/>
                  <a:gd name="connsiteY1484" fmla="*/ 2198254 h 6851196"/>
                  <a:gd name="connsiteX1485" fmla="*/ 5756411 w 12187339"/>
                  <a:gd name="connsiteY1485" fmla="*/ 2198254 h 6851196"/>
                  <a:gd name="connsiteX1486" fmla="*/ 5756411 w 12187339"/>
                  <a:gd name="connsiteY1486" fmla="*/ 1960129 h 6851196"/>
                  <a:gd name="connsiteX1487" fmla="*/ 5980499 w 12187339"/>
                  <a:gd name="connsiteY1487" fmla="*/ 1960129 h 6851196"/>
                  <a:gd name="connsiteX1488" fmla="*/ 5750008 w 12187339"/>
                  <a:gd name="connsiteY1488" fmla="*/ 2198254 h 6851196"/>
                  <a:gd name="connsiteX1489" fmla="*/ 5526945 w 12187339"/>
                  <a:gd name="connsiteY1489" fmla="*/ 2198254 h 6851196"/>
                  <a:gd name="connsiteX1490" fmla="*/ 5526945 w 12187339"/>
                  <a:gd name="connsiteY1490" fmla="*/ 1960129 h 6851196"/>
                  <a:gd name="connsiteX1491" fmla="*/ 5749495 w 12187339"/>
                  <a:gd name="connsiteY1491" fmla="*/ 1960129 h 6851196"/>
                  <a:gd name="connsiteX1492" fmla="*/ 5521055 w 12187339"/>
                  <a:gd name="connsiteY1492" fmla="*/ 2198254 h 6851196"/>
                  <a:gd name="connsiteX1493" fmla="*/ 5296454 w 12187339"/>
                  <a:gd name="connsiteY1493" fmla="*/ 2198254 h 6851196"/>
                  <a:gd name="connsiteX1494" fmla="*/ 5296454 w 12187339"/>
                  <a:gd name="connsiteY1494" fmla="*/ 1960129 h 6851196"/>
                  <a:gd name="connsiteX1495" fmla="*/ 5520542 w 12187339"/>
                  <a:gd name="connsiteY1495" fmla="*/ 1960129 h 6851196"/>
                  <a:gd name="connsiteX1496" fmla="*/ 5290564 w 12187339"/>
                  <a:gd name="connsiteY1496" fmla="*/ 2198254 h 6851196"/>
                  <a:gd name="connsiteX1497" fmla="*/ 5065963 w 12187339"/>
                  <a:gd name="connsiteY1497" fmla="*/ 2198254 h 6851196"/>
                  <a:gd name="connsiteX1498" fmla="*/ 5065963 w 12187339"/>
                  <a:gd name="connsiteY1498" fmla="*/ 1960129 h 6851196"/>
                  <a:gd name="connsiteX1499" fmla="*/ 5290051 w 12187339"/>
                  <a:gd name="connsiteY1499" fmla="*/ 1960129 h 6851196"/>
                  <a:gd name="connsiteX1500" fmla="*/ 5060073 w 12187339"/>
                  <a:gd name="connsiteY1500" fmla="*/ 2198254 h 6851196"/>
                  <a:gd name="connsiteX1501" fmla="*/ 4835472 w 12187339"/>
                  <a:gd name="connsiteY1501" fmla="*/ 2198254 h 6851196"/>
                  <a:gd name="connsiteX1502" fmla="*/ 4835472 w 12187339"/>
                  <a:gd name="connsiteY1502" fmla="*/ 1960129 h 6851196"/>
                  <a:gd name="connsiteX1503" fmla="*/ 5059560 w 12187339"/>
                  <a:gd name="connsiteY1503" fmla="*/ 1960129 h 6851196"/>
                  <a:gd name="connsiteX1504" fmla="*/ 4829582 w 12187339"/>
                  <a:gd name="connsiteY1504" fmla="*/ 2198254 h 6851196"/>
                  <a:gd name="connsiteX1505" fmla="*/ 4607029 w 12187339"/>
                  <a:gd name="connsiteY1505" fmla="*/ 2198254 h 6851196"/>
                  <a:gd name="connsiteX1506" fmla="*/ 4607029 w 12187339"/>
                  <a:gd name="connsiteY1506" fmla="*/ 1960129 h 6851196"/>
                  <a:gd name="connsiteX1507" fmla="*/ 4829582 w 12187339"/>
                  <a:gd name="connsiteY1507" fmla="*/ 1960129 h 6851196"/>
                  <a:gd name="connsiteX1508" fmla="*/ 4600626 w 12187339"/>
                  <a:gd name="connsiteY1508" fmla="*/ 2198254 h 6851196"/>
                  <a:gd name="connsiteX1509" fmla="*/ 4376538 w 12187339"/>
                  <a:gd name="connsiteY1509" fmla="*/ 2198254 h 6851196"/>
                  <a:gd name="connsiteX1510" fmla="*/ 4376538 w 12187339"/>
                  <a:gd name="connsiteY1510" fmla="*/ 1960129 h 6851196"/>
                  <a:gd name="connsiteX1511" fmla="*/ 4600626 w 12187339"/>
                  <a:gd name="connsiteY1511" fmla="*/ 1960129 h 6851196"/>
                  <a:gd name="connsiteX1512" fmla="*/ 4370135 w 12187339"/>
                  <a:gd name="connsiteY1512" fmla="*/ 2198254 h 6851196"/>
                  <a:gd name="connsiteX1513" fmla="*/ 4146047 w 12187339"/>
                  <a:gd name="connsiteY1513" fmla="*/ 2198254 h 6851196"/>
                  <a:gd name="connsiteX1514" fmla="*/ 4146047 w 12187339"/>
                  <a:gd name="connsiteY1514" fmla="*/ 1960129 h 6851196"/>
                  <a:gd name="connsiteX1515" fmla="*/ 4370135 w 12187339"/>
                  <a:gd name="connsiteY1515" fmla="*/ 1960129 h 6851196"/>
                  <a:gd name="connsiteX1516" fmla="*/ 4139644 w 12187339"/>
                  <a:gd name="connsiteY1516" fmla="*/ 2198254 h 6851196"/>
                  <a:gd name="connsiteX1517" fmla="*/ 3917094 w 12187339"/>
                  <a:gd name="connsiteY1517" fmla="*/ 2198254 h 6851196"/>
                  <a:gd name="connsiteX1518" fmla="*/ 3917094 w 12187339"/>
                  <a:gd name="connsiteY1518" fmla="*/ 1960129 h 6851196"/>
                  <a:gd name="connsiteX1519" fmla="*/ 4139644 w 12187339"/>
                  <a:gd name="connsiteY1519" fmla="*/ 1960129 h 6851196"/>
                  <a:gd name="connsiteX1520" fmla="*/ 3910691 w 12187339"/>
                  <a:gd name="connsiteY1520" fmla="*/ 2198254 h 6851196"/>
                  <a:gd name="connsiteX1521" fmla="*/ 3686603 w 12187339"/>
                  <a:gd name="connsiteY1521" fmla="*/ 2198254 h 6851196"/>
                  <a:gd name="connsiteX1522" fmla="*/ 3686603 w 12187339"/>
                  <a:gd name="connsiteY1522" fmla="*/ 1960129 h 6851196"/>
                  <a:gd name="connsiteX1523" fmla="*/ 3910691 w 12187339"/>
                  <a:gd name="connsiteY1523" fmla="*/ 1960129 h 6851196"/>
                  <a:gd name="connsiteX1524" fmla="*/ 3680200 w 12187339"/>
                  <a:gd name="connsiteY1524" fmla="*/ 2198254 h 6851196"/>
                  <a:gd name="connsiteX1525" fmla="*/ 3456112 w 12187339"/>
                  <a:gd name="connsiteY1525" fmla="*/ 2198254 h 6851196"/>
                  <a:gd name="connsiteX1526" fmla="*/ 3456112 w 12187339"/>
                  <a:gd name="connsiteY1526" fmla="*/ 1960129 h 6851196"/>
                  <a:gd name="connsiteX1527" fmla="*/ 3680200 w 12187339"/>
                  <a:gd name="connsiteY1527" fmla="*/ 1960129 h 6851196"/>
                  <a:gd name="connsiteX1528" fmla="*/ 3449709 w 12187339"/>
                  <a:gd name="connsiteY1528" fmla="*/ 2198254 h 6851196"/>
                  <a:gd name="connsiteX1529" fmla="*/ 3225621 w 12187339"/>
                  <a:gd name="connsiteY1529" fmla="*/ 2198254 h 6851196"/>
                  <a:gd name="connsiteX1530" fmla="*/ 3225621 w 12187339"/>
                  <a:gd name="connsiteY1530" fmla="*/ 1960129 h 6851196"/>
                  <a:gd name="connsiteX1531" fmla="*/ 3449709 w 12187339"/>
                  <a:gd name="connsiteY1531" fmla="*/ 1960129 h 6851196"/>
                  <a:gd name="connsiteX1532" fmla="*/ 3219218 w 12187339"/>
                  <a:gd name="connsiteY1532" fmla="*/ 2198254 h 6851196"/>
                  <a:gd name="connsiteX1533" fmla="*/ 2996666 w 12187339"/>
                  <a:gd name="connsiteY1533" fmla="*/ 2198254 h 6851196"/>
                  <a:gd name="connsiteX1534" fmla="*/ 2996666 w 12187339"/>
                  <a:gd name="connsiteY1534" fmla="*/ 1960129 h 6851196"/>
                  <a:gd name="connsiteX1535" fmla="*/ 3219218 w 12187339"/>
                  <a:gd name="connsiteY1535" fmla="*/ 1960129 h 6851196"/>
                  <a:gd name="connsiteX1536" fmla="*/ 2990264 w 12187339"/>
                  <a:gd name="connsiteY1536" fmla="*/ 2198254 h 6851196"/>
                  <a:gd name="connsiteX1537" fmla="*/ 2766175 w 12187339"/>
                  <a:gd name="connsiteY1537" fmla="*/ 2198254 h 6851196"/>
                  <a:gd name="connsiteX1538" fmla="*/ 2766175 w 12187339"/>
                  <a:gd name="connsiteY1538" fmla="*/ 1960129 h 6851196"/>
                  <a:gd name="connsiteX1539" fmla="*/ 2990264 w 12187339"/>
                  <a:gd name="connsiteY1539" fmla="*/ 1960129 h 6851196"/>
                  <a:gd name="connsiteX1540" fmla="*/ 2759773 w 12187339"/>
                  <a:gd name="connsiteY1540" fmla="*/ 2198254 h 6851196"/>
                  <a:gd name="connsiteX1541" fmla="*/ 2535684 w 12187339"/>
                  <a:gd name="connsiteY1541" fmla="*/ 2198254 h 6851196"/>
                  <a:gd name="connsiteX1542" fmla="*/ 2535684 w 12187339"/>
                  <a:gd name="connsiteY1542" fmla="*/ 1960129 h 6851196"/>
                  <a:gd name="connsiteX1543" fmla="*/ 2759773 w 12187339"/>
                  <a:gd name="connsiteY1543" fmla="*/ 1960129 h 6851196"/>
                  <a:gd name="connsiteX1544" fmla="*/ 2529282 w 12187339"/>
                  <a:gd name="connsiteY1544" fmla="*/ 2198254 h 6851196"/>
                  <a:gd name="connsiteX1545" fmla="*/ 2305193 w 12187339"/>
                  <a:gd name="connsiteY1545" fmla="*/ 2198254 h 6851196"/>
                  <a:gd name="connsiteX1546" fmla="*/ 2305193 w 12187339"/>
                  <a:gd name="connsiteY1546" fmla="*/ 1960129 h 6851196"/>
                  <a:gd name="connsiteX1547" fmla="*/ 2529282 w 12187339"/>
                  <a:gd name="connsiteY1547" fmla="*/ 1960129 h 6851196"/>
                  <a:gd name="connsiteX1548" fmla="*/ 2298791 w 12187339"/>
                  <a:gd name="connsiteY1548" fmla="*/ 2198254 h 6851196"/>
                  <a:gd name="connsiteX1549" fmla="*/ 2075982 w 12187339"/>
                  <a:gd name="connsiteY1549" fmla="*/ 2198254 h 6851196"/>
                  <a:gd name="connsiteX1550" fmla="*/ 2075982 w 12187339"/>
                  <a:gd name="connsiteY1550" fmla="*/ 1960129 h 6851196"/>
                  <a:gd name="connsiteX1551" fmla="*/ 2298534 w 12187339"/>
                  <a:gd name="connsiteY1551" fmla="*/ 1960129 h 6851196"/>
                  <a:gd name="connsiteX1552" fmla="*/ 2069836 w 12187339"/>
                  <a:gd name="connsiteY1552" fmla="*/ 2198254 h 6851196"/>
                  <a:gd name="connsiteX1553" fmla="*/ 1845748 w 12187339"/>
                  <a:gd name="connsiteY1553" fmla="*/ 2198254 h 6851196"/>
                  <a:gd name="connsiteX1554" fmla="*/ 1845748 w 12187339"/>
                  <a:gd name="connsiteY1554" fmla="*/ 1960129 h 6851196"/>
                  <a:gd name="connsiteX1555" fmla="*/ 2069580 w 12187339"/>
                  <a:gd name="connsiteY1555" fmla="*/ 1960129 h 6851196"/>
                  <a:gd name="connsiteX1556" fmla="*/ 2069836 w 12187339"/>
                  <a:gd name="connsiteY1556" fmla="*/ 2205058 h 6851196"/>
                  <a:gd name="connsiteX1557" fmla="*/ 2069836 w 12187339"/>
                  <a:gd name="connsiteY1557" fmla="*/ 2443183 h 6851196"/>
                  <a:gd name="connsiteX1558" fmla="*/ 1845748 w 12187339"/>
                  <a:gd name="connsiteY1558" fmla="*/ 2443183 h 6851196"/>
                  <a:gd name="connsiteX1559" fmla="*/ 1845748 w 12187339"/>
                  <a:gd name="connsiteY1559" fmla="*/ 2205058 h 6851196"/>
                  <a:gd name="connsiteX1560" fmla="*/ 2069836 w 12187339"/>
                  <a:gd name="connsiteY1560" fmla="*/ 2449986 h 6851196"/>
                  <a:gd name="connsiteX1561" fmla="*/ 2069836 w 12187339"/>
                  <a:gd name="connsiteY1561" fmla="*/ 2686479 h 6851196"/>
                  <a:gd name="connsiteX1562" fmla="*/ 1845748 w 12187339"/>
                  <a:gd name="connsiteY1562" fmla="*/ 2686479 h 6851196"/>
                  <a:gd name="connsiteX1563" fmla="*/ 1845748 w 12187339"/>
                  <a:gd name="connsiteY1563" fmla="*/ 2449986 h 6851196"/>
                  <a:gd name="connsiteX1564" fmla="*/ 2069836 w 12187339"/>
                  <a:gd name="connsiteY1564" fmla="*/ 2693282 h 6851196"/>
                  <a:gd name="connsiteX1565" fmla="*/ 2069836 w 12187339"/>
                  <a:gd name="connsiteY1565" fmla="*/ 2931407 h 6851196"/>
                  <a:gd name="connsiteX1566" fmla="*/ 1845748 w 12187339"/>
                  <a:gd name="connsiteY1566" fmla="*/ 2931407 h 6851196"/>
                  <a:gd name="connsiteX1567" fmla="*/ 1845748 w 12187339"/>
                  <a:gd name="connsiteY1567" fmla="*/ 2693282 h 6851196"/>
                  <a:gd name="connsiteX1568" fmla="*/ 2069836 w 12187339"/>
                  <a:gd name="connsiteY1568" fmla="*/ 2938211 h 6851196"/>
                  <a:gd name="connsiteX1569" fmla="*/ 2069836 w 12187339"/>
                  <a:gd name="connsiteY1569" fmla="*/ 3176336 h 6851196"/>
                  <a:gd name="connsiteX1570" fmla="*/ 1845748 w 12187339"/>
                  <a:gd name="connsiteY1570" fmla="*/ 3176336 h 6851196"/>
                  <a:gd name="connsiteX1571" fmla="*/ 1845748 w 12187339"/>
                  <a:gd name="connsiteY1571" fmla="*/ 2938211 h 6851196"/>
                  <a:gd name="connsiteX1572" fmla="*/ 2069836 w 12187339"/>
                  <a:gd name="connsiteY1572" fmla="*/ 3183139 h 6851196"/>
                  <a:gd name="connsiteX1573" fmla="*/ 2069836 w 12187339"/>
                  <a:gd name="connsiteY1573" fmla="*/ 3421264 h 6851196"/>
                  <a:gd name="connsiteX1574" fmla="*/ 1845748 w 12187339"/>
                  <a:gd name="connsiteY1574" fmla="*/ 3421264 h 6851196"/>
                  <a:gd name="connsiteX1575" fmla="*/ 1845748 w 12187339"/>
                  <a:gd name="connsiteY1575" fmla="*/ 3183139 h 6851196"/>
                  <a:gd name="connsiteX1576" fmla="*/ 2069836 w 12187339"/>
                  <a:gd name="connsiteY1576" fmla="*/ 3428068 h 6851196"/>
                  <a:gd name="connsiteX1577" fmla="*/ 2069836 w 12187339"/>
                  <a:gd name="connsiteY1577" fmla="*/ 3664560 h 6851196"/>
                  <a:gd name="connsiteX1578" fmla="*/ 1845748 w 12187339"/>
                  <a:gd name="connsiteY1578" fmla="*/ 3664560 h 6851196"/>
                  <a:gd name="connsiteX1579" fmla="*/ 1845748 w 12187339"/>
                  <a:gd name="connsiteY1579" fmla="*/ 3428068 h 6851196"/>
                  <a:gd name="connsiteX1580" fmla="*/ 2069836 w 12187339"/>
                  <a:gd name="connsiteY1580" fmla="*/ 3671364 h 6851196"/>
                  <a:gd name="connsiteX1581" fmla="*/ 2069836 w 12187339"/>
                  <a:gd name="connsiteY1581" fmla="*/ 3909489 h 6851196"/>
                  <a:gd name="connsiteX1582" fmla="*/ 1845748 w 12187339"/>
                  <a:gd name="connsiteY1582" fmla="*/ 3909489 h 6851196"/>
                  <a:gd name="connsiteX1583" fmla="*/ 1845748 w 12187339"/>
                  <a:gd name="connsiteY1583" fmla="*/ 3671364 h 6851196"/>
                  <a:gd name="connsiteX1584" fmla="*/ 2069836 w 12187339"/>
                  <a:gd name="connsiteY1584" fmla="*/ 3916292 h 6851196"/>
                  <a:gd name="connsiteX1585" fmla="*/ 2069836 w 12187339"/>
                  <a:gd name="connsiteY1585" fmla="*/ 4154417 h 6851196"/>
                  <a:gd name="connsiteX1586" fmla="*/ 1845748 w 12187339"/>
                  <a:gd name="connsiteY1586" fmla="*/ 4154417 h 6851196"/>
                  <a:gd name="connsiteX1587" fmla="*/ 1845748 w 12187339"/>
                  <a:gd name="connsiteY1587" fmla="*/ 3916292 h 6851196"/>
                  <a:gd name="connsiteX1588" fmla="*/ 2069836 w 12187339"/>
                  <a:gd name="connsiteY1588" fmla="*/ 4161221 h 6851196"/>
                  <a:gd name="connsiteX1589" fmla="*/ 2069836 w 12187339"/>
                  <a:gd name="connsiteY1589" fmla="*/ 4399346 h 6851196"/>
                  <a:gd name="connsiteX1590" fmla="*/ 1845748 w 12187339"/>
                  <a:gd name="connsiteY1590" fmla="*/ 4399346 h 6851196"/>
                  <a:gd name="connsiteX1591" fmla="*/ 1845748 w 12187339"/>
                  <a:gd name="connsiteY1591" fmla="*/ 4161221 h 6851196"/>
                  <a:gd name="connsiteX1592" fmla="*/ 2069836 w 12187339"/>
                  <a:gd name="connsiteY1592" fmla="*/ 4406149 h 6851196"/>
                  <a:gd name="connsiteX1593" fmla="*/ 2069836 w 12187339"/>
                  <a:gd name="connsiteY1593" fmla="*/ 4642233 h 6851196"/>
                  <a:gd name="connsiteX1594" fmla="*/ 1845748 w 12187339"/>
                  <a:gd name="connsiteY1594" fmla="*/ 4642233 h 6851196"/>
                  <a:gd name="connsiteX1595" fmla="*/ 1845748 w 12187339"/>
                  <a:gd name="connsiteY1595" fmla="*/ 4405741 h 6851196"/>
                  <a:gd name="connsiteX1596" fmla="*/ 2069836 w 12187339"/>
                  <a:gd name="connsiteY1596" fmla="*/ 4649445 h 6851196"/>
                  <a:gd name="connsiteX1597" fmla="*/ 2069836 w 12187339"/>
                  <a:gd name="connsiteY1597" fmla="*/ 4887162 h 6851196"/>
                  <a:gd name="connsiteX1598" fmla="*/ 1845748 w 12187339"/>
                  <a:gd name="connsiteY1598" fmla="*/ 4887162 h 6851196"/>
                  <a:gd name="connsiteX1599" fmla="*/ 1845748 w 12187339"/>
                  <a:gd name="connsiteY1599" fmla="*/ 4649037 h 6851196"/>
                  <a:gd name="connsiteX1600" fmla="*/ 2076239 w 12187339"/>
                  <a:gd name="connsiteY1600" fmla="*/ 4649445 h 6851196"/>
                  <a:gd name="connsiteX1601" fmla="*/ 2298791 w 12187339"/>
                  <a:gd name="connsiteY1601" fmla="*/ 4649445 h 6851196"/>
                  <a:gd name="connsiteX1602" fmla="*/ 2298791 w 12187339"/>
                  <a:gd name="connsiteY1602" fmla="*/ 4887162 h 6851196"/>
                  <a:gd name="connsiteX1603" fmla="*/ 2075982 w 12187339"/>
                  <a:gd name="connsiteY1603" fmla="*/ 4887162 h 6851196"/>
                  <a:gd name="connsiteX1604" fmla="*/ 2305193 w 12187339"/>
                  <a:gd name="connsiteY1604" fmla="*/ 4649445 h 6851196"/>
                  <a:gd name="connsiteX1605" fmla="*/ 2529282 w 12187339"/>
                  <a:gd name="connsiteY1605" fmla="*/ 4649445 h 6851196"/>
                  <a:gd name="connsiteX1606" fmla="*/ 2529282 w 12187339"/>
                  <a:gd name="connsiteY1606" fmla="*/ 4887162 h 6851196"/>
                  <a:gd name="connsiteX1607" fmla="*/ 2305193 w 12187339"/>
                  <a:gd name="connsiteY1607" fmla="*/ 4887162 h 6851196"/>
                  <a:gd name="connsiteX1608" fmla="*/ 2535684 w 12187339"/>
                  <a:gd name="connsiteY1608" fmla="*/ 4649445 h 6851196"/>
                  <a:gd name="connsiteX1609" fmla="*/ 2759773 w 12187339"/>
                  <a:gd name="connsiteY1609" fmla="*/ 4649445 h 6851196"/>
                  <a:gd name="connsiteX1610" fmla="*/ 2759773 w 12187339"/>
                  <a:gd name="connsiteY1610" fmla="*/ 4887162 h 6851196"/>
                  <a:gd name="connsiteX1611" fmla="*/ 2535684 w 12187339"/>
                  <a:gd name="connsiteY1611" fmla="*/ 4887162 h 6851196"/>
                  <a:gd name="connsiteX1612" fmla="*/ 2766175 w 12187339"/>
                  <a:gd name="connsiteY1612" fmla="*/ 4649445 h 6851196"/>
                  <a:gd name="connsiteX1613" fmla="*/ 2990264 w 12187339"/>
                  <a:gd name="connsiteY1613" fmla="*/ 4649445 h 6851196"/>
                  <a:gd name="connsiteX1614" fmla="*/ 2990264 w 12187339"/>
                  <a:gd name="connsiteY1614" fmla="*/ 4887162 h 6851196"/>
                  <a:gd name="connsiteX1615" fmla="*/ 2766175 w 12187339"/>
                  <a:gd name="connsiteY1615" fmla="*/ 4887162 h 6851196"/>
                  <a:gd name="connsiteX1616" fmla="*/ 2996666 w 12187339"/>
                  <a:gd name="connsiteY1616" fmla="*/ 4649445 h 6851196"/>
                  <a:gd name="connsiteX1617" fmla="*/ 3219218 w 12187339"/>
                  <a:gd name="connsiteY1617" fmla="*/ 4649445 h 6851196"/>
                  <a:gd name="connsiteX1618" fmla="*/ 3219218 w 12187339"/>
                  <a:gd name="connsiteY1618" fmla="*/ 4887162 h 6851196"/>
                  <a:gd name="connsiteX1619" fmla="*/ 2996666 w 12187339"/>
                  <a:gd name="connsiteY1619" fmla="*/ 4887162 h 6851196"/>
                  <a:gd name="connsiteX1620" fmla="*/ 3225621 w 12187339"/>
                  <a:gd name="connsiteY1620" fmla="*/ 4649445 h 6851196"/>
                  <a:gd name="connsiteX1621" fmla="*/ 3449709 w 12187339"/>
                  <a:gd name="connsiteY1621" fmla="*/ 4649445 h 6851196"/>
                  <a:gd name="connsiteX1622" fmla="*/ 3449709 w 12187339"/>
                  <a:gd name="connsiteY1622" fmla="*/ 4887162 h 6851196"/>
                  <a:gd name="connsiteX1623" fmla="*/ 3225621 w 12187339"/>
                  <a:gd name="connsiteY1623" fmla="*/ 4887162 h 6851196"/>
                  <a:gd name="connsiteX1624" fmla="*/ 3456112 w 12187339"/>
                  <a:gd name="connsiteY1624" fmla="*/ 4649445 h 6851196"/>
                  <a:gd name="connsiteX1625" fmla="*/ 3680200 w 12187339"/>
                  <a:gd name="connsiteY1625" fmla="*/ 4649445 h 6851196"/>
                  <a:gd name="connsiteX1626" fmla="*/ 3680200 w 12187339"/>
                  <a:gd name="connsiteY1626" fmla="*/ 4887162 h 6851196"/>
                  <a:gd name="connsiteX1627" fmla="*/ 3456112 w 12187339"/>
                  <a:gd name="connsiteY1627" fmla="*/ 4887162 h 6851196"/>
                  <a:gd name="connsiteX1628" fmla="*/ 3686603 w 12187339"/>
                  <a:gd name="connsiteY1628" fmla="*/ 4649445 h 6851196"/>
                  <a:gd name="connsiteX1629" fmla="*/ 3910691 w 12187339"/>
                  <a:gd name="connsiteY1629" fmla="*/ 4649445 h 6851196"/>
                  <a:gd name="connsiteX1630" fmla="*/ 3910691 w 12187339"/>
                  <a:gd name="connsiteY1630" fmla="*/ 4887162 h 6851196"/>
                  <a:gd name="connsiteX1631" fmla="*/ 3686603 w 12187339"/>
                  <a:gd name="connsiteY1631" fmla="*/ 4887162 h 6851196"/>
                  <a:gd name="connsiteX1632" fmla="*/ 3917094 w 12187339"/>
                  <a:gd name="connsiteY1632" fmla="*/ 4649445 h 6851196"/>
                  <a:gd name="connsiteX1633" fmla="*/ 4139644 w 12187339"/>
                  <a:gd name="connsiteY1633" fmla="*/ 4649445 h 6851196"/>
                  <a:gd name="connsiteX1634" fmla="*/ 4139644 w 12187339"/>
                  <a:gd name="connsiteY1634" fmla="*/ 4887162 h 6851196"/>
                  <a:gd name="connsiteX1635" fmla="*/ 3917094 w 12187339"/>
                  <a:gd name="connsiteY1635" fmla="*/ 4887162 h 6851196"/>
                  <a:gd name="connsiteX1636" fmla="*/ 4146047 w 12187339"/>
                  <a:gd name="connsiteY1636" fmla="*/ 4649445 h 6851196"/>
                  <a:gd name="connsiteX1637" fmla="*/ 4370135 w 12187339"/>
                  <a:gd name="connsiteY1637" fmla="*/ 4649445 h 6851196"/>
                  <a:gd name="connsiteX1638" fmla="*/ 4370135 w 12187339"/>
                  <a:gd name="connsiteY1638" fmla="*/ 4887162 h 6851196"/>
                  <a:gd name="connsiteX1639" fmla="*/ 4146047 w 12187339"/>
                  <a:gd name="connsiteY1639" fmla="*/ 4887162 h 6851196"/>
                  <a:gd name="connsiteX1640" fmla="*/ 4376538 w 12187339"/>
                  <a:gd name="connsiteY1640" fmla="*/ 4649445 h 6851196"/>
                  <a:gd name="connsiteX1641" fmla="*/ 4600626 w 12187339"/>
                  <a:gd name="connsiteY1641" fmla="*/ 4649445 h 6851196"/>
                  <a:gd name="connsiteX1642" fmla="*/ 4600626 w 12187339"/>
                  <a:gd name="connsiteY1642" fmla="*/ 4887162 h 6851196"/>
                  <a:gd name="connsiteX1643" fmla="*/ 4376538 w 12187339"/>
                  <a:gd name="connsiteY1643" fmla="*/ 4887162 h 6851196"/>
                  <a:gd name="connsiteX1644" fmla="*/ 4607029 w 12187339"/>
                  <a:gd name="connsiteY1644" fmla="*/ 4649445 h 6851196"/>
                  <a:gd name="connsiteX1645" fmla="*/ 4829582 w 12187339"/>
                  <a:gd name="connsiteY1645" fmla="*/ 4649445 h 6851196"/>
                  <a:gd name="connsiteX1646" fmla="*/ 4829582 w 12187339"/>
                  <a:gd name="connsiteY1646" fmla="*/ 4887162 h 6851196"/>
                  <a:gd name="connsiteX1647" fmla="*/ 4607029 w 12187339"/>
                  <a:gd name="connsiteY1647" fmla="*/ 4887162 h 6851196"/>
                  <a:gd name="connsiteX1648" fmla="*/ 4835985 w 12187339"/>
                  <a:gd name="connsiteY1648" fmla="*/ 4649445 h 6851196"/>
                  <a:gd name="connsiteX1649" fmla="*/ 5060073 w 12187339"/>
                  <a:gd name="connsiteY1649" fmla="*/ 4649445 h 6851196"/>
                  <a:gd name="connsiteX1650" fmla="*/ 5060073 w 12187339"/>
                  <a:gd name="connsiteY1650" fmla="*/ 4887162 h 6851196"/>
                  <a:gd name="connsiteX1651" fmla="*/ 4835472 w 12187339"/>
                  <a:gd name="connsiteY1651" fmla="*/ 4887162 h 6851196"/>
                  <a:gd name="connsiteX1652" fmla="*/ 5066476 w 12187339"/>
                  <a:gd name="connsiteY1652" fmla="*/ 4649445 h 6851196"/>
                  <a:gd name="connsiteX1653" fmla="*/ 5290564 w 12187339"/>
                  <a:gd name="connsiteY1653" fmla="*/ 4649445 h 6851196"/>
                  <a:gd name="connsiteX1654" fmla="*/ 5290564 w 12187339"/>
                  <a:gd name="connsiteY1654" fmla="*/ 4887162 h 6851196"/>
                  <a:gd name="connsiteX1655" fmla="*/ 5065963 w 12187339"/>
                  <a:gd name="connsiteY1655" fmla="*/ 4887162 h 6851196"/>
                  <a:gd name="connsiteX1656" fmla="*/ 5296967 w 12187339"/>
                  <a:gd name="connsiteY1656" fmla="*/ 4649445 h 6851196"/>
                  <a:gd name="connsiteX1657" fmla="*/ 5521055 w 12187339"/>
                  <a:gd name="connsiteY1657" fmla="*/ 4649445 h 6851196"/>
                  <a:gd name="connsiteX1658" fmla="*/ 5521055 w 12187339"/>
                  <a:gd name="connsiteY1658" fmla="*/ 4887162 h 6851196"/>
                  <a:gd name="connsiteX1659" fmla="*/ 5296454 w 12187339"/>
                  <a:gd name="connsiteY1659" fmla="*/ 4887162 h 6851196"/>
                  <a:gd name="connsiteX1660" fmla="*/ 5527458 w 12187339"/>
                  <a:gd name="connsiteY1660" fmla="*/ 4649445 h 6851196"/>
                  <a:gd name="connsiteX1661" fmla="*/ 5750008 w 12187339"/>
                  <a:gd name="connsiteY1661" fmla="*/ 4649445 h 6851196"/>
                  <a:gd name="connsiteX1662" fmla="*/ 5750008 w 12187339"/>
                  <a:gd name="connsiteY1662" fmla="*/ 4887162 h 6851196"/>
                  <a:gd name="connsiteX1663" fmla="*/ 5526945 w 12187339"/>
                  <a:gd name="connsiteY1663" fmla="*/ 4887162 h 6851196"/>
                  <a:gd name="connsiteX1664" fmla="*/ 5756411 w 12187339"/>
                  <a:gd name="connsiteY1664" fmla="*/ 4649445 h 6851196"/>
                  <a:gd name="connsiteX1665" fmla="*/ 5980499 w 12187339"/>
                  <a:gd name="connsiteY1665" fmla="*/ 4649445 h 6851196"/>
                  <a:gd name="connsiteX1666" fmla="*/ 5980499 w 12187339"/>
                  <a:gd name="connsiteY1666" fmla="*/ 4887162 h 6851196"/>
                  <a:gd name="connsiteX1667" fmla="*/ 5756411 w 12187339"/>
                  <a:gd name="connsiteY1667" fmla="*/ 4887162 h 6851196"/>
                  <a:gd name="connsiteX1668" fmla="*/ 5986902 w 12187339"/>
                  <a:gd name="connsiteY1668" fmla="*/ 4649445 h 6851196"/>
                  <a:gd name="connsiteX1669" fmla="*/ 6210990 w 12187339"/>
                  <a:gd name="connsiteY1669" fmla="*/ 4649445 h 6851196"/>
                  <a:gd name="connsiteX1670" fmla="*/ 6210990 w 12187339"/>
                  <a:gd name="connsiteY1670" fmla="*/ 4887162 h 6851196"/>
                  <a:gd name="connsiteX1671" fmla="*/ 5986902 w 12187339"/>
                  <a:gd name="connsiteY1671" fmla="*/ 4887162 h 6851196"/>
                  <a:gd name="connsiteX1672" fmla="*/ 6217393 w 12187339"/>
                  <a:gd name="connsiteY1672" fmla="*/ 4649445 h 6851196"/>
                  <a:gd name="connsiteX1673" fmla="*/ 6439946 w 12187339"/>
                  <a:gd name="connsiteY1673" fmla="*/ 4649445 h 6851196"/>
                  <a:gd name="connsiteX1674" fmla="*/ 6439946 w 12187339"/>
                  <a:gd name="connsiteY1674" fmla="*/ 4887162 h 6851196"/>
                  <a:gd name="connsiteX1675" fmla="*/ 6217136 w 12187339"/>
                  <a:gd name="connsiteY1675" fmla="*/ 4887162 h 6851196"/>
                  <a:gd name="connsiteX1676" fmla="*/ 6446349 w 12187339"/>
                  <a:gd name="connsiteY1676" fmla="*/ 4649445 h 6851196"/>
                  <a:gd name="connsiteX1677" fmla="*/ 6656863 w 12187339"/>
                  <a:gd name="connsiteY1677" fmla="*/ 4649445 h 6851196"/>
                  <a:gd name="connsiteX1678" fmla="*/ 6656863 w 12187339"/>
                  <a:gd name="connsiteY1678" fmla="*/ 4887162 h 6851196"/>
                  <a:gd name="connsiteX1679" fmla="*/ 6446349 w 12187339"/>
                  <a:gd name="connsiteY1679" fmla="*/ 4887162 h 6851196"/>
                  <a:gd name="connsiteX1680" fmla="*/ 6663265 w 12187339"/>
                  <a:gd name="connsiteY1680" fmla="*/ 4649445 h 6851196"/>
                  <a:gd name="connsiteX1681" fmla="*/ 6887354 w 12187339"/>
                  <a:gd name="connsiteY1681" fmla="*/ 4649445 h 6851196"/>
                  <a:gd name="connsiteX1682" fmla="*/ 6887354 w 12187339"/>
                  <a:gd name="connsiteY1682" fmla="*/ 4887162 h 6851196"/>
                  <a:gd name="connsiteX1683" fmla="*/ 6663265 w 12187339"/>
                  <a:gd name="connsiteY1683" fmla="*/ 4887162 h 6851196"/>
                  <a:gd name="connsiteX1684" fmla="*/ 6893756 w 12187339"/>
                  <a:gd name="connsiteY1684" fmla="*/ 4649445 h 6851196"/>
                  <a:gd name="connsiteX1685" fmla="*/ 7117845 w 12187339"/>
                  <a:gd name="connsiteY1685" fmla="*/ 4649445 h 6851196"/>
                  <a:gd name="connsiteX1686" fmla="*/ 7117845 w 12187339"/>
                  <a:gd name="connsiteY1686" fmla="*/ 4887162 h 6851196"/>
                  <a:gd name="connsiteX1687" fmla="*/ 6893756 w 12187339"/>
                  <a:gd name="connsiteY1687" fmla="*/ 4887162 h 6851196"/>
                  <a:gd name="connsiteX1688" fmla="*/ 7124247 w 12187339"/>
                  <a:gd name="connsiteY1688" fmla="*/ 4649445 h 6851196"/>
                  <a:gd name="connsiteX1689" fmla="*/ 7346801 w 12187339"/>
                  <a:gd name="connsiteY1689" fmla="*/ 4649445 h 6851196"/>
                  <a:gd name="connsiteX1690" fmla="*/ 7346801 w 12187339"/>
                  <a:gd name="connsiteY1690" fmla="*/ 4887162 h 6851196"/>
                  <a:gd name="connsiteX1691" fmla="*/ 7124247 w 12187339"/>
                  <a:gd name="connsiteY1691" fmla="*/ 4887162 h 6851196"/>
                  <a:gd name="connsiteX1692" fmla="*/ 7353204 w 12187339"/>
                  <a:gd name="connsiteY1692" fmla="*/ 4649445 h 6851196"/>
                  <a:gd name="connsiteX1693" fmla="*/ 7577292 w 12187339"/>
                  <a:gd name="connsiteY1693" fmla="*/ 4649445 h 6851196"/>
                  <a:gd name="connsiteX1694" fmla="*/ 7577292 w 12187339"/>
                  <a:gd name="connsiteY1694" fmla="*/ 4887162 h 6851196"/>
                  <a:gd name="connsiteX1695" fmla="*/ 7353204 w 12187339"/>
                  <a:gd name="connsiteY1695" fmla="*/ 4887162 h 6851196"/>
                  <a:gd name="connsiteX1696" fmla="*/ 7583695 w 12187339"/>
                  <a:gd name="connsiteY1696" fmla="*/ 4649445 h 6851196"/>
                  <a:gd name="connsiteX1697" fmla="*/ 7807783 w 12187339"/>
                  <a:gd name="connsiteY1697" fmla="*/ 4649445 h 6851196"/>
                  <a:gd name="connsiteX1698" fmla="*/ 7807783 w 12187339"/>
                  <a:gd name="connsiteY1698" fmla="*/ 4887162 h 6851196"/>
                  <a:gd name="connsiteX1699" fmla="*/ 7583695 w 12187339"/>
                  <a:gd name="connsiteY1699" fmla="*/ 4887162 h 6851196"/>
                  <a:gd name="connsiteX1700" fmla="*/ 7814186 w 12187339"/>
                  <a:gd name="connsiteY1700" fmla="*/ 4649445 h 6851196"/>
                  <a:gd name="connsiteX1701" fmla="*/ 8038274 w 12187339"/>
                  <a:gd name="connsiteY1701" fmla="*/ 4649445 h 6851196"/>
                  <a:gd name="connsiteX1702" fmla="*/ 8038274 w 12187339"/>
                  <a:gd name="connsiteY1702" fmla="*/ 4887162 h 6851196"/>
                  <a:gd name="connsiteX1703" fmla="*/ 7814186 w 12187339"/>
                  <a:gd name="connsiteY1703" fmla="*/ 4887162 h 6851196"/>
                  <a:gd name="connsiteX1704" fmla="*/ 8044677 w 12187339"/>
                  <a:gd name="connsiteY1704" fmla="*/ 4649445 h 6851196"/>
                  <a:gd name="connsiteX1705" fmla="*/ 8267227 w 12187339"/>
                  <a:gd name="connsiteY1705" fmla="*/ 4649445 h 6851196"/>
                  <a:gd name="connsiteX1706" fmla="*/ 8267227 w 12187339"/>
                  <a:gd name="connsiteY1706" fmla="*/ 4887162 h 6851196"/>
                  <a:gd name="connsiteX1707" fmla="*/ 8044420 w 12187339"/>
                  <a:gd name="connsiteY1707" fmla="*/ 4887162 h 6851196"/>
                  <a:gd name="connsiteX1708" fmla="*/ 8273629 w 12187339"/>
                  <a:gd name="connsiteY1708" fmla="*/ 4649445 h 6851196"/>
                  <a:gd name="connsiteX1709" fmla="*/ 8497718 w 12187339"/>
                  <a:gd name="connsiteY1709" fmla="*/ 4649445 h 6851196"/>
                  <a:gd name="connsiteX1710" fmla="*/ 8497718 w 12187339"/>
                  <a:gd name="connsiteY1710" fmla="*/ 4887162 h 6851196"/>
                  <a:gd name="connsiteX1711" fmla="*/ 8273629 w 12187339"/>
                  <a:gd name="connsiteY1711" fmla="*/ 4887162 h 6851196"/>
                  <a:gd name="connsiteX1712" fmla="*/ 8504120 w 12187339"/>
                  <a:gd name="connsiteY1712" fmla="*/ 4649445 h 6851196"/>
                  <a:gd name="connsiteX1713" fmla="*/ 8728209 w 12187339"/>
                  <a:gd name="connsiteY1713" fmla="*/ 4649445 h 6851196"/>
                  <a:gd name="connsiteX1714" fmla="*/ 8728209 w 12187339"/>
                  <a:gd name="connsiteY1714" fmla="*/ 4887162 h 6851196"/>
                  <a:gd name="connsiteX1715" fmla="*/ 8504120 w 12187339"/>
                  <a:gd name="connsiteY1715" fmla="*/ 4887162 h 6851196"/>
                  <a:gd name="connsiteX1716" fmla="*/ 8734611 w 12187339"/>
                  <a:gd name="connsiteY1716" fmla="*/ 4649445 h 6851196"/>
                  <a:gd name="connsiteX1717" fmla="*/ 8957162 w 12187339"/>
                  <a:gd name="connsiteY1717" fmla="*/ 4649445 h 6851196"/>
                  <a:gd name="connsiteX1718" fmla="*/ 8957162 w 12187339"/>
                  <a:gd name="connsiteY1718" fmla="*/ 4887162 h 6851196"/>
                  <a:gd name="connsiteX1719" fmla="*/ 8734611 w 12187339"/>
                  <a:gd name="connsiteY1719" fmla="*/ 4887162 h 6851196"/>
                  <a:gd name="connsiteX1720" fmla="*/ 8963564 w 12187339"/>
                  <a:gd name="connsiteY1720" fmla="*/ 4649445 h 6851196"/>
                  <a:gd name="connsiteX1721" fmla="*/ 9187653 w 12187339"/>
                  <a:gd name="connsiteY1721" fmla="*/ 4649445 h 6851196"/>
                  <a:gd name="connsiteX1722" fmla="*/ 9187653 w 12187339"/>
                  <a:gd name="connsiteY1722" fmla="*/ 4887162 h 6851196"/>
                  <a:gd name="connsiteX1723" fmla="*/ 8963564 w 12187339"/>
                  <a:gd name="connsiteY1723" fmla="*/ 4887162 h 6851196"/>
                  <a:gd name="connsiteX1724" fmla="*/ 9194055 w 12187339"/>
                  <a:gd name="connsiteY1724" fmla="*/ 4649445 h 6851196"/>
                  <a:gd name="connsiteX1725" fmla="*/ 9418144 w 12187339"/>
                  <a:gd name="connsiteY1725" fmla="*/ 4649445 h 6851196"/>
                  <a:gd name="connsiteX1726" fmla="*/ 9418144 w 12187339"/>
                  <a:gd name="connsiteY1726" fmla="*/ 4887162 h 6851196"/>
                  <a:gd name="connsiteX1727" fmla="*/ 9194055 w 12187339"/>
                  <a:gd name="connsiteY1727" fmla="*/ 4887162 h 6851196"/>
                  <a:gd name="connsiteX1728" fmla="*/ 9424546 w 12187339"/>
                  <a:gd name="connsiteY1728" fmla="*/ 4649445 h 6851196"/>
                  <a:gd name="connsiteX1729" fmla="*/ 9648635 w 12187339"/>
                  <a:gd name="connsiteY1729" fmla="*/ 4649445 h 6851196"/>
                  <a:gd name="connsiteX1730" fmla="*/ 9648635 w 12187339"/>
                  <a:gd name="connsiteY1730" fmla="*/ 4887162 h 6851196"/>
                  <a:gd name="connsiteX1731" fmla="*/ 9424546 w 12187339"/>
                  <a:gd name="connsiteY1731" fmla="*/ 4887162 h 6851196"/>
                  <a:gd name="connsiteX1732" fmla="*/ 9655037 w 12187339"/>
                  <a:gd name="connsiteY1732" fmla="*/ 4649445 h 6851196"/>
                  <a:gd name="connsiteX1733" fmla="*/ 9877591 w 12187339"/>
                  <a:gd name="connsiteY1733" fmla="*/ 4649445 h 6851196"/>
                  <a:gd name="connsiteX1734" fmla="*/ 9877591 w 12187339"/>
                  <a:gd name="connsiteY1734" fmla="*/ 4887162 h 6851196"/>
                  <a:gd name="connsiteX1735" fmla="*/ 9655037 w 12187339"/>
                  <a:gd name="connsiteY1735" fmla="*/ 4887162 h 6851196"/>
                  <a:gd name="connsiteX1736" fmla="*/ 9883993 w 12187339"/>
                  <a:gd name="connsiteY1736" fmla="*/ 4649445 h 6851196"/>
                  <a:gd name="connsiteX1737" fmla="*/ 10108082 w 12187339"/>
                  <a:gd name="connsiteY1737" fmla="*/ 4649445 h 6851196"/>
                  <a:gd name="connsiteX1738" fmla="*/ 10108082 w 12187339"/>
                  <a:gd name="connsiteY1738" fmla="*/ 4887162 h 6851196"/>
                  <a:gd name="connsiteX1739" fmla="*/ 9883993 w 12187339"/>
                  <a:gd name="connsiteY1739" fmla="*/ 4887162 h 6851196"/>
                  <a:gd name="connsiteX1740" fmla="*/ 10114484 w 12187339"/>
                  <a:gd name="connsiteY1740" fmla="*/ 4649445 h 6851196"/>
                  <a:gd name="connsiteX1741" fmla="*/ 10338573 w 12187339"/>
                  <a:gd name="connsiteY1741" fmla="*/ 4649445 h 6851196"/>
                  <a:gd name="connsiteX1742" fmla="*/ 10338573 w 12187339"/>
                  <a:gd name="connsiteY1742" fmla="*/ 4887162 h 6851196"/>
                  <a:gd name="connsiteX1743" fmla="*/ 10114484 w 12187339"/>
                  <a:gd name="connsiteY1743" fmla="*/ 4887162 h 6851196"/>
                  <a:gd name="connsiteX1744" fmla="*/ 10114484 w 12187339"/>
                  <a:gd name="connsiteY1744" fmla="*/ 4642642 h 6851196"/>
                  <a:gd name="connsiteX1745" fmla="*/ 10114484 w 12187339"/>
                  <a:gd name="connsiteY1745" fmla="*/ 4406149 h 6851196"/>
                  <a:gd name="connsiteX1746" fmla="*/ 10338573 w 12187339"/>
                  <a:gd name="connsiteY1746" fmla="*/ 4406149 h 6851196"/>
                  <a:gd name="connsiteX1747" fmla="*/ 10338573 w 12187339"/>
                  <a:gd name="connsiteY1747" fmla="*/ 4642233 h 6851196"/>
                  <a:gd name="connsiteX1748" fmla="*/ 10114484 w 12187339"/>
                  <a:gd name="connsiteY1748" fmla="*/ 4399346 h 6851196"/>
                  <a:gd name="connsiteX1749" fmla="*/ 10114484 w 12187339"/>
                  <a:gd name="connsiteY1749" fmla="*/ 4161221 h 6851196"/>
                  <a:gd name="connsiteX1750" fmla="*/ 10338573 w 12187339"/>
                  <a:gd name="connsiteY1750" fmla="*/ 4161221 h 6851196"/>
                  <a:gd name="connsiteX1751" fmla="*/ 10338573 w 12187339"/>
                  <a:gd name="connsiteY1751" fmla="*/ 4399346 h 6851196"/>
                  <a:gd name="connsiteX1752" fmla="*/ 10114484 w 12187339"/>
                  <a:gd name="connsiteY1752" fmla="*/ 4154417 h 6851196"/>
                  <a:gd name="connsiteX1753" fmla="*/ 10114484 w 12187339"/>
                  <a:gd name="connsiteY1753" fmla="*/ 3916292 h 6851196"/>
                  <a:gd name="connsiteX1754" fmla="*/ 10338573 w 12187339"/>
                  <a:gd name="connsiteY1754" fmla="*/ 3916292 h 6851196"/>
                  <a:gd name="connsiteX1755" fmla="*/ 10338573 w 12187339"/>
                  <a:gd name="connsiteY1755" fmla="*/ 4154417 h 6851196"/>
                  <a:gd name="connsiteX1756" fmla="*/ 10114484 w 12187339"/>
                  <a:gd name="connsiteY1756" fmla="*/ 3909489 h 6851196"/>
                  <a:gd name="connsiteX1757" fmla="*/ 10114484 w 12187339"/>
                  <a:gd name="connsiteY1757" fmla="*/ 3671364 h 6851196"/>
                  <a:gd name="connsiteX1758" fmla="*/ 10338573 w 12187339"/>
                  <a:gd name="connsiteY1758" fmla="*/ 3671364 h 6851196"/>
                  <a:gd name="connsiteX1759" fmla="*/ 10338573 w 12187339"/>
                  <a:gd name="connsiteY1759" fmla="*/ 3909489 h 6851196"/>
                  <a:gd name="connsiteX1760" fmla="*/ 10114484 w 12187339"/>
                  <a:gd name="connsiteY1760" fmla="*/ 3664560 h 6851196"/>
                  <a:gd name="connsiteX1761" fmla="*/ 10114484 w 12187339"/>
                  <a:gd name="connsiteY1761" fmla="*/ 3428068 h 6851196"/>
                  <a:gd name="connsiteX1762" fmla="*/ 10338573 w 12187339"/>
                  <a:gd name="connsiteY1762" fmla="*/ 3428068 h 6851196"/>
                  <a:gd name="connsiteX1763" fmla="*/ 10338573 w 12187339"/>
                  <a:gd name="connsiteY1763" fmla="*/ 3664560 h 6851196"/>
                  <a:gd name="connsiteX1764" fmla="*/ 10114484 w 12187339"/>
                  <a:gd name="connsiteY1764" fmla="*/ 3421264 h 6851196"/>
                  <a:gd name="connsiteX1765" fmla="*/ 10114484 w 12187339"/>
                  <a:gd name="connsiteY1765" fmla="*/ 3183139 h 6851196"/>
                  <a:gd name="connsiteX1766" fmla="*/ 10338573 w 12187339"/>
                  <a:gd name="connsiteY1766" fmla="*/ 3183139 h 6851196"/>
                  <a:gd name="connsiteX1767" fmla="*/ 10338573 w 12187339"/>
                  <a:gd name="connsiteY1767" fmla="*/ 3421264 h 6851196"/>
                  <a:gd name="connsiteX1768" fmla="*/ 10114484 w 12187339"/>
                  <a:gd name="connsiteY1768" fmla="*/ 3176336 h 6851196"/>
                  <a:gd name="connsiteX1769" fmla="*/ 10114484 w 12187339"/>
                  <a:gd name="connsiteY1769" fmla="*/ 2938211 h 6851196"/>
                  <a:gd name="connsiteX1770" fmla="*/ 10338573 w 12187339"/>
                  <a:gd name="connsiteY1770" fmla="*/ 2938211 h 6851196"/>
                  <a:gd name="connsiteX1771" fmla="*/ 10338573 w 12187339"/>
                  <a:gd name="connsiteY1771" fmla="*/ 3176336 h 6851196"/>
                  <a:gd name="connsiteX1772" fmla="*/ 10114484 w 12187339"/>
                  <a:gd name="connsiteY1772" fmla="*/ 2931407 h 6851196"/>
                  <a:gd name="connsiteX1773" fmla="*/ 10114484 w 12187339"/>
                  <a:gd name="connsiteY1773" fmla="*/ 2693282 h 6851196"/>
                  <a:gd name="connsiteX1774" fmla="*/ 10338573 w 12187339"/>
                  <a:gd name="connsiteY1774" fmla="*/ 2693282 h 6851196"/>
                  <a:gd name="connsiteX1775" fmla="*/ 10338573 w 12187339"/>
                  <a:gd name="connsiteY1775" fmla="*/ 2931407 h 6851196"/>
                  <a:gd name="connsiteX1776" fmla="*/ 10114484 w 12187339"/>
                  <a:gd name="connsiteY1776" fmla="*/ 2686479 h 6851196"/>
                  <a:gd name="connsiteX1777" fmla="*/ 10114484 w 12187339"/>
                  <a:gd name="connsiteY1777" fmla="*/ 2449986 h 6851196"/>
                  <a:gd name="connsiteX1778" fmla="*/ 10338573 w 12187339"/>
                  <a:gd name="connsiteY1778" fmla="*/ 2449986 h 6851196"/>
                  <a:gd name="connsiteX1779" fmla="*/ 10338573 w 12187339"/>
                  <a:gd name="connsiteY1779" fmla="*/ 2686479 h 6851196"/>
                  <a:gd name="connsiteX1780" fmla="*/ 10114484 w 12187339"/>
                  <a:gd name="connsiteY1780" fmla="*/ 2443183 h 6851196"/>
                  <a:gd name="connsiteX1781" fmla="*/ 10114484 w 12187339"/>
                  <a:gd name="connsiteY1781" fmla="*/ 2205058 h 6851196"/>
                  <a:gd name="connsiteX1782" fmla="*/ 10338573 w 12187339"/>
                  <a:gd name="connsiteY1782" fmla="*/ 2205058 h 6851196"/>
                  <a:gd name="connsiteX1783" fmla="*/ 10338573 w 12187339"/>
                  <a:gd name="connsiteY1783" fmla="*/ 2443183 h 6851196"/>
                  <a:gd name="connsiteX1784" fmla="*/ 10114484 w 12187339"/>
                  <a:gd name="connsiteY1784" fmla="*/ 2198254 h 6851196"/>
                  <a:gd name="connsiteX1785" fmla="*/ 10114484 w 12187339"/>
                  <a:gd name="connsiteY1785" fmla="*/ 1960129 h 6851196"/>
                  <a:gd name="connsiteX1786" fmla="*/ 10338573 w 12187339"/>
                  <a:gd name="connsiteY1786" fmla="*/ 1960129 h 6851196"/>
                  <a:gd name="connsiteX1787" fmla="*/ 10338573 w 12187339"/>
                  <a:gd name="connsiteY1787" fmla="*/ 2198254 h 6851196"/>
                  <a:gd name="connsiteX1788" fmla="*/ 10114484 w 12187339"/>
                  <a:gd name="connsiteY1788" fmla="*/ 1953326 h 6851196"/>
                  <a:gd name="connsiteX1789" fmla="*/ 10114484 w 12187339"/>
                  <a:gd name="connsiteY1789" fmla="*/ 1716697 h 6851196"/>
                  <a:gd name="connsiteX1790" fmla="*/ 10338573 w 12187339"/>
                  <a:gd name="connsiteY1790" fmla="*/ 1716697 h 6851196"/>
                  <a:gd name="connsiteX1791" fmla="*/ 10338573 w 12187339"/>
                  <a:gd name="connsiteY1791" fmla="*/ 1953189 h 6851196"/>
                  <a:gd name="connsiteX1792" fmla="*/ 10108082 w 12187339"/>
                  <a:gd name="connsiteY1792" fmla="*/ 1953326 h 6851196"/>
                  <a:gd name="connsiteX1793" fmla="*/ 9883993 w 12187339"/>
                  <a:gd name="connsiteY1793" fmla="*/ 1953326 h 6851196"/>
                  <a:gd name="connsiteX1794" fmla="*/ 9883993 w 12187339"/>
                  <a:gd name="connsiteY1794" fmla="*/ 1716697 h 6851196"/>
                  <a:gd name="connsiteX1795" fmla="*/ 10108082 w 12187339"/>
                  <a:gd name="connsiteY1795" fmla="*/ 1716697 h 6851196"/>
                  <a:gd name="connsiteX1796" fmla="*/ 9877591 w 12187339"/>
                  <a:gd name="connsiteY1796" fmla="*/ 1953326 h 6851196"/>
                  <a:gd name="connsiteX1797" fmla="*/ 9655037 w 12187339"/>
                  <a:gd name="connsiteY1797" fmla="*/ 1953326 h 6851196"/>
                  <a:gd name="connsiteX1798" fmla="*/ 9655037 w 12187339"/>
                  <a:gd name="connsiteY1798" fmla="*/ 1716697 h 6851196"/>
                  <a:gd name="connsiteX1799" fmla="*/ 9877591 w 12187339"/>
                  <a:gd name="connsiteY1799" fmla="*/ 1716697 h 6851196"/>
                  <a:gd name="connsiteX1800" fmla="*/ 9648635 w 12187339"/>
                  <a:gd name="connsiteY1800" fmla="*/ 1953326 h 6851196"/>
                  <a:gd name="connsiteX1801" fmla="*/ 9424546 w 12187339"/>
                  <a:gd name="connsiteY1801" fmla="*/ 1953326 h 6851196"/>
                  <a:gd name="connsiteX1802" fmla="*/ 9424546 w 12187339"/>
                  <a:gd name="connsiteY1802" fmla="*/ 1716697 h 6851196"/>
                  <a:gd name="connsiteX1803" fmla="*/ 9648635 w 12187339"/>
                  <a:gd name="connsiteY1803" fmla="*/ 1716697 h 6851196"/>
                  <a:gd name="connsiteX1804" fmla="*/ 9418144 w 12187339"/>
                  <a:gd name="connsiteY1804" fmla="*/ 1953326 h 6851196"/>
                  <a:gd name="connsiteX1805" fmla="*/ 9194055 w 12187339"/>
                  <a:gd name="connsiteY1805" fmla="*/ 1953326 h 6851196"/>
                  <a:gd name="connsiteX1806" fmla="*/ 9194055 w 12187339"/>
                  <a:gd name="connsiteY1806" fmla="*/ 1716697 h 6851196"/>
                  <a:gd name="connsiteX1807" fmla="*/ 9418144 w 12187339"/>
                  <a:gd name="connsiteY1807" fmla="*/ 1716697 h 6851196"/>
                  <a:gd name="connsiteX1808" fmla="*/ 9187653 w 12187339"/>
                  <a:gd name="connsiteY1808" fmla="*/ 1953326 h 6851196"/>
                  <a:gd name="connsiteX1809" fmla="*/ 8963564 w 12187339"/>
                  <a:gd name="connsiteY1809" fmla="*/ 1953326 h 6851196"/>
                  <a:gd name="connsiteX1810" fmla="*/ 8963564 w 12187339"/>
                  <a:gd name="connsiteY1810" fmla="*/ 1716697 h 6851196"/>
                  <a:gd name="connsiteX1811" fmla="*/ 9187653 w 12187339"/>
                  <a:gd name="connsiteY1811" fmla="*/ 1716697 h 6851196"/>
                  <a:gd name="connsiteX1812" fmla="*/ 8957162 w 12187339"/>
                  <a:gd name="connsiteY1812" fmla="*/ 1953326 h 6851196"/>
                  <a:gd name="connsiteX1813" fmla="*/ 8734611 w 12187339"/>
                  <a:gd name="connsiteY1813" fmla="*/ 1953326 h 6851196"/>
                  <a:gd name="connsiteX1814" fmla="*/ 8734611 w 12187339"/>
                  <a:gd name="connsiteY1814" fmla="*/ 1716697 h 6851196"/>
                  <a:gd name="connsiteX1815" fmla="*/ 8957162 w 12187339"/>
                  <a:gd name="connsiteY1815" fmla="*/ 1716697 h 6851196"/>
                  <a:gd name="connsiteX1816" fmla="*/ 8728209 w 12187339"/>
                  <a:gd name="connsiteY1816" fmla="*/ 1953326 h 6851196"/>
                  <a:gd name="connsiteX1817" fmla="*/ 8504120 w 12187339"/>
                  <a:gd name="connsiteY1817" fmla="*/ 1953326 h 6851196"/>
                  <a:gd name="connsiteX1818" fmla="*/ 8504120 w 12187339"/>
                  <a:gd name="connsiteY1818" fmla="*/ 1716697 h 6851196"/>
                  <a:gd name="connsiteX1819" fmla="*/ 8728209 w 12187339"/>
                  <a:gd name="connsiteY1819" fmla="*/ 1716697 h 6851196"/>
                  <a:gd name="connsiteX1820" fmla="*/ 8497718 w 12187339"/>
                  <a:gd name="connsiteY1820" fmla="*/ 1953326 h 6851196"/>
                  <a:gd name="connsiteX1821" fmla="*/ 8273629 w 12187339"/>
                  <a:gd name="connsiteY1821" fmla="*/ 1953326 h 6851196"/>
                  <a:gd name="connsiteX1822" fmla="*/ 8273629 w 12187339"/>
                  <a:gd name="connsiteY1822" fmla="*/ 1716697 h 6851196"/>
                  <a:gd name="connsiteX1823" fmla="*/ 8497718 w 12187339"/>
                  <a:gd name="connsiteY1823" fmla="*/ 1716697 h 6851196"/>
                  <a:gd name="connsiteX1824" fmla="*/ 8267227 w 12187339"/>
                  <a:gd name="connsiteY1824" fmla="*/ 1953326 h 6851196"/>
                  <a:gd name="connsiteX1825" fmla="*/ 8044420 w 12187339"/>
                  <a:gd name="connsiteY1825" fmla="*/ 1953326 h 6851196"/>
                  <a:gd name="connsiteX1826" fmla="*/ 8044420 w 12187339"/>
                  <a:gd name="connsiteY1826" fmla="*/ 1716697 h 6851196"/>
                  <a:gd name="connsiteX1827" fmla="*/ 8267227 w 12187339"/>
                  <a:gd name="connsiteY1827" fmla="*/ 1716697 h 6851196"/>
                  <a:gd name="connsiteX1828" fmla="*/ 8038274 w 12187339"/>
                  <a:gd name="connsiteY1828" fmla="*/ 1953326 h 6851196"/>
                  <a:gd name="connsiteX1829" fmla="*/ 7814186 w 12187339"/>
                  <a:gd name="connsiteY1829" fmla="*/ 1953326 h 6851196"/>
                  <a:gd name="connsiteX1830" fmla="*/ 7814186 w 12187339"/>
                  <a:gd name="connsiteY1830" fmla="*/ 1716697 h 6851196"/>
                  <a:gd name="connsiteX1831" fmla="*/ 8038274 w 12187339"/>
                  <a:gd name="connsiteY1831" fmla="*/ 1716697 h 6851196"/>
                  <a:gd name="connsiteX1832" fmla="*/ 7807783 w 12187339"/>
                  <a:gd name="connsiteY1832" fmla="*/ 1953326 h 6851196"/>
                  <a:gd name="connsiteX1833" fmla="*/ 7583695 w 12187339"/>
                  <a:gd name="connsiteY1833" fmla="*/ 1953326 h 6851196"/>
                  <a:gd name="connsiteX1834" fmla="*/ 7583695 w 12187339"/>
                  <a:gd name="connsiteY1834" fmla="*/ 1716697 h 6851196"/>
                  <a:gd name="connsiteX1835" fmla="*/ 7807783 w 12187339"/>
                  <a:gd name="connsiteY1835" fmla="*/ 1716697 h 6851196"/>
                  <a:gd name="connsiteX1836" fmla="*/ 7577292 w 12187339"/>
                  <a:gd name="connsiteY1836" fmla="*/ 1953326 h 6851196"/>
                  <a:gd name="connsiteX1837" fmla="*/ 7353204 w 12187339"/>
                  <a:gd name="connsiteY1837" fmla="*/ 1953326 h 6851196"/>
                  <a:gd name="connsiteX1838" fmla="*/ 7353204 w 12187339"/>
                  <a:gd name="connsiteY1838" fmla="*/ 1716697 h 6851196"/>
                  <a:gd name="connsiteX1839" fmla="*/ 7577292 w 12187339"/>
                  <a:gd name="connsiteY1839" fmla="*/ 1716697 h 6851196"/>
                  <a:gd name="connsiteX1840" fmla="*/ 7346801 w 12187339"/>
                  <a:gd name="connsiteY1840" fmla="*/ 1953326 h 6851196"/>
                  <a:gd name="connsiteX1841" fmla="*/ 7124247 w 12187339"/>
                  <a:gd name="connsiteY1841" fmla="*/ 1953326 h 6851196"/>
                  <a:gd name="connsiteX1842" fmla="*/ 7124247 w 12187339"/>
                  <a:gd name="connsiteY1842" fmla="*/ 1716697 h 6851196"/>
                  <a:gd name="connsiteX1843" fmla="*/ 7346801 w 12187339"/>
                  <a:gd name="connsiteY1843" fmla="*/ 1716697 h 6851196"/>
                  <a:gd name="connsiteX1844" fmla="*/ 7117845 w 12187339"/>
                  <a:gd name="connsiteY1844" fmla="*/ 1953326 h 6851196"/>
                  <a:gd name="connsiteX1845" fmla="*/ 6893756 w 12187339"/>
                  <a:gd name="connsiteY1845" fmla="*/ 1953326 h 6851196"/>
                  <a:gd name="connsiteX1846" fmla="*/ 6893756 w 12187339"/>
                  <a:gd name="connsiteY1846" fmla="*/ 1716697 h 6851196"/>
                  <a:gd name="connsiteX1847" fmla="*/ 7117845 w 12187339"/>
                  <a:gd name="connsiteY1847" fmla="*/ 1716697 h 6851196"/>
                  <a:gd name="connsiteX1848" fmla="*/ 6887354 w 12187339"/>
                  <a:gd name="connsiteY1848" fmla="*/ 1953326 h 6851196"/>
                  <a:gd name="connsiteX1849" fmla="*/ 6663265 w 12187339"/>
                  <a:gd name="connsiteY1849" fmla="*/ 1953326 h 6851196"/>
                  <a:gd name="connsiteX1850" fmla="*/ 6663265 w 12187339"/>
                  <a:gd name="connsiteY1850" fmla="*/ 1716697 h 6851196"/>
                  <a:gd name="connsiteX1851" fmla="*/ 6887354 w 12187339"/>
                  <a:gd name="connsiteY1851" fmla="*/ 1716697 h 6851196"/>
                  <a:gd name="connsiteX1852" fmla="*/ 6656863 w 12187339"/>
                  <a:gd name="connsiteY1852" fmla="*/ 1953326 h 6851196"/>
                  <a:gd name="connsiteX1853" fmla="*/ 6446349 w 12187339"/>
                  <a:gd name="connsiteY1853" fmla="*/ 1953326 h 6851196"/>
                  <a:gd name="connsiteX1854" fmla="*/ 6446349 w 12187339"/>
                  <a:gd name="connsiteY1854" fmla="*/ 1716697 h 6851196"/>
                  <a:gd name="connsiteX1855" fmla="*/ 6656863 w 12187339"/>
                  <a:gd name="connsiteY1855" fmla="*/ 1716697 h 6851196"/>
                  <a:gd name="connsiteX1856" fmla="*/ 6439946 w 12187339"/>
                  <a:gd name="connsiteY1856" fmla="*/ 1953326 h 6851196"/>
                  <a:gd name="connsiteX1857" fmla="*/ 6217136 w 12187339"/>
                  <a:gd name="connsiteY1857" fmla="*/ 1953326 h 6851196"/>
                  <a:gd name="connsiteX1858" fmla="*/ 6217136 w 12187339"/>
                  <a:gd name="connsiteY1858" fmla="*/ 1716697 h 6851196"/>
                  <a:gd name="connsiteX1859" fmla="*/ 6439690 w 12187339"/>
                  <a:gd name="connsiteY1859" fmla="*/ 1716697 h 6851196"/>
                  <a:gd name="connsiteX1860" fmla="*/ 6210990 w 12187339"/>
                  <a:gd name="connsiteY1860" fmla="*/ 1953326 h 6851196"/>
                  <a:gd name="connsiteX1861" fmla="*/ 5986902 w 12187339"/>
                  <a:gd name="connsiteY1861" fmla="*/ 1953326 h 6851196"/>
                  <a:gd name="connsiteX1862" fmla="*/ 5986902 w 12187339"/>
                  <a:gd name="connsiteY1862" fmla="*/ 1716697 h 6851196"/>
                  <a:gd name="connsiteX1863" fmla="*/ 6210990 w 12187339"/>
                  <a:gd name="connsiteY1863" fmla="*/ 1716697 h 6851196"/>
                  <a:gd name="connsiteX1864" fmla="*/ 5980499 w 12187339"/>
                  <a:gd name="connsiteY1864" fmla="*/ 1953326 h 6851196"/>
                  <a:gd name="connsiteX1865" fmla="*/ 5756411 w 12187339"/>
                  <a:gd name="connsiteY1865" fmla="*/ 1953326 h 6851196"/>
                  <a:gd name="connsiteX1866" fmla="*/ 5756411 w 12187339"/>
                  <a:gd name="connsiteY1866" fmla="*/ 1716697 h 6851196"/>
                  <a:gd name="connsiteX1867" fmla="*/ 5980499 w 12187339"/>
                  <a:gd name="connsiteY1867" fmla="*/ 1716697 h 6851196"/>
                  <a:gd name="connsiteX1868" fmla="*/ 5750008 w 12187339"/>
                  <a:gd name="connsiteY1868" fmla="*/ 1953326 h 6851196"/>
                  <a:gd name="connsiteX1869" fmla="*/ 5526945 w 12187339"/>
                  <a:gd name="connsiteY1869" fmla="*/ 1953326 h 6851196"/>
                  <a:gd name="connsiteX1870" fmla="*/ 5526945 w 12187339"/>
                  <a:gd name="connsiteY1870" fmla="*/ 1716697 h 6851196"/>
                  <a:gd name="connsiteX1871" fmla="*/ 5749495 w 12187339"/>
                  <a:gd name="connsiteY1871" fmla="*/ 1716697 h 6851196"/>
                  <a:gd name="connsiteX1872" fmla="*/ 5521055 w 12187339"/>
                  <a:gd name="connsiteY1872" fmla="*/ 1953326 h 6851196"/>
                  <a:gd name="connsiteX1873" fmla="*/ 5296454 w 12187339"/>
                  <a:gd name="connsiteY1873" fmla="*/ 1953326 h 6851196"/>
                  <a:gd name="connsiteX1874" fmla="*/ 5296454 w 12187339"/>
                  <a:gd name="connsiteY1874" fmla="*/ 1716697 h 6851196"/>
                  <a:gd name="connsiteX1875" fmla="*/ 5520542 w 12187339"/>
                  <a:gd name="connsiteY1875" fmla="*/ 1716697 h 6851196"/>
                  <a:gd name="connsiteX1876" fmla="*/ 5290564 w 12187339"/>
                  <a:gd name="connsiteY1876" fmla="*/ 1953326 h 6851196"/>
                  <a:gd name="connsiteX1877" fmla="*/ 5065963 w 12187339"/>
                  <a:gd name="connsiteY1877" fmla="*/ 1953326 h 6851196"/>
                  <a:gd name="connsiteX1878" fmla="*/ 5065963 w 12187339"/>
                  <a:gd name="connsiteY1878" fmla="*/ 1716697 h 6851196"/>
                  <a:gd name="connsiteX1879" fmla="*/ 5290051 w 12187339"/>
                  <a:gd name="connsiteY1879" fmla="*/ 1716697 h 6851196"/>
                  <a:gd name="connsiteX1880" fmla="*/ 5060073 w 12187339"/>
                  <a:gd name="connsiteY1880" fmla="*/ 1953326 h 6851196"/>
                  <a:gd name="connsiteX1881" fmla="*/ 4835472 w 12187339"/>
                  <a:gd name="connsiteY1881" fmla="*/ 1953326 h 6851196"/>
                  <a:gd name="connsiteX1882" fmla="*/ 4835472 w 12187339"/>
                  <a:gd name="connsiteY1882" fmla="*/ 1716697 h 6851196"/>
                  <a:gd name="connsiteX1883" fmla="*/ 5059560 w 12187339"/>
                  <a:gd name="connsiteY1883" fmla="*/ 1716697 h 6851196"/>
                  <a:gd name="connsiteX1884" fmla="*/ 4829582 w 12187339"/>
                  <a:gd name="connsiteY1884" fmla="*/ 1953326 h 6851196"/>
                  <a:gd name="connsiteX1885" fmla="*/ 4607029 w 12187339"/>
                  <a:gd name="connsiteY1885" fmla="*/ 1953326 h 6851196"/>
                  <a:gd name="connsiteX1886" fmla="*/ 4607029 w 12187339"/>
                  <a:gd name="connsiteY1886" fmla="*/ 1716697 h 6851196"/>
                  <a:gd name="connsiteX1887" fmla="*/ 4829582 w 12187339"/>
                  <a:gd name="connsiteY1887" fmla="*/ 1716697 h 6851196"/>
                  <a:gd name="connsiteX1888" fmla="*/ 4600626 w 12187339"/>
                  <a:gd name="connsiteY1888" fmla="*/ 1953326 h 6851196"/>
                  <a:gd name="connsiteX1889" fmla="*/ 4376538 w 12187339"/>
                  <a:gd name="connsiteY1889" fmla="*/ 1953326 h 6851196"/>
                  <a:gd name="connsiteX1890" fmla="*/ 4376538 w 12187339"/>
                  <a:gd name="connsiteY1890" fmla="*/ 1716697 h 6851196"/>
                  <a:gd name="connsiteX1891" fmla="*/ 4600626 w 12187339"/>
                  <a:gd name="connsiteY1891" fmla="*/ 1716697 h 6851196"/>
                  <a:gd name="connsiteX1892" fmla="*/ 4370135 w 12187339"/>
                  <a:gd name="connsiteY1892" fmla="*/ 1953326 h 6851196"/>
                  <a:gd name="connsiteX1893" fmla="*/ 4146047 w 12187339"/>
                  <a:gd name="connsiteY1893" fmla="*/ 1953326 h 6851196"/>
                  <a:gd name="connsiteX1894" fmla="*/ 4146047 w 12187339"/>
                  <a:gd name="connsiteY1894" fmla="*/ 1716697 h 6851196"/>
                  <a:gd name="connsiteX1895" fmla="*/ 4370135 w 12187339"/>
                  <a:gd name="connsiteY1895" fmla="*/ 1716697 h 6851196"/>
                  <a:gd name="connsiteX1896" fmla="*/ 4139644 w 12187339"/>
                  <a:gd name="connsiteY1896" fmla="*/ 1953326 h 6851196"/>
                  <a:gd name="connsiteX1897" fmla="*/ 3917094 w 12187339"/>
                  <a:gd name="connsiteY1897" fmla="*/ 1953326 h 6851196"/>
                  <a:gd name="connsiteX1898" fmla="*/ 3917094 w 12187339"/>
                  <a:gd name="connsiteY1898" fmla="*/ 1716697 h 6851196"/>
                  <a:gd name="connsiteX1899" fmla="*/ 4139644 w 12187339"/>
                  <a:gd name="connsiteY1899" fmla="*/ 1716697 h 6851196"/>
                  <a:gd name="connsiteX1900" fmla="*/ 3910691 w 12187339"/>
                  <a:gd name="connsiteY1900" fmla="*/ 1953326 h 6851196"/>
                  <a:gd name="connsiteX1901" fmla="*/ 3686603 w 12187339"/>
                  <a:gd name="connsiteY1901" fmla="*/ 1953326 h 6851196"/>
                  <a:gd name="connsiteX1902" fmla="*/ 3686603 w 12187339"/>
                  <a:gd name="connsiteY1902" fmla="*/ 1716697 h 6851196"/>
                  <a:gd name="connsiteX1903" fmla="*/ 3910691 w 12187339"/>
                  <a:gd name="connsiteY1903" fmla="*/ 1716697 h 6851196"/>
                  <a:gd name="connsiteX1904" fmla="*/ 3680200 w 12187339"/>
                  <a:gd name="connsiteY1904" fmla="*/ 1953326 h 6851196"/>
                  <a:gd name="connsiteX1905" fmla="*/ 3456112 w 12187339"/>
                  <a:gd name="connsiteY1905" fmla="*/ 1953326 h 6851196"/>
                  <a:gd name="connsiteX1906" fmla="*/ 3456112 w 12187339"/>
                  <a:gd name="connsiteY1906" fmla="*/ 1716697 h 6851196"/>
                  <a:gd name="connsiteX1907" fmla="*/ 3680200 w 12187339"/>
                  <a:gd name="connsiteY1907" fmla="*/ 1716697 h 6851196"/>
                  <a:gd name="connsiteX1908" fmla="*/ 3449709 w 12187339"/>
                  <a:gd name="connsiteY1908" fmla="*/ 1953326 h 6851196"/>
                  <a:gd name="connsiteX1909" fmla="*/ 3225621 w 12187339"/>
                  <a:gd name="connsiteY1909" fmla="*/ 1953326 h 6851196"/>
                  <a:gd name="connsiteX1910" fmla="*/ 3225621 w 12187339"/>
                  <a:gd name="connsiteY1910" fmla="*/ 1716697 h 6851196"/>
                  <a:gd name="connsiteX1911" fmla="*/ 3449709 w 12187339"/>
                  <a:gd name="connsiteY1911" fmla="*/ 1716697 h 6851196"/>
                  <a:gd name="connsiteX1912" fmla="*/ 3219218 w 12187339"/>
                  <a:gd name="connsiteY1912" fmla="*/ 1953326 h 6851196"/>
                  <a:gd name="connsiteX1913" fmla="*/ 2996666 w 12187339"/>
                  <a:gd name="connsiteY1913" fmla="*/ 1953326 h 6851196"/>
                  <a:gd name="connsiteX1914" fmla="*/ 2996666 w 12187339"/>
                  <a:gd name="connsiteY1914" fmla="*/ 1716697 h 6851196"/>
                  <a:gd name="connsiteX1915" fmla="*/ 3219218 w 12187339"/>
                  <a:gd name="connsiteY1915" fmla="*/ 1716697 h 6851196"/>
                  <a:gd name="connsiteX1916" fmla="*/ 2990264 w 12187339"/>
                  <a:gd name="connsiteY1916" fmla="*/ 1953326 h 6851196"/>
                  <a:gd name="connsiteX1917" fmla="*/ 2766175 w 12187339"/>
                  <a:gd name="connsiteY1917" fmla="*/ 1953326 h 6851196"/>
                  <a:gd name="connsiteX1918" fmla="*/ 2766175 w 12187339"/>
                  <a:gd name="connsiteY1918" fmla="*/ 1716697 h 6851196"/>
                  <a:gd name="connsiteX1919" fmla="*/ 2990264 w 12187339"/>
                  <a:gd name="connsiteY1919" fmla="*/ 1716697 h 6851196"/>
                  <a:gd name="connsiteX1920" fmla="*/ 2759773 w 12187339"/>
                  <a:gd name="connsiteY1920" fmla="*/ 1953326 h 6851196"/>
                  <a:gd name="connsiteX1921" fmla="*/ 2535684 w 12187339"/>
                  <a:gd name="connsiteY1921" fmla="*/ 1953326 h 6851196"/>
                  <a:gd name="connsiteX1922" fmla="*/ 2535684 w 12187339"/>
                  <a:gd name="connsiteY1922" fmla="*/ 1716697 h 6851196"/>
                  <a:gd name="connsiteX1923" fmla="*/ 2759773 w 12187339"/>
                  <a:gd name="connsiteY1923" fmla="*/ 1716697 h 6851196"/>
                  <a:gd name="connsiteX1924" fmla="*/ 2529282 w 12187339"/>
                  <a:gd name="connsiteY1924" fmla="*/ 1953326 h 6851196"/>
                  <a:gd name="connsiteX1925" fmla="*/ 2305193 w 12187339"/>
                  <a:gd name="connsiteY1925" fmla="*/ 1953326 h 6851196"/>
                  <a:gd name="connsiteX1926" fmla="*/ 2305193 w 12187339"/>
                  <a:gd name="connsiteY1926" fmla="*/ 1716697 h 6851196"/>
                  <a:gd name="connsiteX1927" fmla="*/ 2529282 w 12187339"/>
                  <a:gd name="connsiteY1927" fmla="*/ 1716697 h 6851196"/>
                  <a:gd name="connsiteX1928" fmla="*/ 2298791 w 12187339"/>
                  <a:gd name="connsiteY1928" fmla="*/ 1953326 h 6851196"/>
                  <a:gd name="connsiteX1929" fmla="*/ 2075982 w 12187339"/>
                  <a:gd name="connsiteY1929" fmla="*/ 1953326 h 6851196"/>
                  <a:gd name="connsiteX1930" fmla="*/ 2075982 w 12187339"/>
                  <a:gd name="connsiteY1930" fmla="*/ 1716697 h 6851196"/>
                  <a:gd name="connsiteX1931" fmla="*/ 2298534 w 12187339"/>
                  <a:gd name="connsiteY1931" fmla="*/ 1716697 h 6851196"/>
                  <a:gd name="connsiteX1932" fmla="*/ 2069836 w 12187339"/>
                  <a:gd name="connsiteY1932" fmla="*/ 1953326 h 6851196"/>
                  <a:gd name="connsiteX1933" fmla="*/ 1845748 w 12187339"/>
                  <a:gd name="connsiteY1933" fmla="*/ 1953326 h 6851196"/>
                  <a:gd name="connsiteX1934" fmla="*/ 1845748 w 12187339"/>
                  <a:gd name="connsiteY1934" fmla="*/ 1716697 h 6851196"/>
                  <a:gd name="connsiteX1935" fmla="*/ 2069580 w 12187339"/>
                  <a:gd name="connsiteY1935" fmla="*/ 1716697 h 6851196"/>
                  <a:gd name="connsiteX1936" fmla="*/ 1839345 w 12187339"/>
                  <a:gd name="connsiteY1936" fmla="*/ 1953326 h 6851196"/>
                  <a:gd name="connsiteX1937" fmla="*/ 1615257 w 12187339"/>
                  <a:gd name="connsiteY1937" fmla="*/ 1953326 h 6851196"/>
                  <a:gd name="connsiteX1938" fmla="*/ 1615257 w 12187339"/>
                  <a:gd name="connsiteY1938" fmla="*/ 1716697 h 6851196"/>
                  <a:gd name="connsiteX1939" fmla="*/ 1839089 w 12187339"/>
                  <a:gd name="connsiteY1939" fmla="*/ 1716697 h 6851196"/>
                  <a:gd name="connsiteX1940" fmla="*/ 1839345 w 12187339"/>
                  <a:gd name="connsiteY1940" fmla="*/ 1960129 h 6851196"/>
                  <a:gd name="connsiteX1941" fmla="*/ 1839345 w 12187339"/>
                  <a:gd name="connsiteY1941" fmla="*/ 2198254 h 6851196"/>
                  <a:gd name="connsiteX1942" fmla="*/ 1615257 w 12187339"/>
                  <a:gd name="connsiteY1942" fmla="*/ 2198254 h 6851196"/>
                  <a:gd name="connsiteX1943" fmla="*/ 1615257 w 12187339"/>
                  <a:gd name="connsiteY1943" fmla="*/ 1960129 h 6851196"/>
                  <a:gd name="connsiteX1944" fmla="*/ 1839345 w 12187339"/>
                  <a:gd name="connsiteY1944" fmla="*/ 2205058 h 6851196"/>
                  <a:gd name="connsiteX1945" fmla="*/ 1839345 w 12187339"/>
                  <a:gd name="connsiteY1945" fmla="*/ 2443183 h 6851196"/>
                  <a:gd name="connsiteX1946" fmla="*/ 1615257 w 12187339"/>
                  <a:gd name="connsiteY1946" fmla="*/ 2443183 h 6851196"/>
                  <a:gd name="connsiteX1947" fmla="*/ 1615257 w 12187339"/>
                  <a:gd name="connsiteY1947" fmla="*/ 2205058 h 6851196"/>
                  <a:gd name="connsiteX1948" fmla="*/ 1839345 w 12187339"/>
                  <a:gd name="connsiteY1948" fmla="*/ 2449986 h 6851196"/>
                  <a:gd name="connsiteX1949" fmla="*/ 1839345 w 12187339"/>
                  <a:gd name="connsiteY1949" fmla="*/ 2686479 h 6851196"/>
                  <a:gd name="connsiteX1950" fmla="*/ 1615257 w 12187339"/>
                  <a:gd name="connsiteY1950" fmla="*/ 2686479 h 6851196"/>
                  <a:gd name="connsiteX1951" fmla="*/ 1615257 w 12187339"/>
                  <a:gd name="connsiteY1951" fmla="*/ 2449986 h 6851196"/>
                  <a:gd name="connsiteX1952" fmla="*/ 1839345 w 12187339"/>
                  <a:gd name="connsiteY1952" fmla="*/ 2693282 h 6851196"/>
                  <a:gd name="connsiteX1953" fmla="*/ 1839345 w 12187339"/>
                  <a:gd name="connsiteY1953" fmla="*/ 2931407 h 6851196"/>
                  <a:gd name="connsiteX1954" fmla="*/ 1615257 w 12187339"/>
                  <a:gd name="connsiteY1954" fmla="*/ 2931407 h 6851196"/>
                  <a:gd name="connsiteX1955" fmla="*/ 1615257 w 12187339"/>
                  <a:gd name="connsiteY1955" fmla="*/ 2693282 h 6851196"/>
                  <a:gd name="connsiteX1956" fmla="*/ 1839345 w 12187339"/>
                  <a:gd name="connsiteY1956" fmla="*/ 2938211 h 6851196"/>
                  <a:gd name="connsiteX1957" fmla="*/ 1839345 w 12187339"/>
                  <a:gd name="connsiteY1957" fmla="*/ 3176336 h 6851196"/>
                  <a:gd name="connsiteX1958" fmla="*/ 1615257 w 12187339"/>
                  <a:gd name="connsiteY1958" fmla="*/ 3176336 h 6851196"/>
                  <a:gd name="connsiteX1959" fmla="*/ 1615257 w 12187339"/>
                  <a:gd name="connsiteY1959" fmla="*/ 2938211 h 6851196"/>
                  <a:gd name="connsiteX1960" fmla="*/ 1839345 w 12187339"/>
                  <a:gd name="connsiteY1960" fmla="*/ 3183139 h 6851196"/>
                  <a:gd name="connsiteX1961" fmla="*/ 1839345 w 12187339"/>
                  <a:gd name="connsiteY1961" fmla="*/ 3421264 h 6851196"/>
                  <a:gd name="connsiteX1962" fmla="*/ 1615257 w 12187339"/>
                  <a:gd name="connsiteY1962" fmla="*/ 3421264 h 6851196"/>
                  <a:gd name="connsiteX1963" fmla="*/ 1615257 w 12187339"/>
                  <a:gd name="connsiteY1963" fmla="*/ 3183139 h 6851196"/>
                  <a:gd name="connsiteX1964" fmla="*/ 1839345 w 12187339"/>
                  <a:gd name="connsiteY1964" fmla="*/ 3428068 h 6851196"/>
                  <a:gd name="connsiteX1965" fmla="*/ 1839345 w 12187339"/>
                  <a:gd name="connsiteY1965" fmla="*/ 3664560 h 6851196"/>
                  <a:gd name="connsiteX1966" fmla="*/ 1615257 w 12187339"/>
                  <a:gd name="connsiteY1966" fmla="*/ 3664560 h 6851196"/>
                  <a:gd name="connsiteX1967" fmla="*/ 1615257 w 12187339"/>
                  <a:gd name="connsiteY1967" fmla="*/ 3428068 h 6851196"/>
                  <a:gd name="connsiteX1968" fmla="*/ 1839345 w 12187339"/>
                  <a:gd name="connsiteY1968" fmla="*/ 3671364 h 6851196"/>
                  <a:gd name="connsiteX1969" fmla="*/ 1839345 w 12187339"/>
                  <a:gd name="connsiteY1969" fmla="*/ 3909489 h 6851196"/>
                  <a:gd name="connsiteX1970" fmla="*/ 1615257 w 12187339"/>
                  <a:gd name="connsiteY1970" fmla="*/ 3909489 h 6851196"/>
                  <a:gd name="connsiteX1971" fmla="*/ 1615257 w 12187339"/>
                  <a:gd name="connsiteY1971" fmla="*/ 3671364 h 6851196"/>
                  <a:gd name="connsiteX1972" fmla="*/ 1839345 w 12187339"/>
                  <a:gd name="connsiteY1972" fmla="*/ 3916292 h 6851196"/>
                  <a:gd name="connsiteX1973" fmla="*/ 1839345 w 12187339"/>
                  <a:gd name="connsiteY1973" fmla="*/ 4154417 h 6851196"/>
                  <a:gd name="connsiteX1974" fmla="*/ 1615257 w 12187339"/>
                  <a:gd name="connsiteY1974" fmla="*/ 4154417 h 6851196"/>
                  <a:gd name="connsiteX1975" fmla="*/ 1615257 w 12187339"/>
                  <a:gd name="connsiteY1975" fmla="*/ 3916292 h 6851196"/>
                  <a:gd name="connsiteX1976" fmla="*/ 1839345 w 12187339"/>
                  <a:gd name="connsiteY1976" fmla="*/ 4161221 h 6851196"/>
                  <a:gd name="connsiteX1977" fmla="*/ 1839345 w 12187339"/>
                  <a:gd name="connsiteY1977" fmla="*/ 4399346 h 6851196"/>
                  <a:gd name="connsiteX1978" fmla="*/ 1615257 w 12187339"/>
                  <a:gd name="connsiteY1978" fmla="*/ 4399346 h 6851196"/>
                  <a:gd name="connsiteX1979" fmla="*/ 1615257 w 12187339"/>
                  <a:gd name="connsiteY1979" fmla="*/ 4161221 h 6851196"/>
                  <a:gd name="connsiteX1980" fmla="*/ 1839345 w 12187339"/>
                  <a:gd name="connsiteY1980" fmla="*/ 4406149 h 6851196"/>
                  <a:gd name="connsiteX1981" fmla="*/ 1839345 w 12187339"/>
                  <a:gd name="connsiteY1981" fmla="*/ 4642233 h 6851196"/>
                  <a:gd name="connsiteX1982" fmla="*/ 1615257 w 12187339"/>
                  <a:gd name="connsiteY1982" fmla="*/ 4642233 h 6851196"/>
                  <a:gd name="connsiteX1983" fmla="*/ 1615257 w 12187339"/>
                  <a:gd name="connsiteY1983" fmla="*/ 4405741 h 6851196"/>
                  <a:gd name="connsiteX1984" fmla="*/ 1839345 w 12187339"/>
                  <a:gd name="connsiteY1984" fmla="*/ 4649445 h 6851196"/>
                  <a:gd name="connsiteX1985" fmla="*/ 1839345 w 12187339"/>
                  <a:gd name="connsiteY1985" fmla="*/ 4887162 h 6851196"/>
                  <a:gd name="connsiteX1986" fmla="*/ 1615257 w 12187339"/>
                  <a:gd name="connsiteY1986" fmla="*/ 4887162 h 6851196"/>
                  <a:gd name="connsiteX1987" fmla="*/ 1615257 w 12187339"/>
                  <a:gd name="connsiteY1987" fmla="*/ 4649037 h 6851196"/>
                  <a:gd name="connsiteX1988" fmla="*/ 1839345 w 12187339"/>
                  <a:gd name="connsiteY1988" fmla="*/ 4894374 h 6851196"/>
                  <a:gd name="connsiteX1989" fmla="*/ 1839345 w 12187339"/>
                  <a:gd name="connsiteY1989" fmla="*/ 5132090 h 6851196"/>
                  <a:gd name="connsiteX1990" fmla="*/ 1615257 w 12187339"/>
                  <a:gd name="connsiteY1990" fmla="*/ 5132090 h 6851196"/>
                  <a:gd name="connsiteX1991" fmla="*/ 1615257 w 12187339"/>
                  <a:gd name="connsiteY1991" fmla="*/ 4893965 h 6851196"/>
                  <a:gd name="connsiteX1992" fmla="*/ 1845748 w 12187339"/>
                  <a:gd name="connsiteY1992" fmla="*/ 4894374 h 6851196"/>
                  <a:gd name="connsiteX1993" fmla="*/ 2069580 w 12187339"/>
                  <a:gd name="connsiteY1993" fmla="*/ 4894374 h 6851196"/>
                  <a:gd name="connsiteX1994" fmla="*/ 2069580 w 12187339"/>
                  <a:gd name="connsiteY1994" fmla="*/ 5132090 h 6851196"/>
                  <a:gd name="connsiteX1995" fmla="*/ 1845491 w 12187339"/>
                  <a:gd name="connsiteY1995" fmla="*/ 5132090 h 6851196"/>
                  <a:gd name="connsiteX1996" fmla="*/ 2076239 w 12187339"/>
                  <a:gd name="connsiteY1996" fmla="*/ 4894374 h 6851196"/>
                  <a:gd name="connsiteX1997" fmla="*/ 2298791 w 12187339"/>
                  <a:gd name="connsiteY1997" fmla="*/ 4894374 h 6851196"/>
                  <a:gd name="connsiteX1998" fmla="*/ 2298791 w 12187339"/>
                  <a:gd name="connsiteY1998" fmla="*/ 5132090 h 6851196"/>
                  <a:gd name="connsiteX1999" fmla="*/ 2075982 w 12187339"/>
                  <a:gd name="connsiteY1999" fmla="*/ 5132090 h 6851196"/>
                  <a:gd name="connsiteX2000" fmla="*/ 2305193 w 12187339"/>
                  <a:gd name="connsiteY2000" fmla="*/ 4894374 h 6851196"/>
                  <a:gd name="connsiteX2001" fmla="*/ 2529282 w 12187339"/>
                  <a:gd name="connsiteY2001" fmla="*/ 4894374 h 6851196"/>
                  <a:gd name="connsiteX2002" fmla="*/ 2529282 w 12187339"/>
                  <a:gd name="connsiteY2002" fmla="*/ 5132090 h 6851196"/>
                  <a:gd name="connsiteX2003" fmla="*/ 2305193 w 12187339"/>
                  <a:gd name="connsiteY2003" fmla="*/ 5132090 h 6851196"/>
                  <a:gd name="connsiteX2004" fmla="*/ 2535684 w 12187339"/>
                  <a:gd name="connsiteY2004" fmla="*/ 4894374 h 6851196"/>
                  <a:gd name="connsiteX2005" fmla="*/ 2759773 w 12187339"/>
                  <a:gd name="connsiteY2005" fmla="*/ 4894374 h 6851196"/>
                  <a:gd name="connsiteX2006" fmla="*/ 2759773 w 12187339"/>
                  <a:gd name="connsiteY2006" fmla="*/ 5132090 h 6851196"/>
                  <a:gd name="connsiteX2007" fmla="*/ 2535684 w 12187339"/>
                  <a:gd name="connsiteY2007" fmla="*/ 5132090 h 6851196"/>
                  <a:gd name="connsiteX2008" fmla="*/ 2766175 w 12187339"/>
                  <a:gd name="connsiteY2008" fmla="*/ 4894374 h 6851196"/>
                  <a:gd name="connsiteX2009" fmla="*/ 2990264 w 12187339"/>
                  <a:gd name="connsiteY2009" fmla="*/ 4894374 h 6851196"/>
                  <a:gd name="connsiteX2010" fmla="*/ 2990264 w 12187339"/>
                  <a:gd name="connsiteY2010" fmla="*/ 5132090 h 6851196"/>
                  <a:gd name="connsiteX2011" fmla="*/ 2766175 w 12187339"/>
                  <a:gd name="connsiteY2011" fmla="*/ 5132090 h 6851196"/>
                  <a:gd name="connsiteX2012" fmla="*/ 2996666 w 12187339"/>
                  <a:gd name="connsiteY2012" fmla="*/ 4894374 h 6851196"/>
                  <a:gd name="connsiteX2013" fmla="*/ 3219218 w 12187339"/>
                  <a:gd name="connsiteY2013" fmla="*/ 4894374 h 6851196"/>
                  <a:gd name="connsiteX2014" fmla="*/ 3219218 w 12187339"/>
                  <a:gd name="connsiteY2014" fmla="*/ 5132090 h 6851196"/>
                  <a:gd name="connsiteX2015" fmla="*/ 2996666 w 12187339"/>
                  <a:gd name="connsiteY2015" fmla="*/ 5132090 h 6851196"/>
                  <a:gd name="connsiteX2016" fmla="*/ 3225621 w 12187339"/>
                  <a:gd name="connsiteY2016" fmla="*/ 4894374 h 6851196"/>
                  <a:gd name="connsiteX2017" fmla="*/ 3449709 w 12187339"/>
                  <a:gd name="connsiteY2017" fmla="*/ 4894374 h 6851196"/>
                  <a:gd name="connsiteX2018" fmla="*/ 3449709 w 12187339"/>
                  <a:gd name="connsiteY2018" fmla="*/ 5132090 h 6851196"/>
                  <a:gd name="connsiteX2019" fmla="*/ 3225621 w 12187339"/>
                  <a:gd name="connsiteY2019" fmla="*/ 5132090 h 6851196"/>
                  <a:gd name="connsiteX2020" fmla="*/ 3456112 w 12187339"/>
                  <a:gd name="connsiteY2020" fmla="*/ 4894374 h 6851196"/>
                  <a:gd name="connsiteX2021" fmla="*/ 3680200 w 12187339"/>
                  <a:gd name="connsiteY2021" fmla="*/ 4894374 h 6851196"/>
                  <a:gd name="connsiteX2022" fmla="*/ 3680200 w 12187339"/>
                  <a:gd name="connsiteY2022" fmla="*/ 5132090 h 6851196"/>
                  <a:gd name="connsiteX2023" fmla="*/ 3456112 w 12187339"/>
                  <a:gd name="connsiteY2023" fmla="*/ 5132090 h 6851196"/>
                  <a:gd name="connsiteX2024" fmla="*/ 3686603 w 12187339"/>
                  <a:gd name="connsiteY2024" fmla="*/ 4894374 h 6851196"/>
                  <a:gd name="connsiteX2025" fmla="*/ 3910691 w 12187339"/>
                  <a:gd name="connsiteY2025" fmla="*/ 4894374 h 6851196"/>
                  <a:gd name="connsiteX2026" fmla="*/ 3910691 w 12187339"/>
                  <a:gd name="connsiteY2026" fmla="*/ 5132090 h 6851196"/>
                  <a:gd name="connsiteX2027" fmla="*/ 3686603 w 12187339"/>
                  <a:gd name="connsiteY2027" fmla="*/ 5132090 h 6851196"/>
                  <a:gd name="connsiteX2028" fmla="*/ 3917094 w 12187339"/>
                  <a:gd name="connsiteY2028" fmla="*/ 4894374 h 6851196"/>
                  <a:gd name="connsiteX2029" fmla="*/ 4139644 w 12187339"/>
                  <a:gd name="connsiteY2029" fmla="*/ 4894374 h 6851196"/>
                  <a:gd name="connsiteX2030" fmla="*/ 4139644 w 12187339"/>
                  <a:gd name="connsiteY2030" fmla="*/ 5132090 h 6851196"/>
                  <a:gd name="connsiteX2031" fmla="*/ 3917094 w 12187339"/>
                  <a:gd name="connsiteY2031" fmla="*/ 5132090 h 6851196"/>
                  <a:gd name="connsiteX2032" fmla="*/ 4146047 w 12187339"/>
                  <a:gd name="connsiteY2032" fmla="*/ 4894374 h 6851196"/>
                  <a:gd name="connsiteX2033" fmla="*/ 4370135 w 12187339"/>
                  <a:gd name="connsiteY2033" fmla="*/ 4894374 h 6851196"/>
                  <a:gd name="connsiteX2034" fmla="*/ 4370135 w 12187339"/>
                  <a:gd name="connsiteY2034" fmla="*/ 5132090 h 6851196"/>
                  <a:gd name="connsiteX2035" fmla="*/ 4146047 w 12187339"/>
                  <a:gd name="connsiteY2035" fmla="*/ 5132090 h 6851196"/>
                  <a:gd name="connsiteX2036" fmla="*/ 4376538 w 12187339"/>
                  <a:gd name="connsiteY2036" fmla="*/ 4894374 h 6851196"/>
                  <a:gd name="connsiteX2037" fmla="*/ 4600626 w 12187339"/>
                  <a:gd name="connsiteY2037" fmla="*/ 4894374 h 6851196"/>
                  <a:gd name="connsiteX2038" fmla="*/ 4600626 w 12187339"/>
                  <a:gd name="connsiteY2038" fmla="*/ 5132090 h 6851196"/>
                  <a:gd name="connsiteX2039" fmla="*/ 4376538 w 12187339"/>
                  <a:gd name="connsiteY2039" fmla="*/ 5132090 h 6851196"/>
                  <a:gd name="connsiteX2040" fmla="*/ 4607029 w 12187339"/>
                  <a:gd name="connsiteY2040" fmla="*/ 4894374 h 6851196"/>
                  <a:gd name="connsiteX2041" fmla="*/ 4829582 w 12187339"/>
                  <a:gd name="connsiteY2041" fmla="*/ 4894374 h 6851196"/>
                  <a:gd name="connsiteX2042" fmla="*/ 4829582 w 12187339"/>
                  <a:gd name="connsiteY2042" fmla="*/ 5132090 h 6851196"/>
                  <a:gd name="connsiteX2043" fmla="*/ 4607029 w 12187339"/>
                  <a:gd name="connsiteY2043" fmla="*/ 5132090 h 6851196"/>
                  <a:gd name="connsiteX2044" fmla="*/ 4835985 w 12187339"/>
                  <a:gd name="connsiteY2044" fmla="*/ 4894374 h 6851196"/>
                  <a:gd name="connsiteX2045" fmla="*/ 5060073 w 12187339"/>
                  <a:gd name="connsiteY2045" fmla="*/ 4894374 h 6851196"/>
                  <a:gd name="connsiteX2046" fmla="*/ 5060073 w 12187339"/>
                  <a:gd name="connsiteY2046" fmla="*/ 5132090 h 6851196"/>
                  <a:gd name="connsiteX2047" fmla="*/ 4835472 w 12187339"/>
                  <a:gd name="connsiteY2047" fmla="*/ 5132090 h 6851196"/>
                  <a:gd name="connsiteX2048" fmla="*/ 5066476 w 12187339"/>
                  <a:gd name="connsiteY2048" fmla="*/ 4894374 h 6851196"/>
                  <a:gd name="connsiteX2049" fmla="*/ 5290564 w 12187339"/>
                  <a:gd name="connsiteY2049" fmla="*/ 4894374 h 6851196"/>
                  <a:gd name="connsiteX2050" fmla="*/ 5290564 w 12187339"/>
                  <a:gd name="connsiteY2050" fmla="*/ 5132090 h 6851196"/>
                  <a:gd name="connsiteX2051" fmla="*/ 5065963 w 12187339"/>
                  <a:gd name="connsiteY2051" fmla="*/ 5132090 h 6851196"/>
                  <a:gd name="connsiteX2052" fmla="*/ 5296967 w 12187339"/>
                  <a:gd name="connsiteY2052" fmla="*/ 4894374 h 6851196"/>
                  <a:gd name="connsiteX2053" fmla="*/ 5521055 w 12187339"/>
                  <a:gd name="connsiteY2053" fmla="*/ 4894374 h 6851196"/>
                  <a:gd name="connsiteX2054" fmla="*/ 5521055 w 12187339"/>
                  <a:gd name="connsiteY2054" fmla="*/ 5132090 h 6851196"/>
                  <a:gd name="connsiteX2055" fmla="*/ 5296454 w 12187339"/>
                  <a:gd name="connsiteY2055" fmla="*/ 5132090 h 6851196"/>
                  <a:gd name="connsiteX2056" fmla="*/ 5527458 w 12187339"/>
                  <a:gd name="connsiteY2056" fmla="*/ 4894374 h 6851196"/>
                  <a:gd name="connsiteX2057" fmla="*/ 5750008 w 12187339"/>
                  <a:gd name="connsiteY2057" fmla="*/ 4894374 h 6851196"/>
                  <a:gd name="connsiteX2058" fmla="*/ 5750008 w 12187339"/>
                  <a:gd name="connsiteY2058" fmla="*/ 5132090 h 6851196"/>
                  <a:gd name="connsiteX2059" fmla="*/ 5526945 w 12187339"/>
                  <a:gd name="connsiteY2059" fmla="*/ 5132090 h 6851196"/>
                  <a:gd name="connsiteX2060" fmla="*/ 5756411 w 12187339"/>
                  <a:gd name="connsiteY2060" fmla="*/ 4894374 h 6851196"/>
                  <a:gd name="connsiteX2061" fmla="*/ 5980499 w 12187339"/>
                  <a:gd name="connsiteY2061" fmla="*/ 4894374 h 6851196"/>
                  <a:gd name="connsiteX2062" fmla="*/ 5980499 w 12187339"/>
                  <a:gd name="connsiteY2062" fmla="*/ 5132090 h 6851196"/>
                  <a:gd name="connsiteX2063" fmla="*/ 5756411 w 12187339"/>
                  <a:gd name="connsiteY2063" fmla="*/ 5132090 h 6851196"/>
                  <a:gd name="connsiteX2064" fmla="*/ 5986902 w 12187339"/>
                  <a:gd name="connsiteY2064" fmla="*/ 4894374 h 6851196"/>
                  <a:gd name="connsiteX2065" fmla="*/ 6210990 w 12187339"/>
                  <a:gd name="connsiteY2065" fmla="*/ 4894374 h 6851196"/>
                  <a:gd name="connsiteX2066" fmla="*/ 6210990 w 12187339"/>
                  <a:gd name="connsiteY2066" fmla="*/ 5132090 h 6851196"/>
                  <a:gd name="connsiteX2067" fmla="*/ 5986902 w 12187339"/>
                  <a:gd name="connsiteY2067" fmla="*/ 5132090 h 6851196"/>
                  <a:gd name="connsiteX2068" fmla="*/ 6217393 w 12187339"/>
                  <a:gd name="connsiteY2068" fmla="*/ 4894374 h 6851196"/>
                  <a:gd name="connsiteX2069" fmla="*/ 6439946 w 12187339"/>
                  <a:gd name="connsiteY2069" fmla="*/ 4894374 h 6851196"/>
                  <a:gd name="connsiteX2070" fmla="*/ 6439946 w 12187339"/>
                  <a:gd name="connsiteY2070" fmla="*/ 5132090 h 6851196"/>
                  <a:gd name="connsiteX2071" fmla="*/ 6217136 w 12187339"/>
                  <a:gd name="connsiteY2071" fmla="*/ 5132090 h 6851196"/>
                  <a:gd name="connsiteX2072" fmla="*/ 6446349 w 12187339"/>
                  <a:gd name="connsiteY2072" fmla="*/ 4894374 h 6851196"/>
                  <a:gd name="connsiteX2073" fmla="*/ 6656863 w 12187339"/>
                  <a:gd name="connsiteY2073" fmla="*/ 4894374 h 6851196"/>
                  <a:gd name="connsiteX2074" fmla="*/ 6656863 w 12187339"/>
                  <a:gd name="connsiteY2074" fmla="*/ 5132090 h 6851196"/>
                  <a:gd name="connsiteX2075" fmla="*/ 6446349 w 12187339"/>
                  <a:gd name="connsiteY2075" fmla="*/ 5132090 h 6851196"/>
                  <a:gd name="connsiteX2076" fmla="*/ 6663265 w 12187339"/>
                  <a:gd name="connsiteY2076" fmla="*/ 4894374 h 6851196"/>
                  <a:gd name="connsiteX2077" fmla="*/ 6887354 w 12187339"/>
                  <a:gd name="connsiteY2077" fmla="*/ 4894374 h 6851196"/>
                  <a:gd name="connsiteX2078" fmla="*/ 6887354 w 12187339"/>
                  <a:gd name="connsiteY2078" fmla="*/ 5132090 h 6851196"/>
                  <a:gd name="connsiteX2079" fmla="*/ 6663265 w 12187339"/>
                  <a:gd name="connsiteY2079" fmla="*/ 5132090 h 6851196"/>
                  <a:gd name="connsiteX2080" fmla="*/ 6893756 w 12187339"/>
                  <a:gd name="connsiteY2080" fmla="*/ 4894374 h 6851196"/>
                  <a:gd name="connsiteX2081" fmla="*/ 7117845 w 12187339"/>
                  <a:gd name="connsiteY2081" fmla="*/ 4894374 h 6851196"/>
                  <a:gd name="connsiteX2082" fmla="*/ 7117845 w 12187339"/>
                  <a:gd name="connsiteY2082" fmla="*/ 5132090 h 6851196"/>
                  <a:gd name="connsiteX2083" fmla="*/ 6893756 w 12187339"/>
                  <a:gd name="connsiteY2083" fmla="*/ 5132090 h 6851196"/>
                  <a:gd name="connsiteX2084" fmla="*/ 7124247 w 12187339"/>
                  <a:gd name="connsiteY2084" fmla="*/ 4894374 h 6851196"/>
                  <a:gd name="connsiteX2085" fmla="*/ 7346801 w 12187339"/>
                  <a:gd name="connsiteY2085" fmla="*/ 4894374 h 6851196"/>
                  <a:gd name="connsiteX2086" fmla="*/ 7346801 w 12187339"/>
                  <a:gd name="connsiteY2086" fmla="*/ 5132090 h 6851196"/>
                  <a:gd name="connsiteX2087" fmla="*/ 7124247 w 12187339"/>
                  <a:gd name="connsiteY2087" fmla="*/ 5132090 h 6851196"/>
                  <a:gd name="connsiteX2088" fmla="*/ 7353204 w 12187339"/>
                  <a:gd name="connsiteY2088" fmla="*/ 4894374 h 6851196"/>
                  <a:gd name="connsiteX2089" fmla="*/ 7577292 w 12187339"/>
                  <a:gd name="connsiteY2089" fmla="*/ 4894374 h 6851196"/>
                  <a:gd name="connsiteX2090" fmla="*/ 7577292 w 12187339"/>
                  <a:gd name="connsiteY2090" fmla="*/ 5132090 h 6851196"/>
                  <a:gd name="connsiteX2091" fmla="*/ 7353204 w 12187339"/>
                  <a:gd name="connsiteY2091" fmla="*/ 5132090 h 6851196"/>
                  <a:gd name="connsiteX2092" fmla="*/ 7583695 w 12187339"/>
                  <a:gd name="connsiteY2092" fmla="*/ 4894374 h 6851196"/>
                  <a:gd name="connsiteX2093" fmla="*/ 7807783 w 12187339"/>
                  <a:gd name="connsiteY2093" fmla="*/ 4894374 h 6851196"/>
                  <a:gd name="connsiteX2094" fmla="*/ 7807783 w 12187339"/>
                  <a:gd name="connsiteY2094" fmla="*/ 5132090 h 6851196"/>
                  <a:gd name="connsiteX2095" fmla="*/ 7583695 w 12187339"/>
                  <a:gd name="connsiteY2095" fmla="*/ 5132090 h 6851196"/>
                  <a:gd name="connsiteX2096" fmla="*/ 7814186 w 12187339"/>
                  <a:gd name="connsiteY2096" fmla="*/ 4894374 h 6851196"/>
                  <a:gd name="connsiteX2097" fmla="*/ 8038274 w 12187339"/>
                  <a:gd name="connsiteY2097" fmla="*/ 4894374 h 6851196"/>
                  <a:gd name="connsiteX2098" fmla="*/ 8038274 w 12187339"/>
                  <a:gd name="connsiteY2098" fmla="*/ 5132090 h 6851196"/>
                  <a:gd name="connsiteX2099" fmla="*/ 7814186 w 12187339"/>
                  <a:gd name="connsiteY2099" fmla="*/ 5132090 h 6851196"/>
                  <a:gd name="connsiteX2100" fmla="*/ 8044677 w 12187339"/>
                  <a:gd name="connsiteY2100" fmla="*/ 4894374 h 6851196"/>
                  <a:gd name="connsiteX2101" fmla="*/ 8267227 w 12187339"/>
                  <a:gd name="connsiteY2101" fmla="*/ 4894374 h 6851196"/>
                  <a:gd name="connsiteX2102" fmla="*/ 8267227 w 12187339"/>
                  <a:gd name="connsiteY2102" fmla="*/ 5132090 h 6851196"/>
                  <a:gd name="connsiteX2103" fmla="*/ 8044420 w 12187339"/>
                  <a:gd name="connsiteY2103" fmla="*/ 5132090 h 6851196"/>
                  <a:gd name="connsiteX2104" fmla="*/ 8273629 w 12187339"/>
                  <a:gd name="connsiteY2104" fmla="*/ 4894374 h 6851196"/>
                  <a:gd name="connsiteX2105" fmla="*/ 8497718 w 12187339"/>
                  <a:gd name="connsiteY2105" fmla="*/ 4894374 h 6851196"/>
                  <a:gd name="connsiteX2106" fmla="*/ 8497718 w 12187339"/>
                  <a:gd name="connsiteY2106" fmla="*/ 5132090 h 6851196"/>
                  <a:gd name="connsiteX2107" fmla="*/ 8273629 w 12187339"/>
                  <a:gd name="connsiteY2107" fmla="*/ 5132090 h 6851196"/>
                  <a:gd name="connsiteX2108" fmla="*/ 8504120 w 12187339"/>
                  <a:gd name="connsiteY2108" fmla="*/ 4894374 h 6851196"/>
                  <a:gd name="connsiteX2109" fmla="*/ 8728209 w 12187339"/>
                  <a:gd name="connsiteY2109" fmla="*/ 4894374 h 6851196"/>
                  <a:gd name="connsiteX2110" fmla="*/ 8728209 w 12187339"/>
                  <a:gd name="connsiteY2110" fmla="*/ 5132090 h 6851196"/>
                  <a:gd name="connsiteX2111" fmla="*/ 8504120 w 12187339"/>
                  <a:gd name="connsiteY2111" fmla="*/ 5132090 h 6851196"/>
                  <a:gd name="connsiteX2112" fmla="*/ 8734611 w 12187339"/>
                  <a:gd name="connsiteY2112" fmla="*/ 4894374 h 6851196"/>
                  <a:gd name="connsiteX2113" fmla="*/ 8957162 w 12187339"/>
                  <a:gd name="connsiteY2113" fmla="*/ 4894374 h 6851196"/>
                  <a:gd name="connsiteX2114" fmla="*/ 8957162 w 12187339"/>
                  <a:gd name="connsiteY2114" fmla="*/ 5132090 h 6851196"/>
                  <a:gd name="connsiteX2115" fmla="*/ 8734611 w 12187339"/>
                  <a:gd name="connsiteY2115" fmla="*/ 5132090 h 6851196"/>
                  <a:gd name="connsiteX2116" fmla="*/ 8963564 w 12187339"/>
                  <a:gd name="connsiteY2116" fmla="*/ 4894374 h 6851196"/>
                  <a:gd name="connsiteX2117" fmla="*/ 9187653 w 12187339"/>
                  <a:gd name="connsiteY2117" fmla="*/ 4894374 h 6851196"/>
                  <a:gd name="connsiteX2118" fmla="*/ 9187653 w 12187339"/>
                  <a:gd name="connsiteY2118" fmla="*/ 5132090 h 6851196"/>
                  <a:gd name="connsiteX2119" fmla="*/ 8963564 w 12187339"/>
                  <a:gd name="connsiteY2119" fmla="*/ 5132090 h 6851196"/>
                  <a:gd name="connsiteX2120" fmla="*/ 9194055 w 12187339"/>
                  <a:gd name="connsiteY2120" fmla="*/ 4894374 h 6851196"/>
                  <a:gd name="connsiteX2121" fmla="*/ 9418144 w 12187339"/>
                  <a:gd name="connsiteY2121" fmla="*/ 4894374 h 6851196"/>
                  <a:gd name="connsiteX2122" fmla="*/ 9418144 w 12187339"/>
                  <a:gd name="connsiteY2122" fmla="*/ 5132090 h 6851196"/>
                  <a:gd name="connsiteX2123" fmla="*/ 9194055 w 12187339"/>
                  <a:gd name="connsiteY2123" fmla="*/ 5132090 h 6851196"/>
                  <a:gd name="connsiteX2124" fmla="*/ 9424546 w 12187339"/>
                  <a:gd name="connsiteY2124" fmla="*/ 4894374 h 6851196"/>
                  <a:gd name="connsiteX2125" fmla="*/ 9648635 w 12187339"/>
                  <a:gd name="connsiteY2125" fmla="*/ 4894374 h 6851196"/>
                  <a:gd name="connsiteX2126" fmla="*/ 9648635 w 12187339"/>
                  <a:gd name="connsiteY2126" fmla="*/ 5132090 h 6851196"/>
                  <a:gd name="connsiteX2127" fmla="*/ 9424546 w 12187339"/>
                  <a:gd name="connsiteY2127" fmla="*/ 5132090 h 6851196"/>
                  <a:gd name="connsiteX2128" fmla="*/ 9655037 w 12187339"/>
                  <a:gd name="connsiteY2128" fmla="*/ 4894374 h 6851196"/>
                  <a:gd name="connsiteX2129" fmla="*/ 9877591 w 12187339"/>
                  <a:gd name="connsiteY2129" fmla="*/ 4894374 h 6851196"/>
                  <a:gd name="connsiteX2130" fmla="*/ 9877591 w 12187339"/>
                  <a:gd name="connsiteY2130" fmla="*/ 5132090 h 6851196"/>
                  <a:gd name="connsiteX2131" fmla="*/ 9655037 w 12187339"/>
                  <a:gd name="connsiteY2131" fmla="*/ 5132090 h 6851196"/>
                  <a:gd name="connsiteX2132" fmla="*/ 9883993 w 12187339"/>
                  <a:gd name="connsiteY2132" fmla="*/ 4894374 h 6851196"/>
                  <a:gd name="connsiteX2133" fmla="*/ 10108082 w 12187339"/>
                  <a:gd name="connsiteY2133" fmla="*/ 4894374 h 6851196"/>
                  <a:gd name="connsiteX2134" fmla="*/ 10108082 w 12187339"/>
                  <a:gd name="connsiteY2134" fmla="*/ 5132090 h 6851196"/>
                  <a:gd name="connsiteX2135" fmla="*/ 9883993 w 12187339"/>
                  <a:gd name="connsiteY2135" fmla="*/ 5132090 h 6851196"/>
                  <a:gd name="connsiteX2136" fmla="*/ 10114484 w 12187339"/>
                  <a:gd name="connsiteY2136" fmla="*/ 4894374 h 6851196"/>
                  <a:gd name="connsiteX2137" fmla="*/ 10338573 w 12187339"/>
                  <a:gd name="connsiteY2137" fmla="*/ 4894374 h 6851196"/>
                  <a:gd name="connsiteX2138" fmla="*/ 10338573 w 12187339"/>
                  <a:gd name="connsiteY2138" fmla="*/ 5132090 h 6851196"/>
                  <a:gd name="connsiteX2139" fmla="*/ 10114484 w 12187339"/>
                  <a:gd name="connsiteY2139" fmla="*/ 5132090 h 6851196"/>
                  <a:gd name="connsiteX2140" fmla="*/ 10344975 w 12187339"/>
                  <a:gd name="connsiteY2140" fmla="*/ 4894374 h 6851196"/>
                  <a:gd name="connsiteX2141" fmla="*/ 10569064 w 12187339"/>
                  <a:gd name="connsiteY2141" fmla="*/ 4894374 h 6851196"/>
                  <a:gd name="connsiteX2142" fmla="*/ 10569064 w 12187339"/>
                  <a:gd name="connsiteY2142" fmla="*/ 5132090 h 6851196"/>
                  <a:gd name="connsiteX2143" fmla="*/ 10344975 w 12187339"/>
                  <a:gd name="connsiteY2143" fmla="*/ 5132090 h 6851196"/>
                  <a:gd name="connsiteX2144" fmla="*/ 10344975 w 12187339"/>
                  <a:gd name="connsiteY2144" fmla="*/ 4887570 h 6851196"/>
                  <a:gd name="connsiteX2145" fmla="*/ 10344975 w 12187339"/>
                  <a:gd name="connsiteY2145" fmla="*/ 4649445 h 6851196"/>
                  <a:gd name="connsiteX2146" fmla="*/ 10569064 w 12187339"/>
                  <a:gd name="connsiteY2146" fmla="*/ 4649445 h 6851196"/>
                  <a:gd name="connsiteX2147" fmla="*/ 10569064 w 12187339"/>
                  <a:gd name="connsiteY2147" fmla="*/ 4887162 h 6851196"/>
                  <a:gd name="connsiteX2148" fmla="*/ 10344975 w 12187339"/>
                  <a:gd name="connsiteY2148" fmla="*/ 4642642 h 6851196"/>
                  <a:gd name="connsiteX2149" fmla="*/ 10344975 w 12187339"/>
                  <a:gd name="connsiteY2149" fmla="*/ 4406149 h 6851196"/>
                  <a:gd name="connsiteX2150" fmla="*/ 10569064 w 12187339"/>
                  <a:gd name="connsiteY2150" fmla="*/ 4406149 h 6851196"/>
                  <a:gd name="connsiteX2151" fmla="*/ 10569064 w 12187339"/>
                  <a:gd name="connsiteY2151" fmla="*/ 4642233 h 6851196"/>
                  <a:gd name="connsiteX2152" fmla="*/ 10344975 w 12187339"/>
                  <a:gd name="connsiteY2152" fmla="*/ 4399346 h 6851196"/>
                  <a:gd name="connsiteX2153" fmla="*/ 10344975 w 12187339"/>
                  <a:gd name="connsiteY2153" fmla="*/ 4161221 h 6851196"/>
                  <a:gd name="connsiteX2154" fmla="*/ 10569064 w 12187339"/>
                  <a:gd name="connsiteY2154" fmla="*/ 4161221 h 6851196"/>
                  <a:gd name="connsiteX2155" fmla="*/ 10569064 w 12187339"/>
                  <a:gd name="connsiteY2155" fmla="*/ 4399346 h 6851196"/>
                  <a:gd name="connsiteX2156" fmla="*/ 10344975 w 12187339"/>
                  <a:gd name="connsiteY2156" fmla="*/ 4154417 h 6851196"/>
                  <a:gd name="connsiteX2157" fmla="*/ 10344975 w 12187339"/>
                  <a:gd name="connsiteY2157" fmla="*/ 3916292 h 6851196"/>
                  <a:gd name="connsiteX2158" fmla="*/ 10569064 w 12187339"/>
                  <a:gd name="connsiteY2158" fmla="*/ 3916292 h 6851196"/>
                  <a:gd name="connsiteX2159" fmla="*/ 10569064 w 12187339"/>
                  <a:gd name="connsiteY2159" fmla="*/ 4154417 h 6851196"/>
                  <a:gd name="connsiteX2160" fmla="*/ 10344975 w 12187339"/>
                  <a:gd name="connsiteY2160" fmla="*/ 3909489 h 6851196"/>
                  <a:gd name="connsiteX2161" fmla="*/ 10344975 w 12187339"/>
                  <a:gd name="connsiteY2161" fmla="*/ 3671364 h 6851196"/>
                  <a:gd name="connsiteX2162" fmla="*/ 10569064 w 12187339"/>
                  <a:gd name="connsiteY2162" fmla="*/ 3671364 h 6851196"/>
                  <a:gd name="connsiteX2163" fmla="*/ 10569064 w 12187339"/>
                  <a:gd name="connsiteY2163" fmla="*/ 3909489 h 6851196"/>
                  <a:gd name="connsiteX2164" fmla="*/ 10344975 w 12187339"/>
                  <a:gd name="connsiteY2164" fmla="*/ 3664560 h 6851196"/>
                  <a:gd name="connsiteX2165" fmla="*/ 10344975 w 12187339"/>
                  <a:gd name="connsiteY2165" fmla="*/ 3428068 h 6851196"/>
                  <a:gd name="connsiteX2166" fmla="*/ 10569064 w 12187339"/>
                  <a:gd name="connsiteY2166" fmla="*/ 3428068 h 6851196"/>
                  <a:gd name="connsiteX2167" fmla="*/ 10569064 w 12187339"/>
                  <a:gd name="connsiteY2167" fmla="*/ 3664560 h 6851196"/>
                  <a:gd name="connsiteX2168" fmla="*/ 10344975 w 12187339"/>
                  <a:gd name="connsiteY2168" fmla="*/ 3421264 h 6851196"/>
                  <a:gd name="connsiteX2169" fmla="*/ 10344975 w 12187339"/>
                  <a:gd name="connsiteY2169" fmla="*/ 3183139 h 6851196"/>
                  <a:gd name="connsiteX2170" fmla="*/ 10569064 w 12187339"/>
                  <a:gd name="connsiteY2170" fmla="*/ 3183139 h 6851196"/>
                  <a:gd name="connsiteX2171" fmla="*/ 10569064 w 12187339"/>
                  <a:gd name="connsiteY2171" fmla="*/ 3421264 h 6851196"/>
                  <a:gd name="connsiteX2172" fmla="*/ 10344975 w 12187339"/>
                  <a:gd name="connsiteY2172" fmla="*/ 3176336 h 6851196"/>
                  <a:gd name="connsiteX2173" fmla="*/ 10344975 w 12187339"/>
                  <a:gd name="connsiteY2173" fmla="*/ 2938211 h 6851196"/>
                  <a:gd name="connsiteX2174" fmla="*/ 10569064 w 12187339"/>
                  <a:gd name="connsiteY2174" fmla="*/ 2938211 h 6851196"/>
                  <a:gd name="connsiteX2175" fmla="*/ 10569064 w 12187339"/>
                  <a:gd name="connsiteY2175" fmla="*/ 3176336 h 6851196"/>
                  <a:gd name="connsiteX2176" fmla="*/ 10344975 w 12187339"/>
                  <a:gd name="connsiteY2176" fmla="*/ 2931407 h 6851196"/>
                  <a:gd name="connsiteX2177" fmla="*/ 10344975 w 12187339"/>
                  <a:gd name="connsiteY2177" fmla="*/ 2693282 h 6851196"/>
                  <a:gd name="connsiteX2178" fmla="*/ 10569064 w 12187339"/>
                  <a:gd name="connsiteY2178" fmla="*/ 2693282 h 6851196"/>
                  <a:gd name="connsiteX2179" fmla="*/ 10569064 w 12187339"/>
                  <a:gd name="connsiteY2179" fmla="*/ 2931407 h 6851196"/>
                  <a:gd name="connsiteX2180" fmla="*/ 10344975 w 12187339"/>
                  <a:gd name="connsiteY2180" fmla="*/ 2686479 h 6851196"/>
                  <a:gd name="connsiteX2181" fmla="*/ 10344975 w 12187339"/>
                  <a:gd name="connsiteY2181" fmla="*/ 2449986 h 6851196"/>
                  <a:gd name="connsiteX2182" fmla="*/ 10569064 w 12187339"/>
                  <a:gd name="connsiteY2182" fmla="*/ 2449986 h 6851196"/>
                  <a:gd name="connsiteX2183" fmla="*/ 10569064 w 12187339"/>
                  <a:gd name="connsiteY2183" fmla="*/ 2686479 h 6851196"/>
                  <a:gd name="connsiteX2184" fmla="*/ 10344975 w 12187339"/>
                  <a:gd name="connsiteY2184" fmla="*/ 2443183 h 6851196"/>
                  <a:gd name="connsiteX2185" fmla="*/ 10344975 w 12187339"/>
                  <a:gd name="connsiteY2185" fmla="*/ 2205058 h 6851196"/>
                  <a:gd name="connsiteX2186" fmla="*/ 10569064 w 12187339"/>
                  <a:gd name="connsiteY2186" fmla="*/ 2205058 h 6851196"/>
                  <a:gd name="connsiteX2187" fmla="*/ 10569064 w 12187339"/>
                  <a:gd name="connsiteY2187" fmla="*/ 2443183 h 6851196"/>
                  <a:gd name="connsiteX2188" fmla="*/ 10344975 w 12187339"/>
                  <a:gd name="connsiteY2188" fmla="*/ 2198254 h 6851196"/>
                  <a:gd name="connsiteX2189" fmla="*/ 10344975 w 12187339"/>
                  <a:gd name="connsiteY2189" fmla="*/ 1960129 h 6851196"/>
                  <a:gd name="connsiteX2190" fmla="*/ 10569064 w 12187339"/>
                  <a:gd name="connsiteY2190" fmla="*/ 1960129 h 6851196"/>
                  <a:gd name="connsiteX2191" fmla="*/ 10569064 w 12187339"/>
                  <a:gd name="connsiteY2191" fmla="*/ 2198254 h 6851196"/>
                  <a:gd name="connsiteX2192" fmla="*/ 10344975 w 12187339"/>
                  <a:gd name="connsiteY2192" fmla="*/ 1953326 h 6851196"/>
                  <a:gd name="connsiteX2193" fmla="*/ 10344975 w 12187339"/>
                  <a:gd name="connsiteY2193" fmla="*/ 1716697 h 6851196"/>
                  <a:gd name="connsiteX2194" fmla="*/ 10569064 w 12187339"/>
                  <a:gd name="connsiteY2194" fmla="*/ 1716697 h 6851196"/>
                  <a:gd name="connsiteX2195" fmla="*/ 10569064 w 12187339"/>
                  <a:gd name="connsiteY2195" fmla="*/ 1953189 h 6851196"/>
                  <a:gd name="connsiteX2196" fmla="*/ 10344975 w 12187339"/>
                  <a:gd name="connsiteY2196" fmla="*/ 1710030 h 6851196"/>
                  <a:gd name="connsiteX2197" fmla="*/ 10344975 w 12187339"/>
                  <a:gd name="connsiteY2197" fmla="*/ 1471769 h 6851196"/>
                  <a:gd name="connsiteX2198" fmla="*/ 10569064 w 12187339"/>
                  <a:gd name="connsiteY2198" fmla="*/ 1471769 h 6851196"/>
                  <a:gd name="connsiteX2199" fmla="*/ 10569064 w 12187339"/>
                  <a:gd name="connsiteY2199" fmla="*/ 1709894 h 6851196"/>
                  <a:gd name="connsiteX2200" fmla="*/ 10338573 w 12187339"/>
                  <a:gd name="connsiteY2200" fmla="*/ 1710030 h 6851196"/>
                  <a:gd name="connsiteX2201" fmla="*/ 10114484 w 12187339"/>
                  <a:gd name="connsiteY2201" fmla="*/ 1710030 h 6851196"/>
                  <a:gd name="connsiteX2202" fmla="*/ 10114484 w 12187339"/>
                  <a:gd name="connsiteY2202" fmla="*/ 1471769 h 6851196"/>
                  <a:gd name="connsiteX2203" fmla="*/ 10338573 w 12187339"/>
                  <a:gd name="connsiteY2203" fmla="*/ 1471769 h 6851196"/>
                  <a:gd name="connsiteX2204" fmla="*/ 10108082 w 12187339"/>
                  <a:gd name="connsiteY2204" fmla="*/ 1710030 h 6851196"/>
                  <a:gd name="connsiteX2205" fmla="*/ 9883993 w 12187339"/>
                  <a:gd name="connsiteY2205" fmla="*/ 1710030 h 6851196"/>
                  <a:gd name="connsiteX2206" fmla="*/ 9883993 w 12187339"/>
                  <a:gd name="connsiteY2206" fmla="*/ 1471769 h 6851196"/>
                  <a:gd name="connsiteX2207" fmla="*/ 10108082 w 12187339"/>
                  <a:gd name="connsiteY2207" fmla="*/ 1471769 h 6851196"/>
                  <a:gd name="connsiteX2208" fmla="*/ 9877591 w 12187339"/>
                  <a:gd name="connsiteY2208" fmla="*/ 1710030 h 6851196"/>
                  <a:gd name="connsiteX2209" fmla="*/ 9655037 w 12187339"/>
                  <a:gd name="connsiteY2209" fmla="*/ 1710030 h 6851196"/>
                  <a:gd name="connsiteX2210" fmla="*/ 9655037 w 12187339"/>
                  <a:gd name="connsiteY2210" fmla="*/ 1471769 h 6851196"/>
                  <a:gd name="connsiteX2211" fmla="*/ 9877591 w 12187339"/>
                  <a:gd name="connsiteY2211" fmla="*/ 1471769 h 6851196"/>
                  <a:gd name="connsiteX2212" fmla="*/ 9648635 w 12187339"/>
                  <a:gd name="connsiteY2212" fmla="*/ 1710030 h 6851196"/>
                  <a:gd name="connsiteX2213" fmla="*/ 9424546 w 12187339"/>
                  <a:gd name="connsiteY2213" fmla="*/ 1710030 h 6851196"/>
                  <a:gd name="connsiteX2214" fmla="*/ 9424546 w 12187339"/>
                  <a:gd name="connsiteY2214" fmla="*/ 1471769 h 6851196"/>
                  <a:gd name="connsiteX2215" fmla="*/ 9648635 w 12187339"/>
                  <a:gd name="connsiteY2215" fmla="*/ 1471769 h 6851196"/>
                  <a:gd name="connsiteX2216" fmla="*/ 9418144 w 12187339"/>
                  <a:gd name="connsiteY2216" fmla="*/ 1710030 h 6851196"/>
                  <a:gd name="connsiteX2217" fmla="*/ 9194055 w 12187339"/>
                  <a:gd name="connsiteY2217" fmla="*/ 1710030 h 6851196"/>
                  <a:gd name="connsiteX2218" fmla="*/ 9194055 w 12187339"/>
                  <a:gd name="connsiteY2218" fmla="*/ 1471769 h 6851196"/>
                  <a:gd name="connsiteX2219" fmla="*/ 9418144 w 12187339"/>
                  <a:gd name="connsiteY2219" fmla="*/ 1471769 h 6851196"/>
                  <a:gd name="connsiteX2220" fmla="*/ 9187653 w 12187339"/>
                  <a:gd name="connsiteY2220" fmla="*/ 1710030 h 6851196"/>
                  <a:gd name="connsiteX2221" fmla="*/ 8963564 w 12187339"/>
                  <a:gd name="connsiteY2221" fmla="*/ 1710030 h 6851196"/>
                  <a:gd name="connsiteX2222" fmla="*/ 8963564 w 12187339"/>
                  <a:gd name="connsiteY2222" fmla="*/ 1471769 h 6851196"/>
                  <a:gd name="connsiteX2223" fmla="*/ 9187653 w 12187339"/>
                  <a:gd name="connsiteY2223" fmla="*/ 1471769 h 6851196"/>
                  <a:gd name="connsiteX2224" fmla="*/ 8957162 w 12187339"/>
                  <a:gd name="connsiteY2224" fmla="*/ 1710030 h 6851196"/>
                  <a:gd name="connsiteX2225" fmla="*/ 8734611 w 12187339"/>
                  <a:gd name="connsiteY2225" fmla="*/ 1710030 h 6851196"/>
                  <a:gd name="connsiteX2226" fmla="*/ 8734611 w 12187339"/>
                  <a:gd name="connsiteY2226" fmla="*/ 1471769 h 6851196"/>
                  <a:gd name="connsiteX2227" fmla="*/ 8957162 w 12187339"/>
                  <a:gd name="connsiteY2227" fmla="*/ 1471769 h 6851196"/>
                  <a:gd name="connsiteX2228" fmla="*/ 8728209 w 12187339"/>
                  <a:gd name="connsiteY2228" fmla="*/ 1710030 h 6851196"/>
                  <a:gd name="connsiteX2229" fmla="*/ 8504120 w 12187339"/>
                  <a:gd name="connsiteY2229" fmla="*/ 1710030 h 6851196"/>
                  <a:gd name="connsiteX2230" fmla="*/ 8504120 w 12187339"/>
                  <a:gd name="connsiteY2230" fmla="*/ 1471769 h 6851196"/>
                  <a:gd name="connsiteX2231" fmla="*/ 8728209 w 12187339"/>
                  <a:gd name="connsiteY2231" fmla="*/ 1471769 h 6851196"/>
                  <a:gd name="connsiteX2232" fmla="*/ 8497718 w 12187339"/>
                  <a:gd name="connsiteY2232" fmla="*/ 1710030 h 6851196"/>
                  <a:gd name="connsiteX2233" fmla="*/ 8273629 w 12187339"/>
                  <a:gd name="connsiteY2233" fmla="*/ 1710030 h 6851196"/>
                  <a:gd name="connsiteX2234" fmla="*/ 8273629 w 12187339"/>
                  <a:gd name="connsiteY2234" fmla="*/ 1471769 h 6851196"/>
                  <a:gd name="connsiteX2235" fmla="*/ 8497718 w 12187339"/>
                  <a:gd name="connsiteY2235" fmla="*/ 1471769 h 6851196"/>
                  <a:gd name="connsiteX2236" fmla="*/ 8267227 w 12187339"/>
                  <a:gd name="connsiteY2236" fmla="*/ 1710030 h 6851196"/>
                  <a:gd name="connsiteX2237" fmla="*/ 8044420 w 12187339"/>
                  <a:gd name="connsiteY2237" fmla="*/ 1710030 h 6851196"/>
                  <a:gd name="connsiteX2238" fmla="*/ 8044420 w 12187339"/>
                  <a:gd name="connsiteY2238" fmla="*/ 1471769 h 6851196"/>
                  <a:gd name="connsiteX2239" fmla="*/ 8267227 w 12187339"/>
                  <a:gd name="connsiteY2239" fmla="*/ 1471769 h 6851196"/>
                  <a:gd name="connsiteX2240" fmla="*/ 8038274 w 12187339"/>
                  <a:gd name="connsiteY2240" fmla="*/ 1710030 h 6851196"/>
                  <a:gd name="connsiteX2241" fmla="*/ 7814186 w 12187339"/>
                  <a:gd name="connsiteY2241" fmla="*/ 1710030 h 6851196"/>
                  <a:gd name="connsiteX2242" fmla="*/ 7814186 w 12187339"/>
                  <a:gd name="connsiteY2242" fmla="*/ 1471769 h 6851196"/>
                  <a:gd name="connsiteX2243" fmla="*/ 8038274 w 12187339"/>
                  <a:gd name="connsiteY2243" fmla="*/ 1471769 h 6851196"/>
                  <a:gd name="connsiteX2244" fmla="*/ 7807783 w 12187339"/>
                  <a:gd name="connsiteY2244" fmla="*/ 1710030 h 6851196"/>
                  <a:gd name="connsiteX2245" fmla="*/ 7583695 w 12187339"/>
                  <a:gd name="connsiteY2245" fmla="*/ 1710030 h 6851196"/>
                  <a:gd name="connsiteX2246" fmla="*/ 7583695 w 12187339"/>
                  <a:gd name="connsiteY2246" fmla="*/ 1471769 h 6851196"/>
                  <a:gd name="connsiteX2247" fmla="*/ 7807783 w 12187339"/>
                  <a:gd name="connsiteY2247" fmla="*/ 1471769 h 6851196"/>
                  <a:gd name="connsiteX2248" fmla="*/ 7577292 w 12187339"/>
                  <a:gd name="connsiteY2248" fmla="*/ 1710030 h 6851196"/>
                  <a:gd name="connsiteX2249" fmla="*/ 7353204 w 12187339"/>
                  <a:gd name="connsiteY2249" fmla="*/ 1710030 h 6851196"/>
                  <a:gd name="connsiteX2250" fmla="*/ 7353204 w 12187339"/>
                  <a:gd name="connsiteY2250" fmla="*/ 1471769 h 6851196"/>
                  <a:gd name="connsiteX2251" fmla="*/ 7577292 w 12187339"/>
                  <a:gd name="connsiteY2251" fmla="*/ 1471769 h 6851196"/>
                  <a:gd name="connsiteX2252" fmla="*/ 7346801 w 12187339"/>
                  <a:gd name="connsiteY2252" fmla="*/ 1710030 h 6851196"/>
                  <a:gd name="connsiteX2253" fmla="*/ 7124247 w 12187339"/>
                  <a:gd name="connsiteY2253" fmla="*/ 1710030 h 6851196"/>
                  <a:gd name="connsiteX2254" fmla="*/ 7124247 w 12187339"/>
                  <a:gd name="connsiteY2254" fmla="*/ 1471769 h 6851196"/>
                  <a:gd name="connsiteX2255" fmla="*/ 7346801 w 12187339"/>
                  <a:gd name="connsiteY2255" fmla="*/ 1471769 h 6851196"/>
                  <a:gd name="connsiteX2256" fmla="*/ 7117845 w 12187339"/>
                  <a:gd name="connsiteY2256" fmla="*/ 1710030 h 6851196"/>
                  <a:gd name="connsiteX2257" fmla="*/ 6893756 w 12187339"/>
                  <a:gd name="connsiteY2257" fmla="*/ 1710030 h 6851196"/>
                  <a:gd name="connsiteX2258" fmla="*/ 6893756 w 12187339"/>
                  <a:gd name="connsiteY2258" fmla="*/ 1471769 h 6851196"/>
                  <a:gd name="connsiteX2259" fmla="*/ 7117845 w 12187339"/>
                  <a:gd name="connsiteY2259" fmla="*/ 1471769 h 6851196"/>
                  <a:gd name="connsiteX2260" fmla="*/ 6887354 w 12187339"/>
                  <a:gd name="connsiteY2260" fmla="*/ 1710030 h 6851196"/>
                  <a:gd name="connsiteX2261" fmla="*/ 6663265 w 12187339"/>
                  <a:gd name="connsiteY2261" fmla="*/ 1710030 h 6851196"/>
                  <a:gd name="connsiteX2262" fmla="*/ 6663265 w 12187339"/>
                  <a:gd name="connsiteY2262" fmla="*/ 1471769 h 6851196"/>
                  <a:gd name="connsiteX2263" fmla="*/ 6887354 w 12187339"/>
                  <a:gd name="connsiteY2263" fmla="*/ 1471769 h 6851196"/>
                  <a:gd name="connsiteX2264" fmla="*/ 6656863 w 12187339"/>
                  <a:gd name="connsiteY2264" fmla="*/ 1710030 h 6851196"/>
                  <a:gd name="connsiteX2265" fmla="*/ 6446349 w 12187339"/>
                  <a:gd name="connsiteY2265" fmla="*/ 1710030 h 6851196"/>
                  <a:gd name="connsiteX2266" fmla="*/ 6446349 w 12187339"/>
                  <a:gd name="connsiteY2266" fmla="*/ 1471769 h 6851196"/>
                  <a:gd name="connsiteX2267" fmla="*/ 6656863 w 12187339"/>
                  <a:gd name="connsiteY2267" fmla="*/ 1471769 h 6851196"/>
                  <a:gd name="connsiteX2268" fmla="*/ 6439946 w 12187339"/>
                  <a:gd name="connsiteY2268" fmla="*/ 1710030 h 6851196"/>
                  <a:gd name="connsiteX2269" fmla="*/ 6217136 w 12187339"/>
                  <a:gd name="connsiteY2269" fmla="*/ 1710030 h 6851196"/>
                  <a:gd name="connsiteX2270" fmla="*/ 6217136 w 12187339"/>
                  <a:gd name="connsiteY2270" fmla="*/ 1471769 h 6851196"/>
                  <a:gd name="connsiteX2271" fmla="*/ 6439690 w 12187339"/>
                  <a:gd name="connsiteY2271" fmla="*/ 1471769 h 6851196"/>
                  <a:gd name="connsiteX2272" fmla="*/ 6210990 w 12187339"/>
                  <a:gd name="connsiteY2272" fmla="*/ 1710030 h 6851196"/>
                  <a:gd name="connsiteX2273" fmla="*/ 5986902 w 12187339"/>
                  <a:gd name="connsiteY2273" fmla="*/ 1710030 h 6851196"/>
                  <a:gd name="connsiteX2274" fmla="*/ 5986902 w 12187339"/>
                  <a:gd name="connsiteY2274" fmla="*/ 1471769 h 6851196"/>
                  <a:gd name="connsiteX2275" fmla="*/ 6210990 w 12187339"/>
                  <a:gd name="connsiteY2275" fmla="*/ 1471769 h 6851196"/>
                  <a:gd name="connsiteX2276" fmla="*/ 5980499 w 12187339"/>
                  <a:gd name="connsiteY2276" fmla="*/ 1710030 h 6851196"/>
                  <a:gd name="connsiteX2277" fmla="*/ 5756411 w 12187339"/>
                  <a:gd name="connsiteY2277" fmla="*/ 1710030 h 6851196"/>
                  <a:gd name="connsiteX2278" fmla="*/ 5756411 w 12187339"/>
                  <a:gd name="connsiteY2278" fmla="*/ 1471769 h 6851196"/>
                  <a:gd name="connsiteX2279" fmla="*/ 5980499 w 12187339"/>
                  <a:gd name="connsiteY2279" fmla="*/ 1471769 h 6851196"/>
                  <a:gd name="connsiteX2280" fmla="*/ 5750008 w 12187339"/>
                  <a:gd name="connsiteY2280" fmla="*/ 1710030 h 6851196"/>
                  <a:gd name="connsiteX2281" fmla="*/ 5526945 w 12187339"/>
                  <a:gd name="connsiteY2281" fmla="*/ 1710030 h 6851196"/>
                  <a:gd name="connsiteX2282" fmla="*/ 5526945 w 12187339"/>
                  <a:gd name="connsiteY2282" fmla="*/ 1471769 h 6851196"/>
                  <a:gd name="connsiteX2283" fmla="*/ 5749495 w 12187339"/>
                  <a:gd name="connsiteY2283" fmla="*/ 1471769 h 6851196"/>
                  <a:gd name="connsiteX2284" fmla="*/ 5521055 w 12187339"/>
                  <a:gd name="connsiteY2284" fmla="*/ 1710030 h 6851196"/>
                  <a:gd name="connsiteX2285" fmla="*/ 5296454 w 12187339"/>
                  <a:gd name="connsiteY2285" fmla="*/ 1710030 h 6851196"/>
                  <a:gd name="connsiteX2286" fmla="*/ 5296454 w 12187339"/>
                  <a:gd name="connsiteY2286" fmla="*/ 1471769 h 6851196"/>
                  <a:gd name="connsiteX2287" fmla="*/ 5520542 w 12187339"/>
                  <a:gd name="connsiteY2287" fmla="*/ 1471769 h 6851196"/>
                  <a:gd name="connsiteX2288" fmla="*/ 5290564 w 12187339"/>
                  <a:gd name="connsiteY2288" fmla="*/ 1710030 h 6851196"/>
                  <a:gd name="connsiteX2289" fmla="*/ 5065963 w 12187339"/>
                  <a:gd name="connsiteY2289" fmla="*/ 1710030 h 6851196"/>
                  <a:gd name="connsiteX2290" fmla="*/ 5065963 w 12187339"/>
                  <a:gd name="connsiteY2290" fmla="*/ 1471769 h 6851196"/>
                  <a:gd name="connsiteX2291" fmla="*/ 5290051 w 12187339"/>
                  <a:gd name="connsiteY2291" fmla="*/ 1471769 h 6851196"/>
                  <a:gd name="connsiteX2292" fmla="*/ 5060073 w 12187339"/>
                  <a:gd name="connsiteY2292" fmla="*/ 1710030 h 6851196"/>
                  <a:gd name="connsiteX2293" fmla="*/ 4835472 w 12187339"/>
                  <a:gd name="connsiteY2293" fmla="*/ 1710030 h 6851196"/>
                  <a:gd name="connsiteX2294" fmla="*/ 4835472 w 12187339"/>
                  <a:gd name="connsiteY2294" fmla="*/ 1471769 h 6851196"/>
                  <a:gd name="connsiteX2295" fmla="*/ 5059560 w 12187339"/>
                  <a:gd name="connsiteY2295" fmla="*/ 1471769 h 6851196"/>
                  <a:gd name="connsiteX2296" fmla="*/ 4829582 w 12187339"/>
                  <a:gd name="connsiteY2296" fmla="*/ 1710030 h 6851196"/>
                  <a:gd name="connsiteX2297" fmla="*/ 4607029 w 12187339"/>
                  <a:gd name="connsiteY2297" fmla="*/ 1710030 h 6851196"/>
                  <a:gd name="connsiteX2298" fmla="*/ 4607029 w 12187339"/>
                  <a:gd name="connsiteY2298" fmla="*/ 1471769 h 6851196"/>
                  <a:gd name="connsiteX2299" fmla="*/ 4829582 w 12187339"/>
                  <a:gd name="connsiteY2299" fmla="*/ 1471769 h 6851196"/>
                  <a:gd name="connsiteX2300" fmla="*/ 4600626 w 12187339"/>
                  <a:gd name="connsiteY2300" fmla="*/ 1710030 h 6851196"/>
                  <a:gd name="connsiteX2301" fmla="*/ 4376538 w 12187339"/>
                  <a:gd name="connsiteY2301" fmla="*/ 1710030 h 6851196"/>
                  <a:gd name="connsiteX2302" fmla="*/ 4376538 w 12187339"/>
                  <a:gd name="connsiteY2302" fmla="*/ 1471769 h 6851196"/>
                  <a:gd name="connsiteX2303" fmla="*/ 4600626 w 12187339"/>
                  <a:gd name="connsiteY2303" fmla="*/ 1471769 h 6851196"/>
                  <a:gd name="connsiteX2304" fmla="*/ 4370135 w 12187339"/>
                  <a:gd name="connsiteY2304" fmla="*/ 1710030 h 6851196"/>
                  <a:gd name="connsiteX2305" fmla="*/ 4146047 w 12187339"/>
                  <a:gd name="connsiteY2305" fmla="*/ 1710030 h 6851196"/>
                  <a:gd name="connsiteX2306" fmla="*/ 4146047 w 12187339"/>
                  <a:gd name="connsiteY2306" fmla="*/ 1471769 h 6851196"/>
                  <a:gd name="connsiteX2307" fmla="*/ 4370135 w 12187339"/>
                  <a:gd name="connsiteY2307" fmla="*/ 1471769 h 6851196"/>
                  <a:gd name="connsiteX2308" fmla="*/ 4139644 w 12187339"/>
                  <a:gd name="connsiteY2308" fmla="*/ 1710030 h 6851196"/>
                  <a:gd name="connsiteX2309" fmla="*/ 3917094 w 12187339"/>
                  <a:gd name="connsiteY2309" fmla="*/ 1710030 h 6851196"/>
                  <a:gd name="connsiteX2310" fmla="*/ 3917094 w 12187339"/>
                  <a:gd name="connsiteY2310" fmla="*/ 1471769 h 6851196"/>
                  <a:gd name="connsiteX2311" fmla="*/ 4139644 w 12187339"/>
                  <a:gd name="connsiteY2311" fmla="*/ 1471769 h 6851196"/>
                  <a:gd name="connsiteX2312" fmla="*/ 3910691 w 12187339"/>
                  <a:gd name="connsiteY2312" fmla="*/ 1710030 h 6851196"/>
                  <a:gd name="connsiteX2313" fmla="*/ 3686603 w 12187339"/>
                  <a:gd name="connsiteY2313" fmla="*/ 1710030 h 6851196"/>
                  <a:gd name="connsiteX2314" fmla="*/ 3686603 w 12187339"/>
                  <a:gd name="connsiteY2314" fmla="*/ 1471769 h 6851196"/>
                  <a:gd name="connsiteX2315" fmla="*/ 3910691 w 12187339"/>
                  <a:gd name="connsiteY2315" fmla="*/ 1471769 h 6851196"/>
                  <a:gd name="connsiteX2316" fmla="*/ 3680200 w 12187339"/>
                  <a:gd name="connsiteY2316" fmla="*/ 1710030 h 6851196"/>
                  <a:gd name="connsiteX2317" fmla="*/ 3456112 w 12187339"/>
                  <a:gd name="connsiteY2317" fmla="*/ 1710030 h 6851196"/>
                  <a:gd name="connsiteX2318" fmla="*/ 3456112 w 12187339"/>
                  <a:gd name="connsiteY2318" fmla="*/ 1471769 h 6851196"/>
                  <a:gd name="connsiteX2319" fmla="*/ 3680200 w 12187339"/>
                  <a:gd name="connsiteY2319" fmla="*/ 1471769 h 6851196"/>
                  <a:gd name="connsiteX2320" fmla="*/ 3449709 w 12187339"/>
                  <a:gd name="connsiteY2320" fmla="*/ 1710030 h 6851196"/>
                  <a:gd name="connsiteX2321" fmla="*/ 3225621 w 12187339"/>
                  <a:gd name="connsiteY2321" fmla="*/ 1710030 h 6851196"/>
                  <a:gd name="connsiteX2322" fmla="*/ 3225621 w 12187339"/>
                  <a:gd name="connsiteY2322" fmla="*/ 1471769 h 6851196"/>
                  <a:gd name="connsiteX2323" fmla="*/ 3449709 w 12187339"/>
                  <a:gd name="connsiteY2323" fmla="*/ 1471769 h 6851196"/>
                  <a:gd name="connsiteX2324" fmla="*/ 3219218 w 12187339"/>
                  <a:gd name="connsiteY2324" fmla="*/ 1710030 h 6851196"/>
                  <a:gd name="connsiteX2325" fmla="*/ 2996666 w 12187339"/>
                  <a:gd name="connsiteY2325" fmla="*/ 1710030 h 6851196"/>
                  <a:gd name="connsiteX2326" fmla="*/ 2996666 w 12187339"/>
                  <a:gd name="connsiteY2326" fmla="*/ 1471769 h 6851196"/>
                  <a:gd name="connsiteX2327" fmla="*/ 3219218 w 12187339"/>
                  <a:gd name="connsiteY2327" fmla="*/ 1471769 h 6851196"/>
                  <a:gd name="connsiteX2328" fmla="*/ 2990264 w 12187339"/>
                  <a:gd name="connsiteY2328" fmla="*/ 1710030 h 6851196"/>
                  <a:gd name="connsiteX2329" fmla="*/ 2766175 w 12187339"/>
                  <a:gd name="connsiteY2329" fmla="*/ 1710030 h 6851196"/>
                  <a:gd name="connsiteX2330" fmla="*/ 2766175 w 12187339"/>
                  <a:gd name="connsiteY2330" fmla="*/ 1471769 h 6851196"/>
                  <a:gd name="connsiteX2331" fmla="*/ 2990264 w 12187339"/>
                  <a:gd name="connsiteY2331" fmla="*/ 1471769 h 6851196"/>
                  <a:gd name="connsiteX2332" fmla="*/ 2759773 w 12187339"/>
                  <a:gd name="connsiteY2332" fmla="*/ 1710030 h 6851196"/>
                  <a:gd name="connsiteX2333" fmla="*/ 2535684 w 12187339"/>
                  <a:gd name="connsiteY2333" fmla="*/ 1710030 h 6851196"/>
                  <a:gd name="connsiteX2334" fmla="*/ 2535684 w 12187339"/>
                  <a:gd name="connsiteY2334" fmla="*/ 1471769 h 6851196"/>
                  <a:gd name="connsiteX2335" fmla="*/ 2759773 w 12187339"/>
                  <a:gd name="connsiteY2335" fmla="*/ 1471769 h 6851196"/>
                  <a:gd name="connsiteX2336" fmla="*/ 2529282 w 12187339"/>
                  <a:gd name="connsiteY2336" fmla="*/ 1710030 h 6851196"/>
                  <a:gd name="connsiteX2337" fmla="*/ 2305193 w 12187339"/>
                  <a:gd name="connsiteY2337" fmla="*/ 1710030 h 6851196"/>
                  <a:gd name="connsiteX2338" fmla="*/ 2305193 w 12187339"/>
                  <a:gd name="connsiteY2338" fmla="*/ 1471769 h 6851196"/>
                  <a:gd name="connsiteX2339" fmla="*/ 2529282 w 12187339"/>
                  <a:gd name="connsiteY2339" fmla="*/ 1471769 h 6851196"/>
                  <a:gd name="connsiteX2340" fmla="*/ 2298791 w 12187339"/>
                  <a:gd name="connsiteY2340" fmla="*/ 1710030 h 6851196"/>
                  <a:gd name="connsiteX2341" fmla="*/ 2075982 w 12187339"/>
                  <a:gd name="connsiteY2341" fmla="*/ 1710030 h 6851196"/>
                  <a:gd name="connsiteX2342" fmla="*/ 2075982 w 12187339"/>
                  <a:gd name="connsiteY2342" fmla="*/ 1471769 h 6851196"/>
                  <a:gd name="connsiteX2343" fmla="*/ 2298534 w 12187339"/>
                  <a:gd name="connsiteY2343" fmla="*/ 1471769 h 6851196"/>
                  <a:gd name="connsiteX2344" fmla="*/ 2069836 w 12187339"/>
                  <a:gd name="connsiteY2344" fmla="*/ 1710030 h 6851196"/>
                  <a:gd name="connsiteX2345" fmla="*/ 1845748 w 12187339"/>
                  <a:gd name="connsiteY2345" fmla="*/ 1710030 h 6851196"/>
                  <a:gd name="connsiteX2346" fmla="*/ 1845748 w 12187339"/>
                  <a:gd name="connsiteY2346" fmla="*/ 1471769 h 6851196"/>
                  <a:gd name="connsiteX2347" fmla="*/ 2069580 w 12187339"/>
                  <a:gd name="connsiteY2347" fmla="*/ 1471769 h 6851196"/>
                  <a:gd name="connsiteX2348" fmla="*/ 1839345 w 12187339"/>
                  <a:gd name="connsiteY2348" fmla="*/ 1710030 h 6851196"/>
                  <a:gd name="connsiteX2349" fmla="*/ 1615257 w 12187339"/>
                  <a:gd name="connsiteY2349" fmla="*/ 1710030 h 6851196"/>
                  <a:gd name="connsiteX2350" fmla="*/ 1615257 w 12187339"/>
                  <a:gd name="connsiteY2350" fmla="*/ 1471769 h 6851196"/>
                  <a:gd name="connsiteX2351" fmla="*/ 1839089 w 12187339"/>
                  <a:gd name="connsiteY2351" fmla="*/ 1471769 h 6851196"/>
                  <a:gd name="connsiteX2352" fmla="*/ 1608854 w 12187339"/>
                  <a:gd name="connsiteY2352" fmla="*/ 1710030 h 6851196"/>
                  <a:gd name="connsiteX2353" fmla="*/ 1386302 w 12187339"/>
                  <a:gd name="connsiteY2353" fmla="*/ 1710030 h 6851196"/>
                  <a:gd name="connsiteX2354" fmla="*/ 1386302 w 12187339"/>
                  <a:gd name="connsiteY2354" fmla="*/ 1471769 h 6851196"/>
                  <a:gd name="connsiteX2355" fmla="*/ 1608598 w 12187339"/>
                  <a:gd name="connsiteY2355" fmla="*/ 1471769 h 6851196"/>
                  <a:gd name="connsiteX2356" fmla="*/ 1608854 w 12187339"/>
                  <a:gd name="connsiteY2356" fmla="*/ 1716833 h 6851196"/>
                  <a:gd name="connsiteX2357" fmla="*/ 1608854 w 12187339"/>
                  <a:gd name="connsiteY2357" fmla="*/ 1953326 h 6851196"/>
                  <a:gd name="connsiteX2358" fmla="*/ 1386302 w 12187339"/>
                  <a:gd name="connsiteY2358" fmla="*/ 1953326 h 6851196"/>
                  <a:gd name="connsiteX2359" fmla="*/ 1386302 w 12187339"/>
                  <a:gd name="connsiteY2359" fmla="*/ 1716697 h 6851196"/>
                  <a:gd name="connsiteX2360" fmla="*/ 1608854 w 12187339"/>
                  <a:gd name="connsiteY2360" fmla="*/ 1960129 h 6851196"/>
                  <a:gd name="connsiteX2361" fmla="*/ 1608854 w 12187339"/>
                  <a:gd name="connsiteY2361" fmla="*/ 2198254 h 6851196"/>
                  <a:gd name="connsiteX2362" fmla="*/ 1386302 w 12187339"/>
                  <a:gd name="connsiteY2362" fmla="*/ 2198254 h 6851196"/>
                  <a:gd name="connsiteX2363" fmla="*/ 1386302 w 12187339"/>
                  <a:gd name="connsiteY2363" fmla="*/ 1960129 h 6851196"/>
                  <a:gd name="connsiteX2364" fmla="*/ 1608854 w 12187339"/>
                  <a:gd name="connsiteY2364" fmla="*/ 2205058 h 6851196"/>
                  <a:gd name="connsiteX2365" fmla="*/ 1608854 w 12187339"/>
                  <a:gd name="connsiteY2365" fmla="*/ 2443183 h 6851196"/>
                  <a:gd name="connsiteX2366" fmla="*/ 1386302 w 12187339"/>
                  <a:gd name="connsiteY2366" fmla="*/ 2443183 h 6851196"/>
                  <a:gd name="connsiteX2367" fmla="*/ 1386302 w 12187339"/>
                  <a:gd name="connsiteY2367" fmla="*/ 2205058 h 6851196"/>
                  <a:gd name="connsiteX2368" fmla="*/ 1608854 w 12187339"/>
                  <a:gd name="connsiteY2368" fmla="*/ 2449986 h 6851196"/>
                  <a:gd name="connsiteX2369" fmla="*/ 1608854 w 12187339"/>
                  <a:gd name="connsiteY2369" fmla="*/ 2686479 h 6851196"/>
                  <a:gd name="connsiteX2370" fmla="*/ 1386302 w 12187339"/>
                  <a:gd name="connsiteY2370" fmla="*/ 2686479 h 6851196"/>
                  <a:gd name="connsiteX2371" fmla="*/ 1386302 w 12187339"/>
                  <a:gd name="connsiteY2371" fmla="*/ 2449986 h 6851196"/>
                  <a:gd name="connsiteX2372" fmla="*/ 1608854 w 12187339"/>
                  <a:gd name="connsiteY2372" fmla="*/ 2693282 h 6851196"/>
                  <a:gd name="connsiteX2373" fmla="*/ 1608854 w 12187339"/>
                  <a:gd name="connsiteY2373" fmla="*/ 2931407 h 6851196"/>
                  <a:gd name="connsiteX2374" fmla="*/ 1386302 w 12187339"/>
                  <a:gd name="connsiteY2374" fmla="*/ 2931407 h 6851196"/>
                  <a:gd name="connsiteX2375" fmla="*/ 1386302 w 12187339"/>
                  <a:gd name="connsiteY2375" fmla="*/ 2693282 h 6851196"/>
                  <a:gd name="connsiteX2376" fmla="*/ 1608854 w 12187339"/>
                  <a:gd name="connsiteY2376" fmla="*/ 2938211 h 6851196"/>
                  <a:gd name="connsiteX2377" fmla="*/ 1608854 w 12187339"/>
                  <a:gd name="connsiteY2377" fmla="*/ 3176336 h 6851196"/>
                  <a:gd name="connsiteX2378" fmla="*/ 1386302 w 12187339"/>
                  <a:gd name="connsiteY2378" fmla="*/ 3176336 h 6851196"/>
                  <a:gd name="connsiteX2379" fmla="*/ 1386302 w 12187339"/>
                  <a:gd name="connsiteY2379" fmla="*/ 2938211 h 6851196"/>
                  <a:gd name="connsiteX2380" fmla="*/ 1608854 w 12187339"/>
                  <a:gd name="connsiteY2380" fmla="*/ 3183139 h 6851196"/>
                  <a:gd name="connsiteX2381" fmla="*/ 1608854 w 12187339"/>
                  <a:gd name="connsiteY2381" fmla="*/ 3421264 h 6851196"/>
                  <a:gd name="connsiteX2382" fmla="*/ 1386302 w 12187339"/>
                  <a:gd name="connsiteY2382" fmla="*/ 3421264 h 6851196"/>
                  <a:gd name="connsiteX2383" fmla="*/ 1386302 w 12187339"/>
                  <a:gd name="connsiteY2383" fmla="*/ 3183139 h 6851196"/>
                  <a:gd name="connsiteX2384" fmla="*/ 1608854 w 12187339"/>
                  <a:gd name="connsiteY2384" fmla="*/ 3428068 h 6851196"/>
                  <a:gd name="connsiteX2385" fmla="*/ 1608854 w 12187339"/>
                  <a:gd name="connsiteY2385" fmla="*/ 3664560 h 6851196"/>
                  <a:gd name="connsiteX2386" fmla="*/ 1386302 w 12187339"/>
                  <a:gd name="connsiteY2386" fmla="*/ 3664560 h 6851196"/>
                  <a:gd name="connsiteX2387" fmla="*/ 1386302 w 12187339"/>
                  <a:gd name="connsiteY2387" fmla="*/ 3428068 h 6851196"/>
                  <a:gd name="connsiteX2388" fmla="*/ 1608854 w 12187339"/>
                  <a:gd name="connsiteY2388" fmla="*/ 3671364 h 6851196"/>
                  <a:gd name="connsiteX2389" fmla="*/ 1608854 w 12187339"/>
                  <a:gd name="connsiteY2389" fmla="*/ 3909489 h 6851196"/>
                  <a:gd name="connsiteX2390" fmla="*/ 1386302 w 12187339"/>
                  <a:gd name="connsiteY2390" fmla="*/ 3909489 h 6851196"/>
                  <a:gd name="connsiteX2391" fmla="*/ 1386302 w 12187339"/>
                  <a:gd name="connsiteY2391" fmla="*/ 3671364 h 6851196"/>
                  <a:gd name="connsiteX2392" fmla="*/ 1608854 w 12187339"/>
                  <a:gd name="connsiteY2392" fmla="*/ 3916292 h 6851196"/>
                  <a:gd name="connsiteX2393" fmla="*/ 1608854 w 12187339"/>
                  <a:gd name="connsiteY2393" fmla="*/ 4154417 h 6851196"/>
                  <a:gd name="connsiteX2394" fmla="*/ 1386302 w 12187339"/>
                  <a:gd name="connsiteY2394" fmla="*/ 4154417 h 6851196"/>
                  <a:gd name="connsiteX2395" fmla="*/ 1386302 w 12187339"/>
                  <a:gd name="connsiteY2395" fmla="*/ 3916292 h 6851196"/>
                  <a:gd name="connsiteX2396" fmla="*/ 1608854 w 12187339"/>
                  <a:gd name="connsiteY2396" fmla="*/ 4161221 h 6851196"/>
                  <a:gd name="connsiteX2397" fmla="*/ 1608854 w 12187339"/>
                  <a:gd name="connsiteY2397" fmla="*/ 4399346 h 6851196"/>
                  <a:gd name="connsiteX2398" fmla="*/ 1386302 w 12187339"/>
                  <a:gd name="connsiteY2398" fmla="*/ 4399346 h 6851196"/>
                  <a:gd name="connsiteX2399" fmla="*/ 1386302 w 12187339"/>
                  <a:gd name="connsiteY2399" fmla="*/ 4161221 h 6851196"/>
                  <a:gd name="connsiteX2400" fmla="*/ 1608854 w 12187339"/>
                  <a:gd name="connsiteY2400" fmla="*/ 4406149 h 6851196"/>
                  <a:gd name="connsiteX2401" fmla="*/ 1608854 w 12187339"/>
                  <a:gd name="connsiteY2401" fmla="*/ 4642233 h 6851196"/>
                  <a:gd name="connsiteX2402" fmla="*/ 1386302 w 12187339"/>
                  <a:gd name="connsiteY2402" fmla="*/ 4642233 h 6851196"/>
                  <a:gd name="connsiteX2403" fmla="*/ 1386302 w 12187339"/>
                  <a:gd name="connsiteY2403" fmla="*/ 4405741 h 6851196"/>
                  <a:gd name="connsiteX2404" fmla="*/ 1608854 w 12187339"/>
                  <a:gd name="connsiteY2404" fmla="*/ 4649445 h 6851196"/>
                  <a:gd name="connsiteX2405" fmla="*/ 1608854 w 12187339"/>
                  <a:gd name="connsiteY2405" fmla="*/ 4887162 h 6851196"/>
                  <a:gd name="connsiteX2406" fmla="*/ 1386302 w 12187339"/>
                  <a:gd name="connsiteY2406" fmla="*/ 4887162 h 6851196"/>
                  <a:gd name="connsiteX2407" fmla="*/ 1386302 w 12187339"/>
                  <a:gd name="connsiteY2407" fmla="*/ 4649037 h 6851196"/>
                  <a:gd name="connsiteX2408" fmla="*/ 1608854 w 12187339"/>
                  <a:gd name="connsiteY2408" fmla="*/ 4894374 h 6851196"/>
                  <a:gd name="connsiteX2409" fmla="*/ 1608854 w 12187339"/>
                  <a:gd name="connsiteY2409" fmla="*/ 5132090 h 6851196"/>
                  <a:gd name="connsiteX2410" fmla="*/ 1386302 w 12187339"/>
                  <a:gd name="connsiteY2410" fmla="*/ 5132090 h 6851196"/>
                  <a:gd name="connsiteX2411" fmla="*/ 1386302 w 12187339"/>
                  <a:gd name="connsiteY2411" fmla="*/ 4893965 h 6851196"/>
                  <a:gd name="connsiteX2412" fmla="*/ 1608854 w 12187339"/>
                  <a:gd name="connsiteY2412" fmla="*/ 5139302 h 6851196"/>
                  <a:gd name="connsiteX2413" fmla="*/ 1608854 w 12187339"/>
                  <a:gd name="connsiteY2413" fmla="*/ 5375795 h 6851196"/>
                  <a:gd name="connsiteX2414" fmla="*/ 1386302 w 12187339"/>
                  <a:gd name="connsiteY2414" fmla="*/ 5375795 h 6851196"/>
                  <a:gd name="connsiteX2415" fmla="*/ 1386302 w 12187339"/>
                  <a:gd name="connsiteY2415" fmla="*/ 5139302 h 6851196"/>
                  <a:gd name="connsiteX2416" fmla="*/ 1615257 w 12187339"/>
                  <a:gd name="connsiteY2416" fmla="*/ 5139302 h 6851196"/>
                  <a:gd name="connsiteX2417" fmla="*/ 1839089 w 12187339"/>
                  <a:gd name="connsiteY2417" fmla="*/ 5139302 h 6851196"/>
                  <a:gd name="connsiteX2418" fmla="*/ 1839089 w 12187339"/>
                  <a:gd name="connsiteY2418" fmla="*/ 5375795 h 6851196"/>
                  <a:gd name="connsiteX2419" fmla="*/ 1615000 w 12187339"/>
                  <a:gd name="connsiteY2419" fmla="*/ 5375795 h 6851196"/>
                  <a:gd name="connsiteX2420" fmla="*/ 1845748 w 12187339"/>
                  <a:gd name="connsiteY2420" fmla="*/ 5139302 h 6851196"/>
                  <a:gd name="connsiteX2421" fmla="*/ 2069580 w 12187339"/>
                  <a:gd name="connsiteY2421" fmla="*/ 5139302 h 6851196"/>
                  <a:gd name="connsiteX2422" fmla="*/ 2069580 w 12187339"/>
                  <a:gd name="connsiteY2422" fmla="*/ 5375795 h 6851196"/>
                  <a:gd name="connsiteX2423" fmla="*/ 1845491 w 12187339"/>
                  <a:gd name="connsiteY2423" fmla="*/ 5375795 h 6851196"/>
                  <a:gd name="connsiteX2424" fmla="*/ 2076239 w 12187339"/>
                  <a:gd name="connsiteY2424" fmla="*/ 5139302 h 6851196"/>
                  <a:gd name="connsiteX2425" fmla="*/ 2298791 w 12187339"/>
                  <a:gd name="connsiteY2425" fmla="*/ 5139302 h 6851196"/>
                  <a:gd name="connsiteX2426" fmla="*/ 2298791 w 12187339"/>
                  <a:gd name="connsiteY2426" fmla="*/ 5375795 h 6851196"/>
                  <a:gd name="connsiteX2427" fmla="*/ 2075982 w 12187339"/>
                  <a:gd name="connsiteY2427" fmla="*/ 5375795 h 6851196"/>
                  <a:gd name="connsiteX2428" fmla="*/ 2305193 w 12187339"/>
                  <a:gd name="connsiteY2428" fmla="*/ 5139302 h 6851196"/>
                  <a:gd name="connsiteX2429" fmla="*/ 2529282 w 12187339"/>
                  <a:gd name="connsiteY2429" fmla="*/ 5139302 h 6851196"/>
                  <a:gd name="connsiteX2430" fmla="*/ 2529282 w 12187339"/>
                  <a:gd name="connsiteY2430" fmla="*/ 5375795 h 6851196"/>
                  <a:gd name="connsiteX2431" fmla="*/ 2305193 w 12187339"/>
                  <a:gd name="connsiteY2431" fmla="*/ 5375795 h 6851196"/>
                  <a:gd name="connsiteX2432" fmla="*/ 2535684 w 12187339"/>
                  <a:gd name="connsiteY2432" fmla="*/ 5139302 h 6851196"/>
                  <a:gd name="connsiteX2433" fmla="*/ 2759773 w 12187339"/>
                  <a:gd name="connsiteY2433" fmla="*/ 5139302 h 6851196"/>
                  <a:gd name="connsiteX2434" fmla="*/ 2759773 w 12187339"/>
                  <a:gd name="connsiteY2434" fmla="*/ 5375795 h 6851196"/>
                  <a:gd name="connsiteX2435" fmla="*/ 2535684 w 12187339"/>
                  <a:gd name="connsiteY2435" fmla="*/ 5375795 h 6851196"/>
                  <a:gd name="connsiteX2436" fmla="*/ 2766175 w 12187339"/>
                  <a:gd name="connsiteY2436" fmla="*/ 5139302 h 6851196"/>
                  <a:gd name="connsiteX2437" fmla="*/ 2990264 w 12187339"/>
                  <a:gd name="connsiteY2437" fmla="*/ 5139302 h 6851196"/>
                  <a:gd name="connsiteX2438" fmla="*/ 2990264 w 12187339"/>
                  <a:gd name="connsiteY2438" fmla="*/ 5375795 h 6851196"/>
                  <a:gd name="connsiteX2439" fmla="*/ 2766175 w 12187339"/>
                  <a:gd name="connsiteY2439" fmla="*/ 5375795 h 6851196"/>
                  <a:gd name="connsiteX2440" fmla="*/ 2996666 w 12187339"/>
                  <a:gd name="connsiteY2440" fmla="*/ 5139302 h 6851196"/>
                  <a:gd name="connsiteX2441" fmla="*/ 3219218 w 12187339"/>
                  <a:gd name="connsiteY2441" fmla="*/ 5139302 h 6851196"/>
                  <a:gd name="connsiteX2442" fmla="*/ 3219218 w 12187339"/>
                  <a:gd name="connsiteY2442" fmla="*/ 5375795 h 6851196"/>
                  <a:gd name="connsiteX2443" fmla="*/ 2996666 w 12187339"/>
                  <a:gd name="connsiteY2443" fmla="*/ 5375795 h 6851196"/>
                  <a:gd name="connsiteX2444" fmla="*/ 3225621 w 12187339"/>
                  <a:gd name="connsiteY2444" fmla="*/ 5139302 h 6851196"/>
                  <a:gd name="connsiteX2445" fmla="*/ 3449709 w 12187339"/>
                  <a:gd name="connsiteY2445" fmla="*/ 5139302 h 6851196"/>
                  <a:gd name="connsiteX2446" fmla="*/ 3449709 w 12187339"/>
                  <a:gd name="connsiteY2446" fmla="*/ 5375795 h 6851196"/>
                  <a:gd name="connsiteX2447" fmla="*/ 3225621 w 12187339"/>
                  <a:gd name="connsiteY2447" fmla="*/ 5375795 h 6851196"/>
                  <a:gd name="connsiteX2448" fmla="*/ 3456112 w 12187339"/>
                  <a:gd name="connsiteY2448" fmla="*/ 5139302 h 6851196"/>
                  <a:gd name="connsiteX2449" fmla="*/ 3680200 w 12187339"/>
                  <a:gd name="connsiteY2449" fmla="*/ 5139302 h 6851196"/>
                  <a:gd name="connsiteX2450" fmla="*/ 3680200 w 12187339"/>
                  <a:gd name="connsiteY2450" fmla="*/ 5375795 h 6851196"/>
                  <a:gd name="connsiteX2451" fmla="*/ 3456112 w 12187339"/>
                  <a:gd name="connsiteY2451" fmla="*/ 5375795 h 6851196"/>
                  <a:gd name="connsiteX2452" fmla="*/ 3686603 w 12187339"/>
                  <a:gd name="connsiteY2452" fmla="*/ 5139302 h 6851196"/>
                  <a:gd name="connsiteX2453" fmla="*/ 3910691 w 12187339"/>
                  <a:gd name="connsiteY2453" fmla="*/ 5139302 h 6851196"/>
                  <a:gd name="connsiteX2454" fmla="*/ 3910691 w 12187339"/>
                  <a:gd name="connsiteY2454" fmla="*/ 5375795 h 6851196"/>
                  <a:gd name="connsiteX2455" fmla="*/ 3686603 w 12187339"/>
                  <a:gd name="connsiteY2455" fmla="*/ 5375795 h 6851196"/>
                  <a:gd name="connsiteX2456" fmla="*/ 3917094 w 12187339"/>
                  <a:gd name="connsiteY2456" fmla="*/ 5139302 h 6851196"/>
                  <a:gd name="connsiteX2457" fmla="*/ 4139644 w 12187339"/>
                  <a:gd name="connsiteY2457" fmla="*/ 5139302 h 6851196"/>
                  <a:gd name="connsiteX2458" fmla="*/ 4139644 w 12187339"/>
                  <a:gd name="connsiteY2458" fmla="*/ 5375795 h 6851196"/>
                  <a:gd name="connsiteX2459" fmla="*/ 3917094 w 12187339"/>
                  <a:gd name="connsiteY2459" fmla="*/ 5375795 h 6851196"/>
                  <a:gd name="connsiteX2460" fmla="*/ 4146047 w 12187339"/>
                  <a:gd name="connsiteY2460" fmla="*/ 5139302 h 6851196"/>
                  <a:gd name="connsiteX2461" fmla="*/ 4370135 w 12187339"/>
                  <a:gd name="connsiteY2461" fmla="*/ 5139302 h 6851196"/>
                  <a:gd name="connsiteX2462" fmla="*/ 4370135 w 12187339"/>
                  <a:gd name="connsiteY2462" fmla="*/ 5375795 h 6851196"/>
                  <a:gd name="connsiteX2463" fmla="*/ 4146047 w 12187339"/>
                  <a:gd name="connsiteY2463" fmla="*/ 5375795 h 6851196"/>
                  <a:gd name="connsiteX2464" fmla="*/ 4376538 w 12187339"/>
                  <a:gd name="connsiteY2464" fmla="*/ 5139302 h 6851196"/>
                  <a:gd name="connsiteX2465" fmla="*/ 4600626 w 12187339"/>
                  <a:gd name="connsiteY2465" fmla="*/ 5139302 h 6851196"/>
                  <a:gd name="connsiteX2466" fmla="*/ 4600626 w 12187339"/>
                  <a:gd name="connsiteY2466" fmla="*/ 5375795 h 6851196"/>
                  <a:gd name="connsiteX2467" fmla="*/ 4376538 w 12187339"/>
                  <a:gd name="connsiteY2467" fmla="*/ 5375795 h 6851196"/>
                  <a:gd name="connsiteX2468" fmla="*/ 4607029 w 12187339"/>
                  <a:gd name="connsiteY2468" fmla="*/ 5139302 h 6851196"/>
                  <a:gd name="connsiteX2469" fmla="*/ 4829582 w 12187339"/>
                  <a:gd name="connsiteY2469" fmla="*/ 5139302 h 6851196"/>
                  <a:gd name="connsiteX2470" fmla="*/ 4829582 w 12187339"/>
                  <a:gd name="connsiteY2470" fmla="*/ 5375795 h 6851196"/>
                  <a:gd name="connsiteX2471" fmla="*/ 4607029 w 12187339"/>
                  <a:gd name="connsiteY2471" fmla="*/ 5375795 h 6851196"/>
                  <a:gd name="connsiteX2472" fmla="*/ 4835985 w 12187339"/>
                  <a:gd name="connsiteY2472" fmla="*/ 5139302 h 6851196"/>
                  <a:gd name="connsiteX2473" fmla="*/ 5060073 w 12187339"/>
                  <a:gd name="connsiteY2473" fmla="*/ 5139302 h 6851196"/>
                  <a:gd name="connsiteX2474" fmla="*/ 5060073 w 12187339"/>
                  <a:gd name="connsiteY2474" fmla="*/ 5375795 h 6851196"/>
                  <a:gd name="connsiteX2475" fmla="*/ 4835472 w 12187339"/>
                  <a:gd name="connsiteY2475" fmla="*/ 5375795 h 6851196"/>
                  <a:gd name="connsiteX2476" fmla="*/ 5066476 w 12187339"/>
                  <a:gd name="connsiteY2476" fmla="*/ 5139302 h 6851196"/>
                  <a:gd name="connsiteX2477" fmla="*/ 5290564 w 12187339"/>
                  <a:gd name="connsiteY2477" fmla="*/ 5139302 h 6851196"/>
                  <a:gd name="connsiteX2478" fmla="*/ 5290564 w 12187339"/>
                  <a:gd name="connsiteY2478" fmla="*/ 5375795 h 6851196"/>
                  <a:gd name="connsiteX2479" fmla="*/ 5065963 w 12187339"/>
                  <a:gd name="connsiteY2479" fmla="*/ 5375795 h 6851196"/>
                  <a:gd name="connsiteX2480" fmla="*/ 5296967 w 12187339"/>
                  <a:gd name="connsiteY2480" fmla="*/ 5139302 h 6851196"/>
                  <a:gd name="connsiteX2481" fmla="*/ 5521055 w 12187339"/>
                  <a:gd name="connsiteY2481" fmla="*/ 5139302 h 6851196"/>
                  <a:gd name="connsiteX2482" fmla="*/ 5521055 w 12187339"/>
                  <a:gd name="connsiteY2482" fmla="*/ 5375795 h 6851196"/>
                  <a:gd name="connsiteX2483" fmla="*/ 5296454 w 12187339"/>
                  <a:gd name="connsiteY2483" fmla="*/ 5375795 h 6851196"/>
                  <a:gd name="connsiteX2484" fmla="*/ 5527458 w 12187339"/>
                  <a:gd name="connsiteY2484" fmla="*/ 5139302 h 6851196"/>
                  <a:gd name="connsiteX2485" fmla="*/ 5750008 w 12187339"/>
                  <a:gd name="connsiteY2485" fmla="*/ 5139302 h 6851196"/>
                  <a:gd name="connsiteX2486" fmla="*/ 5750008 w 12187339"/>
                  <a:gd name="connsiteY2486" fmla="*/ 5375795 h 6851196"/>
                  <a:gd name="connsiteX2487" fmla="*/ 5526945 w 12187339"/>
                  <a:gd name="connsiteY2487" fmla="*/ 5375795 h 6851196"/>
                  <a:gd name="connsiteX2488" fmla="*/ 5756411 w 12187339"/>
                  <a:gd name="connsiteY2488" fmla="*/ 5139302 h 6851196"/>
                  <a:gd name="connsiteX2489" fmla="*/ 5980499 w 12187339"/>
                  <a:gd name="connsiteY2489" fmla="*/ 5139302 h 6851196"/>
                  <a:gd name="connsiteX2490" fmla="*/ 5980499 w 12187339"/>
                  <a:gd name="connsiteY2490" fmla="*/ 5375795 h 6851196"/>
                  <a:gd name="connsiteX2491" fmla="*/ 5756411 w 12187339"/>
                  <a:gd name="connsiteY2491" fmla="*/ 5375795 h 6851196"/>
                  <a:gd name="connsiteX2492" fmla="*/ 5986902 w 12187339"/>
                  <a:gd name="connsiteY2492" fmla="*/ 5139302 h 6851196"/>
                  <a:gd name="connsiteX2493" fmla="*/ 6210990 w 12187339"/>
                  <a:gd name="connsiteY2493" fmla="*/ 5139302 h 6851196"/>
                  <a:gd name="connsiteX2494" fmla="*/ 6210990 w 12187339"/>
                  <a:gd name="connsiteY2494" fmla="*/ 5375795 h 6851196"/>
                  <a:gd name="connsiteX2495" fmla="*/ 5986902 w 12187339"/>
                  <a:gd name="connsiteY2495" fmla="*/ 5375795 h 6851196"/>
                  <a:gd name="connsiteX2496" fmla="*/ 6217393 w 12187339"/>
                  <a:gd name="connsiteY2496" fmla="*/ 5139302 h 6851196"/>
                  <a:gd name="connsiteX2497" fmla="*/ 6439946 w 12187339"/>
                  <a:gd name="connsiteY2497" fmla="*/ 5139302 h 6851196"/>
                  <a:gd name="connsiteX2498" fmla="*/ 6439946 w 12187339"/>
                  <a:gd name="connsiteY2498" fmla="*/ 5375795 h 6851196"/>
                  <a:gd name="connsiteX2499" fmla="*/ 6217136 w 12187339"/>
                  <a:gd name="connsiteY2499" fmla="*/ 5375795 h 6851196"/>
                  <a:gd name="connsiteX2500" fmla="*/ 6446349 w 12187339"/>
                  <a:gd name="connsiteY2500" fmla="*/ 5139302 h 6851196"/>
                  <a:gd name="connsiteX2501" fmla="*/ 6656863 w 12187339"/>
                  <a:gd name="connsiteY2501" fmla="*/ 5139302 h 6851196"/>
                  <a:gd name="connsiteX2502" fmla="*/ 6656863 w 12187339"/>
                  <a:gd name="connsiteY2502" fmla="*/ 5375795 h 6851196"/>
                  <a:gd name="connsiteX2503" fmla="*/ 6446349 w 12187339"/>
                  <a:gd name="connsiteY2503" fmla="*/ 5375795 h 6851196"/>
                  <a:gd name="connsiteX2504" fmla="*/ 6663265 w 12187339"/>
                  <a:gd name="connsiteY2504" fmla="*/ 5139302 h 6851196"/>
                  <a:gd name="connsiteX2505" fmla="*/ 6887354 w 12187339"/>
                  <a:gd name="connsiteY2505" fmla="*/ 5139302 h 6851196"/>
                  <a:gd name="connsiteX2506" fmla="*/ 6887354 w 12187339"/>
                  <a:gd name="connsiteY2506" fmla="*/ 5375795 h 6851196"/>
                  <a:gd name="connsiteX2507" fmla="*/ 6663265 w 12187339"/>
                  <a:gd name="connsiteY2507" fmla="*/ 5375795 h 6851196"/>
                  <a:gd name="connsiteX2508" fmla="*/ 6893756 w 12187339"/>
                  <a:gd name="connsiteY2508" fmla="*/ 5139302 h 6851196"/>
                  <a:gd name="connsiteX2509" fmla="*/ 7117845 w 12187339"/>
                  <a:gd name="connsiteY2509" fmla="*/ 5139302 h 6851196"/>
                  <a:gd name="connsiteX2510" fmla="*/ 7117845 w 12187339"/>
                  <a:gd name="connsiteY2510" fmla="*/ 5375795 h 6851196"/>
                  <a:gd name="connsiteX2511" fmla="*/ 6893756 w 12187339"/>
                  <a:gd name="connsiteY2511" fmla="*/ 5375795 h 6851196"/>
                  <a:gd name="connsiteX2512" fmla="*/ 7124247 w 12187339"/>
                  <a:gd name="connsiteY2512" fmla="*/ 5139302 h 6851196"/>
                  <a:gd name="connsiteX2513" fmla="*/ 7346801 w 12187339"/>
                  <a:gd name="connsiteY2513" fmla="*/ 5139302 h 6851196"/>
                  <a:gd name="connsiteX2514" fmla="*/ 7346801 w 12187339"/>
                  <a:gd name="connsiteY2514" fmla="*/ 5375795 h 6851196"/>
                  <a:gd name="connsiteX2515" fmla="*/ 7124247 w 12187339"/>
                  <a:gd name="connsiteY2515" fmla="*/ 5375795 h 6851196"/>
                  <a:gd name="connsiteX2516" fmla="*/ 7353204 w 12187339"/>
                  <a:gd name="connsiteY2516" fmla="*/ 5139302 h 6851196"/>
                  <a:gd name="connsiteX2517" fmla="*/ 7577292 w 12187339"/>
                  <a:gd name="connsiteY2517" fmla="*/ 5139302 h 6851196"/>
                  <a:gd name="connsiteX2518" fmla="*/ 7577292 w 12187339"/>
                  <a:gd name="connsiteY2518" fmla="*/ 5375795 h 6851196"/>
                  <a:gd name="connsiteX2519" fmla="*/ 7353204 w 12187339"/>
                  <a:gd name="connsiteY2519" fmla="*/ 5375795 h 6851196"/>
                  <a:gd name="connsiteX2520" fmla="*/ 7583695 w 12187339"/>
                  <a:gd name="connsiteY2520" fmla="*/ 5139302 h 6851196"/>
                  <a:gd name="connsiteX2521" fmla="*/ 7807783 w 12187339"/>
                  <a:gd name="connsiteY2521" fmla="*/ 5139302 h 6851196"/>
                  <a:gd name="connsiteX2522" fmla="*/ 7807783 w 12187339"/>
                  <a:gd name="connsiteY2522" fmla="*/ 5375795 h 6851196"/>
                  <a:gd name="connsiteX2523" fmla="*/ 7583695 w 12187339"/>
                  <a:gd name="connsiteY2523" fmla="*/ 5375795 h 6851196"/>
                  <a:gd name="connsiteX2524" fmla="*/ 7814186 w 12187339"/>
                  <a:gd name="connsiteY2524" fmla="*/ 5139302 h 6851196"/>
                  <a:gd name="connsiteX2525" fmla="*/ 8038274 w 12187339"/>
                  <a:gd name="connsiteY2525" fmla="*/ 5139302 h 6851196"/>
                  <a:gd name="connsiteX2526" fmla="*/ 8038274 w 12187339"/>
                  <a:gd name="connsiteY2526" fmla="*/ 5375795 h 6851196"/>
                  <a:gd name="connsiteX2527" fmla="*/ 7814186 w 12187339"/>
                  <a:gd name="connsiteY2527" fmla="*/ 5375795 h 6851196"/>
                  <a:gd name="connsiteX2528" fmla="*/ 8044677 w 12187339"/>
                  <a:gd name="connsiteY2528" fmla="*/ 5139302 h 6851196"/>
                  <a:gd name="connsiteX2529" fmla="*/ 8267227 w 12187339"/>
                  <a:gd name="connsiteY2529" fmla="*/ 5139302 h 6851196"/>
                  <a:gd name="connsiteX2530" fmla="*/ 8267227 w 12187339"/>
                  <a:gd name="connsiteY2530" fmla="*/ 5375795 h 6851196"/>
                  <a:gd name="connsiteX2531" fmla="*/ 8044420 w 12187339"/>
                  <a:gd name="connsiteY2531" fmla="*/ 5375795 h 6851196"/>
                  <a:gd name="connsiteX2532" fmla="*/ 8273629 w 12187339"/>
                  <a:gd name="connsiteY2532" fmla="*/ 5139302 h 6851196"/>
                  <a:gd name="connsiteX2533" fmla="*/ 8497718 w 12187339"/>
                  <a:gd name="connsiteY2533" fmla="*/ 5139302 h 6851196"/>
                  <a:gd name="connsiteX2534" fmla="*/ 8497718 w 12187339"/>
                  <a:gd name="connsiteY2534" fmla="*/ 5375795 h 6851196"/>
                  <a:gd name="connsiteX2535" fmla="*/ 8273629 w 12187339"/>
                  <a:gd name="connsiteY2535" fmla="*/ 5375795 h 6851196"/>
                  <a:gd name="connsiteX2536" fmla="*/ 8504120 w 12187339"/>
                  <a:gd name="connsiteY2536" fmla="*/ 5139302 h 6851196"/>
                  <a:gd name="connsiteX2537" fmla="*/ 8728209 w 12187339"/>
                  <a:gd name="connsiteY2537" fmla="*/ 5139302 h 6851196"/>
                  <a:gd name="connsiteX2538" fmla="*/ 8728209 w 12187339"/>
                  <a:gd name="connsiteY2538" fmla="*/ 5375795 h 6851196"/>
                  <a:gd name="connsiteX2539" fmla="*/ 8504120 w 12187339"/>
                  <a:gd name="connsiteY2539" fmla="*/ 5375795 h 6851196"/>
                  <a:gd name="connsiteX2540" fmla="*/ 8734611 w 12187339"/>
                  <a:gd name="connsiteY2540" fmla="*/ 5139302 h 6851196"/>
                  <a:gd name="connsiteX2541" fmla="*/ 8957162 w 12187339"/>
                  <a:gd name="connsiteY2541" fmla="*/ 5139302 h 6851196"/>
                  <a:gd name="connsiteX2542" fmla="*/ 8957162 w 12187339"/>
                  <a:gd name="connsiteY2542" fmla="*/ 5375795 h 6851196"/>
                  <a:gd name="connsiteX2543" fmla="*/ 8734611 w 12187339"/>
                  <a:gd name="connsiteY2543" fmla="*/ 5375795 h 6851196"/>
                  <a:gd name="connsiteX2544" fmla="*/ 8963564 w 12187339"/>
                  <a:gd name="connsiteY2544" fmla="*/ 5139302 h 6851196"/>
                  <a:gd name="connsiteX2545" fmla="*/ 9187653 w 12187339"/>
                  <a:gd name="connsiteY2545" fmla="*/ 5139302 h 6851196"/>
                  <a:gd name="connsiteX2546" fmla="*/ 9187653 w 12187339"/>
                  <a:gd name="connsiteY2546" fmla="*/ 5375795 h 6851196"/>
                  <a:gd name="connsiteX2547" fmla="*/ 8963564 w 12187339"/>
                  <a:gd name="connsiteY2547" fmla="*/ 5375795 h 6851196"/>
                  <a:gd name="connsiteX2548" fmla="*/ 9194055 w 12187339"/>
                  <a:gd name="connsiteY2548" fmla="*/ 5139302 h 6851196"/>
                  <a:gd name="connsiteX2549" fmla="*/ 9418144 w 12187339"/>
                  <a:gd name="connsiteY2549" fmla="*/ 5139302 h 6851196"/>
                  <a:gd name="connsiteX2550" fmla="*/ 9418144 w 12187339"/>
                  <a:gd name="connsiteY2550" fmla="*/ 5375795 h 6851196"/>
                  <a:gd name="connsiteX2551" fmla="*/ 9194055 w 12187339"/>
                  <a:gd name="connsiteY2551" fmla="*/ 5375795 h 6851196"/>
                  <a:gd name="connsiteX2552" fmla="*/ 9424546 w 12187339"/>
                  <a:gd name="connsiteY2552" fmla="*/ 5139302 h 6851196"/>
                  <a:gd name="connsiteX2553" fmla="*/ 9648635 w 12187339"/>
                  <a:gd name="connsiteY2553" fmla="*/ 5139302 h 6851196"/>
                  <a:gd name="connsiteX2554" fmla="*/ 9648635 w 12187339"/>
                  <a:gd name="connsiteY2554" fmla="*/ 5375795 h 6851196"/>
                  <a:gd name="connsiteX2555" fmla="*/ 9424546 w 12187339"/>
                  <a:gd name="connsiteY2555" fmla="*/ 5375795 h 6851196"/>
                  <a:gd name="connsiteX2556" fmla="*/ 9655037 w 12187339"/>
                  <a:gd name="connsiteY2556" fmla="*/ 5139302 h 6851196"/>
                  <a:gd name="connsiteX2557" fmla="*/ 9877591 w 12187339"/>
                  <a:gd name="connsiteY2557" fmla="*/ 5139302 h 6851196"/>
                  <a:gd name="connsiteX2558" fmla="*/ 9877591 w 12187339"/>
                  <a:gd name="connsiteY2558" fmla="*/ 5375795 h 6851196"/>
                  <a:gd name="connsiteX2559" fmla="*/ 9655037 w 12187339"/>
                  <a:gd name="connsiteY2559" fmla="*/ 5375795 h 6851196"/>
                  <a:gd name="connsiteX2560" fmla="*/ 9883993 w 12187339"/>
                  <a:gd name="connsiteY2560" fmla="*/ 5139302 h 6851196"/>
                  <a:gd name="connsiteX2561" fmla="*/ 10108082 w 12187339"/>
                  <a:gd name="connsiteY2561" fmla="*/ 5139302 h 6851196"/>
                  <a:gd name="connsiteX2562" fmla="*/ 10108082 w 12187339"/>
                  <a:gd name="connsiteY2562" fmla="*/ 5375795 h 6851196"/>
                  <a:gd name="connsiteX2563" fmla="*/ 9883993 w 12187339"/>
                  <a:gd name="connsiteY2563" fmla="*/ 5375795 h 6851196"/>
                  <a:gd name="connsiteX2564" fmla="*/ 10114484 w 12187339"/>
                  <a:gd name="connsiteY2564" fmla="*/ 5139302 h 6851196"/>
                  <a:gd name="connsiteX2565" fmla="*/ 10338573 w 12187339"/>
                  <a:gd name="connsiteY2565" fmla="*/ 5139302 h 6851196"/>
                  <a:gd name="connsiteX2566" fmla="*/ 10338573 w 12187339"/>
                  <a:gd name="connsiteY2566" fmla="*/ 5375795 h 6851196"/>
                  <a:gd name="connsiteX2567" fmla="*/ 10114484 w 12187339"/>
                  <a:gd name="connsiteY2567" fmla="*/ 5375795 h 6851196"/>
                  <a:gd name="connsiteX2568" fmla="*/ 10344975 w 12187339"/>
                  <a:gd name="connsiteY2568" fmla="*/ 5139302 h 6851196"/>
                  <a:gd name="connsiteX2569" fmla="*/ 10569064 w 12187339"/>
                  <a:gd name="connsiteY2569" fmla="*/ 5139302 h 6851196"/>
                  <a:gd name="connsiteX2570" fmla="*/ 10569064 w 12187339"/>
                  <a:gd name="connsiteY2570" fmla="*/ 5375795 h 6851196"/>
                  <a:gd name="connsiteX2571" fmla="*/ 10344975 w 12187339"/>
                  <a:gd name="connsiteY2571" fmla="*/ 5375795 h 6851196"/>
                  <a:gd name="connsiteX2572" fmla="*/ 10575466 w 12187339"/>
                  <a:gd name="connsiteY2572" fmla="*/ 5139302 h 6851196"/>
                  <a:gd name="connsiteX2573" fmla="*/ 10798016 w 12187339"/>
                  <a:gd name="connsiteY2573" fmla="*/ 5139302 h 6851196"/>
                  <a:gd name="connsiteX2574" fmla="*/ 10798016 w 12187339"/>
                  <a:gd name="connsiteY2574" fmla="*/ 5375795 h 6851196"/>
                  <a:gd name="connsiteX2575" fmla="*/ 10575466 w 12187339"/>
                  <a:gd name="connsiteY2575" fmla="*/ 5375795 h 6851196"/>
                  <a:gd name="connsiteX2576" fmla="*/ 10575466 w 12187339"/>
                  <a:gd name="connsiteY2576" fmla="*/ 5132499 h 6851196"/>
                  <a:gd name="connsiteX2577" fmla="*/ 10575466 w 12187339"/>
                  <a:gd name="connsiteY2577" fmla="*/ 4894374 h 6851196"/>
                  <a:gd name="connsiteX2578" fmla="*/ 10798016 w 12187339"/>
                  <a:gd name="connsiteY2578" fmla="*/ 4894374 h 6851196"/>
                  <a:gd name="connsiteX2579" fmla="*/ 10798016 w 12187339"/>
                  <a:gd name="connsiteY2579" fmla="*/ 5132090 h 6851196"/>
                  <a:gd name="connsiteX2580" fmla="*/ 10575466 w 12187339"/>
                  <a:gd name="connsiteY2580" fmla="*/ 4887570 h 6851196"/>
                  <a:gd name="connsiteX2581" fmla="*/ 10575466 w 12187339"/>
                  <a:gd name="connsiteY2581" fmla="*/ 4649445 h 6851196"/>
                  <a:gd name="connsiteX2582" fmla="*/ 10798016 w 12187339"/>
                  <a:gd name="connsiteY2582" fmla="*/ 4649445 h 6851196"/>
                  <a:gd name="connsiteX2583" fmla="*/ 10798016 w 12187339"/>
                  <a:gd name="connsiteY2583" fmla="*/ 4887162 h 6851196"/>
                  <a:gd name="connsiteX2584" fmla="*/ 10575466 w 12187339"/>
                  <a:gd name="connsiteY2584" fmla="*/ 4642642 h 6851196"/>
                  <a:gd name="connsiteX2585" fmla="*/ 10575466 w 12187339"/>
                  <a:gd name="connsiteY2585" fmla="*/ 4406149 h 6851196"/>
                  <a:gd name="connsiteX2586" fmla="*/ 10798016 w 12187339"/>
                  <a:gd name="connsiteY2586" fmla="*/ 4406149 h 6851196"/>
                  <a:gd name="connsiteX2587" fmla="*/ 10798016 w 12187339"/>
                  <a:gd name="connsiteY2587" fmla="*/ 4642233 h 6851196"/>
                  <a:gd name="connsiteX2588" fmla="*/ 10575466 w 12187339"/>
                  <a:gd name="connsiteY2588" fmla="*/ 4399346 h 6851196"/>
                  <a:gd name="connsiteX2589" fmla="*/ 10575466 w 12187339"/>
                  <a:gd name="connsiteY2589" fmla="*/ 4161221 h 6851196"/>
                  <a:gd name="connsiteX2590" fmla="*/ 10798016 w 12187339"/>
                  <a:gd name="connsiteY2590" fmla="*/ 4161221 h 6851196"/>
                  <a:gd name="connsiteX2591" fmla="*/ 10798016 w 12187339"/>
                  <a:gd name="connsiteY2591" fmla="*/ 4399346 h 6851196"/>
                  <a:gd name="connsiteX2592" fmla="*/ 10575466 w 12187339"/>
                  <a:gd name="connsiteY2592" fmla="*/ 4154417 h 6851196"/>
                  <a:gd name="connsiteX2593" fmla="*/ 10575466 w 12187339"/>
                  <a:gd name="connsiteY2593" fmla="*/ 3916292 h 6851196"/>
                  <a:gd name="connsiteX2594" fmla="*/ 10798016 w 12187339"/>
                  <a:gd name="connsiteY2594" fmla="*/ 3916292 h 6851196"/>
                  <a:gd name="connsiteX2595" fmla="*/ 10798016 w 12187339"/>
                  <a:gd name="connsiteY2595" fmla="*/ 4154417 h 6851196"/>
                  <a:gd name="connsiteX2596" fmla="*/ 10575466 w 12187339"/>
                  <a:gd name="connsiteY2596" fmla="*/ 3909489 h 6851196"/>
                  <a:gd name="connsiteX2597" fmla="*/ 10575466 w 12187339"/>
                  <a:gd name="connsiteY2597" fmla="*/ 3671364 h 6851196"/>
                  <a:gd name="connsiteX2598" fmla="*/ 10798016 w 12187339"/>
                  <a:gd name="connsiteY2598" fmla="*/ 3671364 h 6851196"/>
                  <a:gd name="connsiteX2599" fmla="*/ 10798016 w 12187339"/>
                  <a:gd name="connsiteY2599" fmla="*/ 3909489 h 6851196"/>
                  <a:gd name="connsiteX2600" fmla="*/ 10575466 w 12187339"/>
                  <a:gd name="connsiteY2600" fmla="*/ 3664560 h 6851196"/>
                  <a:gd name="connsiteX2601" fmla="*/ 10575466 w 12187339"/>
                  <a:gd name="connsiteY2601" fmla="*/ 3428068 h 6851196"/>
                  <a:gd name="connsiteX2602" fmla="*/ 10798016 w 12187339"/>
                  <a:gd name="connsiteY2602" fmla="*/ 3428068 h 6851196"/>
                  <a:gd name="connsiteX2603" fmla="*/ 10798016 w 12187339"/>
                  <a:gd name="connsiteY2603" fmla="*/ 3664560 h 6851196"/>
                  <a:gd name="connsiteX2604" fmla="*/ 10575466 w 12187339"/>
                  <a:gd name="connsiteY2604" fmla="*/ 3421264 h 6851196"/>
                  <a:gd name="connsiteX2605" fmla="*/ 10575466 w 12187339"/>
                  <a:gd name="connsiteY2605" fmla="*/ 3183139 h 6851196"/>
                  <a:gd name="connsiteX2606" fmla="*/ 10798016 w 12187339"/>
                  <a:gd name="connsiteY2606" fmla="*/ 3183139 h 6851196"/>
                  <a:gd name="connsiteX2607" fmla="*/ 10798016 w 12187339"/>
                  <a:gd name="connsiteY2607" fmla="*/ 3421264 h 6851196"/>
                  <a:gd name="connsiteX2608" fmla="*/ 10575466 w 12187339"/>
                  <a:gd name="connsiteY2608" fmla="*/ 3176336 h 6851196"/>
                  <a:gd name="connsiteX2609" fmla="*/ 10575466 w 12187339"/>
                  <a:gd name="connsiteY2609" fmla="*/ 2938211 h 6851196"/>
                  <a:gd name="connsiteX2610" fmla="*/ 10798016 w 12187339"/>
                  <a:gd name="connsiteY2610" fmla="*/ 2938211 h 6851196"/>
                  <a:gd name="connsiteX2611" fmla="*/ 10798016 w 12187339"/>
                  <a:gd name="connsiteY2611" fmla="*/ 3176336 h 6851196"/>
                  <a:gd name="connsiteX2612" fmla="*/ 10575466 w 12187339"/>
                  <a:gd name="connsiteY2612" fmla="*/ 2931407 h 6851196"/>
                  <a:gd name="connsiteX2613" fmla="*/ 10575466 w 12187339"/>
                  <a:gd name="connsiteY2613" fmla="*/ 2693282 h 6851196"/>
                  <a:gd name="connsiteX2614" fmla="*/ 10798016 w 12187339"/>
                  <a:gd name="connsiteY2614" fmla="*/ 2693282 h 6851196"/>
                  <a:gd name="connsiteX2615" fmla="*/ 10798016 w 12187339"/>
                  <a:gd name="connsiteY2615" fmla="*/ 2931407 h 6851196"/>
                  <a:gd name="connsiteX2616" fmla="*/ 10575466 w 12187339"/>
                  <a:gd name="connsiteY2616" fmla="*/ 2686479 h 6851196"/>
                  <a:gd name="connsiteX2617" fmla="*/ 10575466 w 12187339"/>
                  <a:gd name="connsiteY2617" fmla="*/ 2449986 h 6851196"/>
                  <a:gd name="connsiteX2618" fmla="*/ 10798016 w 12187339"/>
                  <a:gd name="connsiteY2618" fmla="*/ 2449986 h 6851196"/>
                  <a:gd name="connsiteX2619" fmla="*/ 10798016 w 12187339"/>
                  <a:gd name="connsiteY2619" fmla="*/ 2686479 h 6851196"/>
                  <a:gd name="connsiteX2620" fmla="*/ 10575466 w 12187339"/>
                  <a:gd name="connsiteY2620" fmla="*/ 2443183 h 6851196"/>
                  <a:gd name="connsiteX2621" fmla="*/ 10575466 w 12187339"/>
                  <a:gd name="connsiteY2621" fmla="*/ 2205058 h 6851196"/>
                  <a:gd name="connsiteX2622" fmla="*/ 10798016 w 12187339"/>
                  <a:gd name="connsiteY2622" fmla="*/ 2205058 h 6851196"/>
                  <a:gd name="connsiteX2623" fmla="*/ 10798016 w 12187339"/>
                  <a:gd name="connsiteY2623" fmla="*/ 2443183 h 6851196"/>
                  <a:gd name="connsiteX2624" fmla="*/ 10575466 w 12187339"/>
                  <a:gd name="connsiteY2624" fmla="*/ 2198254 h 6851196"/>
                  <a:gd name="connsiteX2625" fmla="*/ 10575466 w 12187339"/>
                  <a:gd name="connsiteY2625" fmla="*/ 1960129 h 6851196"/>
                  <a:gd name="connsiteX2626" fmla="*/ 10798016 w 12187339"/>
                  <a:gd name="connsiteY2626" fmla="*/ 1960129 h 6851196"/>
                  <a:gd name="connsiteX2627" fmla="*/ 10798016 w 12187339"/>
                  <a:gd name="connsiteY2627" fmla="*/ 2198254 h 6851196"/>
                  <a:gd name="connsiteX2628" fmla="*/ 10575466 w 12187339"/>
                  <a:gd name="connsiteY2628" fmla="*/ 1953326 h 6851196"/>
                  <a:gd name="connsiteX2629" fmla="*/ 10575466 w 12187339"/>
                  <a:gd name="connsiteY2629" fmla="*/ 1716697 h 6851196"/>
                  <a:gd name="connsiteX2630" fmla="*/ 10798016 w 12187339"/>
                  <a:gd name="connsiteY2630" fmla="*/ 1716697 h 6851196"/>
                  <a:gd name="connsiteX2631" fmla="*/ 10798016 w 12187339"/>
                  <a:gd name="connsiteY2631" fmla="*/ 1953189 h 6851196"/>
                  <a:gd name="connsiteX2632" fmla="*/ 10575466 w 12187339"/>
                  <a:gd name="connsiteY2632" fmla="*/ 1710030 h 6851196"/>
                  <a:gd name="connsiteX2633" fmla="*/ 10575466 w 12187339"/>
                  <a:gd name="connsiteY2633" fmla="*/ 1471769 h 6851196"/>
                  <a:gd name="connsiteX2634" fmla="*/ 10798016 w 12187339"/>
                  <a:gd name="connsiteY2634" fmla="*/ 1471769 h 6851196"/>
                  <a:gd name="connsiteX2635" fmla="*/ 10798016 w 12187339"/>
                  <a:gd name="connsiteY2635" fmla="*/ 1709894 h 6851196"/>
                  <a:gd name="connsiteX2636" fmla="*/ 10575466 w 12187339"/>
                  <a:gd name="connsiteY2636" fmla="*/ 1465101 h 6851196"/>
                  <a:gd name="connsiteX2637" fmla="*/ 10575466 w 12187339"/>
                  <a:gd name="connsiteY2637" fmla="*/ 1226840 h 6851196"/>
                  <a:gd name="connsiteX2638" fmla="*/ 10798016 w 12187339"/>
                  <a:gd name="connsiteY2638" fmla="*/ 1226840 h 6851196"/>
                  <a:gd name="connsiteX2639" fmla="*/ 10798016 w 12187339"/>
                  <a:gd name="connsiteY2639" fmla="*/ 1464965 h 6851196"/>
                  <a:gd name="connsiteX2640" fmla="*/ 10569064 w 12187339"/>
                  <a:gd name="connsiteY2640" fmla="*/ 1465101 h 6851196"/>
                  <a:gd name="connsiteX2641" fmla="*/ 10344975 w 12187339"/>
                  <a:gd name="connsiteY2641" fmla="*/ 1465101 h 6851196"/>
                  <a:gd name="connsiteX2642" fmla="*/ 10344975 w 12187339"/>
                  <a:gd name="connsiteY2642" fmla="*/ 1226840 h 6851196"/>
                  <a:gd name="connsiteX2643" fmla="*/ 10569064 w 12187339"/>
                  <a:gd name="connsiteY2643" fmla="*/ 1226840 h 6851196"/>
                  <a:gd name="connsiteX2644" fmla="*/ 10338573 w 12187339"/>
                  <a:gd name="connsiteY2644" fmla="*/ 1465101 h 6851196"/>
                  <a:gd name="connsiteX2645" fmla="*/ 10114484 w 12187339"/>
                  <a:gd name="connsiteY2645" fmla="*/ 1465101 h 6851196"/>
                  <a:gd name="connsiteX2646" fmla="*/ 10114484 w 12187339"/>
                  <a:gd name="connsiteY2646" fmla="*/ 1226840 h 6851196"/>
                  <a:gd name="connsiteX2647" fmla="*/ 10338573 w 12187339"/>
                  <a:gd name="connsiteY2647" fmla="*/ 1226840 h 6851196"/>
                  <a:gd name="connsiteX2648" fmla="*/ 10108082 w 12187339"/>
                  <a:gd name="connsiteY2648" fmla="*/ 1465101 h 6851196"/>
                  <a:gd name="connsiteX2649" fmla="*/ 9883993 w 12187339"/>
                  <a:gd name="connsiteY2649" fmla="*/ 1465101 h 6851196"/>
                  <a:gd name="connsiteX2650" fmla="*/ 9883993 w 12187339"/>
                  <a:gd name="connsiteY2650" fmla="*/ 1226840 h 6851196"/>
                  <a:gd name="connsiteX2651" fmla="*/ 10108082 w 12187339"/>
                  <a:gd name="connsiteY2651" fmla="*/ 1226840 h 6851196"/>
                  <a:gd name="connsiteX2652" fmla="*/ 9877591 w 12187339"/>
                  <a:gd name="connsiteY2652" fmla="*/ 1465101 h 6851196"/>
                  <a:gd name="connsiteX2653" fmla="*/ 9655037 w 12187339"/>
                  <a:gd name="connsiteY2653" fmla="*/ 1465101 h 6851196"/>
                  <a:gd name="connsiteX2654" fmla="*/ 9655037 w 12187339"/>
                  <a:gd name="connsiteY2654" fmla="*/ 1226840 h 6851196"/>
                  <a:gd name="connsiteX2655" fmla="*/ 9877591 w 12187339"/>
                  <a:gd name="connsiteY2655" fmla="*/ 1226840 h 6851196"/>
                  <a:gd name="connsiteX2656" fmla="*/ 9648635 w 12187339"/>
                  <a:gd name="connsiteY2656" fmla="*/ 1465101 h 6851196"/>
                  <a:gd name="connsiteX2657" fmla="*/ 9424546 w 12187339"/>
                  <a:gd name="connsiteY2657" fmla="*/ 1465101 h 6851196"/>
                  <a:gd name="connsiteX2658" fmla="*/ 9424546 w 12187339"/>
                  <a:gd name="connsiteY2658" fmla="*/ 1226840 h 6851196"/>
                  <a:gd name="connsiteX2659" fmla="*/ 9648635 w 12187339"/>
                  <a:gd name="connsiteY2659" fmla="*/ 1226840 h 6851196"/>
                  <a:gd name="connsiteX2660" fmla="*/ 9418144 w 12187339"/>
                  <a:gd name="connsiteY2660" fmla="*/ 1465101 h 6851196"/>
                  <a:gd name="connsiteX2661" fmla="*/ 9194055 w 12187339"/>
                  <a:gd name="connsiteY2661" fmla="*/ 1465101 h 6851196"/>
                  <a:gd name="connsiteX2662" fmla="*/ 9194055 w 12187339"/>
                  <a:gd name="connsiteY2662" fmla="*/ 1226840 h 6851196"/>
                  <a:gd name="connsiteX2663" fmla="*/ 9418144 w 12187339"/>
                  <a:gd name="connsiteY2663" fmla="*/ 1226840 h 6851196"/>
                  <a:gd name="connsiteX2664" fmla="*/ 9187653 w 12187339"/>
                  <a:gd name="connsiteY2664" fmla="*/ 1465101 h 6851196"/>
                  <a:gd name="connsiteX2665" fmla="*/ 8963564 w 12187339"/>
                  <a:gd name="connsiteY2665" fmla="*/ 1465101 h 6851196"/>
                  <a:gd name="connsiteX2666" fmla="*/ 8963564 w 12187339"/>
                  <a:gd name="connsiteY2666" fmla="*/ 1226840 h 6851196"/>
                  <a:gd name="connsiteX2667" fmla="*/ 9187653 w 12187339"/>
                  <a:gd name="connsiteY2667" fmla="*/ 1226840 h 6851196"/>
                  <a:gd name="connsiteX2668" fmla="*/ 8957162 w 12187339"/>
                  <a:gd name="connsiteY2668" fmla="*/ 1465101 h 6851196"/>
                  <a:gd name="connsiteX2669" fmla="*/ 8734611 w 12187339"/>
                  <a:gd name="connsiteY2669" fmla="*/ 1465101 h 6851196"/>
                  <a:gd name="connsiteX2670" fmla="*/ 8734611 w 12187339"/>
                  <a:gd name="connsiteY2670" fmla="*/ 1226840 h 6851196"/>
                  <a:gd name="connsiteX2671" fmla="*/ 8957162 w 12187339"/>
                  <a:gd name="connsiteY2671" fmla="*/ 1226840 h 6851196"/>
                  <a:gd name="connsiteX2672" fmla="*/ 8728209 w 12187339"/>
                  <a:gd name="connsiteY2672" fmla="*/ 1465101 h 6851196"/>
                  <a:gd name="connsiteX2673" fmla="*/ 8504120 w 12187339"/>
                  <a:gd name="connsiteY2673" fmla="*/ 1465101 h 6851196"/>
                  <a:gd name="connsiteX2674" fmla="*/ 8504120 w 12187339"/>
                  <a:gd name="connsiteY2674" fmla="*/ 1226840 h 6851196"/>
                  <a:gd name="connsiteX2675" fmla="*/ 8728209 w 12187339"/>
                  <a:gd name="connsiteY2675" fmla="*/ 1226840 h 6851196"/>
                  <a:gd name="connsiteX2676" fmla="*/ 8497718 w 12187339"/>
                  <a:gd name="connsiteY2676" fmla="*/ 1465101 h 6851196"/>
                  <a:gd name="connsiteX2677" fmla="*/ 8273629 w 12187339"/>
                  <a:gd name="connsiteY2677" fmla="*/ 1465101 h 6851196"/>
                  <a:gd name="connsiteX2678" fmla="*/ 8273629 w 12187339"/>
                  <a:gd name="connsiteY2678" fmla="*/ 1226840 h 6851196"/>
                  <a:gd name="connsiteX2679" fmla="*/ 8497718 w 12187339"/>
                  <a:gd name="connsiteY2679" fmla="*/ 1226840 h 6851196"/>
                  <a:gd name="connsiteX2680" fmla="*/ 8267227 w 12187339"/>
                  <a:gd name="connsiteY2680" fmla="*/ 1465101 h 6851196"/>
                  <a:gd name="connsiteX2681" fmla="*/ 8044420 w 12187339"/>
                  <a:gd name="connsiteY2681" fmla="*/ 1465101 h 6851196"/>
                  <a:gd name="connsiteX2682" fmla="*/ 8044420 w 12187339"/>
                  <a:gd name="connsiteY2682" fmla="*/ 1226840 h 6851196"/>
                  <a:gd name="connsiteX2683" fmla="*/ 8267227 w 12187339"/>
                  <a:gd name="connsiteY2683" fmla="*/ 1226840 h 6851196"/>
                  <a:gd name="connsiteX2684" fmla="*/ 8038274 w 12187339"/>
                  <a:gd name="connsiteY2684" fmla="*/ 1465101 h 6851196"/>
                  <a:gd name="connsiteX2685" fmla="*/ 7814186 w 12187339"/>
                  <a:gd name="connsiteY2685" fmla="*/ 1465101 h 6851196"/>
                  <a:gd name="connsiteX2686" fmla="*/ 7814186 w 12187339"/>
                  <a:gd name="connsiteY2686" fmla="*/ 1226840 h 6851196"/>
                  <a:gd name="connsiteX2687" fmla="*/ 8038274 w 12187339"/>
                  <a:gd name="connsiteY2687" fmla="*/ 1226840 h 6851196"/>
                  <a:gd name="connsiteX2688" fmla="*/ 7807783 w 12187339"/>
                  <a:gd name="connsiteY2688" fmla="*/ 1465101 h 6851196"/>
                  <a:gd name="connsiteX2689" fmla="*/ 7583695 w 12187339"/>
                  <a:gd name="connsiteY2689" fmla="*/ 1465101 h 6851196"/>
                  <a:gd name="connsiteX2690" fmla="*/ 7583695 w 12187339"/>
                  <a:gd name="connsiteY2690" fmla="*/ 1226840 h 6851196"/>
                  <a:gd name="connsiteX2691" fmla="*/ 7807783 w 12187339"/>
                  <a:gd name="connsiteY2691" fmla="*/ 1226840 h 6851196"/>
                  <a:gd name="connsiteX2692" fmla="*/ 7577292 w 12187339"/>
                  <a:gd name="connsiteY2692" fmla="*/ 1465101 h 6851196"/>
                  <a:gd name="connsiteX2693" fmla="*/ 7353204 w 12187339"/>
                  <a:gd name="connsiteY2693" fmla="*/ 1465101 h 6851196"/>
                  <a:gd name="connsiteX2694" fmla="*/ 7353204 w 12187339"/>
                  <a:gd name="connsiteY2694" fmla="*/ 1226840 h 6851196"/>
                  <a:gd name="connsiteX2695" fmla="*/ 7577292 w 12187339"/>
                  <a:gd name="connsiteY2695" fmla="*/ 1226840 h 6851196"/>
                  <a:gd name="connsiteX2696" fmla="*/ 7346801 w 12187339"/>
                  <a:gd name="connsiteY2696" fmla="*/ 1465101 h 6851196"/>
                  <a:gd name="connsiteX2697" fmla="*/ 7124247 w 12187339"/>
                  <a:gd name="connsiteY2697" fmla="*/ 1465101 h 6851196"/>
                  <a:gd name="connsiteX2698" fmla="*/ 7124247 w 12187339"/>
                  <a:gd name="connsiteY2698" fmla="*/ 1226840 h 6851196"/>
                  <a:gd name="connsiteX2699" fmla="*/ 7346801 w 12187339"/>
                  <a:gd name="connsiteY2699" fmla="*/ 1226840 h 6851196"/>
                  <a:gd name="connsiteX2700" fmla="*/ 7117845 w 12187339"/>
                  <a:gd name="connsiteY2700" fmla="*/ 1465101 h 6851196"/>
                  <a:gd name="connsiteX2701" fmla="*/ 6893756 w 12187339"/>
                  <a:gd name="connsiteY2701" fmla="*/ 1465101 h 6851196"/>
                  <a:gd name="connsiteX2702" fmla="*/ 6893756 w 12187339"/>
                  <a:gd name="connsiteY2702" fmla="*/ 1226840 h 6851196"/>
                  <a:gd name="connsiteX2703" fmla="*/ 7117845 w 12187339"/>
                  <a:gd name="connsiteY2703" fmla="*/ 1226840 h 6851196"/>
                  <a:gd name="connsiteX2704" fmla="*/ 6887354 w 12187339"/>
                  <a:gd name="connsiteY2704" fmla="*/ 1465101 h 6851196"/>
                  <a:gd name="connsiteX2705" fmla="*/ 6663265 w 12187339"/>
                  <a:gd name="connsiteY2705" fmla="*/ 1465101 h 6851196"/>
                  <a:gd name="connsiteX2706" fmla="*/ 6663265 w 12187339"/>
                  <a:gd name="connsiteY2706" fmla="*/ 1226840 h 6851196"/>
                  <a:gd name="connsiteX2707" fmla="*/ 6887354 w 12187339"/>
                  <a:gd name="connsiteY2707" fmla="*/ 1226840 h 6851196"/>
                  <a:gd name="connsiteX2708" fmla="*/ 6656863 w 12187339"/>
                  <a:gd name="connsiteY2708" fmla="*/ 1465101 h 6851196"/>
                  <a:gd name="connsiteX2709" fmla="*/ 6446349 w 12187339"/>
                  <a:gd name="connsiteY2709" fmla="*/ 1465101 h 6851196"/>
                  <a:gd name="connsiteX2710" fmla="*/ 6446349 w 12187339"/>
                  <a:gd name="connsiteY2710" fmla="*/ 1226840 h 6851196"/>
                  <a:gd name="connsiteX2711" fmla="*/ 6656863 w 12187339"/>
                  <a:gd name="connsiteY2711" fmla="*/ 1226840 h 6851196"/>
                  <a:gd name="connsiteX2712" fmla="*/ 6439946 w 12187339"/>
                  <a:gd name="connsiteY2712" fmla="*/ 1465101 h 6851196"/>
                  <a:gd name="connsiteX2713" fmla="*/ 6217136 w 12187339"/>
                  <a:gd name="connsiteY2713" fmla="*/ 1465101 h 6851196"/>
                  <a:gd name="connsiteX2714" fmla="*/ 6217136 w 12187339"/>
                  <a:gd name="connsiteY2714" fmla="*/ 1226840 h 6851196"/>
                  <a:gd name="connsiteX2715" fmla="*/ 6439690 w 12187339"/>
                  <a:gd name="connsiteY2715" fmla="*/ 1226840 h 6851196"/>
                  <a:gd name="connsiteX2716" fmla="*/ 6210990 w 12187339"/>
                  <a:gd name="connsiteY2716" fmla="*/ 1465101 h 6851196"/>
                  <a:gd name="connsiteX2717" fmla="*/ 5986902 w 12187339"/>
                  <a:gd name="connsiteY2717" fmla="*/ 1465101 h 6851196"/>
                  <a:gd name="connsiteX2718" fmla="*/ 5986902 w 12187339"/>
                  <a:gd name="connsiteY2718" fmla="*/ 1226840 h 6851196"/>
                  <a:gd name="connsiteX2719" fmla="*/ 6210990 w 12187339"/>
                  <a:gd name="connsiteY2719" fmla="*/ 1226840 h 6851196"/>
                  <a:gd name="connsiteX2720" fmla="*/ 5980499 w 12187339"/>
                  <a:gd name="connsiteY2720" fmla="*/ 1465101 h 6851196"/>
                  <a:gd name="connsiteX2721" fmla="*/ 5756411 w 12187339"/>
                  <a:gd name="connsiteY2721" fmla="*/ 1465101 h 6851196"/>
                  <a:gd name="connsiteX2722" fmla="*/ 5756411 w 12187339"/>
                  <a:gd name="connsiteY2722" fmla="*/ 1226840 h 6851196"/>
                  <a:gd name="connsiteX2723" fmla="*/ 5980499 w 12187339"/>
                  <a:gd name="connsiteY2723" fmla="*/ 1226840 h 6851196"/>
                  <a:gd name="connsiteX2724" fmla="*/ 5750008 w 12187339"/>
                  <a:gd name="connsiteY2724" fmla="*/ 1465101 h 6851196"/>
                  <a:gd name="connsiteX2725" fmla="*/ 5526945 w 12187339"/>
                  <a:gd name="connsiteY2725" fmla="*/ 1465101 h 6851196"/>
                  <a:gd name="connsiteX2726" fmla="*/ 5526945 w 12187339"/>
                  <a:gd name="connsiteY2726" fmla="*/ 1226840 h 6851196"/>
                  <a:gd name="connsiteX2727" fmla="*/ 5749495 w 12187339"/>
                  <a:gd name="connsiteY2727" fmla="*/ 1226840 h 6851196"/>
                  <a:gd name="connsiteX2728" fmla="*/ 5521055 w 12187339"/>
                  <a:gd name="connsiteY2728" fmla="*/ 1465101 h 6851196"/>
                  <a:gd name="connsiteX2729" fmla="*/ 5296454 w 12187339"/>
                  <a:gd name="connsiteY2729" fmla="*/ 1465101 h 6851196"/>
                  <a:gd name="connsiteX2730" fmla="*/ 5296454 w 12187339"/>
                  <a:gd name="connsiteY2730" fmla="*/ 1226840 h 6851196"/>
                  <a:gd name="connsiteX2731" fmla="*/ 5520542 w 12187339"/>
                  <a:gd name="connsiteY2731" fmla="*/ 1226840 h 6851196"/>
                  <a:gd name="connsiteX2732" fmla="*/ 5290564 w 12187339"/>
                  <a:gd name="connsiteY2732" fmla="*/ 1465101 h 6851196"/>
                  <a:gd name="connsiteX2733" fmla="*/ 5065963 w 12187339"/>
                  <a:gd name="connsiteY2733" fmla="*/ 1465101 h 6851196"/>
                  <a:gd name="connsiteX2734" fmla="*/ 5065963 w 12187339"/>
                  <a:gd name="connsiteY2734" fmla="*/ 1226840 h 6851196"/>
                  <a:gd name="connsiteX2735" fmla="*/ 5290051 w 12187339"/>
                  <a:gd name="connsiteY2735" fmla="*/ 1226840 h 6851196"/>
                  <a:gd name="connsiteX2736" fmla="*/ 5060073 w 12187339"/>
                  <a:gd name="connsiteY2736" fmla="*/ 1465101 h 6851196"/>
                  <a:gd name="connsiteX2737" fmla="*/ 4835472 w 12187339"/>
                  <a:gd name="connsiteY2737" fmla="*/ 1465101 h 6851196"/>
                  <a:gd name="connsiteX2738" fmla="*/ 4835472 w 12187339"/>
                  <a:gd name="connsiteY2738" fmla="*/ 1226840 h 6851196"/>
                  <a:gd name="connsiteX2739" fmla="*/ 5059560 w 12187339"/>
                  <a:gd name="connsiteY2739" fmla="*/ 1226840 h 6851196"/>
                  <a:gd name="connsiteX2740" fmla="*/ 4829582 w 12187339"/>
                  <a:gd name="connsiteY2740" fmla="*/ 1465101 h 6851196"/>
                  <a:gd name="connsiteX2741" fmla="*/ 4607029 w 12187339"/>
                  <a:gd name="connsiteY2741" fmla="*/ 1465101 h 6851196"/>
                  <a:gd name="connsiteX2742" fmla="*/ 4607029 w 12187339"/>
                  <a:gd name="connsiteY2742" fmla="*/ 1226840 h 6851196"/>
                  <a:gd name="connsiteX2743" fmla="*/ 4829582 w 12187339"/>
                  <a:gd name="connsiteY2743" fmla="*/ 1226840 h 6851196"/>
                  <a:gd name="connsiteX2744" fmla="*/ 4600626 w 12187339"/>
                  <a:gd name="connsiteY2744" fmla="*/ 1465101 h 6851196"/>
                  <a:gd name="connsiteX2745" fmla="*/ 4376538 w 12187339"/>
                  <a:gd name="connsiteY2745" fmla="*/ 1465101 h 6851196"/>
                  <a:gd name="connsiteX2746" fmla="*/ 4376538 w 12187339"/>
                  <a:gd name="connsiteY2746" fmla="*/ 1226840 h 6851196"/>
                  <a:gd name="connsiteX2747" fmla="*/ 4600626 w 12187339"/>
                  <a:gd name="connsiteY2747" fmla="*/ 1226840 h 6851196"/>
                  <a:gd name="connsiteX2748" fmla="*/ 4370135 w 12187339"/>
                  <a:gd name="connsiteY2748" fmla="*/ 1465101 h 6851196"/>
                  <a:gd name="connsiteX2749" fmla="*/ 4146047 w 12187339"/>
                  <a:gd name="connsiteY2749" fmla="*/ 1465101 h 6851196"/>
                  <a:gd name="connsiteX2750" fmla="*/ 4146047 w 12187339"/>
                  <a:gd name="connsiteY2750" fmla="*/ 1226840 h 6851196"/>
                  <a:gd name="connsiteX2751" fmla="*/ 4370135 w 12187339"/>
                  <a:gd name="connsiteY2751" fmla="*/ 1226840 h 6851196"/>
                  <a:gd name="connsiteX2752" fmla="*/ 4139644 w 12187339"/>
                  <a:gd name="connsiteY2752" fmla="*/ 1465101 h 6851196"/>
                  <a:gd name="connsiteX2753" fmla="*/ 3917094 w 12187339"/>
                  <a:gd name="connsiteY2753" fmla="*/ 1465101 h 6851196"/>
                  <a:gd name="connsiteX2754" fmla="*/ 3917094 w 12187339"/>
                  <a:gd name="connsiteY2754" fmla="*/ 1226840 h 6851196"/>
                  <a:gd name="connsiteX2755" fmla="*/ 4139644 w 12187339"/>
                  <a:gd name="connsiteY2755" fmla="*/ 1226840 h 6851196"/>
                  <a:gd name="connsiteX2756" fmla="*/ 3910691 w 12187339"/>
                  <a:gd name="connsiteY2756" fmla="*/ 1465101 h 6851196"/>
                  <a:gd name="connsiteX2757" fmla="*/ 3686603 w 12187339"/>
                  <a:gd name="connsiteY2757" fmla="*/ 1465101 h 6851196"/>
                  <a:gd name="connsiteX2758" fmla="*/ 3686603 w 12187339"/>
                  <a:gd name="connsiteY2758" fmla="*/ 1226840 h 6851196"/>
                  <a:gd name="connsiteX2759" fmla="*/ 3910691 w 12187339"/>
                  <a:gd name="connsiteY2759" fmla="*/ 1226840 h 6851196"/>
                  <a:gd name="connsiteX2760" fmla="*/ 3680200 w 12187339"/>
                  <a:gd name="connsiteY2760" fmla="*/ 1465101 h 6851196"/>
                  <a:gd name="connsiteX2761" fmla="*/ 3456112 w 12187339"/>
                  <a:gd name="connsiteY2761" fmla="*/ 1465101 h 6851196"/>
                  <a:gd name="connsiteX2762" fmla="*/ 3456112 w 12187339"/>
                  <a:gd name="connsiteY2762" fmla="*/ 1226840 h 6851196"/>
                  <a:gd name="connsiteX2763" fmla="*/ 3680200 w 12187339"/>
                  <a:gd name="connsiteY2763" fmla="*/ 1226840 h 6851196"/>
                  <a:gd name="connsiteX2764" fmla="*/ 3449709 w 12187339"/>
                  <a:gd name="connsiteY2764" fmla="*/ 1465101 h 6851196"/>
                  <a:gd name="connsiteX2765" fmla="*/ 3225621 w 12187339"/>
                  <a:gd name="connsiteY2765" fmla="*/ 1465101 h 6851196"/>
                  <a:gd name="connsiteX2766" fmla="*/ 3225621 w 12187339"/>
                  <a:gd name="connsiteY2766" fmla="*/ 1226840 h 6851196"/>
                  <a:gd name="connsiteX2767" fmla="*/ 3449709 w 12187339"/>
                  <a:gd name="connsiteY2767" fmla="*/ 1226840 h 6851196"/>
                  <a:gd name="connsiteX2768" fmla="*/ 3219218 w 12187339"/>
                  <a:gd name="connsiteY2768" fmla="*/ 1465101 h 6851196"/>
                  <a:gd name="connsiteX2769" fmla="*/ 2996666 w 12187339"/>
                  <a:gd name="connsiteY2769" fmla="*/ 1465101 h 6851196"/>
                  <a:gd name="connsiteX2770" fmla="*/ 2996666 w 12187339"/>
                  <a:gd name="connsiteY2770" fmla="*/ 1226840 h 6851196"/>
                  <a:gd name="connsiteX2771" fmla="*/ 3219218 w 12187339"/>
                  <a:gd name="connsiteY2771" fmla="*/ 1226840 h 6851196"/>
                  <a:gd name="connsiteX2772" fmla="*/ 2990264 w 12187339"/>
                  <a:gd name="connsiteY2772" fmla="*/ 1465101 h 6851196"/>
                  <a:gd name="connsiteX2773" fmla="*/ 2766175 w 12187339"/>
                  <a:gd name="connsiteY2773" fmla="*/ 1465101 h 6851196"/>
                  <a:gd name="connsiteX2774" fmla="*/ 2766175 w 12187339"/>
                  <a:gd name="connsiteY2774" fmla="*/ 1226840 h 6851196"/>
                  <a:gd name="connsiteX2775" fmla="*/ 2990264 w 12187339"/>
                  <a:gd name="connsiteY2775" fmla="*/ 1226840 h 6851196"/>
                  <a:gd name="connsiteX2776" fmla="*/ 2759773 w 12187339"/>
                  <a:gd name="connsiteY2776" fmla="*/ 1465101 h 6851196"/>
                  <a:gd name="connsiteX2777" fmla="*/ 2535684 w 12187339"/>
                  <a:gd name="connsiteY2777" fmla="*/ 1465101 h 6851196"/>
                  <a:gd name="connsiteX2778" fmla="*/ 2535684 w 12187339"/>
                  <a:gd name="connsiteY2778" fmla="*/ 1226840 h 6851196"/>
                  <a:gd name="connsiteX2779" fmla="*/ 2759773 w 12187339"/>
                  <a:gd name="connsiteY2779" fmla="*/ 1226840 h 6851196"/>
                  <a:gd name="connsiteX2780" fmla="*/ 2529282 w 12187339"/>
                  <a:gd name="connsiteY2780" fmla="*/ 1465101 h 6851196"/>
                  <a:gd name="connsiteX2781" fmla="*/ 2305193 w 12187339"/>
                  <a:gd name="connsiteY2781" fmla="*/ 1465101 h 6851196"/>
                  <a:gd name="connsiteX2782" fmla="*/ 2305193 w 12187339"/>
                  <a:gd name="connsiteY2782" fmla="*/ 1226840 h 6851196"/>
                  <a:gd name="connsiteX2783" fmla="*/ 2529282 w 12187339"/>
                  <a:gd name="connsiteY2783" fmla="*/ 1226840 h 6851196"/>
                  <a:gd name="connsiteX2784" fmla="*/ 2298791 w 12187339"/>
                  <a:gd name="connsiteY2784" fmla="*/ 1465101 h 6851196"/>
                  <a:gd name="connsiteX2785" fmla="*/ 2075982 w 12187339"/>
                  <a:gd name="connsiteY2785" fmla="*/ 1465101 h 6851196"/>
                  <a:gd name="connsiteX2786" fmla="*/ 2075982 w 12187339"/>
                  <a:gd name="connsiteY2786" fmla="*/ 1226840 h 6851196"/>
                  <a:gd name="connsiteX2787" fmla="*/ 2298534 w 12187339"/>
                  <a:gd name="connsiteY2787" fmla="*/ 1226840 h 6851196"/>
                  <a:gd name="connsiteX2788" fmla="*/ 2069836 w 12187339"/>
                  <a:gd name="connsiteY2788" fmla="*/ 1465101 h 6851196"/>
                  <a:gd name="connsiteX2789" fmla="*/ 1845748 w 12187339"/>
                  <a:gd name="connsiteY2789" fmla="*/ 1465101 h 6851196"/>
                  <a:gd name="connsiteX2790" fmla="*/ 1845748 w 12187339"/>
                  <a:gd name="connsiteY2790" fmla="*/ 1226840 h 6851196"/>
                  <a:gd name="connsiteX2791" fmla="*/ 2069580 w 12187339"/>
                  <a:gd name="connsiteY2791" fmla="*/ 1226840 h 6851196"/>
                  <a:gd name="connsiteX2792" fmla="*/ 1839345 w 12187339"/>
                  <a:gd name="connsiteY2792" fmla="*/ 1465101 h 6851196"/>
                  <a:gd name="connsiteX2793" fmla="*/ 1615257 w 12187339"/>
                  <a:gd name="connsiteY2793" fmla="*/ 1465101 h 6851196"/>
                  <a:gd name="connsiteX2794" fmla="*/ 1615257 w 12187339"/>
                  <a:gd name="connsiteY2794" fmla="*/ 1226840 h 6851196"/>
                  <a:gd name="connsiteX2795" fmla="*/ 1839089 w 12187339"/>
                  <a:gd name="connsiteY2795" fmla="*/ 1226840 h 6851196"/>
                  <a:gd name="connsiteX2796" fmla="*/ 1608854 w 12187339"/>
                  <a:gd name="connsiteY2796" fmla="*/ 1465101 h 6851196"/>
                  <a:gd name="connsiteX2797" fmla="*/ 1386302 w 12187339"/>
                  <a:gd name="connsiteY2797" fmla="*/ 1465101 h 6851196"/>
                  <a:gd name="connsiteX2798" fmla="*/ 1386302 w 12187339"/>
                  <a:gd name="connsiteY2798" fmla="*/ 1226840 h 6851196"/>
                  <a:gd name="connsiteX2799" fmla="*/ 1608598 w 12187339"/>
                  <a:gd name="connsiteY2799" fmla="*/ 1226840 h 6851196"/>
                  <a:gd name="connsiteX2800" fmla="*/ 1379900 w 12187339"/>
                  <a:gd name="connsiteY2800" fmla="*/ 1465101 h 6851196"/>
                  <a:gd name="connsiteX2801" fmla="*/ 1155811 w 12187339"/>
                  <a:gd name="connsiteY2801" fmla="*/ 1465101 h 6851196"/>
                  <a:gd name="connsiteX2802" fmla="*/ 1155811 w 12187339"/>
                  <a:gd name="connsiteY2802" fmla="*/ 1226840 h 6851196"/>
                  <a:gd name="connsiteX2803" fmla="*/ 1379900 w 12187339"/>
                  <a:gd name="connsiteY2803" fmla="*/ 1226840 h 6851196"/>
                  <a:gd name="connsiteX2804" fmla="*/ 1379900 w 12187339"/>
                  <a:gd name="connsiteY2804" fmla="*/ 1471905 h 6851196"/>
                  <a:gd name="connsiteX2805" fmla="*/ 1379900 w 12187339"/>
                  <a:gd name="connsiteY2805" fmla="*/ 1710030 h 6851196"/>
                  <a:gd name="connsiteX2806" fmla="*/ 1155811 w 12187339"/>
                  <a:gd name="connsiteY2806" fmla="*/ 1710030 h 6851196"/>
                  <a:gd name="connsiteX2807" fmla="*/ 1155811 w 12187339"/>
                  <a:gd name="connsiteY2807" fmla="*/ 1471769 h 6851196"/>
                  <a:gd name="connsiteX2808" fmla="*/ 1379900 w 12187339"/>
                  <a:gd name="connsiteY2808" fmla="*/ 1716833 h 6851196"/>
                  <a:gd name="connsiteX2809" fmla="*/ 1379900 w 12187339"/>
                  <a:gd name="connsiteY2809" fmla="*/ 1953326 h 6851196"/>
                  <a:gd name="connsiteX2810" fmla="*/ 1155811 w 12187339"/>
                  <a:gd name="connsiteY2810" fmla="*/ 1953326 h 6851196"/>
                  <a:gd name="connsiteX2811" fmla="*/ 1155811 w 12187339"/>
                  <a:gd name="connsiteY2811" fmla="*/ 1716697 h 6851196"/>
                  <a:gd name="connsiteX2812" fmla="*/ 1379900 w 12187339"/>
                  <a:gd name="connsiteY2812" fmla="*/ 1960129 h 6851196"/>
                  <a:gd name="connsiteX2813" fmla="*/ 1379900 w 12187339"/>
                  <a:gd name="connsiteY2813" fmla="*/ 2198254 h 6851196"/>
                  <a:gd name="connsiteX2814" fmla="*/ 1155811 w 12187339"/>
                  <a:gd name="connsiteY2814" fmla="*/ 2198254 h 6851196"/>
                  <a:gd name="connsiteX2815" fmla="*/ 1155811 w 12187339"/>
                  <a:gd name="connsiteY2815" fmla="*/ 1960129 h 6851196"/>
                  <a:gd name="connsiteX2816" fmla="*/ 1379900 w 12187339"/>
                  <a:gd name="connsiteY2816" fmla="*/ 2205058 h 6851196"/>
                  <a:gd name="connsiteX2817" fmla="*/ 1379900 w 12187339"/>
                  <a:gd name="connsiteY2817" fmla="*/ 2443183 h 6851196"/>
                  <a:gd name="connsiteX2818" fmla="*/ 1155811 w 12187339"/>
                  <a:gd name="connsiteY2818" fmla="*/ 2443183 h 6851196"/>
                  <a:gd name="connsiteX2819" fmla="*/ 1155811 w 12187339"/>
                  <a:gd name="connsiteY2819" fmla="*/ 2205058 h 6851196"/>
                  <a:gd name="connsiteX2820" fmla="*/ 1379900 w 12187339"/>
                  <a:gd name="connsiteY2820" fmla="*/ 2449986 h 6851196"/>
                  <a:gd name="connsiteX2821" fmla="*/ 1379900 w 12187339"/>
                  <a:gd name="connsiteY2821" fmla="*/ 2686479 h 6851196"/>
                  <a:gd name="connsiteX2822" fmla="*/ 1155811 w 12187339"/>
                  <a:gd name="connsiteY2822" fmla="*/ 2686479 h 6851196"/>
                  <a:gd name="connsiteX2823" fmla="*/ 1155811 w 12187339"/>
                  <a:gd name="connsiteY2823" fmla="*/ 2449986 h 6851196"/>
                  <a:gd name="connsiteX2824" fmla="*/ 1379900 w 12187339"/>
                  <a:gd name="connsiteY2824" fmla="*/ 2693282 h 6851196"/>
                  <a:gd name="connsiteX2825" fmla="*/ 1379900 w 12187339"/>
                  <a:gd name="connsiteY2825" fmla="*/ 2931407 h 6851196"/>
                  <a:gd name="connsiteX2826" fmla="*/ 1155811 w 12187339"/>
                  <a:gd name="connsiteY2826" fmla="*/ 2931407 h 6851196"/>
                  <a:gd name="connsiteX2827" fmla="*/ 1155811 w 12187339"/>
                  <a:gd name="connsiteY2827" fmla="*/ 2693282 h 6851196"/>
                  <a:gd name="connsiteX2828" fmla="*/ 1379900 w 12187339"/>
                  <a:gd name="connsiteY2828" fmla="*/ 2938211 h 6851196"/>
                  <a:gd name="connsiteX2829" fmla="*/ 1379900 w 12187339"/>
                  <a:gd name="connsiteY2829" fmla="*/ 3176336 h 6851196"/>
                  <a:gd name="connsiteX2830" fmla="*/ 1155811 w 12187339"/>
                  <a:gd name="connsiteY2830" fmla="*/ 3176336 h 6851196"/>
                  <a:gd name="connsiteX2831" fmla="*/ 1155811 w 12187339"/>
                  <a:gd name="connsiteY2831" fmla="*/ 2938211 h 6851196"/>
                  <a:gd name="connsiteX2832" fmla="*/ 1379900 w 12187339"/>
                  <a:gd name="connsiteY2832" fmla="*/ 3183139 h 6851196"/>
                  <a:gd name="connsiteX2833" fmla="*/ 1379900 w 12187339"/>
                  <a:gd name="connsiteY2833" fmla="*/ 3421264 h 6851196"/>
                  <a:gd name="connsiteX2834" fmla="*/ 1155811 w 12187339"/>
                  <a:gd name="connsiteY2834" fmla="*/ 3421264 h 6851196"/>
                  <a:gd name="connsiteX2835" fmla="*/ 1155811 w 12187339"/>
                  <a:gd name="connsiteY2835" fmla="*/ 3183139 h 6851196"/>
                  <a:gd name="connsiteX2836" fmla="*/ 1379900 w 12187339"/>
                  <a:gd name="connsiteY2836" fmla="*/ 3428068 h 6851196"/>
                  <a:gd name="connsiteX2837" fmla="*/ 1379900 w 12187339"/>
                  <a:gd name="connsiteY2837" fmla="*/ 3664560 h 6851196"/>
                  <a:gd name="connsiteX2838" fmla="*/ 1155811 w 12187339"/>
                  <a:gd name="connsiteY2838" fmla="*/ 3664560 h 6851196"/>
                  <a:gd name="connsiteX2839" fmla="*/ 1155811 w 12187339"/>
                  <a:gd name="connsiteY2839" fmla="*/ 3428068 h 6851196"/>
                  <a:gd name="connsiteX2840" fmla="*/ 1379900 w 12187339"/>
                  <a:gd name="connsiteY2840" fmla="*/ 3671364 h 6851196"/>
                  <a:gd name="connsiteX2841" fmla="*/ 1379900 w 12187339"/>
                  <a:gd name="connsiteY2841" fmla="*/ 3909489 h 6851196"/>
                  <a:gd name="connsiteX2842" fmla="*/ 1155811 w 12187339"/>
                  <a:gd name="connsiteY2842" fmla="*/ 3909489 h 6851196"/>
                  <a:gd name="connsiteX2843" fmla="*/ 1155811 w 12187339"/>
                  <a:gd name="connsiteY2843" fmla="*/ 3671364 h 6851196"/>
                  <a:gd name="connsiteX2844" fmla="*/ 1379900 w 12187339"/>
                  <a:gd name="connsiteY2844" fmla="*/ 3916292 h 6851196"/>
                  <a:gd name="connsiteX2845" fmla="*/ 1379900 w 12187339"/>
                  <a:gd name="connsiteY2845" fmla="*/ 4154417 h 6851196"/>
                  <a:gd name="connsiteX2846" fmla="*/ 1155811 w 12187339"/>
                  <a:gd name="connsiteY2846" fmla="*/ 4154417 h 6851196"/>
                  <a:gd name="connsiteX2847" fmla="*/ 1155811 w 12187339"/>
                  <a:gd name="connsiteY2847" fmla="*/ 3916292 h 6851196"/>
                  <a:gd name="connsiteX2848" fmla="*/ 1379900 w 12187339"/>
                  <a:gd name="connsiteY2848" fmla="*/ 4161221 h 6851196"/>
                  <a:gd name="connsiteX2849" fmla="*/ 1379900 w 12187339"/>
                  <a:gd name="connsiteY2849" fmla="*/ 4399346 h 6851196"/>
                  <a:gd name="connsiteX2850" fmla="*/ 1155811 w 12187339"/>
                  <a:gd name="connsiteY2850" fmla="*/ 4399346 h 6851196"/>
                  <a:gd name="connsiteX2851" fmla="*/ 1155811 w 12187339"/>
                  <a:gd name="connsiteY2851" fmla="*/ 4161221 h 6851196"/>
                  <a:gd name="connsiteX2852" fmla="*/ 1379900 w 12187339"/>
                  <a:gd name="connsiteY2852" fmla="*/ 4406149 h 6851196"/>
                  <a:gd name="connsiteX2853" fmla="*/ 1379900 w 12187339"/>
                  <a:gd name="connsiteY2853" fmla="*/ 4642233 h 6851196"/>
                  <a:gd name="connsiteX2854" fmla="*/ 1155811 w 12187339"/>
                  <a:gd name="connsiteY2854" fmla="*/ 4642233 h 6851196"/>
                  <a:gd name="connsiteX2855" fmla="*/ 1155811 w 12187339"/>
                  <a:gd name="connsiteY2855" fmla="*/ 4405741 h 6851196"/>
                  <a:gd name="connsiteX2856" fmla="*/ 1379900 w 12187339"/>
                  <a:gd name="connsiteY2856" fmla="*/ 4649445 h 6851196"/>
                  <a:gd name="connsiteX2857" fmla="*/ 1379900 w 12187339"/>
                  <a:gd name="connsiteY2857" fmla="*/ 4887162 h 6851196"/>
                  <a:gd name="connsiteX2858" fmla="*/ 1155811 w 12187339"/>
                  <a:gd name="connsiteY2858" fmla="*/ 4887162 h 6851196"/>
                  <a:gd name="connsiteX2859" fmla="*/ 1155811 w 12187339"/>
                  <a:gd name="connsiteY2859" fmla="*/ 4649037 h 6851196"/>
                  <a:gd name="connsiteX2860" fmla="*/ 1379900 w 12187339"/>
                  <a:gd name="connsiteY2860" fmla="*/ 4894374 h 6851196"/>
                  <a:gd name="connsiteX2861" fmla="*/ 1379900 w 12187339"/>
                  <a:gd name="connsiteY2861" fmla="*/ 5132090 h 6851196"/>
                  <a:gd name="connsiteX2862" fmla="*/ 1155811 w 12187339"/>
                  <a:gd name="connsiteY2862" fmla="*/ 5132090 h 6851196"/>
                  <a:gd name="connsiteX2863" fmla="*/ 1155811 w 12187339"/>
                  <a:gd name="connsiteY2863" fmla="*/ 4893965 h 6851196"/>
                  <a:gd name="connsiteX2864" fmla="*/ 1379900 w 12187339"/>
                  <a:gd name="connsiteY2864" fmla="*/ 5139302 h 6851196"/>
                  <a:gd name="connsiteX2865" fmla="*/ 1379900 w 12187339"/>
                  <a:gd name="connsiteY2865" fmla="*/ 5375795 h 6851196"/>
                  <a:gd name="connsiteX2866" fmla="*/ 1155811 w 12187339"/>
                  <a:gd name="connsiteY2866" fmla="*/ 5375795 h 6851196"/>
                  <a:gd name="connsiteX2867" fmla="*/ 1155811 w 12187339"/>
                  <a:gd name="connsiteY2867" fmla="*/ 5139302 h 6851196"/>
                  <a:gd name="connsiteX2868" fmla="*/ 1379900 w 12187339"/>
                  <a:gd name="connsiteY2868" fmla="*/ 5382598 h 6851196"/>
                  <a:gd name="connsiteX2869" fmla="*/ 1379900 w 12187339"/>
                  <a:gd name="connsiteY2869" fmla="*/ 5620723 h 6851196"/>
                  <a:gd name="connsiteX2870" fmla="*/ 1155811 w 12187339"/>
                  <a:gd name="connsiteY2870" fmla="*/ 5620723 h 6851196"/>
                  <a:gd name="connsiteX2871" fmla="*/ 1155811 w 12187339"/>
                  <a:gd name="connsiteY2871" fmla="*/ 5382598 h 6851196"/>
                  <a:gd name="connsiteX2872" fmla="*/ 1386302 w 12187339"/>
                  <a:gd name="connsiteY2872" fmla="*/ 5382598 h 6851196"/>
                  <a:gd name="connsiteX2873" fmla="*/ 1608598 w 12187339"/>
                  <a:gd name="connsiteY2873" fmla="*/ 5382598 h 6851196"/>
                  <a:gd name="connsiteX2874" fmla="*/ 1608598 w 12187339"/>
                  <a:gd name="connsiteY2874" fmla="*/ 5620723 h 6851196"/>
                  <a:gd name="connsiteX2875" fmla="*/ 1386046 w 12187339"/>
                  <a:gd name="connsiteY2875" fmla="*/ 5620723 h 6851196"/>
                  <a:gd name="connsiteX2876" fmla="*/ 1615257 w 12187339"/>
                  <a:gd name="connsiteY2876" fmla="*/ 5382598 h 6851196"/>
                  <a:gd name="connsiteX2877" fmla="*/ 1839089 w 12187339"/>
                  <a:gd name="connsiteY2877" fmla="*/ 5382598 h 6851196"/>
                  <a:gd name="connsiteX2878" fmla="*/ 1839089 w 12187339"/>
                  <a:gd name="connsiteY2878" fmla="*/ 5620723 h 6851196"/>
                  <a:gd name="connsiteX2879" fmla="*/ 1615000 w 12187339"/>
                  <a:gd name="connsiteY2879" fmla="*/ 5620723 h 6851196"/>
                  <a:gd name="connsiteX2880" fmla="*/ 1845748 w 12187339"/>
                  <a:gd name="connsiteY2880" fmla="*/ 5382598 h 6851196"/>
                  <a:gd name="connsiteX2881" fmla="*/ 2069580 w 12187339"/>
                  <a:gd name="connsiteY2881" fmla="*/ 5382598 h 6851196"/>
                  <a:gd name="connsiteX2882" fmla="*/ 2069580 w 12187339"/>
                  <a:gd name="connsiteY2882" fmla="*/ 5620723 h 6851196"/>
                  <a:gd name="connsiteX2883" fmla="*/ 1845491 w 12187339"/>
                  <a:gd name="connsiteY2883" fmla="*/ 5620723 h 6851196"/>
                  <a:gd name="connsiteX2884" fmla="*/ 2076239 w 12187339"/>
                  <a:gd name="connsiteY2884" fmla="*/ 5382598 h 6851196"/>
                  <a:gd name="connsiteX2885" fmla="*/ 2298791 w 12187339"/>
                  <a:gd name="connsiteY2885" fmla="*/ 5382598 h 6851196"/>
                  <a:gd name="connsiteX2886" fmla="*/ 2298791 w 12187339"/>
                  <a:gd name="connsiteY2886" fmla="*/ 5620723 h 6851196"/>
                  <a:gd name="connsiteX2887" fmla="*/ 2075982 w 12187339"/>
                  <a:gd name="connsiteY2887" fmla="*/ 5620723 h 6851196"/>
                  <a:gd name="connsiteX2888" fmla="*/ 2305193 w 12187339"/>
                  <a:gd name="connsiteY2888" fmla="*/ 5382598 h 6851196"/>
                  <a:gd name="connsiteX2889" fmla="*/ 2529282 w 12187339"/>
                  <a:gd name="connsiteY2889" fmla="*/ 5382598 h 6851196"/>
                  <a:gd name="connsiteX2890" fmla="*/ 2529282 w 12187339"/>
                  <a:gd name="connsiteY2890" fmla="*/ 5620723 h 6851196"/>
                  <a:gd name="connsiteX2891" fmla="*/ 2305193 w 12187339"/>
                  <a:gd name="connsiteY2891" fmla="*/ 5620723 h 6851196"/>
                  <a:gd name="connsiteX2892" fmla="*/ 2535684 w 12187339"/>
                  <a:gd name="connsiteY2892" fmla="*/ 5382598 h 6851196"/>
                  <a:gd name="connsiteX2893" fmla="*/ 2759773 w 12187339"/>
                  <a:gd name="connsiteY2893" fmla="*/ 5382598 h 6851196"/>
                  <a:gd name="connsiteX2894" fmla="*/ 2759773 w 12187339"/>
                  <a:gd name="connsiteY2894" fmla="*/ 5620723 h 6851196"/>
                  <a:gd name="connsiteX2895" fmla="*/ 2535684 w 12187339"/>
                  <a:gd name="connsiteY2895" fmla="*/ 5620723 h 6851196"/>
                  <a:gd name="connsiteX2896" fmla="*/ 2766175 w 12187339"/>
                  <a:gd name="connsiteY2896" fmla="*/ 5382598 h 6851196"/>
                  <a:gd name="connsiteX2897" fmla="*/ 2990264 w 12187339"/>
                  <a:gd name="connsiteY2897" fmla="*/ 5382598 h 6851196"/>
                  <a:gd name="connsiteX2898" fmla="*/ 2990264 w 12187339"/>
                  <a:gd name="connsiteY2898" fmla="*/ 5620723 h 6851196"/>
                  <a:gd name="connsiteX2899" fmla="*/ 2766175 w 12187339"/>
                  <a:gd name="connsiteY2899" fmla="*/ 5620723 h 6851196"/>
                  <a:gd name="connsiteX2900" fmla="*/ 2996666 w 12187339"/>
                  <a:gd name="connsiteY2900" fmla="*/ 5382598 h 6851196"/>
                  <a:gd name="connsiteX2901" fmla="*/ 3219218 w 12187339"/>
                  <a:gd name="connsiteY2901" fmla="*/ 5382598 h 6851196"/>
                  <a:gd name="connsiteX2902" fmla="*/ 3219218 w 12187339"/>
                  <a:gd name="connsiteY2902" fmla="*/ 5620723 h 6851196"/>
                  <a:gd name="connsiteX2903" fmla="*/ 2996666 w 12187339"/>
                  <a:gd name="connsiteY2903" fmla="*/ 5620723 h 6851196"/>
                  <a:gd name="connsiteX2904" fmla="*/ 3225621 w 12187339"/>
                  <a:gd name="connsiteY2904" fmla="*/ 5382598 h 6851196"/>
                  <a:gd name="connsiteX2905" fmla="*/ 3449709 w 12187339"/>
                  <a:gd name="connsiteY2905" fmla="*/ 5382598 h 6851196"/>
                  <a:gd name="connsiteX2906" fmla="*/ 3449709 w 12187339"/>
                  <a:gd name="connsiteY2906" fmla="*/ 5620723 h 6851196"/>
                  <a:gd name="connsiteX2907" fmla="*/ 3225621 w 12187339"/>
                  <a:gd name="connsiteY2907" fmla="*/ 5620723 h 6851196"/>
                  <a:gd name="connsiteX2908" fmla="*/ 3456112 w 12187339"/>
                  <a:gd name="connsiteY2908" fmla="*/ 5382598 h 6851196"/>
                  <a:gd name="connsiteX2909" fmla="*/ 3680200 w 12187339"/>
                  <a:gd name="connsiteY2909" fmla="*/ 5382598 h 6851196"/>
                  <a:gd name="connsiteX2910" fmla="*/ 3680200 w 12187339"/>
                  <a:gd name="connsiteY2910" fmla="*/ 5620723 h 6851196"/>
                  <a:gd name="connsiteX2911" fmla="*/ 3456112 w 12187339"/>
                  <a:gd name="connsiteY2911" fmla="*/ 5620723 h 6851196"/>
                  <a:gd name="connsiteX2912" fmla="*/ 3686603 w 12187339"/>
                  <a:gd name="connsiteY2912" fmla="*/ 5382598 h 6851196"/>
                  <a:gd name="connsiteX2913" fmla="*/ 3910691 w 12187339"/>
                  <a:gd name="connsiteY2913" fmla="*/ 5382598 h 6851196"/>
                  <a:gd name="connsiteX2914" fmla="*/ 3910691 w 12187339"/>
                  <a:gd name="connsiteY2914" fmla="*/ 5620723 h 6851196"/>
                  <a:gd name="connsiteX2915" fmla="*/ 3686603 w 12187339"/>
                  <a:gd name="connsiteY2915" fmla="*/ 5620723 h 6851196"/>
                  <a:gd name="connsiteX2916" fmla="*/ 3917094 w 12187339"/>
                  <a:gd name="connsiteY2916" fmla="*/ 5382598 h 6851196"/>
                  <a:gd name="connsiteX2917" fmla="*/ 4139644 w 12187339"/>
                  <a:gd name="connsiteY2917" fmla="*/ 5382598 h 6851196"/>
                  <a:gd name="connsiteX2918" fmla="*/ 4139644 w 12187339"/>
                  <a:gd name="connsiteY2918" fmla="*/ 5620723 h 6851196"/>
                  <a:gd name="connsiteX2919" fmla="*/ 3917094 w 12187339"/>
                  <a:gd name="connsiteY2919" fmla="*/ 5620723 h 6851196"/>
                  <a:gd name="connsiteX2920" fmla="*/ 4146047 w 12187339"/>
                  <a:gd name="connsiteY2920" fmla="*/ 5382598 h 6851196"/>
                  <a:gd name="connsiteX2921" fmla="*/ 4370135 w 12187339"/>
                  <a:gd name="connsiteY2921" fmla="*/ 5382598 h 6851196"/>
                  <a:gd name="connsiteX2922" fmla="*/ 4370135 w 12187339"/>
                  <a:gd name="connsiteY2922" fmla="*/ 5620723 h 6851196"/>
                  <a:gd name="connsiteX2923" fmla="*/ 4146047 w 12187339"/>
                  <a:gd name="connsiteY2923" fmla="*/ 5620723 h 6851196"/>
                  <a:gd name="connsiteX2924" fmla="*/ 4376538 w 12187339"/>
                  <a:gd name="connsiteY2924" fmla="*/ 5382598 h 6851196"/>
                  <a:gd name="connsiteX2925" fmla="*/ 4600626 w 12187339"/>
                  <a:gd name="connsiteY2925" fmla="*/ 5382598 h 6851196"/>
                  <a:gd name="connsiteX2926" fmla="*/ 4600626 w 12187339"/>
                  <a:gd name="connsiteY2926" fmla="*/ 5620723 h 6851196"/>
                  <a:gd name="connsiteX2927" fmla="*/ 4376538 w 12187339"/>
                  <a:gd name="connsiteY2927" fmla="*/ 5620723 h 6851196"/>
                  <a:gd name="connsiteX2928" fmla="*/ 4607029 w 12187339"/>
                  <a:gd name="connsiteY2928" fmla="*/ 5382598 h 6851196"/>
                  <a:gd name="connsiteX2929" fmla="*/ 4829582 w 12187339"/>
                  <a:gd name="connsiteY2929" fmla="*/ 5382598 h 6851196"/>
                  <a:gd name="connsiteX2930" fmla="*/ 4829582 w 12187339"/>
                  <a:gd name="connsiteY2930" fmla="*/ 5620723 h 6851196"/>
                  <a:gd name="connsiteX2931" fmla="*/ 4607029 w 12187339"/>
                  <a:gd name="connsiteY2931" fmla="*/ 5620723 h 6851196"/>
                  <a:gd name="connsiteX2932" fmla="*/ 4835985 w 12187339"/>
                  <a:gd name="connsiteY2932" fmla="*/ 5382598 h 6851196"/>
                  <a:gd name="connsiteX2933" fmla="*/ 5060073 w 12187339"/>
                  <a:gd name="connsiteY2933" fmla="*/ 5382598 h 6851196"/>
                  <a:gd name="connsiteX2934" fmla="*/ 5060073 w 12187339"/>
                  <a:gd name="connsiteY2934" fmla="*/ 5620723 h 6851196"/>
                  <a:gd name="connsiteX2935" fmla="*/ 4835472 w 12187339"/>
                  <a:gd name="connsiteY2935" fmla="*/ 5620723 h 6851196"/>
                  <a:gd name="connsiteX2936" fmla="*/ 5066476 w 12187339"/>
                  <a:gd name="connsiteY2936" fmla="*/ 5382598 h 6851196"/>
                  <a:gd name="connsiteX2937" fmla="*/ 5290564 w 12187339"/>
                  <a:gd name="connsiteY2937" fmla="*/ 5382598 h 6851196"/>
                  <a:gd name="connsiteX2938" fmla="*/ 5290564 w 12187339"/>
                  <a:gd name="connsiteY2938" fmla="*/ 5620723 h 6851196"/>
                  <a:gd name="connsiteX2939" fmla="*/ 5065963 w 12187339"/>
                  <a:gd name="connsiteY2939" fmla="*/ 5620723 h 6851196"/>
                  <a:gd name="connsiteX2940" fmla="*/ 5296967 w 12187339"/>
                  <a:gd name="connsiteY2940" fmla="*/ 5382598 h 6851196"/>
                  <a:gd name="connsiteX2941" fmla="*/ 5521055 w 12187339"/>
                  <a:gd name="connsiteY2941" fmla="*/ 5382598 h 6851196"/>
                  <a:gd name="connsiteX2942" fmla="*/ 5521055 w 12187339"/>
                  <a:gd name="connsiteY2942" fmla="*/ 5620723 h 6851196"/>
                  <a:gd name="connsiteX2943" fmla="*/ 5296454 w 12187339"/>
                  <a:gd name="connsiteY2943" fmla="*/ 5620723 h 6851196"/>
                  <a:gd name="connsiteX2944" fmla="*/ 5527458 w 12187339"/>
                  <a:gd name="connsiteY2944" fmla="*/ 5382598 h 6851196"/>
                  <a:gd name="connsiteX2945" fmla="*/ 5750008 w 12187339"/>
                  <a:gd name="connsiteY2945" fmla="*/ 5382598 h 6851196"/>
                  <a:gd name="connsiteX2946" fmla="*/ 5750008 w 12187339"/>
                  <a:gd name="connsiteY2946" fmla="*/ 5620723 h 6851196"/>
                  <a:gd name="connsiteX2947" fmla="*/ 5526945 w 12187339"/>
                  <a:gd name="connsiteY2947" fmla="*/ 5620723 h 6851196"/>
                  <a:gd name="connsiteX2948" fmla="*/ 5756411 w 12187339"/>
                  <a:gd name="connsiteY2948" fmla="*/ 5382598 h 6851196"/>
                  <a:gd name="connsiteX2949" fmla="*/ 5980499 w 12187339"/>
                  <a:gd name="connsiteY2949" fmla="*/ 5382598 h 6851196"/>
                  <a:gd name="connsiteX2950" fmla="*/ 5980499 w 12187339"/>
                  <a:gd name="connsiteY2950" fmla="*/ 5620723 h 6851196"/>
                  <a:gd name="connsiteX2951" fmla="*/ 5756411 w 12187339"/>
                  <a:gd name="connsiteY2951" fmla="*/ 5620723 h 6851196"/>
                  <a:gd name="connsiteX2952" fmla="*/ 5986902 w 12187339"/>
                  <a:gd name="connsiteY2952" fmla="*/ 5382598 h 6851196"/>
                  <a:gd name="connsiteX2953" fmla="*/ 6210990 w 12187339"/>
                  <a:gd name="connsiteY2953" fmla="*/ 5382598 h 6851196"/>
                  <a:gd name="connsiteX2954" fmla="*/ 6210990 w 12187339"/>
                  <a:gd name="connsiteY2954" fmla="*/ 5620723 h 6851196"/>
                  <a:gd name="connsiteX2955" fmla="*/ 5986902 w 12187339"/>
                  <a:gd name="connsiteY2955" fmla="*/ 5620723 h 6851196"/>
                  <a:gd name="connsiteX2956" fmla="*/ 6217393 w 12187339"/>
                  <a:gd name="connsiteY2956" fmla="*/ 5382598 h 6851196"/>
                  <a:gd name="connsiteX2957" fmla="*/ 6439946 w 12187339"/>
                  <a:gd name="connsiteY2957" fmla="*/ 5382598 h 6851196"/>
                  <a:gd name="connsiteX2958" fmla="*/ 6439946 w 12187339"/>
                  <a:gd name="connsiteY2958" fmla="*/ 5620723 h 6851196"/>
                  <a:gd name="connsiteX2959" fmla="*/ 6217136 w 12187339"/>
                  <a:gd name="connsiteY2959" fmla="*/ 5620723 h 6851196"/>
                  <a:gd name="connsiteX2960" fmla="*/ 6446349 w 12187339"/>
                  <a:gd name="connsiteY2960" fmla="*/ 5382598 h 6851196"/>
                  <a:gd name="connsiteX2961" fmla="*/ 6656863 w 12187339"/>
                  <a:gd name="connsiteY2961" fmla="*/ 5382598 h 6851196"/>
                  <a:gd name="connsiteX2962" fmla="*/ 6656863 w 12187339"/>
                  <a:gd name="connsiteY2962" fmla="*/ 5620723 h 6851196"/>
                  <a:gd name="connsiteX2963" fmla="*/ 6446349 w 12187339"/>
                  <a:gd name="connsiteY2963" fmla="*/ 5620723 h 6851196"/>
                  <a:gd name="connsiteX2964" fmla="*/ 6663265 w 12187339"/>
                  <a:gd name="connsiteY2964" fmla="*/ 5382598 h 6851196"/>
                  <a:gd name="connsiteX2965" fmla="*/ 6887354 w 12187339"/>
                  <a:gd name="connsiteY2965" fmla="*/ 5382598 h 6851196"/>
                  <a:gd name="connsiteX2966" fmla="*/ 6887354 w 12187339"/>
                  <a:gd name="connsiteY2966" fmla="*/ 5620723 h 6851196"/>
                  <a:gd name="connsiteX2967" fmla="*/ 6663265 w 12187339"/>
                  <a:gd name="connsiteY2967" fmla="*/ 5620723 h 6851196"/>
                  <a:gd name="connsiteX2968" fmla="*/ 6893756 w 12187339"/>
                  <a:gd name="connsiteY2968" fmla="*/ 5382598 h 6851196"/>
                  <a:gd name="connsiteX2969" fmla="*/ 7117845 w 12187339"/>
                  <a:gd name="connsiteY2969" fmla="*/ 5382598 h 6851196"/>
                  <a:gd name="connsiteX2970" fmla="*/ 7117845 w 12187339"/>
                  <a:gd name="connsiteY2970" fmla="*/ 5620723 h 6851196"/>
                  <a:gd name="connsiteX2971" fmla="*/ 6893756 w 12187339"/>
                  <a:gd name="connsiteY2971" fmla="*/ 5620723 h 6851196"/>
                  <a:gd name="connsiteX2972" fmla="*/ 7124247 w 12187339"/>
                  <a:gd name="connsiteY2972" fmla="*/ 5382598 h 6851196"/>
                  <a:gd name="connsiteX2973" fmla="*/ 7346801 w 12187339"/>
                  <a:gd name="connsiteY2973" fmla="*/ 5382598 h 6851196"/>
                  <a:gd name="connsiteX2974" fmla="*/ 7346801 w 12187339"/>
                  <a:gd name="connsiteY2974" fmla="*/ 5620723 h 6851196"/>
                  <a:gd name="connsiteX2975" fmla="*/ 7124247 w 12187339"/>
                  <a:gd name="connsiteY2975" fmla="*/ 5620723 h 6851196"/>
                  <a:gd name="connsiteX2976" fmla="*/ 7353204 w 12187339"/>
                  <a:gd name="connsiteY2976" fmla="*/ 5382598 h 6851196"/>
                  <a:gd name="connsiteX2977" fmla="*/ 7577292 w 12187339"/>
                  <a:gd name="connsiteY2977" fmla="*/ 5382598 h 6851196"/>
                  <a:gd name="connsiteX2978" fmla="*/ 7577292 w 12187339"/>
                  <a:gd name="connsiteY2978" fmla="*/ 5620723 h 6851196"/>
                  <a:gd name="connsiteX2979" fmla="*/ 7353204 w 12187339"/>
                  <a:gd name="connsiteY2979" fmla="*/ 5620723 h 6851196"/>
                  <a:gd name="connsiteX2980" fmla="*/ 7583695 w 12187339"/>
                  <a:gd name="connsiteY2980" fmla="*/ 5382598 h 6851196"/>
                  <a:gd name="connsiteX2981" fmla="*/ 7807783 w 12187339"/>
                  <a:gd name="connsiteY2981" fmla="*/ 5382598 h 6851196"/>
                  <a:gd name="connsiteX2982" fmla="*/ 7807783 w 12187339"/>
                  <a:gd name="connsiteY2982" fmla="*/ 5620723 h 6851196"/>
                  <a:gd name="connsiteX2983" fmla="*/ 7583695 w 12187339"/>
                  <a:gd name="connsiteY2983" fmla="*/ 5620723 h 6851196"/>
                  <a:gd name="connsiteX2984" fmla="*/ 7814186 w 12187339"/>
                  <a:gd name="connsiteY2984" fmla="*/ 5382598 h 6851196"/>
                  <a:gd name="connsiteX2985" fmla="*/ 8038274 w 12187339"/>
                  <a:gd name="connsiteY2985" fmla="*/ 5382598 h 6851196"/>
                  <a:gd name="connsiteX2986" fmla="*/ 8038274 w 12187339"/>
                  <a:gd name="connsiteY2986" fmla="*/ 5620723 h 6851196"/>
                  <a:gd name="connsiteX2987" fmla="*/ 7814186 w 12187339"/>
                  <a:gd name="connsiteY2987" fmla="*/ 5620723 h 6851196"/>
                  <a:gd name="connsiteX2988" fmla="*/ 8044677 w 12187339"/>
                  <a:gd name="connsiteY2988" fmla="*/ 5382598 h 6851196"/>
                  <a:gd name="connsiteX2989" fmla="*/ 8267227 w 12187339"/>
                  <a:gd name="connsiteY2989" fmla="*/ 5382598 h 6851196"/>
                  <a:gd name="connsiteX2990" fmla="*/ 8267227 w 12187339"/>
                  <a:gd name="connsiteY2990" fmla="*/ 5620723 h 6851196"/>
                  <a:gd name="connsiteX2991" fmla="*/ 8044420 w 12187339"/>
                  <a:gd name="connsiteY2991" fmla="*/ 5620723 h 6851196"/>
                  <a:gd name="connsiteX2992" fmla="*/ 8273629 w 12187339"/>
                  <a:gd name="connsiteY2992" fmla="*/ 5382598 h 6851196"/>
                  <a:gd name="connsiteX2993" fmla="*/ 8497718 w 12187339"/>
                  <a:gd name="connsiteY2993" fmla="*/ 5382598 h 6851196"/>
                  <a:gd name="connsiteX2994" fmla="*/ 8497718 w 12187339"/>
                  <a:gd name="connsiteY2994" fmla="*/ 5620723 h 6851196"/>
                  <a:gd name="connsiteX2995" fmla="*/ 8273629 w 12187339"/>
                  <a:gd name="connsiteY2995" fmla="*/ 5620723 h 6851196"/>
                  <a:gd name="connsiteX2996" fmla="*/ 8504120 w 12187339"/>
                  <a:gd name="connsiteY2996" fmla="*/ 5382598 h 6851196"/>
                  <a:gd name="connsiteX2997" fmla="*/ 8728209 w 12187339"/>
                  <a:gd name="connsiteY2997" fmla="*/ 5382598 h 6851196"/>
                  <a:gd name="connsiteX2998" fmla="*/ 8728209 w 12187339"/>
                  <a:gd name="connsiteY2998" fmla="*/ 5620723 h 6851196"/>
                  <a:gd name="connsiteX2999" fmla="*/ 8504120 w 12187339"/>
                  <a:gd name="connsiteY2999" fmla="*/ 5620723 h 6851196"/>
                  <a:gd name="connsiteX3000" fmla="*/ 8734611 w 12187339"/>
                  <a:gd name="connsiteY3000" fmla="*/ 5382598 h 6851196"/>
                  <a:gd name="connsiteX3001" fmla="*/ 8957162 w 12187339"/>
                  <a:gd name="connsiteY3001" fmla="*/ 5382598 h 6851196"/>
                  <a:gd name="connsiteX3002" fmla="*/ 8957162 w 12187339"/>
                  <a:gd name="connsiteY3002" fmla="*/ 5620723 h 6851196"/>
                  <a:gd name="connsiteX3003" fmla="*/ 8734611 w 12187339"/>
                  <a:gd name="connsiteY3003" fmla="*/ 5620723 h 6851196"/>
                  <a:gd name="connsiteX3004" fmla="*/ 8963564 w 12187339"/>
                  <a:gd name="connsiteY3004" fmla="*/ 5382598 h 6851196"/>
                  <a:gd name="connsiteX3005" fmla="*/ 9187653 w 12187339"/>
                  <a:gd name="connsiteY3005" fmla="*/ 5382598 h 6851196"/>
                  <a:gd name="connsiteX3006" fmla="*/ 9187653 w 12187339"/>
                  <a:gd name="connsiteY3006" fmla="*/ 5620723 h 6851196"/>
                  <a:gd name="connsiteX3007" fmla="*/ 8963564 w 12187339"/>
                  <a:gd name="connsiteY3007" fmla="*/ 5620723 h 6851196"/>
                  <a:gd name="connsiteX3008" fmla="*/ 9194055 w 12187339"/>
                  <a:gd name="connsiteY3008" fmla="*/ 5382598 h 6851196"/>
                  <a:gd name="connsiteX3009" fmla="*/ 9418144 w 12187339"/>
                  <a:gd name="connsiteY3009" fmla="*/ 5382598 h 6851196"/>
                  <a:gd name="connsiteX3010" fmla="*/ 9418144 w 12187339"/>
                  <a:gd name="connsiteY3010" fmla="*/ 5620723 h 6851196"/>
                  <a:gd name="connsiteX3011" fmla="*/ 9194055 w 12187339"/>
                  <a:gd name="connsiteY3011" fmla="*/ 5620723 h 6851196"/>
                  <a:gd name="connsiteX3012" fmla="*/ 9424546 w 12187339"/>
                  <a:gd name="connsiteY3012" fmla="*/ 5382598 h 6851196"/>
                  <a:gd name="connsiteX3013" fmla="*/ 9648635 w 12187339"/>
                  <a:gd name="connsiteY3013" fmla="*/ 5382598 h 6851196"/>
                  <a:gd name="connsiteX3014" fmla="*/ 9648635 w 12187339"/>
                  <a:gd name="connsiteY3014" fmla="*/ 5620723 h 6851196"/>
                  <a:gd name="connsiteX3015" fmla="*/ 9424546 w 12187339"/>
                  <a:gd name="connsiteY3015" fmla="*/ 5620723 h 6851196"/>
                  <a:gd name="connsiteX3016" fmla="*/ 9655037 w 12187339"/>
                  <a:gd name="connsiteY3016" fmla="*/ 5382598 h 6851196"/>
                  <a:gd name="connsiteX3017" fmla="*/ 9877591 w 12187339"/>
                  <a:gd name="connsiteY3017" fmla="*/ 5382598 h 6851196"/>
                  <a:gd name="connsiteX3018" fmla="*/ 9877591 w 12187339"/>
                  <a:gd name="connsiteY3018" fmla="*/ 5620723 h 6851196"/>
                  <a:gd name="connsiteX3019" fmla="*/ 9655037 w 12187339"/>
                  <a:gd name="connsiteY3019" fmla="*/ 5620723 h 6851196"/>
                  <a:gd name="connsiteX3020" fmla="*/ 9883993 w 12187339"/>
                  <a:gd name="connsiteY3020" fmla="*/ 5382598 h 6851196"/>
                  <a:gd name="connsiteX3021" fmla="*/ 10108082 w 12187339"/>
                  <a:gd name="connsiteY3021" fmla="*/ 5382598 h 6851196"/>
                  <a:gd name="connsiteX3022" fmla="*/ 10108082 w 12187339"/>
                  <a:gd name="connsiteY3022" fmla="*/ 5620723 h 6851196"/>
                  <a:gd name="connsiteX3023" fmla="*/ 9883993 w 12187339"/>
                  <a:gd name="connsiteY3023" fmla="*/ 5620723 h 6851196"/>
                  <a:gd name="connsiteX3024" fmla="*/ 10114484 w 12187339"/>
                  <a:gd name="connsiteY3024" fmla="*/ 5382598 h 6851196"/>
                  <a:gd name="connsiteX3025" fmla="*/ 10338573 w 12187339"/>
                  <a:gd name="connsiteY3025" fmla="*/ 5382598 h 6851196"/>
                  <a:gd name="connsiteX3026" fmla="*/ 10338573 w 12187339"/>
                  <a:gd name="connsiteY3026" fmla="*/ 5620723 h 6851196"/>
                  <a:gd name="connsiteX3027" fmla="*/ 10114484 w 12187339"/>
                  <a:gd name="connsiteY3027" fmla="*/ 5620723 h 6851196"/>
                  <a:gd name="connsiteX3028" fmla="*/ 10344975 w 12187339"/>
                  <a:gd name="connsiteY3028" fmla="*/ 5382598 h 6851196"/>
                  <a:gd name="connsiteX3029" fmla="*/ 10569064 w 12187339"/>
                  <a:gd name="connsiteY3029" fmla="*/ 5382598 h 6851196"/>
                  <a:gd name="connsiteX3030" fmla="*/ 10569064 w 12187339"/>
                  <a:gd name="connsiteY3030" fmla="*/ 5620723 h 6851196"/>
                  <a:gd name="connsiteX3031" fmla="*/ 10344975 w 12187339"/>
                  <a:gd name="connsiteY3031" fmla="*/ 5620723 h 6851196"/>
                  <a:gd name="connsiteX3032" fmla="*/ 10575466 w 12187339"/>
                  <a:gd name="connsiteY3032" fmla="*/ 5382598 h 6851196"/>
                  <a:gd name="connsiteX3033" fmla="*/ 10798016 w 12187339"/>
                  <a:gd name="connsiteY3033" fmla="*/ 5382598 h 6851196"/>
                  <a:gd name="connsiteX3034" fmla="*/ 10798016 w 12187339"/>
                  <a:gd name="connsiteY3034" fmla="*/ 5620723 h 6851196"/>
                  <a:gd name="connsiteX3035" fmla="*/ 10575466 w 12187339"/>
                  <a:gd name="connsiteY3035" fmla="*/ 5620723 h 6851196"/>
                  <a:gd name="connsiteX3036" fmla="*/ 10804419 w 12187339"/>
                  <a:gd name="connsiteY3036" fmla="*/ 5382598 h 6851196"/>
                  <a:gd name="connsiteX3037" fmla="*/ 11028507 w 12187339"/>
                  <a:gd name="connsiteY3037" fmla="*/ 5382598 h 6851196"/>
                  <a:gd name="connsiteX3038" fmla="*/ 11028507 w 12187339"/>
                  <a:gd name="connsiteY3038" fmla="*/ 5620723 h 6851196"/>
                  <a:gd name="connsiteX3039" fmla="*/ 10804419 w 12187339"/>
                  <a:gd name="connsiteY3039" fmla="*/ 5620723 h 6851196"/>
                  <a:gd name="connsiteX3040" fmla="*/ 10804419 w 12187339"/>
                  <a:gd name="connsiteY3040" fmla="*/ 5375795 h 6851196"/>
                  <a:gd name="connsiteX3041" fmla="*/ 10804419 w 12187339"/>
                  <a:gd name="connsiteY3041" fmla="*/ 5139302 h 6851196"/>
                  <a:gd name="connsiteX3042" fmla="*/ 11028507 w 12187339"/>
                  <a:gd name="connsiteY3042" fmla="*/ 5139302 h 6851196"/>
                  <a:gd name="connsiteX3043" fmla="*/ 11028507 w 12187339"/>
                  <a:gd name="connsiteY3043" fmla="*/ 5375795 h 6851196"/>
                  <a:gd name="connsiteX3044" fmla="*/ 10804419 w 12187339"/>
                  <a:gd name="connsiteY3044" fmla="*/ 5132499 h 6851196"/>
                  <a:gd name="connsiteX3045" fmla="*/ 10804419 w 12187339"/>
                  <a:gd name="connsiteY3045" fmla="*/ 4894374 h 6851196"/>
                  <a:gd name="connsiteX3046" fmla="*/ 11028507 w 12187339"/>
                  <a:gd name="connsiteY3046" fmla="*/ 4894374 h 6851196"/>
                  <a:gd name="connsiteX3047" fmla="*/ 11028507 w 12187339"/>
                  <a:gd name="connsiteY3047" fmla="*/ 5132090 h 6851196"/>
                  <a:gd name="connsiteX3048" fmla="*/ 10804419 w 12187339"/>
                  <a:gd name="connsiteY3048" fmla="*/ 4887570 h 6851196"/>
                  <a:gd name="connsiteX3049" fmla="*/ 10804419 w 12187339"/>
                  <a:gd name="connsiteY3049" fmla="*/ 4649445 h 6851196"/>
                  <a:gd name="connsiteX3050" fmla="*/ 11028507 w 12187339"/>
                  <a:gd name="connsiteY3050" fmla="*/ 4649445 h 6851196"/>
                  <a:gd name="connsiteX3051" fmla="*/ 11028507 w 12187339"/>
                  <a:gd name="connsiteY3051" fmla="*/ 4887162 h 6851196"/>
                  <a:gd name="connsiteX3052" fmla="*/ 10804419 w 12187339"/>
                  <a:gd name="connsiteY3052" fmla="*/ 4642642 h 6851196"/>
                  <a:gd name="connsiteX3053" fmla="*/ 10804419 w 12187339"/>
                  <a:gd name="connsiteY3053" fmla="*/ 4406149 h 6851196"/>
                  <a:gd name="connsiteX3054" fmla="*/ 11028507 w 12187339"/>
                  <a:gd name="connsiteY3054" fmla="*/ 4406149 h 6851196"/>
                  <a:gd name="connsiteX3055" fmla="*/ 11028507 w 12187339"/>
                  <a:gd name="connsiteY3055" fmla="*/ 4642233 h 6851196"/>
                  <a:gd name="connsiteX3056" fmla="*/ 10804419 w 12187339"/>
                  <a:gd name="connsiteY3056" fmla="*/ 4399346 h 6851196"/>
                  <a:gd name="connsiteX3057" fmla="*/ 10804419 w 12187339"/>
                  <a:gd name="connsiteY3057" fmla="*/ 4161221 h 6851196"/>
                  <a:gd name="connsiteX3058" fmla="*/ 11028507 w 12187339"/>
                  <a:gd name="connsiteY3058" fmla="*/ 4161221 h 6851196"/>
                  <a:gd name="connsiteX3059" fmla="*/ 11028507 w 12187339"/>
                  <a:gd name="connsiteY3059" fmla="*/ 4399346 h 6851196"/>
                  <a:gd name="connsiteX3060" fmla="*/ 10804419 w 12187339"/>
                  <a:gd name="connsiteY3060" fmla="*/ 4154417 h 6851196"/>
                  <a:gd name="connsiteX3061" fmla="*/ 10804419 w 12187339"/>
                  <a:gd name="connsiteY3061" fmla="*/ 3916292 h 6851196"/>
                  <a:gd name="connsiteX3062" fmla="*/ 11028507 w 12187339"/>
                  <a:gd name="connsiteY3062" fmla="*/ 3916292 h 6851196"/>
                  <a:gd name="connsiteX3063" fmla="*/ 11028507 w 12187339"/>
                  <a:gd name="connsiteY3063" fmla="*/ 4154417 h 6851196"/>
                  <a:gd name="connsiteX3064" fmla="*/ 10804419 w 12187339"/>
                  <a:gd name="connsiteY3064" fmla="*/ 3909489 h 6851196"/>
                  <a:gd name="connsiteX3065" fmla="*/ 10804419 w 12187339"/>
                  <a:gd name="connsiteY3065" fmla="*/ 3671364 h 6851196"/>
                  <a:gd name="connsiteX3066" fmla="*/ 11028507 w 12187339"/>
                  <a:gd name="connsiteY3066" fmla="*/ 3671364 h 6851196"/>
                  <a:gd name="connsiteX3067" fmla="*/ 11028507 w 12187339"/>
                  <a:gd name="connsiteY3067" fmla="*/ 3909489 h 6851196"/>
                  <a:gd name="connsiteX3068" fmla="*/ 10804419 w 12187339"/>
                  <a:gd name="connsiteY3068" fmla="*/ 3664560 h 6851196"/>
                  <a:gd name="connsiteX3069" fmla="*/ 10804419 w 12187339"/>
                  <a:gd name="connsiteY3069" fmla="*/ 3428068 h 6851196"/>
                  <a:gd name="connsiteX3070" fmla="*/ 11028507 w 12187339"/>
                  <a:gd name="connsiteY3070" fmla="*/ 3428068 h 6851196"/>
                  <a:gd name="connsiteX3071" fmla="*/ 11028507 w 12187339"/>
                  <a:gd name="connsiteY3071" fmla="*/ 3664560 h 6851196"/>
                  <a:gd name="connsiteX3072" fmla="*/ 10804419 w 12187339"/>
                  <a:gd name="connsiteY3072" fmla="*/ 3421264 h 6851196"/>
                  <a:gd name="connsiteX3073" fmla="*/ 10804419 w 12187339"/>
                  <a:gd name="connsiteY3073" fmla="*/ 3183139 h 6851196"/>
                  <a:gd name="connsiteX3074" fmla="*/ 11028507 w 12187339"/>
                  <a:gd name="connsiteY3074" fmla="*/ 3183139 h 6851196"/>
                  <a:gd name="connsiteX3075" fmla="*/ 11028507 w 12187339"/>
                  <a:gd name="connsiteY3075" fmla="*/ 3421264 h 6851196"/>
                  <a:gd name="connsiteX3076" fmla="*/ 10804419 w 12187339"/>
                  <a:gd name="connsiteY3076" fmla="*/ 3176336 h 6851196"/>
                  <a:gd name="connsiteX3077" fmla="*/ 10804419 w 12187339"/>
                  <a:gd name="connsiteY3077" fmla="*/ 2938211 h 6851196"/>
                  <a:gd name="connsiteX3078" fmla="*/ 11028507 w 12187339"/>
                  <a:gd name="connsiteY3078" fmla="*/ 2938211 h 6851196"/>
                  <a:gd name="connsiteX3079" fmla="*/ 11028507 w 12187339"/>
                  <a:gd name="connsiteY3079" fmla="*/ 3176336 h 6851196"/>
                  <a:gd name="connsiteX3080" fmla="*/ 10804419 w 12187339"/>
                  <a:gd name="connsiteY3080" fmla="*/ 2931407 h 6851196"/>
                  <a:gd name="connsiteX3081" fmla="*/ 10804419 w 12187339"/>
                  <a:gd name="connsiteY3081" fmla="*/ 2693282 h 6851196"/>
                  <a:gd name="connsiteX3082" fmla="*/ 11028507 w 12187339"/>
                  <a:gd name="connsiteY3082" fmla="*/ 2693282 h 6851196"/>
                  <a:gd name="connsiteX3083" fmla="*/ 11028507 w 12187339"/>
                  <a:gd name="connsiteY3083" fmla="*/ 2931407 h 6851196"/>
                  <a:gd name="connsiteX3084" fmla="*/ 10804419 w 12187339"/>
                  <a:gd name="connsiteY3084" fmla="*/ 2686479 h 6851196"/>
                  <a:gd name="connsiteX3085" fmla="*/ 10804419 w 12187339"/>
                  <a:gd name="connsiteY3085" fmla="*/ 2449986 h 6851196"/>
                  <a:gd name="connsiteX3086" fmla="*/ 11028507 w 12187339"/>
                  <a:gd name="connsiteY3086" fmla="*/ 2449986 h 6851196"/>
                  <a:gd name="connsiteX3087" fmla="*/ 11028507 w 12187339"/>
                  <a:gd name="connsiteY3087" fmla="*/ 2686479 h 6851196"/>
                  <a:gd name="connsiteX3088" fmla="*/ 10804419 w 12187339"/>
                  <a:gd name="connsiteY3088" fmla="*/ 2443183 h 6851196"/>
                  <a:gd name="connsiteX3089" fmla="*/ 10804419 w 12187339"/>
                  <a:gd name="connsiteY3089" fmla="*/ 2205058 h 6851196"/>
                  <a:gd name="connsiteX3090" fmla="*/ 11028507 w 12187339"/>
                  <a:gd name="connsiteY3090" fmla="*/ 2205058 h 6851196"/>
                  <a:gd name="connsiteX3091" fmla="*/ 11028507 w 12187339"/>
                  <a:gd name="connsiteY3091" fmla="*/ 2443183 h 6851196"/>
                  <a:gd name="connsiteX3092" fmla="*/ 10804419 w 12187339"/>
                  <a:gd name="connsiteY3092" fmla="*/ 2198254 h 6851196"/>
                  <a:gd name="connsiteX3093" fmla="*/ 10804419 w 12187339"/>
                  <a:gd name="connsiteY3093" fmla="*/ 1960129 h 6851196"/>
                  <a:gd name="connsiteX3094" fmla="*/ 11028507 w 12187339"/>
                  <a:gd name="connsiteY3094" fmla="*/ 1960129 h 6851196"/>
                  <a:gd name="connsiteX3095" fmla="*/ 11028507 w 12187339"/>
                  <a:gd name="connsiteY3095" fmla="*/ 2198254 h 6851196"/>
                  <a:gd name="connsiteX3096" fmla="*/ 10804419 w 12187339"/>
                  <a:gd name="connsiteY3096" fmla="*/ 1953326 h 6851196"/>
                  <a:gd name="connsiteX3097" fmla="*/ 10804419 w 12187339"/>
                  <a:gd name="connsiteY3097" fmla="*/ 1716697 h 6851196"/>
                  <a:gd name="connsiteX3098" fmla="*/ 11028507 w 12187339"/>
                  <a:gd name="connsiteY3098" fmla="*/ 1716697 h 6851196"/>
                  <a:gd name="connsiteX3099" fmla="*/ 11028507 w 12187339"/>
                  <a:gd name="connsiteY3099" fmla="*/ 1953189 h 6851196"/>
                  <a:gd name="connsiteX3100" fmla="*/ 10804419 w 12187339"/>
                  <a:gd name="connsiteY3100" fmla="*/ 1710030 h 6851196"/>
                  <a:gd name="connsiteX3101" fmla="*/ 10804419 w 12187339"/>
                  <a:gd name="connsiteY3101" fmla="*/ 1471769 h 6851196"/>
                  <a:gd name="connsiteX3102" fmla="*/ 11028507 w 12187339"/>
                  <a:gd name="connsiteY3102" fmla="*/ 1471769 h 6851196"/>
                  <a:gd name="connsiteX3103" fmla="*/ 11028507 w 12187339"/>
                  <a:gd name="connsiteY3103" fmla="*/ 1709894 h 6851196"/>
                  <a:gd name="connsiteX3104" fmla="*/ 10804419 w 12187339"/>
                  <a:gd name="connsiteY3104" fmla="*/ 1465101 h 6851196"/>
                  <a:gd name="connsiteX3105" fmla="*/ 10804419 w 12187339"/>
                  <a:gd name="connsiteY3105" fmla="*/ 1226840 h 6851196"/>
                  <a:gd name="connsiteX3106" fmla="*/ 11028507 w 12187339"/>
                  <a:gd name="connsiteY3106" fmla="*/ 1226840 h 6851196"/>
                  <a:gd name="connsiteX3107" fmla="*/ 11028507 w 12187339"/>
                  <a:gd name="connsiteY3107" fmla="*/ 1464965 h 6851196"/>
                  <a:gd name="connsiteX3108" fmla="*/ 10804419 w 12187339"/>
                  <a:gd name="connsiteY3108" fmla="*/ 1220173 h 6851196"/>
                  <a:gd name="connsiteX3109" fmla="*/ 10804419 w 12187339"/>
                  <a:gd name="connsiteY3109" fmla="*/ 981911 h 6851196"/>
                  <a:gd name="connsiteX3110" fmla="*/ 11028507 w 12187339"/>
                  <a:gd name="connsiteY3110" fmla="*/ 981911 h 6851196"/>
                  <a:gd name="connsiteX3111" fmla="*/ 11028507 w 12187339"/>
                  <a:gd name="connsiteY3111" fmla="*/ 1220036 h 6851196"/>
                  <a:gd name="connsiteX3112" fmla="*/ 10798016 w 12187339"/>
                  <a:gd name="connsiteY3112" fmla="*/ 1220173 h 6851196"/>
                  <a:gd name="connsiteX3113" fmla="*/ 10575466 w 12187339"/>
                  <a:gd name="connsiteY3113" fmla="*/ 1220173 h 6851196"/>
                  <a:gd name="connsiteX3114" fmla="*/ 10575466 w 12187339"/>
                  <a:gd name="connsiteY3114" fmla="*/ 981911 h 6851196"/>
                  <a:gd name="connsiteX3115" fmla="*/ 10798016 w 12187339"/>
                  <a:gd name="connsiteY3115" fmla="*/ 981911 h 6851196"/>
                  <a:gd name="connsiteX3116" fmla="*/ 10569064 w 12187339"/>
                  <a:gd name="connsiteY3116" fmla="*/ 1220173 h 6851196"/>
                  <a:gd name="connsiteX3117" fmla="*/ 10344975 w 12187339"/>
                  <a:gd name="connsiteY3117" fmla="*/ 1220173 h 6851196"/>
                  <a:gd name="connsiteX3118" fmla="*/ 10344975 w 12187339"/>
                  <a:gd name="connsiteY3118" fmla="*/ 981911 h 6851196"/>
                  <a:gd name="connsiteX3119" fmla="*/ 10569064 w 12187339"/>
                  <a:gd name="connsiteY3119" fmla="*/ 981911 h 6851196"/>
                  <a:gd name="connsiteX3120" fmla="*/ 10338573 w 12187339"/>
                  <a:gd name="connsiteY3120" fmla="*/ 1220173 h 6851196"/>
                  <a:gd name="connsiteX3121" fmla="*/ 10114484 w 12187339"/>
                  <a:gd name="connsiteY3121" fmla="*/ 1220173 h 6851196"/>
                  <a:gd name="connsiteX3122" fmla="*/ 10114484 w 12187339"/>
                  <a:gd name="connsiteY3122" fmla="*/ 981911 h 6851196"/>
                  <a:gd name="connsiteX3123" fmla="*/ 10338573 w 12187339"/>
                  <a:gd name="connsiteY3123" fmla="*/ 981911 h 6851196"/>
                  <a:gd name="connsiteX3124" fmla="*/ 10108082 w 12187339"/>
                  <a:gd name="connsiteY3124" fmla="*/ 1220173 h 6851196"/>
                  <a:gd name="connsiteX3125" fmla="*/ 9883993 w 12187339"/>
                  <a:gd name="connsiteY3125" fmla="*/ 1220173 h 6851196"/>
                  <a:gd name="connsiteX3126" fmla="*/ 9883993 w 12187339"/>
                  <a:gd name="connsiteY3126" fmla="*/ 981911 h 6851196"/>
                  <a:gd name="connsiteX3127" fmla="*/ 10108082 w 12187339"/>
                  <a:gd name="connsiteY3127" fmla="*/ 981911 h 6851196"/>
                  <a:gd name="connsiteX3128" fmla="*/ 9877591 w 12187339"/>
                  <a:gd name="connsiteY3128" fmla="*/ 1220173 h 6851196"/>
                  <a:gd name="connsiteX3129" fmla="*/ 9655037 w 12187339"/>
                  <a:gd name="connsiteY3129" fmla="*/ 1220173 h 6851196"/>
                  <a:gd name="connsiteX3130" fmla="*/ 9655037 w 12187339"/>
                  <a:gd name="connsiteY3130" fmla="*/ 981911 h 6851196"/>
                  <a:gd name="connsiteX3131" fmla="*/ 9877591 w 12187339"/>
                  <a:gd name="connsiteY3131" fmla="*/ 981911 h 6851196"/>
                  <a:gd name="connsiteX3132" fmla="*/ 9648635 w 12187339"/>
                  <a:gd name="connsiteY3132" fmla="*/ 1220173 h 6851196"/>
                  <a:gd name="connsiteX3133" fmla="*/ 9424546 w 12187339"/>
                  <a:gd name="connsiteY3133" fmla="*/ 1220173 h 6851196"/>
                  <a:gd name="connsiteX3134" fmla="*/ 9424546 w 12187339"/>
                  <a:gd name="connsiteY3134" fmla="*/ 981911 h 6851196"/>
                  <a:gd name="connsiteX3135" fmla="*/ 9648635 w 12187339"/>
                  <a:gd name="connsiteY3135" fmla="*/ 981911 h 6851196"/>
                  <a:gd name="connsiteX3136" fmla="*/ 9418144 w 12187339"/>
                  <a:gd name="connsiteY3136" fmla="*/ 1220173 h 6851196"/>
                  <a:gd name="connsiteX3137" fmla="*/ 9194055 w 12187339"/>
                  <a:gd name="connsiteY3137" fmla="*/ 1220173 h 6851196"/>
                  <a:gd name="connsiteX3138" fmla="*/ 9194055 w 12187339"/>
                  <a:gd name="connsiteY3138" fmla="*/ 981911 h 6851196"/>
                  <a:gd name="connsiteX3139" fmla="*/ 9418144 w 12187339"/>
                  <a:gd name="connsiteY3139" fmla="*/ 981911 h 6851196"/>
                  <a:gd name="connsiteX3140" fmla="*/ 9187653 w 12187339"/>
                  <a:gd name="connsiteY3140" fmla="*/ 1220173 h 6851196"/>
                  <a:gd name="connsiteX3141" fmla="*/ 8963564 w 12187339"/>
                  <a:gd name="connsiteY3141" fmla="*/ 1220173 h 6851196"/>
                  <a:gd name="connsiteX3142" fmla="*/ 8963564 w 12187339"/>
                  <a:gd name="connsiteY3142" fmla="*/ 981911 h 6851196"/>
                  <a:gd name="connsiteX3143" fmla="*/ 9187653 w 12187339"/>
                  <a:gd name="connsiteY3143" fmla="*/ 981911 h 6851196"/>
                  <a:gd name="connsiteX3144" fmla="*/ 8957162 w 12187339"/>
                  <a:gd name="connsiteY3144" fmla="*/ 1220173 h 6851196"/>
                  <a:gd name="connsiteX3145" fmla="*/ 8734611 w 12187339"/>
                  <a:gd name="connsiteY3145" fmla="*/ 1220173 h 6851196"/>
                  <a:gd name="connsiteX3146" fmla="*/ 8734611 w 12187339"/>
                  <a:gd name="connsiteY3146" fmla="*/ 981911 h 6851196"/>
                  <a:gd name="connsiteX3147" fmla="*/ 8957162 w 12187339"/>
                  <a:gd name="connsiteY3147" fmla="*/ 981911 h 6851196"/>
                  <a:gd name="connsiteX3148" fmla="*/ 8728209 w 12187339"/>
                  <a:gd name="connsiteY3148" fmla="*/ 1220173 h 6851196"/>
                  <a:gd name="connsiteX3149" fmla="*/ 8504120 w 12187339"/>
                  <a:gd name="connsiteY3149" fmla="*/ 1220173 h 6851196"/>
                  <a:gd name="connsiteX3150" fmla="*/ 8504120 w 12187339"/>
                  <a:gd name="connsiteY3150" fmla="*/ 981911 h 6851196"/>
                  <a:gd name="connsiteX3151" fmla="*/ 8728209 w 12187339"/>
                  <a:gd name="connsiteY3151" fmla="*/ 981911 h 6851196"/>
                  <a:gd name="connsiteX3152" fmla="*/ 8497718 w 12187339"/>
                  <a:gd name="connsiteY3152" fmla="*/ 1220173 h 6851196"/>
                  <a:gd name="connsiteX3153" fmla="*/ 8273629 w 12187339"/>
                  <a:gd name="connsiteY3153" fmla="*/ 1220173 h 6851196"/>
                  <a:gd name="connsiteX3154" fmla="*/ 8273629 w 12187339"/>
                  <a:gd name="connsiteY3154" fmla="*/ 981911 h 6851196"/>
                  <a:gd name="connsiteX3155" fmla="*/ 8497718 w 12187339"/>
                  <a:gd name="connsiteY3155" fmla="*/ 981911 h 6851196"/>
                  <a:gd name="connsiteX3156" fmla="*/ 8267227 w 12187339"/>
                  <a:gd name="connsiteY3156" fmla="*/ 1220173 h 6851196"/>
                  <a:gd name="connsiteX3157" fmla="*/ 8044420 w 12187339"/>
                  <a:gd name="connsiteY3157" fmla="*/ 1220173 h 6851196"/>
                  <a:gd name="connsiteX3158" fmla="*/ 8044420 w 12187339"/>
                  <a:gd name="connsiteY3158" fmla="*/ 981911 h 6851196"/>
                  <a:gd name="connsiteX3159" fmla="*/ 8267227 w 12187339"/>
                  <a:gd name="connsiteY3159" fmla="*/ 981911 h 6851196"/>
                  <a:gd name="connsiteX3160" fmla="*/ 8038274 w 12187339"/>
                  <a:gd name="connsiteY3160" fmla="*/ 1220173 h 6851196"/>
                  <a:gd name="connsiteX3161" fmla="*/ 7814186 w 12187339"/>
                  <a:gd name="connsiteY3161" fmla="*/ 1220173 h 6851196"/>
                  <a:gd name="connsiteX3162" fmla="*/ 7814186 w 12187339"/>
                  <a:gd name="connsiteY3162" fmla="*/ 981911 h 6851196"/>
                  <a:gd name="connsiteX3163" fmla="*/ 8038274 w 12187339"/>
                  <a:gd name="connsiteY3163" fmla="*/ 981911 h 6851196"/>
                  <a:gd name="connsiteX3164" fmla="*/ 7807783 w 12187339"/>
                  <a:gd name="connsiteY3164" fmla="*/ 1220173 h 6851196"/>
                  <a:gd name="connsiteX3165" fmla="*/ 7583695 w 12187339"/>
                  <a:gd name="connsiteY3165" fmla="*/ 1220173 h 6851196"/>
                  <a:gd name="connsiteX3166" fmla="*/ 7583695 w 12187339"/>
                  <a:gd name="connsiteY3166" fmla="*/ 981911 h 6851196"/>
                  <a:gd name="connsiteX3167" fmla="*/ 7807783 w 12187339"/>
                  <a:gd name="connsiteY3167" fmla="*/ 981911 h 6851196"/>
                  <a:gd name="connsiteX3168" fmla="*/ 7577292 w 12187339"/>
                  <a:gd name="connsiteY3168" fmla="*/ 1220173 h 6851196"/>
                  <a:gd name="connsiteX3169" fmla="*/ 7353204 w 12187339"/>
                  <a:gd name="connsiteY3169" fmla="*/ 1220173 h 6851196"/>
                  <a:gd name="connsiteX3170" fmla="*/ 7353204 w 12187339"/>
                  <a:gd name="connsiteY3170" fmla="*/ 981911 h 6851196"/>
                  <a:gd name="connsiteX3171" fmla="*/ 7577292 w 12187339"/>
                  <a:gd name="connsiteY3171" fmla="*/ 981911 h 6851196"/>
                  <a:gd name="connsiteX3172" fmla="*/ 7346801 w 12187339"/>
                  <a:gd name="connsiteY3172" fmla="*/ 1220173 h 6851196"/>
                  <a:gd name="connsiteX3173" fmla="*/ 7124247 w 12187339"/>
                  <a:gd name="connsiteY3173" fmla="*/ 1220173 h 6851196"/>
                  <a:gd name="connsiteX3174" fmla="*/ 7124247 w 12187339"/>
                  <a:gd name="connsiteY3174" fmla="*/ 981911 h 6851196"/>
                  <a:gd name="connsiteX3175" fmla="*/ 7346801 w 12187339"/>
                  <a:gd name="connsiteY3175" fmla="*/ 981911 h 6851196"/>
                  <a:gd name="connsiteX3176" fmla="*/ 7117845 w 12187339"/>
                  <a:gd name="connsiteY3176" fmla="*/ 1220173 h 6851196"/>
                  <a:gd name="connsiteX3177" fmla="*/ 6893756 w 12187339"/>
                  <a:gd name="connsiteY3177" fmla="*/ 1220173 h 6851196"/>
                  <a:gd name="connsiteX3178" fmla="*/ 6893756 w 12187339"/>
                  <a:gd name="connsiteY3178" fmla="*/ 981911 h 6851196"/>
                  <a:gd name="connsiteX3179" fmla="*/ 7117845 w 12187339"/>
                  <a:gd name="connsiteY3179" fmla="*/ 981911 h 6851196"/>
                  <a:gd name="connsiteX3180" fmla="*/ 6887354 w 12187339"/>
                  <a:gd name="connsiteY3180" fmla="*/ 1220173 h 6851196"/>
                  <a:gd name="connsiteX3181" fmla="*/ 6663265 w 12187339"/>
                  <a:gd name="connsiteY3181" fmla="*/ 1220173 h 6851196"/>
                  <a:gd name="connsiteX3182" fmla="*/ 6663265 w 12187339"/>
                  <a:gd name="connsiteY3182" fmla="*/ 981911 h 6851196"/>
                  <a:gd name="connsiteX3183" fmla="*/ 6887354 w 12187339"/>
                  <a:gd name="connsiteY3183" fmla="*/ 981911 h 6851196"/>
                  <a:gd name="connsiteX3184" fmla="*/ 6656863 w 12187339"/>
                  <a:gd name="connsiteY3184" fmla="*/ 1220173 h 6851196"/>
                  <a:gd name="connsiteX3185" fmla="*/ 6446349 w 12187339"/>
                  <a:gd name="connsiteY3185" fmla="*/ 1220173 h 6851196"/>
                  <a:gd name="connsiteX3186" fmla="*/ 6446349 w 12187339"/>
                  <a:gd name="connsiteY3186" fmla="*/ 981911 h 6851196"/>
                  <a:gd name="connsiteX3187" fmla="*/ 6656863 w 12187339"/>
                  <a:gd name="connsiteY3187" fmla="*/ 981911 h 6851196"/>
                  <a:gd name="connsiteX3188" fmla="*/ 6439946 w 12187339"/>
                  <a:gd name="connsiteY3188" fmla="*/ 1220173 h 6851196"/>
                  <a:gd name="connsiteX3189" fmla="*/ 6217136 w 12187339"/>
                  <a:gd name="connsiteY3189" fmla="*/ 1220173 h 6851196"/>
                  <a:gd name="connsiteX3190" fmla="*/ 6217136 w 12187339"/>
                  <a:gd name="connsiteY3190" fmla="*/ 981911 h 6851196"/>
                  <a:gd name="connsiteX3191" fmla="*/ 6439690 w 12187339"/>
                  <a:gd name="connsiteY3191" fmla="*/ 981911 h 6851196"/>
                  <a:gd name="connsiteX3192" fmla="*/ 6210990 w 12187339"/>
                  <a:gd name="connsiteY3192" fmla="*/ 1220173 h 6851196"/>
                  <a:gd name="connsiteX3193" fmla="*/ 5986902 w 12187339"/>
                  <a:gd name="connsiteY3193" fmla="*/ 1220173 h 6851196"/>
                  <a:gd name="connsiteX3194" fmla="*/ 5986902 w 12187339"/>
                  <a:gd name="connsiteY3194" fmla="*/ 981911 h 6851196"/>
                  <a:gd name="connsiteX3195" fmla="*/ 6210990 w 12187339"/>
                  <a:gd name="connsiteY3195" fmla="*/ 981911 h 6851196"/>
                  <a:gd name="connsiteX3196" fmla="*/ 5980499 w 12187339"/>
                  <a:gd name="connsiteY3196" fmla="*/ 1220173 h 6851196"/>
                  <a:gd name="connsiteX3197" fmla="*/ 5756411 w 12187339"/>
                  <a:gd name="connsiteY3197" fmla="*/ 1220173 h 6851196"/>
                  <a:gd name="connsiteX3198" fmla="*/ 5756411 w 12187339"/>
                  <a:gd name="connsiteY3198" fmla="*/ 981911 h 6851196"/>
                  <a:gd name="connsiteX3199" fmla="*/ 5980499 w 12187339"/>
                  <a:gd name="connsiteY3199" fmla="*/ 981911 h 6851196"/>
                  <a:gd name="connsiteX3200" fmla="*/ 5750008 w 12187339"/>
                  <a:gd name="connsiteY3200" fmla="*/ 1220173 h 6851196"/>
                  <a:gd name="connsiteX3201" fmla="*/ 5526945 w 12187339"/>
                  <a:gd name="connsiteY3201" fmla="*/ 1220173 h 6851196"/>
                  <a:gd name="connsiteX3202" fmla="*/ 5526945 w 12187339"/>
                  <a:gd name="connsiteY3202" fmla="*/ 981911 h 6851196"/>
                  <a:gd name="connsiteX3203" fmla="*/ 5749495 w 12187339"/>
                  <a:gd name="connsiteY3203" fmla="*/ 981911 h 6851196"/>
                  <a:gd name="connsiteX3204" fmla="*/ 5521055 w 12187339"/>
                  <a:gd name="connsiteY3204" fmla="*/ 1220173 h 6851196"/>
                  <a:gd name="connsiteX3205" fmla="*/ 5296454 w 12187339"/>
                  <a:gd name="connsiteY3205" fmla="*/ 1220173 h 6851196"/>
                  <a:gd name="connsiteX3206" fmla="*/ 5296454 w 12187339"/>
                  <a:gd name="connsiteY3206" fmla="*/ 981911 h 6851196"/>
                  <a:gd name="connsiteX3207" fmla="*/ 5520542 w 12187339"/>
                  <a:gd name="connsiteY3207" fmla="*/ 981911 h 6851196"/>
                  <a:gd name="connsiteX3208" fmla="*/ 5290564 w 12187339"/>
                  <a:gd name="connsiteY3208" fmla="*/ 1220173 h 6851196"/>
                  <a:gd name="connsiteX3209" fmla="*/ 5065963 w 12187339"/>
                  <a:gd name="connsiteY3209" fmla="*/ 1220173 h 6851196"/>
                  <a:gd name="connsiteX3210" fmla="*/ 5065963 w 12187339"/>
                  <a:gd name="connsiteY3210" fmla="*/ 981911 h 6851196"/>
                  <a:gd name="connsiteX3211" fmla="*/ 5290051 w 12187339"/>
                  <a:gd name="connsiteY3211" fmla="*/ 981911 h 6851196"/>
                  <a:gd name="connsiteX3212" fmla="*/ 5060073 w 12187339"/>
                  <a:gd name="connsiteY3212" fmla="*/ 1220173 h 6851196"/>
                  <a:gd name="connsiteX3213" fmla="*/ 4835472 w 12187339"/>
                  <a:gd name="connsiteY3213" fmla="*/ 1220173 h 6851196"/>
                  <a:gd name="connsiteX3214" fmla="*/ 4835472 w 12187339"/>
                  <a:gd name="connsiteY3214" fmla="*/ 981911 h 6851196"/>
                  <a:gd name="connsiteX3215" fmla="*/ 5059560 w 12187339"/>
                  <a:gd name="connsiteY3215" fmla="*/ 981911 h 6851196"/>
                  <a:gd name="connsiteX3216" fmla="*/ 4829582 w 12187339"/>
                  <a:gd name="connsiteY3216" fmla="*/ 1220173 h 6851196"/>
                  <a:gd name="connsiteX3217" fmla="*/ 4607029 w 12187339"/>
                  <a:gd name="connsiteY3217" fmla="*/ 1220173 h 6851196"/>
                  <a:gd name="connsiteX3218" fmla="*/ 4607029 w 12187339"/>
                  <a:gd name="connsiteY3218" fmla="*/ 981911 h 6851196"/>
                  <a:gd name="connsiteX3219" fmla="*/ 4829582 w 12187339"/>
                  <a:gd name="connsiteY3219" fmla="*/ 981911 h 6851196"/>
                  <a:gd name="connsiteX3220" fmla="*/ 4600626 w 12187339"/>
                  <a:gd name="connsiteY3220" fmla="*/ 1220173 h 6851196"/>
                  <a:gd name="connsiteX3221" fmla="*/ 4376538 w 12187339"/>
                  <a:gd name="connsiteY3221" fmla="*/ 1220173 h 6851196"/>
                  <a:gd name="connsiteX3222" fmla="*/ 4376538 w 12187339"/>
                  <a:gd name="connsiteY3222" fmla="*/ 981911 h 6851196"/>
                  <a:gd name="connsiteX3223" fmla="*/ 4600626 w 12187339"/>
                  <a:gd name="connsiteY3223" fmla="*/ 981911 h 6851196"/>
                  <a:gd name="connsiteX3224" fmla="*/ 4370135 w 12187339"/>
                  <a:gd name="connsiteY3224" fmla="*/ 1220173 h 6851196"/>
                  <a:gd name="connsiteX3225" fmla="*/ 4146047 w 12187339"/>
                  <a:gd name="connsiteY3225" fmla="*/ 1220173 h 6851196"/>
                  <a:gd name="connsiteX3226" fmla="*/ 4146047 w 12187339"/>
                  <a:gd name="connsiteY3226" fmla="*/ 981911 h 6851196"/>
                  <a:gd name="connsiteX3227" fmla="*/ 4370135 w 12187339"/>
                  <a:gd name="connsiteY3227" fmla="*/ 981911 h 6851196"/>
                  <a:gd name="connsiteX3228" fmla="*/ 4139644 w 12187339"/>
                  <a:gd name="connsiteY3228" fmla="*/ 1220173 h 6851196"/>
                  <a:gd name="connsiteX3229" fmla="*/ 3917094 w 12187339"/>
                  <a:gd name="connsiteY3229" fmla="*/ 1220173 h 6851196"/>
                  <a:gd name="connsiteX3230" fmla="*/ 3917094 w 12187339"/>
                  <a:gd name="connsiteY3230" fmla="*/ 981911 h 6851196"/>
                  <a:gd name="connsiteX3231" fmla="*/ 4139644 w 12187339"/>
                  <a:gd name="connsiteY3231" fmla="*/ 981911 h 6851196"/>
                  <a:gd name="connsiteX3232" fmla="*/ 3910691 w 12187339"/>
                  <a:gd name="connsiteY3232" fmla="*/ 1220173 h 6851196"/>
                  <a:gd name="connsiteX3233" fmla="*/ 3686603 w 12187339"/>
                  <a:gd name="connsiteY3233" fmla="*/ 1220173 h 6851196"/>
                  <a:gd name="connsiteX3234" fmla="*/ 3686603 w 12187339"/>
                  <a:gd name="connsiteY3234" fmla="*/ 981911 h 6851196"/>
                  <a:gd name="connsiteX3235" fmla="*/ 3910691 w 12187339"/>
                  <a:gd name="connsiteY3235" fmla="*/ 981911 h 6851196"/>
                  <a:gd name="connsiteX3236" fmla="*/ 3680200 w 12187339"/>
                  <a:gd name="connsiteY3236" fmla="*/ 1220173 h 6851196"/>
                  <a:gd name="connsiteX3237" fmla="*/ 3456112 w 12187339"/>
                  <a:gd name="connsiteY3237" fmla="*/ 1220173 h 6851196"/>
                  <a:gd name="connsiteX3238" fmla="*/ 3456112 w 12187339"/>
                  <a:gd name="connsiteY3238" fmla="*/ 981911 h 6851196"/>
                  <a:gd name="connsiteX3239" fmla="*/ 3680200 w 12187339"/>
                  <a:gd name="connsiteY3239" fmla="*/ 981911 h 6851196"/>
                  <a:gd name="connsiteX3240" fmla="*/ 3449709 w 12187339"/>
                  <a:gd name="connsiteY3240" fmla="*/ 1220173 h 6851196"/>
                  <a:gd name="connsiteX3241" fmla="*/ 3225621 w 12187339"/>
                  <a:gd name="connsiteY3241" fmla="*/ 1220173 h 6851196"/>
                  <a:gd name="connsiteX3242" fmla="*/ 3225621 w 12187339"/>
                  <a:gd name="connsiteY3242" fmla="*/ 981911 h 6851196"/>
                  <a:gd name="connsiteX3243" fmla="*/ 3449709 w 12187339"/>
                  <a:gd name="connsiteY3243" fmla="*/ 981911 h 6851196"/>
                  <a:gd name="connsiteX3244" fmla="*/ 3219218 w 12187339"/>
                  <a:gd name="connsiteY3244" fmla="*/ 1220173 h 6851196"/>
                  <a:gd name="connsiteX3245" fmla="*/ 2996666 w 12187339"/>
                  <a:gd name="connsiteY3245" fmla="*/ 1220173 h 6851196"/>
                  <a:gd name="connsiteX3246" fmla="*/ 2996666 w 12187339"/>
                  <a:gd name="connsiteY3246" fmla="*/ 981911 h 6851196"/>
                  <a:gd name="connsiteX3247" fmla="*/ 3219218 w 12187339"/>
                  <a:gd name="connsiteY3247" fmla="*/ 981911 h 6851196"/>
                  <a:gd name="connsiteX3248" fmla="*/ 2990264 w 12187339"/>
                  <a:gd name="connsiteY3248" fmla="*/ 1220173 h 6851196"/>
                  <a:gd name="connsiteX3249" fmla="*/ 2766175 w 12187339"/>
                  <a:gd name="connsiteY3249" fmla="*/ 1220173 h 6851196"/>
                  <a:gd name="connsiteX3250" fmla="*/ 2766175 w 12187339"/>
                  <a:gd name="connsiteY3250" fmla="*/ 981911 h 6851196"/>
                  <a:gd name="connsiteX3251" fmla="*/ 2990264 w 12187339"/>
                  <a:gd name="connsiteY3251" fmla="*/ 981911 h 6851196"/>
                  <a:gd name="connsiteX3252" fmla="*/ 2759773 w 12187339"/>
                  <a:gd name="connsiteY3252" fmla="*/ 1220173 h 6851196"/>
                  <a:gd name="connsiteX3253" fmla="*/ 2535684 w 12187339"/>
                  <a:gd name="connsiteY3253" fmla="*/ 1220173 h 6851196"/>
                  <a:gd name="connsiteX3254" fmla="*/ 2535684 w 12187339"/>
                  <a:gd name="connsiteY3254" fmla="*/ 981911 h 6851196"/>
                  <a:gd name="connsiteX3255" fmla="*/ 2759773 w 12187339"/>
                  <a:gd name="connsiteY3255" fmla="*/ 981911 h 6851196"/>
                  <a:gd name="connsiteX3256" fmla="*/ 2529282 w 12187339"/>
                  <a:gd name="connsiteY3256" fmla="*/ 1220173 h 6851196"/>
                  <a:gd name="connsiteX3257" fmla="*/ 2305193 w 12187339"/>
                  <a:gd name="connsiteY3257" fmla="*/ 1220173 h 6851196"/>
                  <a:gd name="connsiteX3258" fmla="*/ 2305193 w 12187339"/>
                  <a:gd name="connsiteY3258" fmla="*/ 981911 h 6851196"/>
                  <a:gd name="connsiteX3259" fmla="*/ 2529282 w 12187339"/>
                  <a:gd name="connsiteY3259" fmla="*/ 981911 h 6851196"/>
                  <a:gd name="connsiteX3260" fmla="*/ 2298791 w 12187339"/>
                  <a:gd name="connsiteY3260" fmla="*/ 1220173 h 6851196"/>
                  <a:gd name="connsiteX3261" fmla="*/ 2075982 w 12187339"/>
                  <a:gd name="connsiteY3261" fmla="*/ 1220173 h 6851196"/>
                  <a:gd name="connsiteX3262" fmla="*/ 2075982 w 12187339"/>
                  <a:gd name="connsiteY3262" fmla="*/ 981911 h 6851196"/>
                  <a:gd name="connsiteX3263" fmla="*/ 2298534 w 12187339"/>
                  <a:gd name="connsiteY3263" fmla="*/ 981911 h 6851196"/>
                  <a:gd name="connsiteX3264" fmla="*/ 2069836 w 12187339"/>
                  <a:gd name="connsiteY3264" fmla="*/ 1220173 h 6851196"/>
                  <a:gd name="connsiteX3265" fmla="*/ 1845748 w 12187339"/>
                  <a:gd name="connsiteY3265" fmla="*/ 1220173 h 6851196"/>
                  <a:gd name="connsiteX3266" fmla="*/ 1845748 w 12187339"/>
                  <a:gd name="connsiteY3266" fmla="*/ 981911 h 6851196"/>
                  <a:gd name="connsiteX3267" fmla="*/ 2069580 w 12187339"/>
                  <a:gd name="connsiteY3267" fmla="*/ 981911 h 6851196"/>
                  <a:gd name="connsiteX3268" fmla="*/ 1839345 w 12187339"/>
                  <a:gd name="connsiteY3268" fmla="*/ 1220173 h 6851196"/>
                  <a:gd name="connsiteX3269" fmla="*/ 1615257 w 12187339"/>
                  <a:gd name="connsiteY3269" fmla="*/ 1220173 h 6851196"/>
                  <a:gd name="connsiteX3270" fmla="*/ 1615257 w 12187339"/>
                  <a:gd name="connsiteY3270" fmla="*/ 981911 h 6851196"/>
                  <a:gd name="connsiteX3271" fmla="*/ 1839089 w 12187339"/>
                  <a:gd name="connsiteY3271" fmla="*/ 981911 h 6851196"/>
                  <a:gd name="connsiteX3272" fmla="*/ 1608854 w 12187339"/>
                  <a:gd name="connsiteY3272" fmla="*/ 1220173 h 6851196"/>
                  <a:gd name="connsiteX3273" fmla="*/ 1386302 w 12187339"/>
                  <a:gd name="connsiteY3273" fmla="*/ 1220173 h 6851196"/>
                  <a:gd name="connsiteX3274" fmla="*/ 1386302 w 12187339"/>
                  <a:gd name="connsiteY3274" fmla="*/ 981911 h 6851196"/>
                  <a:gd name="connsiteX3275" fmla="*/ 1608598 w 12187339"/>
                  <a:gd name="connsiteY3275" fmla="*/ 981911 h 6851196"/>
                  <a:gd name="connsiteX3276" fmla="*/ 1379900 w 12187339"/>
                  <a:gd name="connsiteY3276" fmla="*/ 1220173 h 6851196"/>
                  <a:gd name="connsiteX3277" fmla="*/ 1155811 w 12187339"/>
                  <a:gd name="connsiteY3277" fmla="*/ 1220173 h 6851196"/>
                  <a:gd name="connsiteX3278" fmla="*/ 1155811 w 12187339"/>
                  <a:gd name="connsiteY3278" fmla="*/ 981911 h 6851196"/>
                  <a:gd name="connsiteX3279" fmla="*/ 1379900 w 12187339"/>
                  <a:gd name="connsiteY3279" fmla="*/ 981911 h 6851196"/>
                  <a:gd name="connsiteX3280" fmla="*/ 1149409 w 12187339"/>
                  <a:gd name="connsiteY3280" fmla="*/ 1220173 h 6851196"/>
                  <a:gd name="connsiteX3281" fmla="*/ 925320 w 12187339"/>
                  <a:gd name="connsiteY3281" fmla="*/ 1220173 h 6851196"/>
                  <a:gd name="connsiteX3282" fmla="*/ 925320 w 12187339"/>
                  <a:gd name="connsiteY3282" fmla="*/ 981911 h 6851196"/>
                  <a:gd name="connsiteX3283" fmla="*/ 1149409 w 12187339"/>
                  <a:gd name="connsiteY3283" fmla="*/ 981911 h 6851196"/>
                  <a:gd name="connsiteX3284" fmla="*/ 1149409 w 12187339"/>
                  <a:gd name="connsiteY3284" fmla="*/ 1226976 h 6851196"/>
                  <a:gd name="connsiteX3285" fmla="*/ 1149409 w 12187339"/>
                  <a:gd name="connsiteY3285" fmla="*/ 1465101 h 6851196"/>
                  <a:gd name="connsiteX3286" fmla="*/ 925320 w 12187339"/>
                  <a:gd name="connsiteY3286" fmla="*/ 1465101 h 6851196"/>
                  <a:gd name="connsiteX3287" fmla="*/ 925320 w 12187339"/>
                  <a:gd name="connsiteY3287" fmla="*/ 1226840 h 6851196"/>
                  <a:gd name="connsiteX3288" fmla="*/ 1149409 w 12187339"/>
                  <a:gd name="connsiteY3288" fmla="*/ 1471905 h 6851196"/>
                  <a:gd name="connsiteX3289" fmla="*/ 1149409 w 12187339"/>
                  <a:gd name="connsiteY3289" fmla="*/ 1710030 h 6851196"/>
                  <a:gd name="connsiteX3290" fmla="*/ 925320 w 12187339"/>
                  <a:gd name="connsiteY3290" fmla="*/ 1710030 h 6851196"/>
                  <a:gd name="connsiteX3291" fmla="*/ 925320 w 12187339"/>
                  <a:gd name="connsiteY3291" fmla="*/ 1471769 h 6851196"/>
                  <a:gd name="connsiteX3292" fmla="*/ 1149409 w 12187339"/>
                  <a:gd name="connsiteY3292" fmla="*/ 1716833 h 6851196"/>
                  <a:gd name="connsiteX3293" fmla="*/ 1149409 w 12187339"/>
                  <a:gd name="connsiteY3293" fmla="*/ 1953326 h 6851196"/>
                  <a:gd name="connsiteX3294" fmla="*/ 925320 w 12187339"/>
                  <a:gd name="connsiteY3294" fmla="*/ 1953326 h 6851196"/>
                  <a:gd name="connsiteX3295" fmla="*/ 925320 w 12187339"/>
                  <a:gd name="connsiteY3295" fmla="*/ 1716697 h 6851196"/>
                  <a:gd name="connsiteX3296" fmla="*/ 1149409 w 12187339"/>
                  <a:gd name="connsiteY3296" fmla="*/ 1960129 h 6851196"/>
                  <a:gd name="connsiteX3297" fmla="*/ 1149409 w 12187339"/>
                  <a:gd name="connsiteY3297" fmla="*/ 2198254 h 6851196"/>
                  <a:gd name="connsiteX3298" fmla="*/ 925320 w 12187339"/>
                  <a:gd name="connsiteY3298" fmla="*/ 2198254 h 6851196"/>
                  <a:gd name="connsiteX3299" fmla="*/ 925320 w 12187339"/>
                  <a:gd name="connsiteY3299" fmla="*/ 1960129 h 6851196"/>
                  <a:gd name="connsiteX3300" fmla="*/ 1149409 w 12187339"/>
                  <a:gd name="connsiteY3300" fmla="*/ 2205058 h 6851196"/>
                  <a:gd name="connsiteX3301" fmla="*/ 1149409 w 12187339"/>
                  <a:gd name="connsiteY3301" fmla="*/ 2443183 h 6851196"/>
                  <a:gd name="connsiteX3302" fmla="*/ 925320 w 12187339"/>
                  <a:gd name="connsiteY3302" fmla="*/ 2443183 h 6851196"/>
                  <a:gd name="connsiteX3303" fmla="*/ 925320 w 12187339"/>
                  <a:gd name="connsiteY3303" fmla="*/ 2205058 h 6851196"/>
                  <a:gd name="connsiteX3304" fmla="*/ 1149409 w 12187339"/>
                  <a:gd name="connsiteY3304" fmla="*/ 2449986 h 6851196"/>
                  <a:gd name="connsiteX3305" fmla="*/ 1149409 w 12187339"/>
                  <a:gd name="connsiteY3305" fmla="*/ 2686479 h 6851196"/>
                  <a:gd name="connsiteX3306" fmla="*/ 925320 w 12187339"/>
                  <a:gd name="connsiteY3306" fmla="*/ 2686479 h 6851196"/>
                  <a:gd name="connsiteX3307" fmla="*/ 925320 w 12187339"/>
                  <a:gd name="connsiteY3307" fmla="*/ 2449986 h 6851196"/>
                  <a:gd name="connsiteX3308" fmla="*/ 1149409 w 12187339"/>
                  <a:gd name="connsiteY3308" fmla="*/ 2693282 h 6851196"/>
                  <a:gd name="connsiteX3309" fmla="*/ 1149409 w 12187339"/>
                  <a:gd name="connsiteY3309" fmla="*/ 2931407 h 6851196"/>
                  <a:gd name="connsiteX3310" fmla="*/ 925320 w 12187339"/>
                  <a:gd name="connsiteY3310" fmla="*/ 2931407 h 6851196"/>
                  <a:gd name="connsiteX3311" fmla="*/ 925320 w 12187339"/>
                  <a:gd name="connsiteY3311" fmla="*/ 2693282 h 6851196"/>
                  <a:gd name="connsiteX3312" fmla="*/ 1149409 w 12187339"/>
                  <a:gd name="connsiteY3312" fmla="*/ 2938211 h 6851196"/>
                  <a:gd name="connsiteX3313" fmla="*/ 1149409 w 12187339"/>
                  <a:gd name="connsiteY3313" fmla="*/ 3176336 h 6851196"/>
                  <a:gd name="connsiteX3314" fmla="*/ 925320 w 12187339"/>
                  <a:gd name="connsiteY3314" fmla="*/ 3176336 h 6851196"/>
                  <a:gd name="connsiteX3315" fmla="*/ 925320 w 12187339"/>
                  <a:gd name="connsiteY3315" fmla="*/ 2938211 h 6851196"/>
                  <a:gd name="connsiteX3316" fmla="*/ 1149409 w 12187339"/>
                  <a:gd name="connsiteY3316" fmla="*/ 3183139 h 6851196"/>
                  <a:gd name="connsiteX3317" fmla="*/ 1149409 w 12187339"/>
                  <a:gd name="connsiteY3317" fmla="*/ 3421264 h 6851196"/>
                  <a:gd name="connsiteX3318" fmla="*/ 925320 w 12187339"/>
                  <a:gd name="connsiteY3318" fmla="*/ 3421264 h 6851196"/>
                  <a:gd name="connsiteX3319" fmla="*/ 925320 w 12187339"/>
                  <a:gd name="connsiteY3319" fmla="*/ 3183139 h 6851196"/>
                  <a:gd name="connsiteX3320" fmla="*/ 1149409 w 12187339"/>
                  <a:gd name="connsiteY3320" fmla="*/ 3428068 h 6851196"/>
                  <a:gd name="connsiteX3321" fmla="*/ 1149409 w 12187339"/>
                  <a:gd name="connsiteY3321" fmla="*/ 3664560 h 6851196"/>
                  <a:gd name="connsiteX3322" fmla="*/ 925320 w 12187339"/>
                  <a:gd name="connsiteY3322" fmla="*/ 3664560 h 6851196"/>
                  <a:gd name="connsiteX3323" fmla="*/ 925320 w 12187339"/>
                  <a:gd name="connsiteY3323" fmla="*/ 3428068 h 6851196"/>
                  <a:gd name="connsiteX3324" fmla="*/ 1149409 w 12187339"/>
                  <a:gd name="connsiteY3324" fmla="*/ 3671364 h 6851196"/>
                  <a:gd name="connsiteX3325" fmla="*/ 1149409 w 12187339"/>
                  <a:gd name="connsiteY3325" fmla="*/ 3909489 h 6851196"/>
                  <a:gd name="connsiteX3326" fmla="*/ 925320 w 12187339"/>
                  <a:gd name="connsiteY3326" fmla="*/ 3909489 h 6851196"/>
                  <a:gd name="connsiteX3327" fmla="*/ 925320 w 12187339"/>
                  <a:gd name="connsiteY3327" fmla="*/ 3671364 h 6851196"/>
                  <a:gd name="connsiteX3328" fmla="*/ 1149409 w 12187339"/>
                  <a:gd name="connsiteY3328" fmla="*/ 3916292 h 6851196"/>
                  <a:gd name="connsiteX3329" fmla="*/ 1149409 w 12187339"/>
                  <a:gd name="connsiteY3329" fmla="*/ 4154417 h 6851196"/>
                  <a:gd name="connsiteX3330" fmla="*/ 925320 w 12187339"/>
                  <a:gd name="connsiteY3330" fmla="*/ 4154417 h 6851196"/>
                  <a:gd name="connsiteX3331" fmla="*/ 925320 w 12187339"/>
                  <a:gd name="connsiteY3331" fmla="*/ 3916292 h 6851196"/>
                  <a:gd name="connsiteX3332" fmla="*/ 1149409 w 12187339"/>
                  <a:gd name="connsiteY3332" fmla="*/ 4161221 h 6851196"/>
                  <a:gd name="connsiteX3333" fmla="*/ 1149409 w 12187339"/>
                  <a:gd name="connsiteY3333" fmla="*/ 4399346 h 6851196"/>
                  <a:gd name="connsiteX3334" fmla="*/ 925320 w 12187339"/>
                  <a:gd name="connsiteY3334" fmla="*/ 4399346 h 6851196"/>
                  <a:gd name="connsiteX3335" fmla="*/ 925320 w 12187339"/>
                  <a:gd name="connsiteY3335" fmla="*/ 4161221 h 6851196"/>
                  <a:gd name="connsiteX3336" fmla="*/ 1149409 w 12187339"/>
                  <a:gd name="connsiteY3336" fmla="*/ 4406149 h 6851196"/>
                  <a:gd name="connsiteX3337" fmla="*/ 1149409 w 12187339"/>
                  <a:gd name="connsiteY3337" fmla="*/ 4642233 h 6851196"/>
                  <a:gd name="connsiteX3338" fmla="*/ 925320 w 12187339"/>
                  <a:gd name="connsiteY3338" fmla="*/ 4642233 h 6851196"/>
                  <a:gd name="connsiteX3339" fmla="*/ 925320 w 12187339"/>
                  <a:gd name="connsiteY3339" fmla="*/ 4405741 h 6851196"/>
                  <a:gd name="connsiteX3340" fmla="*/ 1149409 w 12187339"/>
                  <a:gd name="connsiteY3340" fmla="*/ 4649445 h 6851196"/>
                  <a:gd name="connsiteX3341" fmla="*/ 1149409 w 12187339"/>
                  <a:gd name="connsiteY3341" fmla="*/ 4887162 h 6851196"/>
                  <a:gd name="connsiteX3342" fmla="*/ 925320 w 12187339"/>
                  <a:gd name="connsiteY3342" fmla="*/ 4887162 h 6851196"/>
                  <a:gd name="connsiteX3343" fmla="*/ 925320 w 12187339"/>
                  <a:gd name="connsiteY3343" fmla="*/ 4649037 h 6851196"/>
                  <a:gd name="connsiteX3344" fmla="*/ 1149409 w 12187339"/>
                  <a:gd name="connsiteY3344" fmla="*/ 4894374 h 6851196"/>
                  <a:gd name="connsiteX3345" fmla="*/ 1149409 w 12187339"/>
                  <a:gd name="connsiteY3345" fmla="*/ 5132090 h 6851196"/>
                  <a:gd name="connsiteX3346" fmla="*/ 925320 w 12187339"/>
                  <a:gd name="connsiteY3346" fmla="*/ 5132090 h 6851196"/>
                  <a:gd name="connsiteX3347" fmla="*/ 925320 w 12187339"/>
                  <a:gd name="connsiteY3347" fmla="*/ 4893965 h 6851196"/>
                  <a:gd name="connsiteX3348" fmla="*/ 1149409 w 12187339"/>
                  <a:gd name="connsiteY3348" fmla="*/ 5139302 h 6851196"/>
                  <a:gd name="connsiteX3349" fmla="*/ 1149409 w 12187339"/>
                  <a:gd name="connsiteY3349" fmla="*/ 5375795 h 6851196"/>
                  <a:gd name="connsiteX3350" fmla="*/ 925320 w 12187339"/>
                  <a:gd name="connsiteY3350" fmla="*/ 5375795 h 6851196"/>
                  <a:gd name="connsiteX3351" fmla="*/ 925320 w 12187339"/>
                  <a:gd name="connsiteY3351" fmla="*/ 5139302 h 6851196"/>
                  <a:gd name="connsiteX3352" fmla="*/ 1149409 w 12187339"/>
                  <a:gd name="connsiteY3352" fmla="*/ 5382598 h 6851196"/>
                  <a:gd name="connsiteX3353" fmla="*/ 1149409 w 12187339"/>
                  <a:gd name="connsiteY3353" fmla="*/ 5620723 h 6851196"/>
                  <a:gd name="connsiteX3354" fmla="*/ 925320 w 12187339"/>
                  <a:gd name="connsiteY3354" fmla="*/ 5620723 h 6851196"/>
                  <a:gd name="connsiteX3355" fmla="*/ 925320 w 12187339"/>
                  <a:gd name="connsiteY3355" fmla="*/ 5382598 h 6851196"/>
                  <a:gd name="connsiteX3356" fmla="*/ 1149409 w 12187339"/>
                  <a:gd name="connsiteY3356" fmla="*/ 5627527 h 6851196"/>
                  <a:gd name="connsiteX3357" fmla="*/ 1149409 w 12187339"/>
                  <a:gd name="connsiteY3357" fmla="*/ 5865652 h 6851196"/>
                  <a:gd name="connsiteX3358" fmla="*/ 925320 w 12187339"/>
                  <a:gd name="connsiteY3358" fmla="*/ 5865652 h 6851196"/>
                  <a:gd name="connsiteX3359" fmla="*/ 925320 w 12187339"/>
                  <a:gd name="connsiteY3359" fmla="*/ 5627527 h 6851196"/>
                  <a:gd name="connsiteX3360" fmla="*/ 1155811 w 12187339"/>
                  <a:gd name="connsiteY3360" fmla="*/ 5627527 h 6851196"/>
                  <a:gd name="connsiteX3361" fmla="*/ 1379900 w 12187339"/>
                  <a:gd name="connsiteY3361" fmla="*/ 5627527 h 6851196"/>
                  <a:gd name="connsiteX3362" fmla="*/ 1379900 w 12187339"/>
                  <a:gd name="connsiteY3362" fmla="*/ 5865652 h 6851196"/>
                  <a:gd name="connsiteX3363" fmla="*/ 1155811 w 12187339"/>
                  <a:gd name="connsiteY3363" fmla="*/ 5865652 h 6851196"/>
                  <a:gd name="connsiteX3364" fmla="*/ 1386302 w 12187339"/>
                  <a:gd name="connsiteY3364" fmla="*/ 5627527 h 6851196"/>
                  <a:gd name="connsiteX3365" fmla="*/ 1608598 w 12187339"/>
                  <a:gd name="connsiteY3365" fmla="*/ 5627527 h 6851196"/>
                  <a:gd name="connsiteX3366" fmla="*/ 1608598 w 12187339"/>
                  <a:gd name="connsiteY3366" fmla="*/ 5865652 h 6851196"/>
                  <a:gd name="connsiteX3367" fmla="*/ 1386046 w 12187339"/>
                  <a:gd name="connsiteY3367" fmla="*/ 5865652 h 6851196"/>
                  <a:gd name="connsiteX3368" fmla="*/ 1615257 w 12187339"/>
                  <a:gd name="connsiteY3368" fmla="*/ 5627527 h 6851196"/>
                  <a:gd name="connsiteX3369" fmla="*/ 1839089 w 12187339"/>
                  <a:gd name="connsiteY3369" fmla="*/ 5627527 h 6851196"/>
                  <a:gd name="connsiteX3370" fmla="*/ 1839089 w 12187339"/>
                  <a:gd name="connsiteY3370" fmla="*/ 5865652 h 6851196"/>
                  <a:gd name="connsiteX3371" fmla="*/ 1615000 w 12187339"/>
                  <a:gd name="connsiteY3371" fmla="*/ 5865652 h 6851196"/>
                  <a:gd name="connsiteX3372" fmla="*/ 1845748 w 12187339"/>
                  <a:gd name="connsiteY3372" fmla="*/ 5627527 h 6851196"/>
                  <a:gd name="connsiteX3373" fmla="*/ 2069580 w 12187339"/>
                  <a:gd name="connsiteY3373" fmla="*/ 5627527 h 6851196"/>
                  <a:gd name="connsiteX3374" fmla="*/ 2069580 w 12187339"/>
                  <a:gd name="connsiteY3374" fmla="*/ 5865652 h 6851196"/>
                  <a:gd name="connsiteX3375" fmla="*/ 1845491 w 12187339"/>
                  <a:gd name="connsiteY3375" fmla="*/ 5865652 h 6851196"/>
                  <a:gd name="connsiteX3376" fmla="*/ 2076239 w 12187339"/>
                  <a:gd name="connsiteY3376" fmla="*/ 5627527 h 6851196"/>
                  <a:gd name="connsiteX3377" fmla="*/ 2298791 w 12187339"/>
                  <a:gd name="connsiteY3377" fmla="*/ 5627527 h 6851196"/>
                  <a:gd name="connsiteX3378" fmla="*/ 2298791 w 12187339"/>
                  <a:gd name="connsiteY3378" fmla="*/ 5865652 h 6851196"/>
                  <a:gd name="connsiteX3379" fmla="*/ 2075982 w 12187339"/>
                  <a:gd name="connsiteY3379" fmla="*/ 5865652 h 6851196"/>
                  <a:gd name="connsiteX3380" fmla="*/ 2305193 w 12187339"/>
                  <a:gd name="connsiteY3380" fmla="*/ 5627527 h 6851196"/>
                  <a:gd name="connsiteX3381" fmla="*/ 2529282 w 12187339"/>
                  <a:gd name="connsiteY3381" fmla="*/ 5627527 h 6851196"/>
                  <a:gd name="connsiteX3382" fmla="*/ 2529282 w 12187339"/>
                  <a:gd name="connsiteY3382" fmla="*/ 5865652 h 6851196"/>
                  <a:gd name="connsiteX3383" fmla="*/ 2305193 w 12187339"/>
                  <a:gd name="connsiteY3383" fmla="*/ 5865652 h 6851196"/>
                  <a:gd name="connsiteX3384" fmla="*/ 2535684 w 12187339"/>
                  <a:gd name="connsiteY3384" fmla="*/ 5627527 h 6851196"/>
                  <a:gd name="connsiteX3385" fmla="*/ 2759773 w 12187339"/>
                  <a:gd name="connsiteY3385" fmla="*/ 5627527 h 6851196"/>
                  <a:gd name="connsiteX3386" fmla="*/ 2759773 w 12187339"/>
                  <a:gd name="connsiteY3386" fmla="*/ 5865652 h 6851196"/>
                  <a:gd name="connsiteX3387" fmla="*/ 2535684 w 12187339"/>
                  <a:gd name="connsiteY3387" fmla="*/ 5865652 h 6851196"/>
                  <a:gd name="connsiteX3388" fmla="*/ 2766175 w 12187339"/>
                  <a:gd name="connsiteY3388" fmla="*/ 5627527 h 6851196"/>
                  <a:gd name="connsiteX3389" fmla="*/ 2990264 w 12187339"/>
                  <a:gd name="connsiteY3389" fmla="*/ 5627527 h 6851196"/>
                  <a:gd name="connsiteX3390" fmla="*/ 2990264 w 12187339"/>
                  <a:gd name="connsiteY3390" fmla="*/ 5865652 h 6851196"/>
                  <a:gd name="connsiteX3391" fmla="*/ 2766175 w 12187339"/>
                  <a:gd name="connsiteY3391" fmla="*/ 5865652 h 6851196"/>
                  <a:gd name="connsiteX3392" fmla="*/ 2996666 w 12187339"/>
                  <a:gd name="connsiteY3392" fmla="*/ 5627527 h 6851196"/>
                  <a:gd name="connsiteX3393" fmla="*/ 3219218 w 12187339"/>
                  <a:gd name="connsiteY3393" fmla="*/ 5627527 h 6851196"/>
                  <a:gd name="connsiteX3394" fmla="*/ 3219218 w 12187339"/>
                  <a:gd name="connsiteY3394" fmla="*/ 5865652 h 6851196"/>
                  <a:gd name="connsiteX3395" fmla="*/ 2996666 w 12187339"/>
                  <a:gd name="connsiteY3395" fmla="*/ 5865652 h 6851196"/>
                  <a:gd name="connsiteX3396" fmla="*/ 3225621 w 12187339"/>
                  <a:gd name="connsiteY3396" fmla="*/ 5627527 h 6851196"/>
                  <a:gd name="connsiteX3397" fmla="*/ 3449709 w 12187339"/>
                  <a:gd name="connsiteY3397" fmla="*/ 5627527 h 6851196"/>
                  <a:gd name="connsiteX3398" fmla="*/ 3449709 w 12187339"/>
                  <a:gd name="connsiteY3398" fmla="*/ 5865652 h 6851196"/>
                  <a:gd name="connsiteX3399" fmla="*/ 3225621 w 12187339"/>
                  <a:gd name="connsiteY3399" fmla="*/ 5865652 h 6851196"/>
                  <a:gd name="connsiteX3400" fmla="*/ 3456112 w 12187339"/>
                  <a:gd name="connsiteY3400" fmla="*/ 5627527 h 6851196"/>
                  <a:gd name="connsiteX3401" fmla="*/ 3680200 w 12187339"/>
                  <a:gd name="connsiteY3401" fmla="*/ 5627527 h 6851196"/>
                  <a:gd name="connsiteX3402" fmla="*/ 3680200 w 12187339"/>
                  <a:gd name="connsiteY3402" fmla="*/ 5865652 h 6851196"/>
                  <a:gd name="connsiteX3403" fmla="*/ 3456112 w 12187339"/>
                  <a:gd name="connsiteY3403" fmla="*/ 5865652 h 6851196"/>
                  <a:gd name="connsiteX3404" fmla="*/ 3686603 w 12187339"/>
                  <a:gd name="connsiteY3404" fmla="*/ 5627527 h 6851196"/>
                  <a:gd name="connsiteX3405" fmla="*/ 3910691 w 12187339"/>
                  <a:gd name="connsiteY3405" fmla="*/ 5627527 h 6851196"/>
                  <a:gd name="connsiteX3406" fmla="*/ 3910691 w 12187339"/>
                  <a:gd name="connsiteY3406" fmla="*/ 5865652 h 6851196"/>
                  <a:gd name="connsiteX3407" fmla="*/ 3686603 w 12187339"/>
                  <a:gd name="connsiteY3407" fmla="*/ 5865652 h 6851196"/>
                  <a:gd name="connsiteX3408" fmla="*/ 3917094 w 12187339"/>
                  <a:gd name="connsiteY3408" fmla="*/ 5627527 h 6851196"/>
                  <a:gd name="connsiteX3409" fmla="*/ 4139644 w 12187339"/>
                  <a:gd name="connsiteY3409" fmla="*/ 5627527 h 6851196"/>
                  <a:gd name="connsiteX3410" fmla="*/ 4139644 w 12187339"/>
                  <a:gd name="connsiteY3410" fmla="*/ 5865652 h 6851196"/>
                  <a:gd name="connsiteX3411" fmla="*/ 3917094 w 12187339"/>
                  <a:gd name="connsiteY3411" fmla="*/ 5865652 h 6851196"/>
                  <a:gd name="connsiteX3412" fmla="*/ 4146047 w 12187339"/>
                  <a:gd name="connsiteY3412" fmla="*/ 5627527 h 6851196"/>
                  <a:gd name="connsiteX3413" fmla="*/ 4370135 w 12187339"/>
                  <a:gd name="connsiteY3413" fmla="*/ 5627527 h 6851196"/>
                  <a:gd name="connsiteX3414" fmla="*/ 4370135 w 12187339"/>
                  <a:gd name="connsiteY3414" fmla="*/ 5865652 h 6851196"/>
                  <a:gd name="connsiteX3415" fmla="*/ 4146047 w 12187339"/>
                  <a:gd name="connsiteY3415" fmla="*/ 5865652 h 6851196"/>
                  <a:gd name="connsiteX3416" fmla="*/ 4376538 w 12187339"/>
                  <a:gd name="connsiteY3416" fmla="*/ 5627527 h 6851196"/>
                  <a:gd name="connsiteX3417" fmla="*/ 4600626 w 12187339"/>
                  <a:gd name="connsiteY3417" fmla="*/ 5627527 h 6851196"/>
                  <a:gd name="connsiteX3418" fmla="*/ 4600626 w 12187339"/>
                  <a:gd name="connsiteY3418" fmla="*/ 5865652 h 6851196"/>
                  <a:gd name="connsiteX3419" fmla="*/ 4376538 w 12187339"/>
                  <a:gd name="connsiteY3419" fmla="*/ 5865652 h 6851196"/>
                  <a:gd name="connsiteX3420" fmla="*/ 4607029 w 12187339"/>
                  <a:gd name="connsiteY3420" fmla="*/ 5627527 h 6851196"/>
                  <a:gd name="connsiteX3421" fmla="*/ 4829582 w 12187339"/>
                  <a:gd name="connsiteY3421" fmla="*/ 5627527 h 6851196"/>
                  <a:gd name="connsiteX3422" fmla="*/ 4829582 w 12187339"/>
                  <a:gd name="connsiteY3422" fmla="*/ 5865652 h 6851196"/>
                  <a:gd name="connsiteX3423" fmla="*/ 4607029 w 12187339"/>
                  <a:gd name="connsiteY3423" fmla="*/ 5865652 h 6851196"/>
                  <a:gd name="connsiteX3424" fmla="*/ 4835985 w 12187339"/>
                  <a:gd name="connsiteY3424" fmla="*/ 5627527 h 6851196"/>
                  <a:gd name="connsiteX3425" fmla="*/ 5060073 w 12187339"/>
                  <a:gd name="connsiteY3425" fmla="*/ 5627527 h 6851196"/>
                  <a:gd name="connsiteX3426" fmla="*/ 5060073 w 12187339"/>
                  <a:gd name="connsiteY3426" fmla="*/ 5865652 h 6851196"/>
                  <a:gd name="connsiteX3427" fmla="*/ 4835472 w 12187339"/>
                  <a:gd name="connsiteY3427" fmla="*/ 5865652 h 6851196"/>
                  <a:gd name="connsiteX3428" fmla="*/ 5066476 w 12187339"/>
                  <a:gd name="connsiteY3428" fmla="*/ 5627527 h 6851196"/>
                  <a:gd name="connsiteX3429" fmla="*/ 5290564 w 12187339"/>
                  <a:gd name="connsiteY3429" fmla="*/ 5627527 h 6851196"/>
                  <a:gd name="connsiteX3430" fmla="*/ 5290564 w 12187339"/>
                  <a:gd name="connsiteY3430" fmla="*/ 5865652 h 6851196"/>
                  <a:gd name="connsiteX3431" fmla="*/ 5065963 w 12187339"/>
                  <a:gd name="connsiteY3431" fmla="*/ 5865652 h 6851196"/>
                  <a:gd name="connsiteX3432" fmla="*/ 5296967 w 12187339"/>
                  <a:gd name="connsiteY3432" fmla="*/ 5627527 h 6851196"/>
                  <a:gd name="connsiteX3433" fmla="*/ 5521055 w 12187339"/>
                  <a:gd name="connsiteY3433" fmla="*/ 5627527 h 6851196"/>
                  <a:gd name="connsiteX3434" fmla="*/ 5521055 w 12187339"/>
                  <a:gd name="connsiteY3434" fmla="*/ 5865652 h 6851196"/>
                  <a:gd name="connsiteX3435" fmla="*/ 5296454 w 12187339"/>
                  <a:gd name="connsiteY3435" fmla="*/ 5865652 h 6851196"/>
                  <a:gd name="connsiteX3436" fmla="*/ 5527458 w 12187339"/>
                  <a:gd name="connsiteY3436" fmla="*/ 5627527 h 6851196"/>
                  <a:gd name="connsiteX3437" fmla="*/ 5750008 w 12187339"/>
                  <a:gd name="connsiteY3437" fmla="*/ 5627527 h 6851196"/>
                  <a:gd name="connsiteX3438" fmla="*/ 5750008 w 12187339"/>
                  <a:gd name="connsiteY3438" fmla="*/ 5865652 h 6851196"/>
                  <a:gd name="connsiteX3439" fmla="*/ 5526945 w 12187339"/>
                  <a:gd name="connsiteY3439" fmla="*/ 5865652 h 6851196"/>
                  <a:gd name="connsiteX3440" fmla="*/ 5756411 w 12187339"/>
                  <a:gd name="connsiteY3440" fmla="*/ 5627527 h 6851196"/>
                  <a:gd name="connsiteX3441" fmla="*/ 5980499 w 12187339"/>
                  <a:gd name="connsiteY3441" fmla="*/ 5627527 h 6851196"/>
                  <a:gd name="connsiteX3442" fmla="*/ 5980499 w 12187339"/>
                  <a:gd name="connsiteY3442" fmla="*/ 5865652 h 6851196"/>
                  <a:gd name="connsiteX3443" fmla="*/ 5756411 w 12187339"/>
                  <a:gd name="connsiteY3443" fmla="*/ 5865652 h 6851196"/>
                  <a:gd name="connsiteX3444" fmla="*/ 5986902 w 12187339"/>
                  <a:gd name="connsiteY3444" fmla="*/ 5627527 h 6851196"/>
                  <a:gd name="connsiteX3445" fmla="*/ 6210990 w 12187339"/>
                  <a:gd name="connsiteY3445" fmla="*/ 5627527 h 6851196"/>
                  <a:gd name="connsiteX3446" fmla="*/ 6210990 w 12187339"/>
                  <a:gd name="connsiteY3446" fmla="*/ 5865652 h 6851196"/>
                  <a:gd name="connsiteX3447" fmla="*/ 5986902 w 12187339"/>
                  <a:gd name="connsiteY3447" fmla="*/ 5865652 h 6851196"/>
                  <a:gd name="connsiteX3448" fmla="*/ 6217393 w 12187339"/>
                  <a:gd name="connsiteY3448" fmla="*/ 5627527 h 6851196"/>
                  <a:gd name="connsiteX3449" fmla="*/ 6439946 w 12187339"/>
                  <a:gd name="connsiteY3449" fmla="*/ 5627527 h 6851196"/>
                  <a:gd name="connsiteX3450" fmla="*/ 6439946 w 12187339"/>
                  <a:gd name="connsiteY3450" fmla="*/ 5865652 h 6851196"/>
                  <a:gd name="connsiteX3451" fmla="*/ 6217136 w 12187339"/>
                  <a:gd name="connsiteY3451" fmla="*/ 5865652 h 6851196"/>
                  <a:gd name="connsiteX3452" fmla="*/ 6446349 w 12187339"/>
                  <a:gd name="connsiteY3452" fmla="*/ 5627527 h 6851196"/>
                  <a:gd name="connsiteX3453" fmla="*/ 6656863 w 12187339"/>
                  <a:gd name="connsiteY3453" fmla="*/ 5627527 h 6851196"/>
                  <a:gd name="connsiteX3454" fmla="*/ 6656863 w 12187339"/>
                  <a:gd name="connsiteY3454" fmla="*/ 5865652 h 6851196"/>
                  <a:gd name="connsiteX3455" fmla="*/ 6446349 w 12187339"/>
                  <a:gd name="connsiteY3455" fmla="*/ 5865652 h 6851196"/>
                  <a:gd name="connsiteX3456" fmla="*/ 6663265 w 12187339"/>
                  <a:gd name="connsiteY3456" fmla="*/ 5627527 h 6851196"/>
                  <a:gd name="connsiteX3457" fmla="*/ 6887354 w 12187339"/>
                  <a:gd name="connsiteY3457" fmla="*/ 5627527 h 6851196"/>
                  <a:gd name="connsiteX3458" fmla="*/ 6887354 w 12187339"/>
                  <a:gd name="connsiteY3458" fmla="*/ 5865652 h 6851196"/>
                  <a:gd name="connsiteX3459" fmla="*/ 6663265 w 12187339"/>
                  <a:gd name="connsiteY3459" fmla="*/ 5865652 h 6851196"/>
                  <a:gd name="connsiteX3460" fmla="*/ 6893756 w 12187339"/>
                  <a:gd name="connsiteY3460" fmla="*/ 5627527 h 6851196"/>
                  <a:gd name="connsiteX3461" fmla="*/ 7117845 w 12187339"/>
                  <a:gd name="connsiteY3461" fmla="*/ 5627527 h 6851196"/>
                  <a:gd name="connsiteX3462" fmla="*/ 7117845 w 12187339"/>
                  <a:gd name="connsiteY3462" fmla="*/ 5865652 h 6851196"/>
                  <a:gd name="connsiteX3463" fmla="*/ 6893756 w 12187339"/>
                  <a:gd name="connsiteY3463" fmla="*/ 5865652 h 6851196"/>
                  <a:gd name="connsiteX3464" fmla="*/ 7124247 w 12187339"/>
                  <a:gd name="connsiteY3464" fmla="*/ 5627527 h 6851196"/>
                  <a:gd name="connsiteX3465" fmla="*/ 7346801 w 12187339"/>
                  <a:gd name="connsiteY3465" fmla="*/ 5627527 h 6851196"/>
                  <a:gd name="connsiteX3466" fmla="*/ 7346801 w 12187339"/>
                  <a:gd name="connsiteY3466" fmla="*/ 5865652 h 6851196"/>
                  <a:gd name="connsiteX3467" fmla="*/ 7124247 w 12187339"/>
                  <a:gd name="connsiteY3467" fmla="*/ 5865652 h 6851196"/>
                  <a:gd name="connsiteX3468" fmla="*/ 7353204 w 12187339"/>
                  <a:gd name="connsiteY3468" fmla="*/ 5627527 h 6851196"/>
                  <a:gd name="connsiteX3469" fmla="*/ 7577292 w 12187339"/>
                  <a:gd name="connsiteY3469" fmla="*/ 5627527 h 6851196"/>
                  <a:gd name="connsiteX3470" fmla="*/ 7577292 w 12187339"/>
                  <a:gd name="connsiteY3470" fmla="*/ 5865652 h 6851196"/>
                  <a:gd name="connsiteX3471" fmla="*/ 7353204 w 12187339"/>
                  <a:gd name="connsiteY3471" fmla="*/ 5865652 h 6851196"/>
                  <a:gd name="connsiteX3472" fmla="*/ 7583695 w 12187339"/>
                  <a:gd name="connsiteY3472" fmla="*/ 5627527 h 6851196"/>
                  <a:gd name="connsiteX3473" fmla="*/ 7807783 w 12187339"/>
                  <a:gd name="connsiteY3473" fmla="*/ 5627527 h 6851196"/>
                  <a:gd name="connsiteX3474" fmla="*/ 7807783 w 12187339"/>
                  <a:gd name="connsiteY3474" fmla="*/ 5865652 h 6851196"/>
                  <a:gd name="connsiteX3475" fmla="*/ 7583695 w 12187339"/>
                  <a:gd name="connsiteY3475" fmla="*/ 5865652 h 6851196"/>
                  <a:gd name="connsiteX3476" fmla="*/ 7814186 w 12187339"/>
                  <a:gd name="connsiteY3476" fmla="*/ 5627527 h 6851196"/>
                  <a:gd name="connsiteX3477" fmla="*/ 8038274 w 12187339"/>
                  <a:gd name="connsiteY3477" fmla="*/ 5627527 h 6851196"/>
                  <a:gd name="connsiteX3478" fmla="*/ 8038274 w 12187339"/>
                  <a:gd name="connsiteY3478" fmla="*/ 5865652 h 6851196"/>
                  <a:gd name="connsiteX3479" fmla="*/ 7814186 w 12187339"/>
                  <a:gd name="connsiteY3479" fmla="*/ 5865652 h 6851196"/>
                  <a:gd name="connsiteX3480" fmla="*/ 8044677 w 12187339"/>
                  <a:gd name="connsiteY3480" fmla="*/ 5627527 h 6851196"/>
                  <a:gd name="connsiteX3481" fmla="*/ 8267227 w 12187339"/>
                  <a:gd name="connsiteY3481" fmla="*/ 5627527 h 6851196"/>
                  <a:gd name="connsiteX3482" fmla="*/ 8267227 w 12187339"/>
                  <a:gd name="connsiteY3482" fmla="*/ 5865652 h 6851196"/>
                  <a:gd name="connsiteX3483" fmla="*/ 8044420 w 12187339"/>
                  <a:gd name="connsiteY3483" fmla="*/ 5865652 h 6851196"/>
                  <a:gd name="connsiteX3484" fmla="*/ 8273629 w 12187339"/>
                  <a:gd name="connsiteY3484" fmla="*/ 5627527 h 6851196"/>
                  <a:gd name="connsiteX3485" fmla="*/ 8497718 w 12187339"/>
                  <a:gd name="connsiteY3485" fmla="*/ 5627527 h 6851196"/>
                  <a:gd name="connsiteX3486" fmla="*/ 8497718 w 12187339"/>
                  <a:gd name="connsiteY3486" fmla="*/ 5865652 h 6851196"/>
                  <a:gd name="connsiteX3487" fmla="*/ 8273629 w 12187339"/>
                  <a:gd name="connsiteY3487" fmla="*/ 5865652 h 6851196"/>
                  <a:gd name="connsiteX3488" fmla="*/ 8504120 w 12187339"/>
                  <a:gd name="connsiteY3488" fmla="*/ 5627527 h 6851196"/>
                  <a:gd name="connsiteX3489" fmla="*/ 8728209 w 12187339"/>
                  <a:gd name="connsiteY3489" fmla="*/ 5627527 h 6851196"/>
                  <a:gd name="connsiteX3490" fmla="*/ 8728209 w 12187339"/>
                  <a:gd name="connsiteY3490" fmla="*/ 5865652 h 6851196"/>
                  <a:gd name="connsiteX3491" fmla="*/ 8504120 w 12187339"/>
                  <a:gd name="connsiteY3491" fmla="*/ 5865652 h 6851196"/>
                  <a:gd name="connsiteX3492" fmla="*/ 8734611 w 12187339"/>
                  <a:gd name="connsiteY3492" fmla="*/ 5627527 h 6851196"/>
                  <a:gd name="connsiteX3493" fmla="*/ 8957162 w 12187339"/>
                  <a:gd name="connsiteY3493" fmla="*/ 5627527 h 6851196"/>
                  <a:gd name="connsiteX3494" fmla="*/ 8957162 w 12187339"/>
                  <a:gd name="connsiteY3494" fmla="*/ 5865652 h 6851196"/>
                  <a:gd name="connsiteX3495" fmla="*/ 8734611 w 12187339"/>
                  <a:gd name="connsiteY3495" fmla="*/ 5865652 h 6851196"/>
                  <a:gd name="connsiteX3496" fmla="*/ 8963564 w 12187339"/>
                  <a:gd name="connsiteY3496" fmla="*/ 5627527 h 6851196"/>
                  <a:gd name="connsiteX3497" fmla="*/ 9187653 w 12187339"/>
                  <a:gd name="connsiteY3497" fmla="*/ 5627527 h 6851196"/>
                  <a:gd name="connsiteX3498" fmla="*/ 9187653 w 12187339"/>
                  <a:gd name="connsiteY3498" fmla="*/ 5865652 h 6851196"/>
                  <a:gd name="connsiteX3499" fmla="*/ 8963564 w 12187339"/>
                  <a:gd name="connsiteY3499" fmla="*/ 5865652 h 6851196"/>
                  <a:gd name="connsiteX3500" fmla="*/ 9194055 w 12187339"/>
                  <a:gd name="connsiteY3500" fmla="*/ 5627527 h 6851196"/>
                  <a:gd name="connsiteX3501" fmla="*/ 9418144 w 12187339"/>
                  <a:gd name="connsiteY3501" fmla="*/ 5627527 h 6851196"/>
                  <a:gd name="connsiteX3502" fmla="*/ 9418144 w 12187339"/>
                  <a:gd name="connsiteY3502" fmla="*/ 5865652 h 6851196"/>
                  <a:gd name="connsiteX3503" fmla="*/ 9194055 w 12187339"/>
                  <a:gd name="connsiteY3503" fmla="*/ 5865652 h 6851196"/>
                  <a:gd name="connsiteX3504" fmla="*/ 9424546 w 12187339"/>
                  <a:gd name="connsiteY3504" fmla="*/ 5627527 h 6851196"/>
                  <a:gd name="connsiteX3505" fmla="*/ 9648635 w 12187339"/>
                  <a:gd name="connsiteY3505" fmla="*/ 5627527 h 6851196"/>
                  <a:gd name="connsiteX3506" fmla="*/ 9648635 w 12187339"/>
                  <a:gd name="connsiteY3506" fmla="*/ 5865652 h 6851196"/>
                  <a:gd name="connsiteX3507" fmla="*/ 9424546 w 12187339"/>
                  <a:gd name="connsiteY3507" fmla="*/ 5865652 h 6851196"/>
                  <a:gd name="connsiteX3508" fmla="*/ 9655037 w 12187339"/>
                  <a:gd name="connsiteY3508" fmla="*/ 5627527 h 6851196"/>
                  <a:gd name="connsiteX3509" fmla="*/ 9877591 w 12187339"/>
                  <a:gd name="connsiteY3509" fmla="*/ 5627527 h 6851196"/>
                  <a:gd name="connsiteX3510" fmla="*/ 9877591 w 12187339"/>
                  <a:gd name="connsiteY3510" fmla="*/ 5865652 h 6851196"/>
                  <a:gd name="connsiteX3511" fmla="*/ 9655037 w 12187339"/>
                  <a:gd name="connsiteY3511" fmla="*/ 5865652 h 6851196"/>
                  <a:gd name="connsiteX3512" fmla="*/ 9883993 w 12187339"/>
                  <a:gd name="connsiteY3512" fmla="*/ 5627527 h 6851196"/>
                  <a:gd name="connsiteX3513" fmla="*/ 10108082 w 12187339"/>
                  <a:gd name="connsiteY3513" fmla="*/ 5627527 h 6851196"/>
                  <a:gd name="connsiteX3514" fmla="*/ 10108082 w 12187339"/>
                  <a:gd name="connsiteY3514" fmla="*/ 5865652 h 6851196"/>
                  <a:gd name="connsiteX3515" fmla="*/ 9883993 w 12187339"/>
                  <a:gd name="connsiteY3515" fmla="*/ 5865652 h 6851196"/>
                  <a:gd name="connsiteX3516" fmla="*/ 10114484 w 12187339"/>
                  <a:gd name="connsiteY3516" fmla="*/ 5627527 h 6851196"/>
                  <a:gd name="connsiteX3517" fmla="*/ 10338573 w 12187339"/>
                  <a:gd name="connsiteY3517" fmla="*/ 5627527 h 6851196"/>
                  <a:gd name="connsiteX3518" fmla="*/ 10338573 w 12187339"/>
                  <a:gd name="connsiteY3518" fmla="*/ 5865652 h 6851196"/>
                  <a:gd name="connsiteX3519" fmla="*/ 10114484 w 12187339"/>
                  <a:gd name="connsiteY3519" fmla="*/ 5865652 h 6851196"/>
                  <a:gd name="connsiteX3520" fmla="*/ 10344975 w 12187339"/>
                  <a:gd name="connsiteY3520" fmla="*/ 5627527 h 6851196"/>
                  <a:gd name="connsiteX3521" fmla="*/ 10569064 w 12187339"/>
                  <a:gd name="connsiteY3521" fmla="*/ 5627527 h 6851196"/>
                  <a:gd name="connsiteX3522" fmla="*/ 10569064 w 12187339"/>
                  <a:gd name="connsiteY3522" fmla="*/ 5865652 h 6851196"/>
                  <a:gd name="connsiteX3523" fmla="*/ 10344975 w 12187339"/>
                  <a:gd name="connsiteY3523" fmla="*/ 5865652 h 6851196"/>
                  <a:gd name="connsiteX3524" fmla="*/ 10575466 w 12187339"/>
                  <a:gd name="connsiteY3524" fmla="*/ 5627527 h 6851196"/>
                  <a:gd name="connsiteX3525" fmla="*/ 10798016 w 12187339"/>
                  <a:gd name="connsiteY3525" fmla="*/ 5627527 h 6851196"/>
                  <a:gd name="connsiteX3526" fmla="*/ 10798016 w 12187339"/>
                  <a:gd name="connsiteY3526" fmla="*/ 5865652 h 6851196"/>
                  <a:gd name="connsiteX3527" fmla="*/ 10575466 w 12187339"/>
                  <a:gd name="connsiteY3527" fmla="*/ 5865652 h 6851196"/>
                  <a:gd name="connsiteX3528" fmla="*/ 10804419 w 12187339"/>
                  <a:gd name="connsiteY3528" fmla="*/ 5627527 h 6851196"/>
                  <a:gd name="connsiteX3529" fmla="*/ 11028507 w 12187339"/>
                  <a:gd name="connsiteY3529" fmla="*/ 5627527 h 6851196"/>
                  <a:gd name="connsiteX3530" fmla="*/ 11028507 w 12187339"/>
                  <a:gd name="connsiteY3530" fmla="*/ 5865652 h 6851196"/>
                  <a:gd name="connsiteX3531" fmla="*/ 10804419 w 12187339"/>
                  <a:gd name="connsiteY3531" fmla="*/ 5865652 h 6851196"/>
                  <a:gd name="connsiteX3532" fmla="*/ 11034910 w 12187339"/>
                  <a:gd name="connsiteY3532" fmla="*/ 5627527 h 6851196"/>
                  <a:gd name="connsiteX3533" fmla="*/ 11258998 w 12187339"/>
                  <a:gd name="connsiteY3533" fmla="*/ 5627527 h 6851196"/>
                  <a:gd name="connsiteX3534" fmla="*/ 11258998 w 12187339"/>
                  <a:gd name="connsiteY3534" fmla="*/ 5865652 h 6851196"/>
                  <a:gd name="connsiteX3535" fmla="*/ 11034910 w 12187339"/>
                  <a:gd name="connsiteY3535" fmla="*/ 5865652 h 6851196"/>
                  <a:gd name="connsiteX3536" fmla="*/ 11034910 w 12187339"/>
                  <a:gd name="connsiteY3536" fmla="*/ 5620723 h 6851196"/>
                  <a:gd name="connsiteX3537" fmla="*/ 11034910 w 12187339"/>
                  <a:gd name="connsiteY3537" fmla="*/ 5382598 h 6851196"/>
                  <a:gd name="connsiteX3538" fmla="*/ 11258998 w 12187339"/>
                  <a:gd name="connsiteY3538" fmla="*/ 5382598 h 6851196"/>
                  <a:gd name="connsiteX3539" fmla="*/ 11258998 w 12187339"/>
                  <a:gd name="connsiteY3539" fmla="*/ 5620723 h 6851196"/>
                  <a:gd name="connsiteX3540" fmla="*/ 11034910 w 12187339"/>
                  <a:gd name="connsiteY3540" fmla="*/ 5375795 h 6851196"/>
                  <a:gd name="connsiteX3541" fmla="*/ 11034910 w 12187339"/>
                  <a:gd name="connsiteY3541" fmla="*/ 5139302 h 6851196"/>
                  <a:gd name="connsiteX3542" fmla="*/ 11258998 w 12187339"/>
                  <a:gd name="connsiteY3542" fmla="*/ 5139302 h 6851196"/>
                  <a:gd name="connsiteX3543" fmla="*/ 11258998 w 12187339"/>
                  <a:gd name="connsiteY3543" fmla="*/ 5375795 h 6851196"/>
                  <a:gd name="connsiteX3544" fmla="*/ 11034910 w 12187339"/>
                  <a:gd name="connsiteY3544" fmla="*/ 5132499 h 6851196"/>
                  <a:gd name="connsiteX3545" fmla="*/ 11034910 w 12187339"/>
                  <a:gd name="connsiteY3545" fmla="*/ 4894374 h 6851196"/>
                  <a:gd name="connsiteX3546" fmla="*/ 11258998 w 12187339"/>
                  <a:gd name="connsiteY3546" fmla="*/ 4894374 h 6851196"/>
                  <a:gd name="connsiteX3547" fmla="*/ 11258998 w 12187339"/>
                  <a:gd name="connsiteY3547" fmla="*/ 5132090 h 6851196"/>
                  <a:gd name="connsiteX3548" fmla="*/ 11034910 w 12187339"/>
                  <a:gd name="connsiteY3548" fmla="*/ 4887570 h 6851196"/>
                  <a:gd name="connsiteX3549" fmla="*/ 11034910 w 12187339"/>
                  <a:gd name="connsiteY3549" fmla="*/ 4649445 h 6851196"/>
                  <a:gd name="connsiteX3550" fmla="*/ 11258998 w 12187339"/>
                  <a:gd name="connsiteY3550" fmla="*/ 4649445 h 6851196"/>
                  <a:gd name="connsiteX3551" fmla="*/ 11258998 w 12187339"/>
                  <a:gd name="connsiteY3551" fmla="*/ 4887162 h 6851196"/>
                  <a:gd name="connsiteX3552" fmla="*/ 11034910 w 12187339"/>
                  <a:gd name="connsiteY3552" fmla="*/ 4642642 h 6851196"/>
                  <a:gd name="connsiteX3553" fmla="*/ 11034910 w 12187339"/>
                  <a:gd name="connsiteY3553" fmla="*/ 4406149 h 6851196"/>
                  <a:gd name="connsiteX3554" fmla="*/ 11258998 w 12187339"/>
                  <a:gd name="connsiteY3554" fmla="*/ 4406149 h 6851196"/>
                  <a:gd name="connsiteX3555" fmla="*/ 11258998 w 12187339"/>
                  <a:gd name="connsiteY3555" fmla="*/ 4642233 h 6851196"/>
                  <a:gd name="connsiteX3556" fmla="*/ 11034910 w 12187339"/>
                  <a:gd name="connsiteY3556" fmla="*/ 4399346 h 6851196"/>
                  <a:gd name="connsiteX3557" fmla="*/ 11034910 w 12187339"/>
                  <a:gd name="connsiteY3557" fmla="*/ 4161221 h 6851196"/>
                  <a:gd name="connsiteX3558" fmla="*/ 11258998 w 12187339"/>
                  <a:gd name="connsiteY3558" fmla="*/ 4161221 h 6851196"/>
                  <a:gd name="connsiteX3559" fmla="*/ 11258998 w 12187339"/>
                  <a:gd name="connsiteY3559" fmla="*/ 4399346 h 6851196"/>
                  <a:gd name="connsiteX3560" fmla="*/ 11034910 w 12187339"/>
                  <a:gd name="connsiteY3560" fmla="*/ 4154417 h 6851196"/>
                  <a:gd name="connsiteX3561" fmla="*/ 11034910 w 12187339"/>
                  <a:gd name="connsiteY3561" fmla="*/ 3916292 h 6851196"/>
                  <a:gd name="connsiteX3562" fmla="*/ 11258998 w 12187339"/>
                  <a:gd name="connsiteY3562" fmla="*/ 3916292 h 6851196"/>
                  <a:gd name="connsiteX3563" fmla="*/ 11258998 w 12187339"/>
                  <a:gd name="connsiteY3563" fmla="*/ 4154417 h 6851196"/>
                  <a:gd name="connsiteX3564" fmla="*/ 11034910 w 12187339"/>
                  <a:gd name="connsiteY3564" fmla="*/ 3909489 h 6851196"/>
                  <a:gd name="connsiteX3565" fmla="*/ 11034910 w 12187339"/>
                  <a:gd name="connsiteY3565" fmla="*/ 3671364 h 6851196"/>
                  <a:gd name="connsiteX3566" fmla="*/ 11258998 w 12187339"/>
                  <a:gd name="connsiteY3566" fmla="*/ 3671364 h 6851196"/>
                  <a:gd name="connsiteX3567" fmla="*/ 11258998 w 12187339"/>
                  <a:gd name="connsiteY3567" fmla="*/ 3909489 h 6851196"/>
                  <a:gd name="connsiteX3568" fmla="*/ 11034910 w 12187339"/>
                  <a:gd name="connsiteY3568" fmla="*/ 3664560 h 6851196"/>
                  <a:gd name="connsiteX3569" fmla="*/ 11034910 w 12187339"/>
                  <a:gd name="connsiteY3569" fmla="*/ 3428068 h 6851196"/>
                  <a:gd name="connsiteX3570" fmla="*/ 11258998 w 12187339"/>
                  <a:gd name="connsiteY3570" fmla="*/ 3428068 h 6851196"/>
                  <a:gd name="connsiteX3571" fmla="*/ 11258998 w 12187339"/>
                  <a:gd name="connsiteY3571" fmla="*/ 3664560 h 6851196"/>
                  <a:gd name="connsiteX3572" fmla="*/ 11034910 w 12187339"/>
                  <a:gd name="connsiteY3572" fmla="*/ 3421264 h 6851196"/>
                  <a:gd name="connsiteX3573" fmla="*/ 11034910 w 12187339"/>
                  <a:gd name="connsiteY3573" fmla="*/ 3183139 h 6851196"/>
                  <a:gd name="connsiteX3574" fmla="*/ 11258998 w 12187339"/>
                  <a:gd name="connsiteY3574" fmla="*/ 3183139 h 6851196"/>
                  <a:gd name="connsiteX3575" fmla="*/ 11258998 w 12187339"/>
                  <a:gd name="connsiteY3575" fmla="*/ 3421264 h 6851196"/>
                  <a:gd name="connsiteX3576" fmla="*/ 11034910 w 12187339"/>
                  <a:gd name="connsiteY3576" fmla="*/ 3176336 h 6851196"/>
                  <a:gd name="connsiteX3577" fmla="*/ 11034910 w 12187339"/>
                  <a:gd name="connsiteY3577" fmla="*/ 2938211 h 6851196"/>
                  <a:gd name="connsiteX3578" fmla="*/ 11258998 w 12187339"/>
                  <a:gd name="connsiteY3578" fmla="*/ 2938211 h 6851196"/>
                  <a:gd name="connsiteX3579" fmla="*/ 11258998 w 12187339"/>
                  <a:gd name="connsiteY3579" fmla="*/ 3176336 h 6851196"/>
                  <a:gd name="connsiteX3580" fmla="*/ 11034910 w 12187339"/>
                  <a:gd name="connsiteY3580" fmla="*/ 2931407 h 6851196"/>
                  <a:gd name="connsiteX3581" fmla="*/ 11034910 w 12187339"/>
                  <a:gd name="connsiteY3581" fmla="*/ 2693282 h 6851196"/>
                  <a:gd name="connsiteX3582" fmla="*/ 11258998 w 12187339"/>
                  <a:gd name="connsiteY3582" fmla="*/ 2693282 h 6851196"/>
                  <a:gd name="connsiteX3583" fmla="*/ 11258998 w 12187339"/>
                  <a:gd name="connsiteY3583" fmla="*/ 2931407 h 6851196"/>
                  <a:gd name="connsiteX3584" fmla="*/ 11034910 w 12187339"/>
                  <a:gd name="connsiteY3584" fmla="*/ 2686479 h 6851196"/>
                  <a:gd name="connsiteX3585" fmla="*/ 11034910 w 12187339"/>
                  <a:gd name="connsiteY3585" fmla="*/ 2449986 h 6851196"/>
                  <a:gd name="connsiteX3586" fmla="*/ 11258998 w 12187339"/>
                  <a:gd name="connsiteY3586" fmla="*/ 2449986 h 6851196"/>
                  <a:gd name="connsiteX3587" fmla="*/ 11258998 w 12187339"/>
                  <a:gd name="connsiteY3587" fmla="*/ 2686479 h 6851196"/>
                  <a:gd name="connsiteX3588" fmla="*/ 11034910 w 12187339"/>
                  <a:gd name="connsiteY3588" fmla="*/ 2443183 h 6851196"/>
                  <a:gd name="connsiteX3589" fmla="*/ 11034910 w 12187339"/>
                  <a:gd name="connsiteY3589" fmla="*/ 2205058 h 6851196"/>
                  <a:gd name="connsiteX3590" fmla="*/ 11258998 w 12187339"/>
                  <a:gd name="connsiteY3590" fmla="*/ 2205058 h 6851196"/>
                  <a:gd name="connsiteX3591" fmla="*/ 11258998 w 12187339"/>
                  <a:gd name="connsiteY3591" fmla="*/ 2443183 h 6851196"/>
                  <a:gd name="connsiteX3592" fmla="*/ 11034910 w 12187339"/>
                  <a:gd name="connsiteY3592" fmla="*/ 2198254 h 6851196"/>
                  <a:gd name="connsiteX3593" fmla="*/ 11034910 w 12187339"/>
                  <a:gd name="connsiteY3593" fmla="*/ 1960129 h 6851196"/>
                  <a:gd name="connsiteX3594" fmla="*/ 11258998 w 12187339"/>
                  <a:gd name="connsiteY3594" fmla="*/ 1960129 h 6851196"/>
                  <a:gd name="connsiteX3595" fmla="*/ 11258998 w 12187339"/>
                  <a:gd name="connsiteY3595" fmla="*/ 2198254 h 6851196"/>
                  <a:gd name="connsiteX3596" fmla="*/ 11034910 w 12187339"/>
                  <a:gd name="connsiteY3596" fmla="*/ 1953326 h 6851196"/>
                  <a:gd name="connsiteX3597" fmla="*/ 11034910 w 12187339"/>
                  <a:gd name="connsiteY3597" fmla="*/ 1716697 h 6851196"/>
                  <a:gd name="connsiteX3598" fmla="*/ 11258998 w 12187339"/>
                  <a:gd name="connsiteY3598" fmla="*/ 1716697 h 6851196"/>
                  <a:gd name="connsiteX3599" fmla="*/ 11258998 w 12187339"/>
                  <a:gd name="connsiteY3599" fmla="*/ 1953189 h 6851196"/>
                  <a:gd name="connsiteX3600" fmla="*/ 11034910 w 12187339"/>
                  <a:gd name="connsiteY3600" fmla="*/ 1710030 h 6851196"/>
                  <a:gd name="connsiteX3601" fmla="*/ 11034910 w 12187339"/>
                  <a:gd name="connsiteY3601" fmla="*/ 1471769 h 6851196"/>
                  <a:gd name="connsiteX3602" fmla="*/ 11258998 w 12187339"/>
                  <a:gd name="connsiteY3602" fmla="*/ 1471769 h 6851196"/>
                  <a:gd name="connsiteX3603" fmla="*/ 11258998 w 12187339"/>
                  <a:gd name="connsiteY3603" fmla="*/ 1709894 h 6851196"/>
                  <a:gd name="connsiteX3604" fmla="*/ 11034910 w 12187339"/>
                  <a:gd name="connsiteY3604" fmla="*/ 1465101 h 6851196"/>
                  <a:gd name="connsiteX3605" fmla="*/ 11034910 w 12187339"/>
                  <a:gd name="connsiteY3605" fmla="*/ 1226840 h 6851196"/>
                  <a:gd name="connsiteX3606" fmla="*/ 11258998 w 12187339"/>
                  <a:gd name="connsiteY3606" fmla="*/ 1226840 h 6851196"/>
                  <a:gd name="connsiteX3607" fmla="*/ 11258998 w 12187339"/>
                  <a:gd name="connsiteY3607" fmla="*/ 1464965 h 6851196"/>
                  <a:gd name="connsiteX3608" fmla="*/ 11034910 w 12187339"/>
                  <a:gd name="connsiteY3608" fmla="*/ 1220173 h 6851196"/>
                  <a:gd name="connsiteX3609" fmla="*/ 11034910 w 12187339"/>
                  <a:gd name="connsiteY3609" fmla="*/ 981911 h 6851196"/>
                  <a:gd name="connsiteX3610" fmla="*/ 11258998 w 12187339"/>
                  <a:gd name="connsiteY3610" fmla="*/ 981911 h 6851196"/>
                  <a:gd name="connsiteX3611" fmla="*/ 11258998 w 12187339"/>
                  <a:gd name="connsiteY3611" fmla="*/ 1220036 h 6851196"/>
                  <a:gd name="connsiteX3612" fmla="*/ 11034910 w 12187339"/>
                  <a:gd name="connsiteY3612" fmla="*/ 975244 h 6851196"/>
                  <a:gd name="connsiteX3613" fmla="*/ 11034910 w 12187339"/>
                  <a:gd name="connsiteY3613" fmla="*/ 738752 h 6851196"/>
                  <a:gd name="connsiteX3614" fmla="*/ 11258998 w 12187339"/>
                  <a:gd name="connsiteY3614" fmla="*/ 738752 h 6851196"/>
                  <a:gd name="connsiteX3615" fmla="*/ 11258998 w 12187339"/>
                  <a:gd name="connsiteY3615" fmla="*/ 975244 h 6851196"/>
                  <a:gd name="connsiteX3616" fmla="*/ 11028507 w 12187339"/>
                  <a:gd name="connsiteY3616" fmla="*/ 975244 h 6851196"/>
                  <a:gd name="connsiteX3617" fmla="*/ 10804419 w 12187339"/>
                  <a:gd name="connsiteY3617" fmla="*/ 975244 h 6851196"/>
                  <a:gd name="connsiteX3618" fmla="*/ 10804419 w 12187339"/>
                  <a:gd name="connsiteY3618" fmla="*/ 738752 h 6851196"/>
                  <a:gd name="connsiteX3619" fmla="*/ 11028507 w 12187339"/>
                  <a:gd name="connsiteY3619" fmla="*/ 738752 h 6851196"/>
                  <a:gd name="connsiteX3620" fmla="*/ 10798016 w 12187339"/>
                  <a:gd name="connsiteY3620" fmla="*/ 975244 h 6851196"/>
                  <a:gd name="connsiteX3621" fmla="*/ 10575466 w 12187339"/>
                  <a:gd name="connsiteY3621" fmla="*/ 975244 h 6851196"/>
                  <a:gd name="connsiteX3622" fmla="*/ 10575466 w 12187339"/>
                  <a:gd name="connsiteY3622" fmla="*/ 738752 h 6851196"/>
                  <a:gd name="connsiteX3623" fmla="*/ 10798016 w 12187339"/>
                  <a:gd name="connsiteY3623" fmla="*/ 738752 h 6851196"/>
                  <a:gd name="connsiteX3624" fmla="*/ 10569064 w 12187339"/>
                  <a:gd name="connsiteY3624" fmla="*/ 975244 h 6851196"/>
                  <a:gd name="connsiteX3625" fmla="*/ 10344975 w 12187339"/>
                  <a:gd name="connsiteY3625" fmla="*/ 975244 h 6851196"/>
                  <a:gd name="connsiteX3626" fmla="*/ 10344975 w 12187339"/>
                  <a:gd name="connsiteY3626" fmla="*/ 738752 h 6851196"/>
                  <a:gd name="connsiteX3627" fmla="*/ 10569064 w 12187339"/>
                  <a:gd name="connsiteY3627" fmla="*/ 738752 h 6851196"/>
                  <a:gd name="connsiteX3628" fmla="*/ 10338573 w 12187339"/>
                  <a:gd name="connsiteY3628" fmla="*/ 975244 h 6851196"/>
                  <a:gd name="connsiteX3629" fmla="*/ 10114484 w 12187339"/>
                  <a:gd name="connsiteY3629" fmla="*/ 975244 h 6851196"/>
                  <a:gd name="connsiteX3630" fmla="*/ 10114484 w 12187339"/>
                  <a:gd name="connsiteY3630" fmla="*/ 738752 h 6851196"/>
                  <a:gd name="connsiteX3631" fmla="*/ 10338573 w 12187339"/>
                  <a:gd name="connsiteY3631" fmla="*/ 738752 h 6851196"/>
                  <a:gd name="connsiteX3632" fmla="*/ 10108082 w 12187339"/>
                  <a:gd name="connsiteY3632" fmla="*/ 975244 h 6851196"/>
                  <a:gd name="connsiteX3633" fmla="*/ 9883993 w 12187339"/>
                  <a:gd name="connsiteY3633" fmla="*/ 975244 h 6851196"/>
                  <a:gd name="connsiteX3634" fmla="*/ 9883993 w 12187339"/>
                  <a:gd name="connsiteY3634" fmla="*/ 738752 h 6851196"/>
                  <a:gd name="connsiteX3635" fmla="*/ 10108082 w 12187339"/>
                  <a:gd name="connsiteY3635" fmla="*/ 738752 h 6851196"/>
                  <a:gd name="connsiteX3636" fmla="*/ 9877591 w 12187339"/>
                  <a:gd name="connsiteY3636" fmla="*/ 975244 h 6851196"/>
                  <a:gd name="connsiteX3637" fmla="*/ 9655037 w 12187339"/>
                  <a:gd name="connsiteY3637" fmla="*/ 975244 h 6851196"/>
                  <a:gd name="connsiteX3638" fmla="*/ 9655037 w 12187339"/>
                  <a:gd name="connsiteY3638" fmla="*/ 738752 h 6851196"/>
                  <a:gd name="connsiteX3639" fmla="*/ 9877591 w 12187339"/>
                  <a:gd name="connsiteY3639" fmla="*/ 738752 h 6851196"/>
                  <a:gd name="connsiteX3640" fmla="*/ 9648635 w 12187339"/>
                  <a:gd name="connsiteY3640" fmla="*/ 975244 h 6851196"/>
                  <a:gd name="connsiteX3641" fmla="*/ 9424546 w 12187339"/>
                  <a:gd name="connsiteY3641" fmla="*/ 975244 h 6851196"/>
                  <a:gd name="connsiteX3642" fmla="*/ 9424546 w 12187339"/>
                  <a:gd name="connsiteY3642" fmla="*/ 738752 h 6851196"/>
                  <a:gd name="connsiteX3643" fmla="*/ 9648635 w 12187339"/>
                  <a:gd name="connsiteY3643" fmla="*/ 738752 h 6851196"/>
                  <a:gd name="connsiteX3644" fmla="*/ 9418144 w 12187339"/>
                  <a:gd name="connsiteY3644" fmla="*/ 975244 h 6851196"/>
                  <a:gd name="connsiteX3645" fmla="*/ 9194055 w 12187339"/>
                  <a:gd name="connsiteY3645" fmla="*/ 975244 h 6851196"/>
                  <a:gd name="connsiteX3646" fmla="*/ 9194055 w 12187339"/>
                  <a:gd name="connsiteY3646" fmla="*/ 738752 h 6851196"/>
                  <a:gd name="connsiteX3647" fmla="*/ 9418144 w 12187339"/>
                  <a:gd name="connsiteY3647" fmla="*/ 738752 h 6851196"/>
                  <a:gd name="connsiteX3648" fmla="*/ 9187653 w 12187339"/>
                  <a:gd name="connsiteY3648" fmla="*/ 975244 h 6851196"/>
                  <a:gd name="connsiteX3649" fmla="*/ 8963564 w 12187339"/>
                  <a:gd name="connsiteY3649" fmla="*/ 975244 h 6851196"/>
                  <a:gd name="connsiteX3650" fmla="*/ 8963564 w 12187339"/>
                  <a:gd name="connsiteY3650" fmla="*/ 738752 h 6851196"/>
                  <a:gd name="connsiteX3651" fmla="*/ 9187653 w 12187339"/>
                  <a:gd name="connsiteY3651" fmla="*/ 738752 h 6851196"/>
                  <a:gd name="connsiteX3652" fmla="*/ 8957162 w 12187339"/>
                  <a:gd name="connsiteY3652" fmla="*/ 975244 h 6851196"/>
                  <a:gd name="connsiteX3653" fmla="*/ 8734611 w 12187339"/>
                  <a:gd name="connsiteY3653" fmla="*/ 975244 h 6851196"/>
                  <a:gd name="connsiteX3654" fmla="*/ 8734611 w 12187339"/>
                  <a:gd name="connsiteY3654" fmla="*/ 738752 h 6851196"/>
                  <a:gd name="connsiteX3655" fmla="*/ 8957162 w 12187339"/>
                  <a:gd name="connsiteY3655" fmla="*/ 738752 h 6851196"/>
                  <a:gd name="connsiteX3656" fmla="*/ 8728209 w 12187339"/>
                  <a:gd name="connsiteY3656" fmla="*/ 975244 h 6851196"/>
                  <a:gd name="connsiteX3657" fmla="*/ 8504120 w 12187339"/>
                  <a:gd name="connsiteY3657" fmla="*/ 975244 h 6851196"/>
                  <a:gd name="connsiteX3658" fmla="*/ 8504120 w 12187339"/>
                  <a:gd name="connsiteY3658" fmla="*/ 738752 h 6851196"/>
                  <a:gd name="connsiteX3659" fmla="*/ 8728209 w 12187339"/>
                  <a:gd name="connsiteY3659" fmla="*/ 738752 h 6851196"/>
                  <a:gd name="connsiteX3660" fmla="*/ 8497718 w 12187339"/>
                  <a:gd name="connsiteY3660" fmla="*/ 975244 h 6851196"/>
                  <a:gd name="connsiteX3661" fmla="*/ 8273629 w 12187339"/>
                  <a:gd name="connsiteY3661" fmla="*/ 975244 h 6851196"/>
                  <a:gd name="connsiteX3662" fmla="*/ 8273629 w 12187339"/>
                  <a:gd name="connsiteY3662" fmla="*/ 738752 h 6851196"/>
                  <a:gd name="connsiteX3663" fmla="*/ 8497718 w 12187339"/>
                  <a:gd name="connsiteY3663" fmla="*/ 738752 h 6851196"/>
                  <a:gd name="connsiteX3664" fmla="*/ 8267227 w 12187339"/>
                  <a:gd name="connsiteY3664" fmla="*/ 975244 h 6851196"/>
                  <a:gd name="connsiteX3665" fmla="*/ 8044420 w 12187339"/>
                  <a:gd name="connsiteY3665" fmla="*/ 975244 h 6851196"/>
                  <a:gd name="connsiteX3666" fmla="*/ 8044420 w 12187339"/>
                  <a:gd name="connsiteY3666" fmla="*/ 738752 h 6851196"/>
                  <a:gd name="connsiteX3667" fmla="*/ 8267227 w 12187339"/>
                  <a:gd name="connsiteY3667" fmla="*/ 738752 h 6851196"/>
                  <a:gd name="connsiteX3668" fmla="*/ 8038274 w 12187339"/>
                  <a:gd name="connsiteY3668" fmla="*/ 975244 h 6851196"/>
                  <a:gd name="connsiteX3669" fmla="*/ 7814186 w 12187339"/>
                  <a:gd name="connsiteY3669" fmla="*/ 975244 h 6851196"/>
                  <a:gd name="connsiteX3670" fmla="*/ 7814186 w 12187339"/>
                  <a:gd name="connsiteY3670" fmla="*/ 738752 h 6851196"/>
                  <a:gd name="connsiteX3671" fmla="*/ 8038274 w 12187339"/>
                  <a:gd name="connsiteY3671" fmla="*/ 738752 h 6851196"/>
                  <a:gd name="connsiteX3672" fmla="*/ 7807783 w 12187339"/>
                  <a:gd name="connsiteY3672" fmla="*/ 975244 h 6851196"/>
                  <a:gd name="connsiteX3673" fmla="*/ 7583695 w 12187339"/>
                  <a:gd name="connsiteY3673" fmla="*/ 975244 h 6851196"/>
                  <a:gd name="connsiteX3674" fmla="*/ 7583695 w 12187339"/>
                  <a:gd name="connsiteY3674" fmla="*/ 738752 h 6851196"/>
                  <a:gd name="connsiteX3675" fmla="*/ 7807783 w 12187339"/>
                  <a:gd name="connsiteY3675" fmla="*/ 738752 h 6851196"/>
                  <a:gd name="connsiteX3676" fmla="*/ 7577292 w 12187339"/>
                  <a:gd name="connsiteY3676" fmla="*/ 975244 h 6851196"/>
                  <a:gd name="connsiteX3677" fmla="*/ 7353204 w 12187339"/>
                  <a:gd name="connsiteY3677" fmla="*/ 975244 h 6851196"/>
                  <a:gd name="connsiteX3678" fmla="*/ 7353204 w 12187339"/>
                  <a:gd name="connsiteY3678" fmla="*/ 738752 h 6851196"/>
                  <a:gd name="connsiteX3679" fmla="*/ 7577292 w 12187339"/>
                  <a:gd name="connsiteY3679" fmla="*/ 738752 h 6851196"/>
                  <a:gd name="connsiteX3680" fmla="*/ 7346801 w 12187339"/>
                  <a:gd name="connsiteY3680" fmla="*/ 975244 h 6851196"/>
                  <a:gd name="connsiteX3681" fmla="*/ 7124247 w 12187339"/>
                  <a:gd name="connsiteY3681" fmla="*/ 975244 h 6851196"/>
                  <a:gd name="connsiteX3682" fmla="*/ 7124247 w 12187339"/>
                  <a:gd name="connsiteY3682" fmla="*/ 738752 h 6851196"/>
                  <a:gd name="connsiteX3683" fmla="*/ 7346801 w 12187339"/>
                  <a:gd name="connsiteY3683" fmla="*/ 738752 h 6851196"/>
                  <a:gd name="connsiteX3684" fmla="*/ 7117845 w 12187339"/>
                  <a:gd name="connsiteY3684" fmla="*/ 975244 h 6851196"/>
                  <a:gd name="connsiteX3685" fmla="*/ 6893756 w 12187339"/>
                  <a:gd name="connsiteY3685" fmla="*/ 975244 h 6851196"/>
                  <a:gd name="connsiteX3686" fmla="*/ 6893756 w 12187339"/>
                  <a:gd name="connsiteY3686" fmla="*/ 738752 h 6851196"/>
                  <a:gd name="connsiteX3687" fmla="*/ 7117845 w 12187339"/>
                  <a:gd name="connsiteY3687" fmla="*/ 738752 h 6851196"/>
                  <a:gd name="connsiteX3688" fmla="*/ 6887354 w 12187339"/>
                  <a:gd name="connsiteY3688" fmla="*/ 975244 h 6851196"/>
                  <a:gd name="connsiteX3689" fmla="*/ 6663265 w 12187339"/>
                  <a:gd name="connsiteY3689" fmla="*/ 975244 h 6851196"/>
                  <a:gd name="connsiteX3690" fmla="*/ 6663265 w 12187339"/>
                  <a:gd name="connsiteY3690" fmla="*/ 738752 h 6851196"/>
                  <a:gd name="connsiteX3691" fmla="*/ 6887354 w 12187339"/>
                  <a:gd name="connsiteY3691" fmla="*/ 738752 h 6851196"/>
                  <a:gd name="connsiteX3692" fmla="*/ 6656863 w 12187339"/>
                  <a:gd name="connsiteY3692" fmla="*/ 975244 h 6851196"/>
                  <a:gd name="connsiteX3693" fmla="*/ 6446349 w 12187339"/>
                  <a:gd name="connsiteY3693" fmla="*/ 975244 h 6851196"/>
                  <a:gd name="connsiteX3694" fmla="*/ 6446349 w 12187339"/>
                  <a:gd name="connsiteY3694" fmla="*/ 738752 h 6851196"/>
                  <a:gd name="connsiteX3695" fmla="*/ 6656863 w 12187339"/>
                  <a:gd name="connsiteY3695" fmla="*/ 738752 h 6851196"/>
                  <a:gd name="connsiteX3696" fmla="*/ 6439946 w 12187339"/>
                  <a:gd name="connsiteY3696" fmla="*/ 975244 h 6851196"/>
                  <a:gd name="connsiteX3697" fmla="*/ 6217136 w 12187339"/>
                  <a:gd name="connsiteY3697" fmla="*/ 975244 h 6851196"/>
                  <a:gd name="connsiteX3698" fmla="*/ 6217136 w 12187339"/>
                  <a:gd name="connsiteY3698" fmla="*/ 738752 h 6851196"/>
                  <a:gd name="connsiteX3699" fmla="*/ 6439690 w 12187339"/>
                  <a:gd name="connsiteY3699" fmla="*/ 738752 h 6851196"/>
                  <a:gd name="connsiteX3700" fmla="*/ 6210990 w 12187339"/>
                  <a:gd name="connsiteY3700" fmla="*/ 975244 h 6851196"/>
                  <a:gd name="connsiteX3701" fmla="*/ 5986902 w 12187339"/>
                  <a:gd name="connsiteY3701" fmla="*/ 975244 h 6851196"/>
                  <a:gd name="connsiteX3702" fmla="*/ 5986902 w 12187339"/>
                  <a:gd name="connsiteY3702" fmla="*/ 738752 h 6851196"/>
                  <a:gd name="connsiteX3703" fmla="*/ 6210990 w 12187339"/>
                  <a:gd name="connsiteY3703" fmla="*/ 738752 h 6851196"/>
                  <a:gd name="connsiteX3704" fmla="*/ 5980499 w 12187339"/>
                  <a:gd name="connsiteY3704" fmla="*/ 975244 h 6851196"/>
                  <a:gd name="connsiteX3705" fmla="*/ 5756411 w 12187339"/>
                  <a:gd name="connsiteY3705" fmla="*/ 975244 h 6851196"/>
                  <a:gd name="connsiteX3706" fmla="*/ 5756411 w 12187339"/>
                  <a:gd name="connsiteY3706" fmla="*/ 738752 h 6851196"/>
                  <a:gd name="connsiteX3707" fmla="*/ 5980499 w 12187339"/>
                  <a:gd name="connsiteY3707" fmla="*/ 738752 h 6851196"/>
                  <a:gd name="connsiteX3708" fmla="*/ 5750008 w 12187339"/>
                  <a:gd name="connsiteY3708" fmla="*/ 975244 h 6851196"/>
                  <a:gd name="connsiteX3709" fmla="*/ 5526945 w 12187339"/>
                  <a:gd name="connsiteY3709" fmla="*/ 975244 h 6851196"/>
                  <a:gd name="connsiteX3710" fmla="*/ 5526945 w 12187339"/>
                  <a:gd name="connsiteY3710" fmla="*/ 738752 h 6851196"/>
                  <a:gd name="connsiteX3711" fmla="*/ 5749495 w 12187339"/>
                  <a:gd name="connsiteY3711" fmla="*/ 738752 h 6851196"/>
                  <a:gd name="connsiteX3712" fmla="*/ 5521055 w 12187339"/>
                  <a:gd name="connsiteY3712" fmla="*/ 975244 h 6851196"/>
                  <a:gd name="connsiteX3713" fmla="*/ 5296454 w 12187339"/>
                  <a:gd name="connsiteY3713" fmla="*/ 975244 h 6851196"/>
                  <a:gd name="connsiteX3714" fmla="*/ 5296454 w 12187339"/>
                  <a:gd name="connsiteY3714" fmla="*/ 738752 h 6851196"/>
                  <a:gd name="connsiteX3715" fmla="*/ 5520542 w 12187339"/>
                  <a:gd name="connsiteY3715" fmla="*/ 738752 h 6851196"/>
                  <a:gd name="connsiteX3716" fmla="*/ 5290564 w 12187339"/>
                  <a:gd name="connsiteY3716" fmla="*/ 975244 h 6851196"/>
                  <a:gd name="connsiteX3717" fmla="*/ 5065963 w 12187339"/>
                  <a:gd name="connsiteY3717" fmla="*/ 975244 h 6851196"/>
                  <a:gd name="connsiteX3718" fmla="*/ 5065963 w 12187339"/>
                  <a:gd name="connsiteY3718" fmla="*/ 738752 h 6851196"/>
                  <a:gd name="connsiteX3719" fmla="*/ 5290051 w 12187339"/>
                  <a:gd name="connsiteY3719" fmla="*/ 738752 h 6851196"/>
                  <a:gd name="connsiteX3720" fmla="*/ 5060073 w 12187339"/>
                  <a:gd name="connsiteY3720" fmla="*/ 975244 h 6851196"/>
                  <a:gd name="connsiteX3721" fmla="*/ 4835472 w 12187339"/>
                  <a:gd name="connsiteY3721" fmla="*/ 975244 h 6851196"/>
                  <a:gd name="connsiteX3722" fmla="*/ 4835472 w 12187339"/>
                  <a:gd name="connsiteY3722" fmla="*/ 738752 h 6851196"/>
                  <a:gd name="connsiteX3723" fmla="*/ 5059560 w 12187339"/>
                  <a:gd name="connsiteY3723" fmla="*/ 738752 h 6851196"/>
                  <a:gd name="connsiteX3724" fmla="*/ 4829582 w 12187339"/>
                  <a:gd name="connsiteY3724" fmla="*/ 975244 h 6851196"/>
                  <a:gd name="connsiteX3725" fmla="*/ 4607029 w 12187339"/>
                  <a:gd name="connsiteY3725" fmla="*/ 975244 h 6851196"/>
                  <a:gd name="connsiteX3726" fmla="*/ 4607029 w 12187339"/>
                  <a:gd name="connsiteY3726" fmla="*/ 738752 h 6851196"/>
                  <a:gd name="connsiteX3727" fmla="*/ 4829582 w 12187339"/>
                  <a:gd name="connsiteY3727" fmla="*/ 738752 h 6851196"/>
                  <a:gd name="connsiteX3728" fmla="*/ 4600626 w 12187339"/>
                  <a:gd name="connsiteY3728" fmla="*/ 975244 h 6851196"/>
                  <a:gd name="connsiteX3729" fmla="*/ 4376538 w 12187339"/>
                  <a:gd name="connsiteY3729" fmla="*/ 975244 h 6851196"/>
                  <a:gd name="connsiteX3730" fmla="*/ 4376538 w 12187339"/>
                  <a:gd name="connsiteY3730" fmla="*/ 738752 h 6851196"/>
                  <a:gd name="connsiteX3731" fmla="*/ 4600626 w 12187339"/>
                  <a:gd name="connsiteY3731" fmla="*/ 738752 h 6851196"/>
                  <a:gd name="connsiteX3732" fmla="*/ 4370135 w 12187339"/>
                  <a:gd name="connsiteY3732" fmla="*/ 975244 h 6851196"/>
                  <a:gd name="connsiteX3733" fmla="*/ 4146047 w 12187339"/>
                  <a:gd name="connsiteY3733" fmla="*/ 975244 h 6851196"/>
                  <a:gd name="connsiteX3734" fmla="*/ 4146047 w 12187339"/>
                  <a:gd name="connsiteY3734" fmla="*/ 738752 h 6851196"/>
                  <a:gd name="connsiteX3735" fmla="*/ 4370135 w 12187339"/>
                  <a:gd name="connsiteY3735" fmla="*/ 738752 h 6851196"/>
                  <a:gd name="connsiteX3736" fmla="*/ 4139644 w 12187339"/>
                  <a:gd name="connsiteY3736" fmla="*/ 975244 h 6851196"/>
                  <a:gd name="connsiteX3737" fmla="*/ 3917094 w 12187339"/>
                  <a:gd name="connsiteY3737" fmla="*/ 975244 h 6851196"/>
                  <a:gd name="connsiteX3738" fmla="*/ 3917094 w 12187339"/>
                  <a:gd name="connsiteY3738" fmla="*/ 738752 h 6851196"/>
                  <a:gd name="connsiteX3739" fmla="*/ 4139644 w 12187339"/>
                  <a:gd name="connsiteY3739" fmla="*/ 738752 h 6851196"/>
                  <a:gd name="connsiteX3740" fmla="*/ 3910691 w 12187339"/>
                  <a:gd name="connsiteY3740" fmla="*/ 975244 h 6851196"/>
                  <a:gd name="connsiteX3741" fmla="*/ 3686603 w 12187339"/>
                  <a:gd name="connsiteY3741" fmla="*/ 975244 h 6851196"/>
                  <a:gd name="connsiteX3742" fmla="*/ 3686603 w 12187339"/>
                  <a:gd name="connsiteY3742" fmla="*/ 738752 h 6851196"/>
                  <a:gd name="connsiteX3743" fmla="*/ 3910691 w 12187339"/>
                  <a:gd name="connsiteY3743" fmla="*/ 738752 h 6851196"/>
                  <a:gd name="connsiteX3744" fmla="*/ 3680200 w 12187339"/>
                  <a:gd name="connsiteY3744" fmla="*/ 975244 h 6851196"/>
                  <a:gd name="connsiteX3745" fmla="*/ 3456112 w 12187339"/>
                  <a:gd name="connsiteY3745" fmla="*/ 975244 h 6851196"/>
                  <a:gd name="connsiteX3746" fmla="*/ 3456112 w 12187339"/>
                  <a:gd name="connsiteY3746" fmla="*/ 738752 h 6851196"/>
                  <a:gd name="connsiteX3747" fmla="*/ 3680200 w 12187339"/>
                  <a:gd name="connsiteY3747" fmla="*/ 738752 h 6851196"/>
                  <a:gd name="connsiteX3748" fmla="*/ 3449709 w 12187339"/>
                  <a:gd name="connsiteY3748" fmla="*/ 975244 h 6851196"/>
                  <a:gd name="connsiteX3749" fmla="*/ 3225621 w 12187339"/>
                  <a:gd name="connsiteY3749" fmla="*/ 975244 h 6851196"/>
                  <a:gd name="connsiteX3750" fmla="*/ 3225621 w 12187339"/>
                  <a:gd name="connsiteY3750" fmla="*/ 738752 h 6851196"/>
                  <a:gd name="connsiteX3751" fmla="*/ 3449709 w 12187339"/>
                  <a:gd name="connsiteY3751" fmla="*/ 738752 h 6851196"/>
                  <a:gd name="connsiteX3752" fmla="*/ 3219218 w 12187339"/>
                  <a:gd name="connsiteY3752" fmla="*/ 975244 h 6851196"/>
                  <a:gd name="connsiteX3753" fmla="*/ 2996666 w 12187339"/>
                  <a:gd name="connsiteY3753" fmla="*/ 975244 h 6851196"/>
                  <a:gd name="connsiteX3754" fmla="*/ 2996666 w 12187339"/>
                  <a:gd name="connsiteY3754" fmla="*/ 738752 h 6851196"/>
                  <a:gd name="connsiteX3755" fmla="*/ 3219218 w 12187339"/>
                  <a:gd name="connsiteY3755" fmla="*/ 738752 h 6851196"/>
                  <a:gd name="connsiteX3756" fmla="*/ 2990264 w 12187339"/>
                  <a:gd name="connsiteY3756" fmla="*/ 975244 h 6851196"/>
                  <a:gd name="connsiteX3757" fmla="*/ 2766175 w 12187339"/>
                  <a:gd name="connsiteY3757" fmla="*/ 975244 h 6851196"/>
                  <a:gd name="connsiteX3758" fmla="*/ 2766175 w 12187339"/>
                  <a:gd name="connsiteY3758" fmla="*/ 738752 h 6851196"/>
                  <a:gd name="connsiteX3759" fmla="*/ 2990264 w 12187339"/>
                  <a:gd name="connsiteY3759" fmla="*/ 738752 h 6851196"/>
                  <a:gd name="connsiteX3760" fmla="*/ 2759773 w 12187339"/>
                  <a:gd name="connsiteY3760" fmla="*/ 975244 h 6851196"/>
                  <a:gd name="connsiteX3761" fmla="*/ 2535684 w 12187339"/>
                  <a:gd name="connsiteY3761" fmla="*/ 975244 h 6851196"/>
                  <a:gd name="connsiteX3762" fmla="*/ 2535684 w 12187339"/>
                  <a:gd name="connsiteY3762" fmla="*/ 738752 h 6851196"/>
                  <a:gd name="connsiteX3763" fmla="*/ 2759773 w 12187339"/>
                  <a:gd name="connsiteY3763" fmla="*/ 738752 h 6851196"/>
                  <a:gd name="connsiteX3764" fmla="*/ 2529282 w 12187339"/>
                  <a:gd name="connsiteY3764" fmla="*/ 975244 h 6851196"/>
                  <a:gd name="connsiteX3765" fmla="*/ 2305193 w 12187339"/>
                  <a:gd name="connsiteY3765" fmla="*/ 975244 h 6851196"/>
                  <a:gd name="connsiteX3766" fmla="*/ 2305193 w 12187339"/>
                  <a:gd name="connsiteY3766" fmla="*/ 738752 h 6851196"/>
                  <a:gd name="connsiteX3767" fmla="*/ 2529282 w 12187339"/>
                  <a:gd name="connsiteY3767" fmla="*/ 738752 h 6851196"/>
                  <a:gd name="connsiteX3768" fmla="*/ 2298791 w 12187339"/>
                  <a:gd name="connsiteY3768" fmla="*/ 975244 h 6851196"/>
                  <a:gd name="connsiteX3769" fmla="*/ 2075982 w 12187339"/>
                  <a:gd name="connsiteY3769" fmla="*/ 975244 h 6851196"/>
                  <a:gd name="connsiteX3770" fmla="*/ 2075982 w 12187339"/>
                  <a:gd name="connsiteY3770" fmla="*/ 738752 h 6851196"/>
                  <a:gd name="connsiteX3771" fmla="*/ 2298534 w 12187339"/>
                  <a:gd name="connsiteY3771" fmla="*/ 738752 h 6851196"/>
                  <a:gd name="connsiteX3772" fmla="*/ 2069836 w 12187339"/>
                  <a:gd name="connsiteY3772" fmla="*/ 975244 h 6851196"/>
                  <a:gd name="connsiteX3773" fmla="*/ 1845748 w 12187339"/>
                  <a:gd name="connsiteY3773" fmla="*/ 975244 h 6851196"/>
                  <a:gd name="connsiteX3774" fmla="*/ 1845748 w 12187339"/>
                  <a:gd name="connsiteY3774" fmla="*/ 738752 h 6851196"/>
                  <a:gd name="connsiteX3775" fmla="*/ 2069580 w 12187339"/>
                  <a:gd name="connsiteY3775" fmla="*/ 738752 h 6851196"/>
                  <a:gd name="connsiteX3776" fmla="*/ 1839345 w 12187339"/>
                  <a:gd name="connsiteY3776" fmla="*/ 975244 h 6851196"/>
                  <a:gd name="connsiteX3777" fmla="*/ 1615257 w 12187339"/>
                  <a:gd name="connsiteY3777" fmla="*/ 975244 h 6851196"/>
                  <a:gd name="connsiteX3778" fmla="*/ 1615257 w 12187339"/>
                  <a:gd name="connsiteY3778" fmla="*/ 738752 h 6851196"/>
                  <a:gd name="connsiteX3779" fmla="*/ 1839089 w 12187339"/>
                  <a:gd name="connsiteY3779" fmla="*/ 738752 h 6851196"/>
                  <a:gd name="connsiteX3780" fmla="*/ 1608854 w 12187339"/>
                  <a:gd name="connsiteY3780" fmla="*/ 975244 h 6851196"/>
                  <a:gd name="connsiteX3781" fmla="*/ 1386302 w 12187339"/>
                  <a:gd name="connsiteY3781" fmla="*/ 975244 h 6851196"/>
                  <a:gd name="connsiteX3782" fmla="*/ 1386302 w 12187339"/>
                  <a:gd name="connsiteY3782" fmla="*/ 738752 h 6851196"/>
                  <a:gd name="connsiteX3783" fmla="*/ 1608598 w 12187339"/>
                  <a:gd name="connsiteY3783" fmla="*/ 738752 h 6851196"/>
                  <a:gd name="connsiteX3784" fmla="*/ 1379900 w 12187339"/>
                  <a:gd name="connsiteY3784" fmla="*/ 975244 h 6851196"/>
                  <a:gd name="connsiteX3785" fmla="*/ 1155811 w 12187339"/>
                  <a:gd name="connsiteY3785" fmla="*/ 975244 h 6851196"/>
                  <a:gd name="connsiteX3786" fmla="*/ 1155811 w 12187339"/>
                  <a:gd name="connsiteY3786" fmla="*/ 738752 h 6851196"/>
                  <a:gd name="connsiteX3787" fmla="*/ 1379900 w 12187339"/>
                  <a:gd name="connsiteY3787" fmla="*/ 738752 h 6851196"/>
                  <a:gd name="connsiteX3788" fmla="*/ 1149409 w 12187339"/>
                  <a:gd name="connsiteY3788" fmla="*/ 975244 h 6851196"/>
                  <a:gd name="connsiteX3789" fmla="*/ 925320 w 12187339"/>
                  <a:gd name="connsiteY3789" fmla="*/ 975244 h 6851196"/>
                  <a:gd name="connsiteX3790" fmla="*/ 925320 w 12187339"/>
                  <a:gd name="connsiteY3790" fmla="*/ 738752 h 6851196"/>
                  <a:gd name="connsiteX3791" fmla="*/ 1149409 w 12187339"/>
                  <a:gd name="connsiteY3791" fmla="*/ 738752 h 6851196"/>
                  <a:gd name="connsiteX3792" fmla="*/ 918918 w 12187339"/>
                  <a:gd name="connsiteY3792" fmla="*/ 975244 h 6851196"/>
                  <a:gd name="connsiteX3793" fmla="*/ 694829 w 12187339"/>
                  <a:gd name="connsiteY3793" fmla="*/ 975244 h 6851196"/>
                  <a:gd name="connsiteX3794" fmla="*/ 694829 w 12187339"/>
                  <a:gd name="connsiteY3794" fmla="*/ 738752 h 6851196"/>
                  <a:gd name="connsiteX3795" fmla="*/ 918918 w 12187339"/>
                  <a:gd name="connsiteY3795" fmla="*/ 738752 h 6851196"/>
                  <a:gd name="connsiteX3796" fmla="*/ 918918 w 12187339"/>
                  <a:gd name="connsiteY3796" fmla="*/ 982048 h 6851196"/>
                  <a:gd name="connsiteX3797" fmla="*/ 918918 w 12187339"/>
                  <a:gd name="connsiteY3797" fmla="*/ 1220173 h 6851196"/>
                  <a:gd name="connsiteX3798" fmla="*/ 694829 w 12187339"/>
                  <a:gd name="connsiteY3798" fmla="*/ 1220173 h 6851196"/>
                  <a:gd name="connsiteX3799" fmla="*/ 694829 w 12187339"/>
                  <a:gd name="connsiteY3799" fmla="*/ 981911 h 6851196"/>
                  <a:gd name="connsiteX3800" fmla="*/ 918918 w 12187339"/>
                  <a:gd name="connsiteY3800" fmla="*/ 1226976 h 6851196"/>
                  <a:gd name="connsiteX3801" fmla="*/ 918918 w 12187339"/>
                  <a:gd name="connsiteY3801" fmla="*/ 1465101 h 6851196"/>
                  <a:gd name="connsiteX3802" fmla="*/ 694829 w 12187339"/>
                  <a:gd name="connsiteY3802" fmla="*/ 1465101 h 6851196"/>
                  <a:gd name="connsiteX3803" fmla="*/ 694829 w 12187339"/>
                  <a:gd name="connsiteY3803" fmla="*/ 1226840 h 6851196"/>
                  <a:gd name="connsiteX3804" fmla="*/ 918918 w 12187339"/>
                  <a:gd name="connsiteY3804" fmla="*/ 1471905 h 6851196"/>
                  <a:gd name="connsiteX3805" fmla="*/ 918918 w 12187339"/>
                  <a:gd name="connsiteY3805" fmla="*/ 1710030 h 6851196"/>
                  <a:gd name="connsiteX3806" fmla="*/ 694829 w 12187339"/>
                  <a:gd name="connsiteY3806" fmla="*/ 1710030 h 6851196"/>
                  <a:gd name="connsiteX3807" fmla="*/ 694829 w 12187339"/>
                  <a:gd name="connsiteY3807" fmla="*/ 1471769 h 6851196"/>
                  <a:gd name="connsiteX3808" fmla="*/ 918918 w 12187339"/>
                  <a:gd name="connsiteY3808" fmla="*/ 1716833 h 6851196"/>
                  <a:gd name="connsiteX3809" fmla="*/ 918918 w 12187339"/>
                  <a:gd name="connsiteY3809" fmla="*/ 1953326 h 6851196"/>
                  <a:gd name="connsiteX3810" fmla="*/ 694829 w 12187339"/>
                  <a:gd name="connsiteY3810" fmla="*/ 1953326 h 6851196"/>
                  <a:gd name="connsiteX3811" fmla="*/ 694829 w 12187339"/>
                  <a:gd name="connsiteY3811" fmla="*/ 1716697 h 6851196"/>
                  <a:gd name="connsiteX3812" fmla="*/ 918918 w 12187339"/>
                  <a:gd name="connsiteY3812" fmla="*/ 1960129 h 6851196"/>
                  <a:gd name="connsiteX3813" fmla="*/ 918918 w 12187339"/>
                  <a:gd name="connsiteY3813" fmla="*/ 2198254 h 6851196"/>
                  <a:gd name="connsiteX3814" fmla="*/ 694829 w 12187339"/>
                  <a:gd name="connsiteY3814" fmla="*/ 2198254 h 6851196"/>
                  <a:gd name="connsiteX3815" fmla="*/ 694829 w 12187339"/>
                  <a:gd name="connsiteY3815" fmla="*/ 1960129 h 6851196"/>
                  <a:gd name="connsiteX3816" fmla="*/ 918918 w 12187339"/>
                  <a:gd name="connsiteY3816" fmla="*/ 2205058 h 6851196"/>
                  <a:gd name="connsiteX3817" fmla="*/ 918918 w 12187339"/>
                  <a:gd name="connsiteY3817" fmla="*/ 2443183 h 6851196"/>
                  <a:gd name="connsiteX3818" fmla="*/ 694829 w 12187339"/>
                  <a:gd name="connsiteY3818" fmla="*/ 2443183 h 6851196"/>
                  <a:gd name="connsiteX3819" fmla="*/ 694829 w 12187339"/>
                  <a:gd name="connsiteY3819" fmla="*/ 2205058 h 6851196"/>
                  <a:gd name="connsiteX3820" fmla="*/ 918918 w 12187339"/>
                  <a:gd name="connsiteY3820" fmla="*/ 2449986 h 6851196"/>
                  <a:gd name="connsiteX3821" fmla="*/ 918918 w 12187339"/>
                  <a:gd name="connsiteY3821" fmla="*/ 2686479 h 6851196"/>
                  <a:gd name="connsiteX3822" fmla="*/ 694829 w 12187339"/>
                  <a:gd name="connsiteY3822" fmla="*/ 2686479 h 6851196"/>
                  <a:gd name="connsiteX3823" fmla="*/ 694829 w 12187339"/>
                  <a:gd name="connsiteY3823" fmla="*/ 2449986 h 6851196"/>
                  <a:gd name="connsiteX3824" fmla="*/ 918918 w 12187339"/>
                  <a:gd name="connsiteY3824" fmla="*/ 2693282 h 6851196"/>
                  <a:gd name="connsiteX3825" fmla="*/ 918918 w 12187339"/>
                  <a:gd name="connsiteY3825" fmla="*/ 2931407 h 6851196"/>
                  <a:gd name="connsiteX3826" fmla="*/ 694829 w 12187339"/>
                  <a:gd name="connsiteY3826" fmla="*/ 2931407 h 6851196"/>
                  <a:gd name="connsiteX3827" fmla="*/ 694829 w 12187339"/>
                  <a:gd name="connsiteY3827" fmla="*/ 2693282 h 6851196"/>
                  <a:gd name="connsiteX3828" fmla="*/ 918918 w 12187339"/>
                  <a:gd name="connsiteY3828" fmla="*/ 2938211 h 6851196"/>
                  <a:gd name="connsiteX3829" fmla="*/ 918918 w 12187339"/>
                  <a:gd name="connsiteY3829" fmla="*/ 3176336 h 6851196"/>
                  <a:gd name="connsiteX3830" fmla="*/ 694829 w 12187339"/>
                  <a:gd name="connsiteY3830" fmla="*/ 3176336 h 6851196"/>
                  <a:gd name="connsiteX3831" fmla="*/ 694829 w 12187339"/>
                  <a:gd name="connsiteY3831" fmla="*/ 2938211 h 6851196"/>
                  <a:gd name="connsiteX3832" fmla="*/ 918918 w 12187339"/>
                  <a:gd name="connsiteY3832" fmla="*/ 3183139 h 6851196"/>
                  <a:gd name="connsiteX3833" fmla="*/ 918918 w 12187339"/>
                  <a:gd name="connsiteY3833" fmla="*/ 3421264 h 6851196"/>
                  <a:gd name="connsiteX3834" fmla="*/ 694829 w 12187339"/>
                  <a:gd name="connsiteY3834" fmla="*/ 3421264 h 6851196"/>
                  <a:gd name="connsiteX3835" fmla="*/ 694829 w 12187339"/>
                  <a:gd name="connsiteY3835" fmla="*/ 3183139 h 6851196"/>
                  <a:gd name="connsiteX3836" fmla="*/ 918918 w 12187339"/>
                  <a:gd name="connsiteY3836" fmla="*/ 3428068 h 6851196"/>
                  <a:gd name="connsiteX3837" fmla="*/ 918918 w 12187339"/>
                  <a:gd name="connsiteY3837" fmla="*/ 3664560 h 6851196"/>
                  <a:gd name="connsiteX3838" fmla="*/ 694829 w 12187339"/>
                  <a:gd name="connsiteY3838" fmla="*/ 3664560 h 6851196"/>
                  <a:gd name="connsiteX3839" fmla="*/ 694829 w 12187339"/>
                  <a:gd name="connsiteY3839" fmla="*/ 3428068 h 6851196"/>
                  <a:gd name="connsiteX3840" fmla="*/ 918918 w 12187339"/>
                  <a:gd name="connsiteY3840" fmla="*/ 3671364 h 6851196"/>
                  <a:gd name="connsiteX3841" fmla="*/ 918918 w 12187339"/>
                  <a:gd name="connsiteY3841" fmla="*/ 3909489 h 6851196"/>
                  <a:gd name="connsiteX3842" fmla="*/ 694829 w 12187339"/>
                  <a:gd name="connsiteY3842" fmla="*/ 3909489 h 6851196"/>
                  <a:gd name="connsiteX3843" fmla="*/ 694829 w 12187339"/>
                  <a:gd name="connsiteY3843" fmla="*/ 3671364 h 6851196"/>
                  <a:gd name="connsiteX3844" fmla="*/ 918918 w 12187339"/>
                  <a:gd name="connsiteY3844" fmla="*/ 3916292 h 6851196"/>
                  <a:gd name="connsiteX3845" fmla="*/ 918918 w 12187339"/>
                  <a:gd name="connsiteY3845" fmla="*/ 4154417 h 6851196"/>
                  <a:gd name="connsiteX3846" fmla="*/ 694829 w 12187339"/>
                  <a:gd name="connsiteY3846" fmla="*/ 4154417 h 6851196"/>
                  <a:gd name="connsiteX3847" fmla="*/ 694829 w 12187339"/>
                  <a:gd name="connsiteY3847" fmla="*/ 3916292 h 6851196"/>
                  <a:gd name="connsiteX3848" fmla="*/ 918918 w 12187339"/>
                  <a:gd name="connsiteY3848" fmla="*/ 4161221 h 6851196"/>
                  <a:gd name="connsiteX3849" fmla="*/ 918918 w 12187339"/>
                  <a:gd name="connsiteY3849" fmla="*/ 4399346 h 6851196"/>
                  <a:gd name="connsiteX3850" fmla="*/ 694829 w 12187339"/>
                  <a:gd name="connsiteY3850" fmla="*/ 4399346 h 6851196"/>
                  <a:gd name="connsiteX3851" fmla="*/ 694829 w 12187339"/>
                  <a:gd name="connsiteY3851" fmla="*/ 4161221 h 6851196"/>
                  <a:gd name="connsiteX3852" fmla="*/ 918918 w 12187339"/>
                  <a:gd name="connsiteY3852" fmla="*/ 4406149 h 6851196"/>
                  <a:gd name="connsiteX3853" fmla="*/ 918918 w 12187339"/>
                  <a:gd name="connsiteY3853" fmla="*/ 4642233 h 6851196"/>
                  <a:gd name="connsiteX3854" fmla="*/ 694829 w 12187339"/>
                  <a:gd name="connsiteY3854" fmla="*/ 4642233 h 6851196"/>
                  <a:gd name="connsiteX3855" fmla="*/ 694829 w 12187339"/>
                  <a:gd name="connsiteY3855" fmla="*/ 4405741 h 6851196"/>
                  <a:gd name="connsiteX3856" fmla="*/ 918918 w 12187339"/>
                  <a:gd name="connsiteY3856" fmla="*/ 4649445 h 6851196"/>
                  <a:gd name="connsiteX3857" fmla="*/ 918918 w 12187339"/>
                  <a:gd name="connsiteY3857" fmla="*/ 4887162 h 6851196"/>
                  <a:gd name="connsiteX3858" fmla="*/ 694829 w 12187339"/>
                  <a:gd name="connsiteY3858" fmla="*/ 4887162 h 6851196"/>
                  <a:gd name="connsiteX3859" fmla="*/ 694829 w 12187339"/>
                  <a:gd name="connsiteY3859" fmla="*/ 4649037 h 6851196"/>
                  <a:gd name="connsiteX3860" fmla="*/ 918918 w 12187339"/>
                  <a:gd name="connsiteY3860" fmla="*/ 4894374 h 6851196"/>
                  <a:gd name="connsiteX3861" fmla="*/ 918918 w 12187339"/>
                  <a:gd name="connsiteY3861" fmla="*/ 5132090 h 6851196"/>
                  <a:gd name="connsiteX3862" fmla="*/ 694829 w 12187339"/>
                  <a:gd name="connsiteY3862" fmla="*/ 5132090 h 6851196"/>
                  <a:gd name="connsiteX3863" fmla="*/ 694829 w 12187339"/>
                  <a:gd name="connsiteY3863" fmla="*/ 4893965 h 6851196"/>
                  <a:gd name="connsiteX3864" fmla="*/ 918918 w 12187339"/>
                  <a:gd name="connsiteY3864" fmla="*/ 5139302 h 6851196"/>
                  <a:gd name="connsiteX3865" fmla="*/ 918918 w 12187339"/>
                  <a:gd name="connsiteY3865" fmla="*/ 5375795 h 6851196"/>
                  <a:gd name="connsiteX3866" fmla="*/ 694829 w 12187339"/>
                  <a:gd name="connsiteY3866" fmla="*/ 5375795 h 6851196"/>
                  <a:gd name="connsiteX3867" fmla="*/ 694829 w 12187339"/>
                  <a:gd name="connsiteY3867" fmla="*/ 5139302 h 6851196"/>
                  <a:gd name="connsiteX3868" fmla="*/ 918918 w 12187339"/>
                  <a:gd name="connsiteY3868" fmla="*/ 5382598 h 6851196"/>
                  <a:gd name="connsiteX3869" fmla="*/ 918918 w 12187339"/>
                  <a:gd name="connsiteY3869" fmla="*/ 5620723 h 6851196"/>
                  <a:gd name="connsiteX3870" fmla="*/ 694829 w 12187339"/>
                  <a:gd name="connsiteY3870" fmla="*/ 5620723 h 6851196"/>
                  <a:gd name="connsiteX3871" fmla="*/ 694829 w 12187339"/>
                  <a:gd name="connsiteY3871" fmla="*/ 5382598 h 6851196"/>
                  <a:gd name="connsiteX3872" fmla="*/ 918918 w 12187339"/>
                  <a:gd name="connsiteY3872" fmla="*/ 5627527 h 6851196"/>
                  <a:gd name="connsiteX3873" fmla="*/ 918918 w 12187339"/>
                  <a:gd name="connsiteY3873" fmla="*/ 5865652 h 6851196"/>
                  <a:gd name="connsiteX3874" fmla="*/ 694829 w 12187339"/>
                  <a:gd name="connsiteY3874" fmla="*/ 5865652 h 6851196"/>
                  <a:gd name="connsiteX3875" fmla="*/ 694829 w 12187339"/>
                  <a:gd name="connsiteY3875" fmla="*/ 5627527 h 6851196"/>
                  <a:gd name="connsiteX3876" fmla="*/ 918918 w 12187339"/>
                  <a:gd name="connsiteY3876" fmla="*/ 5872455 h 6851196"/>
                  <a:gd name="connsiteX3877" fmla="*/ 918918 w 12187339"/>
                  <a:gd name="connsiteY3877" fmla="*/ 6110580 h 6851196"/>
                  <a:gd name="connsiteX3878" fmla="*/ 694829 w 12187339"/>
                  <a:gd name="connsiteY3878" fmla="*/ 6110580 h 6851196"/>
                  <a:gd name="connsiteX3879" fmla="*/ 694829 w 12187339"/>
                  <a:gd name="connsiteY3879" fmla="*/ 5872455 h 6851196"/>
                  <a:gd name="connsiteX3880" fmla="*/ 925320 w 12187339"/>
                  <a:gd name="connsiteY3880" fmla="*/ 5872455 h 6851196"/>
                  <a:gd name="connsiteX3881" fmla="*/ 1149409 w 12187339"/>
                  <a:gd name="connsiteY3881" fmla="*/ 5872455 h 6851196"/>
                  <a:gd name="connsiteX3882" fmla="*/ 1149409 w 12187339"/>
                  <a:gd name="connsiteY3882" fmla="*/ 6110580 h 6851196"/>
                  <a:gd name="connsiteX3883" fmla="*/ 925320 w 12187339"/>
                  <a:gd name="connsiteY3883" fmla="*/ 6110580 h 6851196"/>
                  <a:gd name="connsiteX3884" fmla="*/ 1155811 w 12187339"/>
                  <a:gd name="connsiteY3884" fmla="*/ 5872455 h 6851196"/>
                  <a:gd name="connsiteX3885" fmla="*/ 1379900 w 12187339"/>
                  <a:gd name="connsiteY3885" fmla="*/ 5872455 h 6851196"/>
                  <a:gd name="connsiteX3886" fmla="*/ 1379900 w 12187339"/>
                  <a:gd name="connsiteY3886" fmla="*/ 6110580 h 6851196"/>
                  <a:gd name="connsiteX3887" fmla="*/ 1155811 w 12187339"/>
                  <a:gd name="connsiteY3887" fmla="*/ 6110580 h 6851196"/>
                  <a:gd name="connsiteX3888" fmla="*/ 1386302 w 12187339"/>
                  <a:gd name="connsiteY3888" fmla="*/ 5872455 h 6851196"/>
                  <a:gd name="connsiteX3889" fmla="*/ 1608598 w 12187339"/>
                  <a:gd name="connsiteY3889" fmla="*/ 5872455 h 6851196"/>
                  <a:gd name="connsiteX3890" fmla="*/ 1608598 w 12187339"/>
                  <a:gd name="connsiteY3890" fmla="*/ 6110580 h 6851196"/>
                  <a:gd name="connsiteX3891" fmla="*/ 1386046 w 12187339"/>
                  <a:gd name="connsiteY3891" fmla="*/ 6110580 h 6851196"/>
                  <a:gd name="connsiteX3892" fmla="*/ 1615257 w 12187339"/>
                  <a:gd name="connsiteY3892" fmla="*/ 5872455 h 6851196"/>
                  <a:gd name="connsiteX3893" fmla="*/ 1839089 w 12187339"/>
                  <a:gd name="connsiteY3893" fmla="*/ 5872455 h 6851196"/>
                  <a:gd name="connsiteX3894" fmla="*/ 1839089 w 12187339"/>
                  <a:gd name="connsiteY3894" fmla="*/ 6110580 h 6851196"/>
                  <a:gd name="connsiteX3895" fmla="*/ 1615000 w 12187339"/>
                  <a:gd name="connsiteY3895" fmla="*/ 6110580 h 6851196"/>
                  <a:gd name="connsiteX3896" fmla="*/ 1845748 w 12187339"/>
                  <a:gd name="connsiteY3896" fmla="*/ 5872455 h 6851196"/>
                  <a:gd name="connsiteX3897" fmla="*/ 2069580 w 12187339"/>
                  <a:gd name="connsiteY3897" fmla="*/ 5872455 h 6851196"/>
                  <a:gd name="connsiteX3898" fmla="*/ 2069580 w 12187339"/>
                  <a:gd name="connsiteY3898" fmla="*/ 6110580 h 6851196"/>
                  <a:gd name="connsiteX3899" fmla="*/ 1845491 w 12187339"/>
                  <a:gd name="connsiteY3899" fmla="*/ 6110580 h 6851196"/>
                  <a:gd name="connsiteX3900" fmla="*/ 2076239 w 12187339"/>
                  <a:gd name="connsiteY3900" fmla="*/ 5872455 h 6851196"/>
                  <a:gd name="connsiteX3901" fmla="*/ 2298791 w 12187339"/>
                  <a:gd name="connsiteY3901" fmla="*/ 5872455 h 6851196"/>
                  <a:gd name="connsiteX3902" fmla="*/ 2298791 w 12187339"/>
                  <a:gd name="connsiteY3902" fmla="*/ 6110580 h 6851196"/>
                  <a:gd name="connsiteX3903" fmla="*/ 2075982 w 12187339"/>
                  <a:gd name="connsiteY3903" fmla="*/ 6110580 h 6851196"/>
                  <a:gd name="connsiteX3904" fmla="*/ 2305193 w 12187339"/>
                  <a:gd name="connsiteY3904" fmla="*/ 5872455 h 6851196"/>
                  <a:gd name="connsiteX3905" fmla="*/ 2529282 w 12187339"/>
                  <a:gd name="connsiteY3905" fmla="*/ 5872455 h 6851196"/>
                  <a:gd name="connsiteX3906" fmla="*/ 2529282 w 12187339"/>
                  <a:gd name="connsiteY3906" fmla="*/ 6110580 h 6851196"/>
                  <a:gd name="connsiteX3907" fmla="*/ 2305193 w 12187339"/>
                  <a:gd name="connsiteY3907" fmla="*/ 6110580 h 6851196"/>
                  <a:gd name="connsiteX3908" fmla="*/ 2535684 w 12187339"/>
                  <a:gd name="connsiteY3908" fmla="*/ 5872455 h 6851196"/>
                  <a:gd name="connsiteX3909" fmla="*/ 2759773 w 12187339"/>
                  <a:gd name="connsiteY3909" fmla="*/ 5872455 h 6851196"/>
                  <a:gd name="connsiteX3910" fmla="*/ 2759773 w 12187339"/>
                  <a:gd name="connsiteY3910" fmla="*/ 6110580 h 6851196"/>
                  <a:gd name="connsiteX3911" fmla="*/ 2535684 w 12187339"/>
                  <a:gd name="connsiteY3911" fmla="*/ 6110580 h 6851196"/>
                  <a:gd name="connsiteX3912" fmla="*/ 2766175 w 12187339"/>
                  <a:gd name="connsiteY3912" fmla="*/ 5872455 h 6851196"/>
                  <a:gd name="connsiteX3913" fmla="*/ 2990264 w 12187339"/>
                  <a:gd name="connsiteY3913" fmla="*/ 5872455 h 6851196"/>
                  <a:gd name="connsiteX3914" fmla="*/ 2990264 w 12187339"/>
                  <a:gd name="connsiteY3914" fmla="*/ 6110580 h 6851196"/>
                  <a:gd name="connsiteX3915" fmla="*/ 2766175 w 12187339"/>
                  <a:gd name="connsiteY3915" fmla="*/ 6110580 h 6851196"/>
                  <a:gd name="connsiteX3916" fmla="*/ 2996666 w 12187339"/>
                  <a:gd name="connsiteY3916" fmla="*/ 5872455 h 6851196"/>
                  <a:gd name="connsiteX3917" fmla="*/ 3219218 w 12187339"/>
                  <a:gd name="connsiteY3917" fmla="*/ 5872455 h 6851196"/>
                  <a:gd name="connsiteX3918" fmla="*/ 3219218 w 12187339"/>
                  <a:gd name="connsiteY3918" fmla="*/ 6110580 h 6851196"/>
                  <a:gd name="connsiteX3919" fmla="*/ 2996666 w 12187339"/>
                  <a:gd name="connsiteY3919" fmla="*/ 6110580 h 6851196"/>
                  <a:gd name="connsiteX3920" fmla="*/ 3225621 w 12187339"/>
                  <a:gd name="connsiteY3920" fmla="*/ 5872455 h 6851196"/>
                  <a:gd name="connsiteX3921" fmla="*/ 3449709 w 12187339"/>
                  <a:gd name="connsiteY3921" fmla="*/ 5872455 h 6851196"/>
                  <a:gd name="connsiteX3922" fmla="*/ 3449709 w 12187339"/>
                  <a:gd name="connsiteY3922" fmla="*/ 6110580 h 6851196"/>
                  <a:gd name="connsiteX3923" fmla="*/ 3225621 w 12187339"/>
                  <a:gd name="connsiteY3923" fmla="*/ 6110580 h 6851196"/>
                  <a:gd name="connsiteX3924" fmla="*/ 3456112 w 12187339"/>
                  <a:gd name="connsiteY3924" fmla="*/ 5872455 h 6851196"/>
                  <a:gd name="connsiteX3925" fmla="*/ 3680200 w 12187339"/>
                  <a:gd name="connsiteY3925" fmla="*/ 5872455 h 6851196"/>
                  <a:gd name="connsiteX3926" fmla="*/ 3680200 w 12187339"/>
                  <a:gd name="connsiteY3926" fmla="*/ 6110580 h 6851196"/>
                  <a:gd name="connsiteX3927" fmla="*/ 3456112 w 12187339"/>
                  <a:gd name="connsiteY3927" fmla="*/ 6110580 h 6851196"/>
                  <a:gd name="connsiteX3928" fmla="*/ 3686603 w 12187339"/>
                  <a:gd name="connsiteY3928" fmla="*/ 5872455 h 6851196"/>
                  <a:gd name="connsiteX3929" fmla="*/ 3910691 w 12187339"/>
                  <a:gd name="connsiteY3929" fmla="*/ 5872455 h 6851196"/>
                  <a:gd name="connsiteX3930" fmla="*/ 3910691 w 12187339"/>
                  <a:gd name="connsiteY3930" fmla="*/ 6110580 h 6851196"/>
                  <a:gd name="connsiteX3931" fmla="*/ 3686603 w 12187339"/>
                  <a:gd name="connsiteY3931" fmla="*/ 6110580 h 6851196"/>
                  <a:gd name="connsiteX3932" fmla="*/ 3917094 w 12187339"/>
                  <a:gd name="connsiteY3932" fmla="*/ 5872455 h 6851196"/>
                  <a:gd name="connsiteX3933" fmla="*/ 4139644 w 12187339"/>
                  <a:gd name="connsiteY3933" fmla="*/ 5872455 h 6851196"/>
                  <a:gd name="connsiteX3934" fmla="*/ 4139644 w 12187339"/>
                  <a:gd name="connsiteY3934" fmla="*/ 6110580 h 6851196"/>
                  <a:gd name="connsiteX3935" fmla="*/ 3917094 w 12187339"/>
                  <a:gd name="connsiteY3935" fmla="*/ 6110580 h 6851196"/>
                  <a:gd name="connsiteX3936" fmla="*/ 4146047 w 12187339"/>
                  <a:gd name="connsiteY3936" fmla="*/ 5872455 h 6851196"/>
                  <a:gd name="connsiteX3937" fmla="*/ 4370135 w 12187339"/>
                  <a:gd name="connsiteY3937" fmla="*/ 5872455 h 6851196"/>
                  <a:gd name="connsiteX3938" fmla="*/ 4370135 w 12187339"/>
                  <a:gd name="connsiteY3938" fmla="*/ 6110580 h 6851196"/>
                  <a:gd name="connsiteX3939" fmla="*/ 4146047 w 12187339"/>
                  <a:gd name="connsiteY3939" fmla="*/ 6110580 h 6851196"/>
                  <a:gd name="connsiteX3940" fmla="*/ 4376538 w 12187339"/>
                  <a:gd name="connsiteY3940" fmla="*/ 5872455 h 6851196"/>
                  <a:gd name="connsiteX3941" fmla="*/ 4600626 w 12187339"/>
                  <a:gd name="connsiteY3941" fmla="*/ 5872455 h 6851196"/>
                  <a:gd name="connsiteX3942" fmla="*/ 4600626 w 12187339"/>
                  <a:gd name="connsiteY3942" fmla="*/ 6110580 h 6851196"/>
                  <a:gd name="connsiteX3943" fmla="*/ 4376538 w 12187339"/>
                  <a:gd name="connsiteY3943" fmla="*/ 6110580 h 6851196"/>
                  <a:gd name="connsiteX3944" fmla="*/ 4607029 w 12187339"/>
                  <a:gd name="connsiteY3944" fmla="*/ 5872455 h 6851196"/>
                  <a:gd name="connsiteX3945" fmla="*/ 4829582 w 12187339"/>
                  <a:gd name="connsiteY3945" fmla="*/ 5872455 h 6851196"/>
                  <a:gd name="connsiteX3946" fmla="*/ 4829582 w 12187339"/>
                  <a:gd name="connsiteY3946" fmla="*/ 6110580 h 6851196"/>
                  <a:gd name="connsiteX3947" fmla="*/ 4607029 w 12187339"/>
                  <a:gd name="connsiteY3947" fmla="*/ 6110580 h 6851196"/>
                  <a:gd name="connsiteX3948" fmla="*/ 4835985 w 12187339"/>
                  <a:gd name="connsiteY3948" fmla="*/ 5872455 h 6851196"/>
                  <a:gd name="connsiteX3949" fmla="*/ 5060073 w 12187339"/>
                  <a:gd name="connsiteY3949" fmla="*/ 5872455 h 6851196"/>
                  <a:gd name="connsiteX3950" fmla="*/ 5060073 w 12187339"/>
                  <a:gd name="connsiteY3950" fmla="*/ 6110580 h 6851196"/>
                  <a:gd name="connsiteX3951" fmla="*/ 4835472 w 12187339"/>
                  <a:gd name="connsiteY3951" fmla="*/ 6110580 h 6851196"/>
                  <a:gd name="connsiteX3952" fmla="*/ 5066476 w 12187339"/>
                  <a:gd name="connsiteY3952" fmla="*/ 5872455 h 6851196"/>
                  <a:gd name="connsiteX3953" fmla="*/ 5290564 w 12187339"/>
                  <a:gd name="connsiteY3953" fmla="*/ 5872455 h 6851196"/>
                  <a:gd name="connsiteX3954" fmla="*/ 5290564 w 12187339"/>
                  <a:gd name="connsiteY3954" fmla="*/ 6110580 h 6851196"/>
                  <a:gd name="connsiteX3955" fmla="*/ 5065963 w 12187339"/>
                  <a:gd name="connsiteY3955" fmla="*/ 6110580 h 6851196"/>
                  <a:gd name="connsiteX3956" fmla="*/ 5296967 w 12187339"/>
                  <a:gd name="connsiteY3956" fmla="*/ 5872455 h 6851196"/>
                  <a:gd name="connsiteX3957" fmla="*/ 5521055 w 12187339"/>
                  <a:gd name="connsiteY3957" fmla="*/ 5872455 h 6851196"/>
                  <a:gd name="connsiteX3958" fmla="*/ 5521055 w 12187339"/>
                  <a:gd name="connsiteY3958" fmla="*/ 6110580 h 6851196"/>
                  <a:gd name="connsiteX3959" fmla="*/ 5296454 w 12187339"/>
                  <a:gd name="connsiteY3959" fmla="*/ 6110580 h 6851196"/>
                  <a:gd name="connsiteX3960" fmla="*/ 5527458 w 12187339"/>
                  <a:gd name="connsiteY3960" fmla="*/ 5872455 h 6851196"/>
                  <a:gd name="connsiteX3961" fmla="*/ 5750008 w 12187339"/>
                  <a:gd name="connsiteY3961" fmla="*/ 5872455 h 6851196"/>
                  <a:gd name="connsiteX3962" fmla="*/ 5750008 w 12187339"/>
                  <a:gd name="connsiteY3962" fmla="*/ 6110580 h 6851196"/>
                  <a:gd name="connsiteX3963" fmla="*/ 5526945 w 12187339"/>
                  <a:gd name="connsiteY3963" fmla="*/ 6110580 h 6851196"/>
                  <a:gd name="connsiteX3964" fmla="*/ 5756411 w 12187339"/>
                  <a:gd name="connsiteY3964" fmla="*/ 5872455 h 6851196"/>
                  <a:gd name="connsiteX3965" fmla="*/ 5980499 w 12187339"/>
                  <a:gd name="connsiteY3965" fmla="*/ 5872455 h 6851196"/>
                  <a:gd name="connsiteX3966" fmla="*/ 5980499 w 12187339"/>
                  <a:gd name="connsiteY3966" fmla="*/ 6110580 h 6851196"/>
                  <a:gd name="connsiteX3967" fmla="*/ 5756411 w 12187339"/>
                  <a:gd name="connsiteY3967" fmla="*/ 6110580 h 6851196"/>
                  <a:gd name="connsiteX3968" fmla="*/ 5986902 w 12187339"/>
                  <a:gd name="connsiteY3968" fmla="*/ 5872455 h 6851196"/>
                  <a:gd name="connsiteX3969" fmla="*/ 6210990 w 12187339"/>
                  <a:gd name="connsiteY3969" fmla="*/ 5872455 h 6851196"/>
                  <a:gd name="connsiteX3970" fmla="*/ 6210990 w 12187339"/>
                  <a:gd name="connsiteY3970" fmla="*/ 6110580 h 6851196"/>
                  <a:gd name="connsiteX3971" fmla="*/ 5986902 w 12187339"/>
                  <a:gd name="connsiteY3971" fmla="*/ 6110580 h 6851196"/>
                  <a:gd name="connsiteX3972" fmla="*/ 6217393 w 12187339"/>
                  <a:gd name="connsiteY3972" fmla="*/ 5872455 h 6851196"/>
                  <a:gd name="connsiteX3973" fmla="*/ 6439946 w 12187339"/>
                  <a:gd name="connsiteY3973" fmla="*/ 5872455 h 6851196"/>
                  <a:gd name="connsiteX3974" fmla="*/ 6439946 w 12187339"/>
                  <a:gd name="connsiteY3974" fmla="*/ 6110580 h 6851196"/>
                  <a:gd name="connsiteX3975" fmla="*/ 6217136 w 12187339"/>
                  <a:gd name="connsiteY3975" fmla="*/ 6110580 h 6851196"/>
                  <a:gd name="connsiteX3976" fmla="*/ 6446349 w 12187339"/>
                  <a:gd name="connsiteY3976" fmla="*/ 5872455 h 6851196"/>
                  <a:gd name="connsiteX3977" fmla="*/ 6656863 w 12187339"/>
                  <a:gd name="connsiteY3977" fmla="*/ 5872455 h 6851196"/>
                  <a:gd name="connsiteX3978" fmla="*/ 6656863 w 12187339"/>
                  <a:gd name="connsiteY3978" fmla="*/ 6110580 h 6851196"/>
                  <a:gd name="connsiteX3979" fmla="*/ 6446349 w 12187339"/>
                  <a:gd name="connsiteY3979" fmla="*/ 6110580 h 6851196"/>
                  <a:gd name="connsiteX3980" fmla="*/ 6663265 w 12187339"/>
                  <a:gd name="connsiteY3980" fmla="*/ 5872455 h 6851196"/>
                  <a:gd name="connsiteX3981" fmla="*/ 6887354 w 12187339"/>
                  <a:gd name="connsiteY3981" fmla="*/ 5872455 h 6851196"/>
                  <a:gd name="connsiteX3982" fmla="*/ 6887354 w 12187339"/>
                  <a:gd name="connsiteY3982" fmla="*/ 6110580 h 6851196"/>
                  <a:gd name="connsiteX3983" fmla="*/ 6663265 w 12187339"/>
                  <a:gd name="connsiteY3983" fmla="*/ 6110580 h 6851196"/>
                  <a:gd name="connsiteX3984" fmla="*/ 6893756 w 12187339"/>
                  <a:gd name="connsiteY3984" fmla="*/ 5872455 h 6851196"/>
                  <a:gd name="connsiteX3985" fmla="*/ 7117845 w 12187339"/>
                  <a:gd name="connsiteY3985" fmla="*/ 5872455 h 6851196"/>
                  <a:gd name="connsiteX3986" fmla="*/ 7117845 w 12187339"/>
                  <a:gd name="connsiteY3986" fmla="*/ 6110580 h 6851196"/>
                  <a:gd name="connsiteX3987" fmla="*/ 6893756 w 12187339"/>
                  <a:gd name="connsiteY3987" fmla="*/ 6110580 h 6851196"/>
                  <a:gd name="connsiteX3988" fmla="*/ 7124247 w 12187339"/>
                  <a:gd name="connsiteY3988" fmla="*/ 5872455 h 6851196"/>
                  <a:gd name="connsiteX3989" fmla="*/ 7346801 w 12187339"/>
                  <a:gd name="connsiteY3989" fmla="*/ 5872455 h 6851196"/>
                  <a:gd name="connsiteX3990" fmla="*/ 7346801 w 12187339"/>
                  <a:gd name="connsiteY3990" fmla="*/ 6110580 h 6851196"/>
                  <a:gd name="connsiteX3991" fmla="*/ 7124247 w 12187339"/>
                  <a:gd name="connsiteY3991" fmla="*/ 6110580 h 6851196"/>
                  <a:gd name="connsiteX3992" fmla="*/ 7353204 w 12187339"/>
                  <a:gd name="connsiteY3992" fmla="*/ 5872455 h 6851196"/>
                  <a:gd name="connsiteX3993" fmla="*/ 7577292 w 12187339"/>
                  <a:gd name="connsiteY3993" fmla="*/ 5872455 h 6851196"/>
                  <a:gd name="connsiteX3994" fmla="*/ 7577292 w 12187339"/>
                  <a:gd name="connsiteY3994" fmla="*/ 6110580 h 6851196"/>
                  <a:gd name="connsiteX3995" fmla="*/ 7353204 w 12187339"/>
                  <a:gd name="connsiteY3995" fmla="*/ 6110580 h 6851196"/>
                  <a:gd name="connsiteX3996" fmla="*/ 7583695 w 12187339"/>
                  <a:gd name="connsiteY3996" fmla="*/ 5872455 h 6851196"/>
                  <a:gd name="connsiteX3997" fmla="*/ 7807783 w 12187339"/>
                  <a:gd name="connsiteY3997" fmla="*/ 5872455 h 6851196"/>
                  <a:gd name="connsiteX3998" fmla="*/ 7807783 w 12187339"/>
                  <a:gd name="connsiteY3998" fmla="*/ 6110580 h 6851196"/>
                  <a:gd name="connsiteX3999" fmla="*/ 7583695 w 12187339"/>
                  <a:gd name="connsiteY3999" fmla="*/ 6110580 h 6851196"/>
                  <a:gd name="connsiteX4000" fmla="*/ 7814186 w 12187339"/>
                  <a:gd name="connsiteY4000" fmla="*/ 5872455 h 6851196"/>
                  <a:gd name="connsiteX4001" fmla="*/ 8038274 w 12187339"/>
                  <a:gd name="connsiteY4001" fmla="*/ 5872455 h 6851196"/>
                  <a:gd name="connsiteX4002" fmla="*/ 8038274 w 12187339"/>
                  <a:gd name="connsiteY4002" fmla="*/ 6110580 h 6851196"/>
                  <a:gd name="connsiteX4003" fmla="*/ 7814186 w 12187339"/>
                  <a:gd name="connsiteY4003" fmla="*/ 6110580 h 6851196"/>
                  <a:gd name="connsiteX4004" fmla="*/ 8044677 w 12187339"/>
                  <a:gd name="connsiteY4004" fmla="*/ 5872455 h 6851196"/>
                  <a:gd name="connsiteX4005" fmla="*/ 8267227 w 12187339"/>
                  <a:gd name="connsiteY4005" fmla="*/ 5872455 h 6851196"/>
                  <a:gd name="connsiteX4006" fmla="*/ 8267227 w 12187339"/>
                  <a:gd name="connsiteY4006" fmla="*/ 6110580 h 6851196"/>
                  <a:gd name="connsiteX4007" fmla="*/ 8044420 w 12187339"/>
                  <a:gd name="connsiteY4007" fmla="*/ 6110580 h 6851196"/>
                  <a:gd name="connsiteX4008" fmla="*/ 8273629 w 12187339"/>
                  <a:gd name="connsiteY4008" fmla="*/ 5872455 h 6851196"/>
                  <a:gd name="connsiteX4009" fmla="*/ 8497718 w 12187339"/>
                  <a:gd name="connsiteY4009" fmla="*/ 5872455 h 6851196"/>
                  <a:gd name="connsiteX4010" fmla="*/ 8497718 w 12187339"/>
                  <a:gd name="connsiteY4010" fmla="*/ 6110580 h 6851196"/>
                  <a:gd name="connsiteX4011" fmla="*/ 8273629 w 12187339"/>
                  <a:gd name="connsiteY4011" fmla="*/ 6110580 h 6851196"/>
                  <a:gd name="connsiteX4012" fmla="*/ 8504120 w 12187339"/>
                  <a:gd name="connsiteY4012" fmla="*/ 5872455 h 6851196"/>
                  <a:gd name="connsiteX4013" fmla="*/ 8728209 w 12187339"/>
                  <a:gd name="connsiteY4013" fmla="*/ 5872455 h 6851196"/>
                  <a:gd name="connsiteX4014" fmla="*/ 8728209 w 12187339"/>
                  <a:gd name="connsiteY4014" fmla="*/ 6110580 h 6851196"/>
                  <a:gd name="connsiteX4015" fmla="*/ 8504120 w 12187339"/>
                  <a:gd name="connsiteY4015" fmla="*/ 6110580 h 6851196"/>
                  <a:gd name="connsiteX4016" fmla="*/ 8734611 w 12187339"/>
                  <a:gd name="connsiteY4016" fmla="*/ 5872455 h 6851196"/>
                  <a:gd name="connsiteX4017" fmla="*/ 8957162 w 12187339"/>
                  <a:gd name="connsiteY4017" fmla="*/ 5872455 h 6851196"/>
                  <a:gd name="connsiteX4018" fmla="*/ 8957162 w 12187339"/>
                  <a:gd name="connsiteY4018" fmla="*/ 6110580 h 6851196"/>
                  <a:gd name="connsiteX4019" fmla="*/ 8734611 w 12187339"/>
                  <a:gd name="connsiteY4019" fmla="*/ 6110580 h 6851196"/>
                  <a:gd name="connsiteX4020" fmla="*/ 8963564 w 12187339"/>
                  <a:gd name="connsiteY4020" fmla="*/ 5872455 h 6851196"/>
                  <a:gd name="connsiteX4021" fmla="*/ 9187653 w 12187339"/>
                  <a:gd name="connsiteY4021" fmla="*/ 5872455 h 6851196"/>
                  <a:gd name="connsiteX4022" fmla="*/ 9187653 w 12187339"/>
                  <a:gd name="connsiteY4022" fmla="*/ 6110580 h 6851196"/>
                  <a:gd name="connsiteX4023" fmla="*/ 8963564 w 12187339"/>
                  <a:gd name="connsiteY4023" fmla="*/ 6110580 h 6851196"/>
                  <a:gd name="connsiteX4024" fmla="*/ 9194055 w 12187339"/>
                  <a:gd name="connsiteY4024" fmla="*/ 5872455 h 6851196"/>
                  <a:gd name="connsiteX4025" fmla="*/ 9418144 w 12187339"/>
                  <a:gd name="connsiteY4025" fmla="*/ 5872455 h 6851196"/>
                  <a:gd name="connsiteX4026" fmla="*/ 9418144 w 12187339"/>
                  <a:gd name="connsiteY4026" fmla="*/ 6110580 h 6851196"/>
                  <a:gd name="connsiteX4027" fmla="*/ 9194055 w 12187339"/>
                  <a:gd name="connsiteY4027" fmla="*/ 6110580 h 6851196"/>
                  <a:gd name="connsiteX4028" fmla="*/ 9424546 w 12187339"/>
                  <a:gd name="connsiteY4028" fmla="*/ 5872455 h 6851196"/>
                  <a:gd name="connsiteX4029" fmla="*/ 9648635 w 12187339"/>
                  <a:gd name="connsiteY4029" fmla="*/ 5872455 h 6851196"/>
                  <a:gd name="connsiteX4030" fmla="*/ 9648635 w 12187339"/>
                  <a:gd name="connsiteY4030" fmla="*/ 6110580 h 6851196"/>
                  <a:gd name="connsiteX4031" fmla="*/ 9424546 w 12187339"/>
                  <a:gd name="connsiteY4031" fmla="*/ 6110580 h 6851196"/>
                  <a:gd name="connsiteX4032" fmla="*/ 9655037 w 12187339"/>
                  <a:gd name="connsiteY4032" fmla="*/ 5872455 h 6851196"/>
                  <a:gd name="connsiteX4033" fmla="*/ 9877591 w 12187339"/>
                  <a:gd name="connsiteY4033" fmla="*/ 5872455 h 6851196"/>
                  <a:gd name="connsiteX4034" fmla="*/ 9877591 w 12187339"/>
                  <a:gd name="connsiteY4034" fmla="*/ 6110580 h 6851196"/>
                  <a:gd name="connsiteX4035" fmla="*/ 9655037 w 12187339"/>
                  <a:gd name="connsiteY4035" fmla="*/ 6110580 h 6851196"/>
                  <a:gd name="connsiteX4036" fmla="*/ 9883993 w 12187339"/>
                  <a:gd name="connsiteY4036" fmla="*/ 5872455 h 6851196"/>
                  <a:gd name="connsiteX4037" fmla="*/ 10108082 w 12187339"/>
                  <a:gd name="connsiteY4037" fmla="*/ 5872455 h 6851196"/>
                  <a:gd name="connsiteX4038" fmla="*/ 10108082 w 12187339"/>
                  <a:gd name="connsiteY4038" fmla="*/ 6110580 h 6851196"/>
                  <a:gd name="connsiteX4039" fmla="*/ 9883993 w 12187339"/>
                  <a:gd name="connsiteY4039" fmla="*/ 6110580 h 6851196"/>
                  <a:gd name="connsiteX4040" fmla="*/ 10114484 w 12187339"/>
                  <a:gd name="connsiteY4040" fmla="*/ 5872455 h 6851196"/>
                  <a:gd name="connsiteX4041" fmla="*/ 10338573 w 12187339"/>
                  <a:gd name="connsiteY4041" fmla="*/ 5872455 h 6851196"/>
                  <a:gd name="connsiteX4042" fmla="*/ 10338573 w 12187339"/>
                  <a:gd name="connsiteY4042" fmla="*/ 6110580 h 6851196"/>
                  <a:gd name="connsiteX4043" fmla="*/ 10114484 w 12187339"/>
                  <a:gd name="connsiteY4043" fmla="*/ 6110580 h 6851196"/>
                  <a:gd name="connsiteX4044" fmla="*/ 10344975 w 12187339"/>
                  <a:gd name="connsiteY4044" fmla="*/ 5872455 h 6851196"/>
                  <a:gd name="connsiteX4045" fmla="*/ 10569064 w 12187339"/>
                  <a:gd name="connsiteY4045" fmla="*/ 5872455 h 6851196"/>
                  <a:gd name="connsiteX4046" fmla="*/ 10569064 w 12187339"/>
                  <a:gd name="connsiteY4046" fmla="*/ 6110580 h 6851196"/>
                  <a:gd name="connsiteX4047" fmla="*/ 10344975 w 12187339"/>
                  <a:gd name="connsiteY4047" fmla="*/ 6110580 h 6851196"/>
                  <a:gd name="connsiteX4048" fmla="*/ 10575466 w 12187339"/>
                  <a:gd name="connsiteY4048" fmla="*/ 5872455 h 6851196"/>
                  <a:gd name="connsiteX4049" fmla="*/ 10798016 w 12187339"/>
                  <a:gd name="connsiteY4049" fmla="*/ 5872455 h 6851196"/>
                  <a:gd name="connsiteX4050" fmla="*/ 10798016 w 12187339"/>
                  <a:gd name="connsiteY4050" fmla="*/ 6110580 h 6851196"/>
                  <a:gd name="connsiteX4051" fmla="*/ 10575466 w 12187339"/>
                  <a:gd name="connsiteY4051" fmla="*/ 6110580 h 6851196"/>
                  <a:gd name="connsiteX4052" fmla="*/ 10804419 w 12187339"/>
                  <a:gd name="connsiteY4052" fmla="*/ 5872455 h 6851196"/>
                  <a:gd name="connsiteX4053" fmla="*/ 11028507 w 12187339"/>
                  <a:gd name="connsiteY4053" fmla="*/ 5872455 h 6851196"/>
                  <a:gd name="connsiteX4054" fmla="*/ 11028507 w 12187339"/>
                  <a:gd name="connsiteY4054" fmla="*/ 6110580 h 6851196"/>
                  <a:gd name="connsiteX4055" fmla="*/ 10804419 w 12187339"/>
                  <a:gd name="connsiteY4055" fmla="*/ 6110580 h 6851196"/>
                  <a:gd name="connsiteX4056" fmla="*/ 11034910 w 12187339"/>
                  <a:gd name="connsiteY4056" fmla="*/ 5872455 h 6851196"/>
                  <a:gd name="connsiteX4057" fmla="*/ 11258998 w 12187339"/>
                  <a:gd name="connsiteY4057" fmla="*/ 5872455 h 6851196"/>
                  <a:gd name="connsiteX4058" fmla="*/ 11258998 w 12187339"/>
                  <a:gd name="connsiteY4058" fmla="*/ 6110580 h 6851196"/>
                  <a:gd name="connsiteX4059" fmla="*/ 11034910 w 12187339"/>
                  <a:gd name="connsiteY4059" fmla="*/ 6110580 h 6851196"/>
                  <a:gd name="connsiteX4060" fmla="*/ 11265401 w 12187339"/>
                  <a:gd name="connsiteY4060" fmla="*/ 5872455 h 6851196"/>
                  <a:gd name="connsiteX4061" fmla="*/ 11487954 w 12187339"/>
                  <a:gd name="connsiteY4061" fmla="*/ 5872455 h 6851196"/>
                  <a:gd name="connsiteX4062" fmla="*/ 11487954 w 12187339"/>
                  <a:gd name="connsiteY4062" fmla="*/ 6110580 h 6851196"/>
                  <a:gd name="connsiteX4063" fmla="*/ 11265401 w 12187339"/>
                  <a:gd name="connsiteY4063" fmla="*/ 6110580 h 6851196"/>
                  <a:gd name="connsiteX4064" fmla="*/ 11265401 w 12187339"/>
                  <a:gd name="connsiteY4064" fmla="*/ 5865652 h 6851196"/>
                  <a:gd name="connsiteX4065" fmla="*/ 11265401 w 12187339"/>
                  <a:gd name="connsiteY4065" fmla="*/ 5627527 h 6851196"/>
                  <a:gd name="connsiteX4066" fmla="*/ 11487954 w 12187339"/>
                  <a:gd name="connsiteY4066" fmla="*/ 5627527 h 6851196"/>
                  <a:gd name="connsiteX4067" fmla="*/ 11487954 w 12187339"/>
                  <a:gd name="connsiteY4067" fmla="*/ 5865652 h 6851196"/>
                  <a:gd name="connsiteX4068" fmla="*/ 11265401 w 12187339"/>
                  <a:gd name="connsiteY4068" fmla="*/ 5620723 h 6851196"/>
                  <a:gd name="connsiteX4069" fmla="*/ 11265401 w 12187339"/>
                  <a:gd name="connsiteY4069" fmla="*/ 5382598 h 6851196"/>
                  <a:gd name="connsiteX4070" fmla="*/ 11487954 w 12187339"/>
                  <a:gd name="connsiteY4070" fmla="*/ 5382598 h 6851196"/>
                  <a:gd name="connsiteX4071" fmla="*/ 11487954 w 12187339"/>
                  <a:gd name="connsiteY4071" fmla="*/ 5620723 h 6851196"/>
                  <a:gd name="connsiteX4072" fmla="*/ 11265401 w 12187339"/>
                  <a:gd name="connsiteY4072" fmla="*/ 5375795 h 6851196"/>
                  <a:gd name="connsiteX4073" fmla="*/ 11265401 w 12187339"/>
                  <a:gd name="connsiteY4073" fmla="*/ 5139302 h 6851196"/>
                  <a:gd name="connsiteX4074" fmla="*/ 11487954 w 12187339"/>
                  <a:gd name="connsiteY4074" fmla="*/ 5139302 h 6851196"/>
                  <a:gd name="connsiteX4075" fmla="*/ 11487954 w 12187339"/>
                  <a:gd name="connsiteY4075" fmla="*/ 5375795 h 6851196"/>
                  <a:gd name="connsiteX4076" fmla="*/ 11265401 w 12187339"/>
                  <a:gd name="connsiteY4076" fmla="*/ 5132499 h 6851196"/>
                  <a:gd name="connsiteX4077" fmla="*/ 11265401 w 12187339"/>
                  <a:gd name="connsiteY4077" fmla="*/ 4894374 h 6851196"/>
                  <a:gd name="connsiteX4078" fmla="*/ 11487954 w 12187339"/>
                  <a:gd name="connsiteY4078" fmla="*/ 4894374 h 6851196"/>
                  <a:gd name="connsiteX4079" fmla="*/ 11487954 w 12187339"/>
                  <a:gd name="connsiteY4079" fmla="*/ 5132090 h 6851196"/>
                  <a:gd name="connsiteX4080" fmla="*/ 11265401 w 12187339"/>
                  <a:gd name="connsiteY4080" fmla="*/ 4887570 h 6851196"/>
                  <a:gd name="connsiteX4081" fmla="*/ 11265401 w 12187339"/>
                  <a:gd name="connsiteY4081" fmla="*/ 4649445 h 6851196"/>
                  <a:gd name="connsiteX4082" fmla="*/ 11487954 w 12187339"/>
                  <a:gd name="connsiteY4082" fmla="*/ 4649445 h 6851196"/>
                  <a:gd name="connsiteX4083" fmla="*/ 11487954 w 12187339"/>
                  <a:gd name="connsiteY4083" fmla="*/ 4887162 h 6851196"/>
                  <a:gd name="connsiteX4084" fmla="*/ 11265401 w 12187339"/>
                  <a:gd name="connsiteY4084" fmla="*/ 4642642 h 6851196"/>
                  <a:gd name="connsiteX4085" fmla="*/ 11265401 w 12187339"/>
                  <a:gd name="connsiteY4085" fmla="*/ 4406149 h 6851196"/>
                  <a:gd name="connsiteX4086" fmla="*/ 11487954 w 12187339"/>
                  <a:gd name="connsiteY4086" fmla="*/ 4406149 h 6851196"/>
                  <a:gd name="connsiteX4087" fmla="*/ 11487954 w 12187339"/>
                  <a:gd name="connsiteY4087" fmla="*/ 4642233 h 6851196"/>
                  <a:gd name="connsiteX4088" fmla="*/ 11265401 w 12187339"/>
                  <a:gd name="connsiteY4088" fmla="*/ 4399346 h 6851196"/>
                  <a:gd name="connsiteX4089" fmla="*/ 11265401 w 12187339"/>
                  <a:gd name="connsiteY4089" fmla="*/ 4161221 h 6851196"/>
                  <a:gd name="connsiteX4090" fmla="*/ 11487954 w 12187339"/>
                  <a:gd name="connsiteY4090" fmla="*/ 4161221 h 6851196"/>
                  <a:gd name="connsiteX4091" fmla="*/ 11487954 w 12187339"/>
                  <a:gd name="connsiteY4091" fmla="*/ 4399346 h 6851196"/>
                  <a:gd name="connsiteX4092" fmla="*/ 11265401 w 12187339"/>
                  <a:gd name="connsiteY4092" fmla="*/ 4154417 h 6851196"/>
                  <a:gd name="connsiteX4093" fmla="*/ 11265401 w 12187339"/>
                  <a:gd name="connsiteY4093" fmla="*/ 3916292 h 6851196"/>
                  <a:gd name="connsiteX4094" fmla="*/ 11487954 w 12187339"/>
                  <a:gd name="connsiteY4094" fmla="*/ 3916292 h 6851196"/>
                  <a:gd name="connsiteX4095" fmla="*/ 11487954 w 12187339"/>
                  <a:gd name="connsiteY4095" fmla="*/ 4154417 h 6851196"/>
                  <a:gd name="connsiteX4096" fmla="*/ 11265401 w 12187339"/>
                  <a:gd name="connsiteY4096" fmla="*/ 3909489 h 6851196"/>
                  <a:gd name="connsiteX4097" fmla="*/ 11265401 w 12187339"/>
                  <a:gd name="connsiteY4097" fmla="*/ 3671364 h 6851196"/>
                  <a:gd name="connsiteX4098" fmla="*/ 11487954 w 12187339"/>
                  <a:gd name="connsiteY4098" fmla="*/ 3671364 h 6851196"/>
                  <a:gd name="connsiteX4099" fmla="*/ 11487954 w 12187339"/>
                  <a:gd name="connsiteY4099" fmla="*/ 3909489 h 6851196"/>
                  <a:gd name="connsiteX4100" fmla="*/ 11265401 w 12187339"/>
                  <a:gd name="connsiteY4100" fmla="*/ 3664560 h 6851196"/>
                  <a:gd name="connsiteX4101" fmla="*/ 11265401 w 12187339"/>
                  <a:gd name="connsiteY4101" fmla="*/ 3428068 h 6851196"/>
                  <a:gd name="connsiteX4102" fmla="*/ 11487954 w 12187339"/>
                  <a:gd name="connsiteY4102" fmla="*/ 3428068 h 6851196"/>
                  <a:gd name="connsiteX4103" fmla="*/ 11487954 w 12187339"/>
                  <a:gd name="connsiteY4103" fmla="*/ 3664560 h 6851196"/>
                  <a:gd name="connsiteX4104" fmla="*/ 11265401 w 12187339"/>
                  <a:gd name="connsiteY4104" fmla="*/ 3421264 h 6851196"/>
                  <a:gd name="connsiteX4105" fmla="*/ 11265401 w 12187339"/>
                  <a:gd name="connsiteY4105" fmla="*/ 3183139 h 6851196"/>
                  <a:gd name="connsiteX4106" fmla="*/ 11487954 w 12187339"/>
                  <a:gd name="connsiteY4106" fmla="*/ 3183139 h 6851196"/>
                  <a:gd name="connsiteX4107" fmla="*/ 11487954 w 12187339"/>
                  <a:gd name="connsiteY4107" fmla="*/ 3421264 h 6851196"/>
                  <a:gd name="connsiteX4108" fmla="*/ 11265401 w 12187339"/>
                  <a:gd name="connsiteY4108" fmla="*/ 3176336 h 6851196"/>
                  <a:gd name="connsiteX4109" fmla="*/ 11265401 w 12187339"/>
                  <a:gd name="connsiteY4109" fmla="*/ 2938211 h 6851196"/>
                  <a:gd name="connsiteX4110" fmla="*/ 11487954 w 12187339"/>
                  <a:gd name="connsiteY4110" fmla="*/ 2938211 h 6851196"/>
                  <a:gd name="connsiteX4111" fmla="*/ 11487954 w 12187339"/>
                  <a:gd name="connsiteY4111" fmla="*/ 3176336 h 6851196"/>
                  <a:gd name="connsiteX4112" fmla="*/ 11265401 w 12187339"/>
                  <a:gd name="connsiteY4112" fmla="*/ 2931407 h 6851196"/>
                  <a:gd name="connsiteX4113" fmla="*/ 11265401 w 12187339"/>
                  <a:gd name="connsiteY4113" fmla="*/ 2693282 h 6851196"/>
                  <a:gd name="connsiteX4114" fmla="*/ 11487954 w 12187339"/>
                  <a:gd name="connsiteY4114" fmla="*/ 2693282 h 6851196"/>
                  <a:gd name="connsiteX4115" fmla="*/ 11487954 w 12187339"/>
                  <a:gd name="connsiteY4115" fmla="*/ 2931407 h 6851196"/>
                  <a:gd name="connsiteX4116" fmla="*/ 11265401 w 12187339"/>
                  <a:gd name="connsiteY4116" fmla="*/ 2686479 h 6851196"/>
                  <a:gd name="connsiteX4117" fmla="*/ 11265401 w 12187339"/>
                  <a:gd name="connsiteY4117" fmla="*/ 2449986 h 6851196"/>
                  <a:gd name="connsiteX4118" fmla="*/ 11487954 w 12187339"/>
                  <a:gd name="connsiteY4118" fmla="*/ 2449986 h 6851196"/>
                  <a:gd name="connsiteX4119" fmla="*/ 11487954 w 12187339"/>
                  <a:gd name="connsiteY4119" fmla="*/ 2686479 h 6851196"/>
                  <a:gd name="connsiteX4120" fmla="*/ 11265401 w 12187339"/>
                  <a:gd name="connsiteY4120" fmla="*/ 2443183 h 6851196"/>
                  <a:gd name="connsiteX4121" fmla="*/ 11265401 w 12187339"/>
                  <a:gd name="connsiteY4121" fmla="*/ 2205058 h 6851196"/>
                  <a:gd name="connsiteX4122" fmla="*/ 11487954 w 12187339"/>
                  <a:gd name="connsiteY4122" fmla="*/ 2205058 h 6851196"/>
                  <a:gd name="connsiteX4123" fmla="*/ 11487954 w 12187339"/>
                  <a:gd name="connsiteY4123" fmla="*/ 2443183 h 6851196"/>
                  <a:gd name="connsiteX4124" fmla="*/ 11265401 w 12187339"/>
                  <a:gd name="connsiteY4124" fmla="*/ 2198254 h 6851196"/>
                  <a:gd name="connsiteX4125" fmla="*/ 11265401 w 12187339"/>
                  <a:gd name="connsiteY4125" fmla="*/ 1960129 h 6851196"/>
                  <a:gd name="connsiteX4126" fmla="*/ 11487954 w 12187339"/>
                  <a:gd name="connsiteY4126" fmla="*/ 1960129 h 6851196"/>
                  <a:gd name="connsiteX4127" fmla="*/ 11487954 w 12187339"/>
                  <a:gd name="connsiteY4127" fmla="*/ 2198254 h 6851196"/>
                  <a:gd name="connsiteX4128" fmla="*/ 11265401 w 12187339"/>
                  <a:gd name="connsiteY4128" fmla="*/ 1953326 h 6851196"/>
                  <a:gd name="connsiteX4129" fmla="*/ 11265401 w 12187339"/>
                  <a:gd name="connsiteY4129" fmla="*/ 1716697 h 6851196"/>
                  <a:gd name="connsiteX4130" fmla="*/ 11487954 w 12187339"/>
                  <a:gd name="connsiteY4130" fmla="*/ 1716697 h 6851196"/>
                  <a:gd name="connsiteX4131" fmla="*/ 11487954 w 12187339"/>
                  <a:gd name="connsiteY4131" fmla="*/ 1953189 h 6851196"/>
                  <a:gd name="connsiteX4132" fmla="*/ 11265401 w 12187339"/>
                  <a:gd name="connsiteY4132" fmla="*/ 1710030 h 6851196"/>
                  <a:gd name="connsiteX4133" fmla="*/ 11265401 w 12187339"/>
                  <a:gd name="connsiteY4133" fmla="*/ 1471769 h 6851196"/>
                  <a:gd name="connsiteX4134" fmla="*/ 11487954 w 12187339"/>
                  <a:gd name="connsiteY4134" fmla="*/ 1471769 h 6851196"/>
                  <a:gd name="connsiteX4135" fmla="*/ 11487954 w 12187339"/>
                  <a:gd name="connsiteY4135" fmla="*/ 1709894 h 6851196"/>
                  <a:gd name="connsiteX4136" fmla="*/ 11265401 w 12187339"/>
                  <a:gd name="connsiteY4136" fmla="*/ 1465101 h 6851196"/>
                  <a:gd name="connsiteX4137" fmla="*/ 11265401 w 12187339"/>
                  <a:gd name="connsiteY4137" fmla="*/ 1226840 h 6851196"/>
                  <a:gd name="connsiteX4138" fmla="*/ 11487954 w 12187339"/>
                  <a:gd name="connsiteY4138" fmla="*/ 1226840 h 6851196"/>
                  <a:gd name="connsiteX4139" fmla="*/ 11487954 w 12187339"/>
                  <a:gd name="connsiteY4139" fmla="*/ 1464965 h 6851196"/>
                  <a:gd name="connsiteX4140" fmla="*/ 11265401 w 12187339"/>
                  <a:gd name="connsiteY4140" fmla="*/ 1220173 h 6851196"/>
                  <a:gd name="connsiteX4141" fmla="*/ 11265401 w 12187339"/>
                  <a:gd name="connsiteY4141" fmla="*/ 981911 h 6851196"/>
                  <a:gd name="connsiteX4142" fmla="*/ 11487954 w 12187339"/>
                  <a:gd name="connsiteY4142" fmla="*/ 981911 h 6851196"/>
                  <a:gd name="connsiteX4143" fmla="*/ 11487954 w 12187339"/>
                  <a:gd name="connsiteY4143" fmla="*/ 1220036 h 6851196"/>
                  <a:gd name="connsiteX4144" fmla="*/ 11265401 w 12187339"/>
                  <a:gd name="connsiteY4144" fmla="*/ 975244 h 6851196"/>
                  <a:gd name="connsiteX4145" fmla="*/ 11265401 w 12187339"/>
                  <a:gd name="connsiteY4145" fmla="*/ 738752 h 6851196"/>
                  <a:gd name="connsiteX4146" fmla="*/ 11487954 w 12187339"/>
                  <a:gd name="connsiteY4146" fmla="*/ 738752 h 6851196"/>
                  <a:gd name="connsiteX4147" fmla="*/ 11487954 w 12187339"/>
                  <a:gd name="connsiteY4147" fmla="*/ 975244 h 6851196"/>
                  <a:gd name="connsiteX4148" fmla="*/ 11265401 w 12187339"/>
                  <a:gd name="connsiteY4148" fmla="*/ 731948 h 6851196"/>
                  <a:gd name="connsiteX4149" fmla="*/ 11265401 w 12187339"/>
                  <a:gd name="connsiteY4149" fmla="*/ 493823 h 6851196"/>
                  <a:gd name="connsiteX4150" fmla="*/ 11487954 w 12187339"/>
                  <a:gd name="connsiteY4150" fmla="*/ 493823 h 6851196"/>
                  <a:gd name="connsiteX4151" fmla="*/ 11487954 w 12187339"/>
                  <a:gd name="connsiteY4151" fmla="*/ 731948 h 6851196"/>
                  <a:gd name="connsiteX4152" fmla="*/ 11258998 w 12187339"/>
                  <a:gd name="connsiteY4152" fmla="*/ 731948 h 6851196"/>
                  <a:gd name="connsiteX4153" fmla="*/ 11034910 w 12187339"/>
                  <a:gd name="connsiteY4153" fmla="*/ 731948 h 6851196"/>
                  <a:gd name="connsiteX4154" fmla="*/ 11034910 w 12187339"/>
                  <a:gd name="connsiteY4154" fmla="*/ 493823 h 6851196"/>
                  <a:gd name="connsiteX4155" fmla="*/ 11258998 w 12187339"/>
                  <a:gd name="connsiteY4155" fmla="*/ 493823 h 6851196"/>
                  <a:gd name="connsiteX4156" fmla="*/ 11028507 w 12187339"/>
                  <a:gd name="connsiteY4156" fmla="*/ 731948 h 6851196"/>
                  <a:gd name="connsiteX4157" fmla="*/ 10804419 w 12187339"/>
                  <a:gd name="connsiteY4157" fmla="*/ 731948 h 6851196"/>
                  <a:gd name="connsiteX4158" fmla="*/ 10804419 w 12187339"/>
                  <a:gd name="connsiteY4158" fmla="*/ 493823 h 6851196"/>
                  <a:gd name="connsiteX4159" fmla="*/ 11028507 w 12187339"/>
                  <a:gd name="connsiteY4159" fmla="*/ 493823 h 6851196"/>
                  <a:gd name="connsiteX4160" fmla="*/ 10798016 w 12187339"/>
                  <a:gd name="connsiteY4160" fmla="*/ 731948 h 6851196"/>
                  <a:gd name="connsiteX4161" fmla="*/ 10575466 w 12187339"/>
                  <a:gd name="connsiteY4161" fmla="*/ 731948 h 6851196"/>
                  <a:gd name="connsiteX4162" fmla="*/ 10575466 w 12187339"/>
                  <a:gd name="connsiteY4162" fmla="*/ 493823 h 6851196"/>
                  <a:gd name="connsiteX4163" fmla="*/ 10798016 w 12187339"/>
                  <a:gd name="connsiteY4163" fmla="*/ 493823 h 6851196"/>
                  <a:gd name="connsiteX4164" fmla="*/ 10569064 w 12187339"/>
                  <a:gd name="connsiteY4164" fmla="*/ 731948 h 6851196"/>
                  <a:gd name="connsiteX4165" fmla="*/ 10344975 w 12187339"/>
                  <a:gd name="connsiteY4165" fmla="*/ 731948 h 6851196"/>
                  <a:gd name="connsiteX4166" fmla="*/ 10344975 w 12187339"/>
                  <a:gd name="connsiteY4166" fmla="*/ 493823 h 6851196"/>
                  <a:gd name="connsiteX4167" fmla="*/ 10569064 w 12187339"/>
                  <a:gd name="connsiteY4167" fmla="*/ 493823 h 6851196"/>
                  <a:gd name="connsiteX4168" fmla="*/ 10338573 w 12187339"/>
                  <a:gd name="connsiteY4168" fmla="*/ 731948 h 6851196"/>
                  <a:gd name="connsiteX4169" fmla="*/ 10114484 w 12187339"/>
                  <a:gd name="connsiteY4169" fmla="*/ 731948 h 6851196"/>
                  <a:gd name="connsiteX4170" fmla="*/ 10114484 w 12187339"/>
                  <a:gd name="connsiteY4170" fmla="*/ 493823 h 6851196"/>
                  <a:gd name="connsiteX4171" fmla="*/ 10338573 w 12187339"/>
                  <a:gd name="connsiteY4171" fmla="*/ 493823 h 6851196"/>
                  <a:gd name="connsiteX4172" fmla="*/ 10108082 w 12187339"/>
                  <a:gd name="connsiteY4172" fmla="*/ 731948 h 6851196"/>
                  <a:gd name="connsiteX4173" fmla="*/ 9883993 w 12187339"/>
                  <a:gd name="connsiteY4173" fmla="*/ 731948 h 6851196"/>
                  <a:gd name="connsiteX4174" fmla="*/ 9883993 w 12187339"/>
                  <a:gd name="connsiteY4174" fmla="*/ 493823 h 6851196"/>
                  <a:gd name="connsiteX4175" fmla="*/ 10108082 w 12187339"/>
                  <a:gd name="connsiteY4175" fmla="*/ 493823 h 6851196"/>
                  <a:gd name="connsiteX4176" fmla="*/ 9877591 w 12187339"/>
                  <a:gd name="connsiteY4176" fmla="*/ 731948 h 6851196"/>
                  <a:gd name="connsiteX4177" fmla="*/ 9655037 w 12187339"/>
                  <a:gd name="connsiteY4177" fmla="*/ 731948 h 6851196"/>
                  <a:gd name="connsiteX4178" fmla="*/ 9655037 w 12187339"/>
                  <a:gd name="connsiteY4178" fmla="*/ 493823 h 6851196"/>
                  <a:gd name="connsiteX4179" fmla="*/ 9877591 w 12187339"/>
                  <a:gd name="connsiteY4179" fmla="*/ 493823 h 6851196"/>
                  <a:gd name="connsiteX4180" fmla="*/ 9648635 w 12187339"/>
                  <a:gd name="connsiteY4180" fmla="*/ 731948 h 6851196"/>
                  <a:gd name="connsiteX4181" fmla="*/ 9424546 w 12187339"/>
                  <a:gd name="connsiteY4181" fmla="*/ 731948 h 6851196"/>
                  <a:gd name="connsiteX4182" fmla="*/ 9424546 w 12187339"/>
                  <a:gd name="connsiteY4182" fmla="*/ 493823 h 6851196"/>
                  <a:gd name="connsiteX4183" fmla="*/ 9648635 w 12187339"/>
                  <a:gd name="connsiteY4183" fmla="*/ 493823 h 6851196"/>
                  <a:gd name="connsiteX4184" fmla="*/ 9418144 w 12187339"/>
                  <a:gd name="connsiteY4184" fmla="*/ 731948 h 6851196"/>
                  <a:gd name="connsiteX4185" fmla="*/ 9194055 w 12187339"/>
                  <a:gd name="connsiteY4185" fmla="*/ 731948 h 6851196"/>
                  <a:gd name="connsiteX4186" fmla="*/ 9194055 w 12187339"/>
                  <a:gd name="connsiteY4186" fmla="*/ 493823 h 6851196"/>
                  <a:gd name="connsiteX4187" fmla="*/ 9418144 w 12187339"/>
                  <a:gd name="connsiteY4187" fmla="*/ 493823 h 6851196"/>
                  <a:gd name="connsiteX4188" fmla="*/ 9187653 w 12187339"/>
                  <a:gd name="connsiteY4188" fmla="*/ 731948 h 6851196"/>
                  <a:gd name="connsiteX4189" fmla="*/ 8963564 w 12187339"/>
                  <a:gd name="connsiteY4189" fmla="*/ 731948 h 6851196"/>
                  <a:gd name="connsiteX4190" fmla="*/ 8963564 w 12187339"/>
                  <a:gd name="connsiteY4190" fmla="*/ 493823 h 6851196"/>
                  <a:gd name="connsiteX4191" fmla="*/ 9187653 w 12187339"/>
                  <a:gd name="connsiteY4191" fmla="*/ 493823 h 6851196"/>
                  <a:gd name="connsiteX4192" fmla="*/ 8957162 w 12187339"/>
                  <a:gd name="connsiteY4192" fmla="*/ 731948 h 6851196"/>
                  <a:gd name="connsiteX4193" fmla="*/ 8734611 w 12187339"/>
                  <a:gd name="connsiteY4193" fmla="*/ 731948 h 6851196"/>
                  <a:gd name="connsiteX4194" fmla="*/ 8734611 w 12187339"/>
                  <a:gd name="connsiteY4194" fmla="*/ 493823 h 6851196"/>
                  <a:gd name="connsiteX4195" fmla="*/ 8957162 w 12187339"/>
                  <a:gd name="connsiteY4195" fmla="*/ 493823 h 6851196"/>
                  <a:gd name="connsiteX4196" fmla="*/ 8728209 w 12187339"/>
                  <a:gd name="connsiteY4196" fmla="*/ 731948 h 6851196"/>
                  <a:gd name="connsiteX4197" fmla="*/ 8504120 w 12187339"/>
                  <a:gd name="connsiteY4197" fmla="*/ 731948 h 6851196"/>
                  <a:gd name="connsiteX4198" fmla="*/ 8504120 w 12187339"/>
                  <a:gd name="connsiteY4198" fmla="*/ 493823 h 6851196"/>
                  <a:gd name="connsiteX4199" fmla="*/ 8728209 w 12187339"/>
                  <a:gd name="connsiteY4199" fmla="*/ 493823 h 6851196"/>
                  <a:gd name="connsiteX4200" fmla="*/ 8497718 w 12187339"/>
                  <a:gd name="connsiteY4200" fmla="*/ 731948 h 6851196"/>
                  <a:gd name="connsiteX4201" fmla="*/ 8273629 w 12187339"/>
                  <a:gd name="connsiteY4201" fmla="*/ 731948 h 6851196"/>
                  <a:gd name="connsiteX4202" fmla="*/ 8273629 w 12187339"/>
                  <a:gd name="connsiteY4202" fmla="*/ 493823 h 6851196"/>
                  <a:gd name="connsiteX4203" fmla="*/ 8497718 w 12187339"/>
                  <a:gd name="connsiteY4203" fmla="*/ 493823 h 6851196"/>
                  <a:gd name="connsiteX4204" fmla="*/ 8267227 w 12187339"/>
                  <a:gd name="connsiteY4204" fmla="*/ 731948 h 6851196"/>
                  <a:gd name="connsiteX4205" fmla="*/ 8044420 w 12187339"/>
                  <a:gd name="connsiteY4205" fmla="*/ 731948 h 6851196"/>
                  <a:gd name="connsiteX4206" fmla="*/ 8044420 w 12187339"/>
                  <a:gd name="connsiteY4206" fmla="*/ 493823 h 6851196"/>
                  <a:gd name="connsiteX4207" fmla="*/ 8267227 w 12187339"/>
                  <a:gd name="connsiteY4207" fmla="*/ 493823 h 6851196"/>
                  <a:gd name="connsiteX4208" fmla="*/ 8038274 w 12187339"/>
                  <a:gd name="connsiteY4208" fmla="*/ 731948 h 6851196"/>
                  <a:gd name="connsiteX4209" fmla="*/ 7814186 w 12187339"/>
                  <a:gd name="connsiteY4209" fmla="*/ 731948 h 6851196"/>
                  <a:gd name="connsiteX4210" fmla="*/ 7814186 w 12187339"/>
                  <a:gd name="connsiteY4210" fmla="*/ 493823 h 6851196"/>
                  <a:gd name="connsiteX4211" fmla="*/ 8038274 w 12187339"/>
                  <a:gd name="connsiteY4211" fmla="*/ 493823 h 6851196"/>
                  <a:gd name="connsiteX4212" fmla="*/ 7807783 w 12187339"/>
                  <a:gd name="connsiteY4212" fmla="*/ 731948 h 6851196"/>
                  <a:gd name="connsiteX4213" fmla="*/ 7583695 w 12187339"/>
                  <a:gd name="connsiteY4213" fmla="*/ 731948 h 6851196"/>
                  <a:gd name="connsiteX4214" fmla="*/ 7583695 w 12187339"/>
                  <a:gd name="connsiteY4214" fmla="*/ 493823 h 6851196"/>
                  <a:gd name="connsiteX4215" fmla="*/ 7807783 w 12187339"/>
                  <a:gd name="connsiteY4215" fmla="*/ 493823 h 6851196"/>
                  <a:gd name="connsiteX4216" fmla="*/ 7577292 w 12187339"/>
                  <a:gd name="connsiteY4216" fmla="*/ 731948 h 6851196"/>
                  <a:gd name="connsiteX4217" fmla="*/ 7353204 w 12187339"/>
                  <a:gd name="connsiteY4217" fmla="*/ 731948 h 6851196"/>
                  <a:gd name="connsiteX4218" fmla="*/ 7353204 w 12187339"/>
                  <a:gd name="connsiteY4218" fmla="*/ 493823 h 6851196"/>
                  <a:gd name="connsiteX4219" fmla="*/ 7577292 w 12187339"/>
                  <a:gd name="connsiteY4219" fmla="*/ 493823 h 6851196"/>
                  <a:gd name="connsiteX4220" fmla="*/ 7346801 w 12187339"/>
                  <a:gd name="connsiteY4220" fmla="*/ 731948 h 6851196"/>
                  <a:gd name="connsiteX4221" fmla="*/ 7124247 w 12187339"/>
                  <a:gd name="connsiteY4221" fmla="*/ 731948 h 6851196"/>
                  <a:gd name="connsiteX4222" fmla="*/ 7124247 w 12187339"/>
                  <a:gd name="connsiteY4222" fmla="*/ 493823 h 6851196"/>
                  <a:gd name="connsiteX4223" fmla="*/ 7346801 w 12187339"/>
                  <a:gd name="connsiteY4223" fmla="*/ 493823 h 6851196"/>
                  <a:gd name="connsiteX4224" fmla="*/ 7117845 w 12187339"/>
                  <a:gd name="connsiteY4224" fmla="*/ 731948 h 6851196"/>
                  <a:gd name="connsiteX4225" fmla="*/ 6893756 w 12187339"/>
                  <a:gd name="connsiteY4225" fmla="*/ 731948 h 6851196"/>
                  <a:gd name="connsiteX4226" fmla="*/ 6893756 w 12187339"/>
                  <a:gd name="connsiteY4226" fmla="*/ 493823 h 6851196"/>
                  <a:gd name="connsiteX4227" fmla="*/ 7117845 w 12187339"/>
                  <a:gd name="connsiteY4227" fmla="*/ 493823 h 6851196"/>
                  <a:gd name="connsiteX4228" fmla="*/ 6887354 w 12187339"/>
                  <a:gd name="connsiteY4228" fmla="*/ 731948 h 6851196"/>
                  <a:gd name="connsiteX4229" fmla="*/ 6663265 w 12187339"/>
                  <a:gd name="connsiteY4229" fmla="*/ 731948 h 6851196"/>
                  <a:gd name="connsiteX4230" fmla="*/ 6663265 w 12187339"/>
                  <a:gd name="connsiteY4230" fmla="*/ 493823 h 6851196"/>
                  <a:gd name="connsiteX4231" fmla="*/ 6887354 w 12187339"/>
                  <a:gd name="connsiteY4231" fmla="*/ 493823 h 6851196"/>
                  <a:gd name="connsiteX4232" fmla="*/ 6656863 w 12187339"/>
                  <a:gd name="connsiteY4232" fmla="*/ 731948 h 6851196"/>
                  <a:gd name="connsiteX4233" fmla="*/ 6446349 w 12187339"/>
                  <a:gd name="connsiteY4233" fmla="*/ 731948 h 6851196"/>
                  <a:gd name="connsiteX4234" fmla="*/ 6446349 w 12187339"/>
                  <a:gd name="connsiteY4234" fmla="*/ 493823 h 6851196"/>
                  <a:gd name="connsiteX4235" fmla="*/ 6656863 w 12187339"/>
                  <a:gd name="connsiteY4235" fmla="*/ 493823 h 6851196"/>
                  <a:gd name="connsiteX4236" fmla="*/ 6439946 w 12187339"/>
                  <a:gd name="connsiteY4236" fmla="*/ 731948 h 6851196"/>
                  <a:gd name="connsiteX4237" fmla="*/ 6217136 w 12187339"/>
                  <a:gd name="connsiteY4237" fmla="*/ 731948 h 6851196"/>
                  <a:gd name="connsiteX4238" fmla="*/ 6217136 w 12187339"/>
                  <a:gd name="connsiteY4238" fmla="*/ 493823 h 6851196"/>
                  <a:gd name="connsiteX4239" fmla="*/ 6439690 w 12187339"/>
                  <a:gd name="connsiteY4239" fmla="*/ 493823 h 6851196"/>
                  <a:gd name="connsiteX4240" fmla="*/ 6210990 w 12187339"/>
                  <a:gd name="connsiteY4240" fmla="*/ 731948 h 6851196"/>
                  <a:gd name="connsiteX4241" fmla="*/ 5986902 w 12187339"/>
                  <a:gd name="connsiteY4241" fmla="*/ 731948 h 6851196"/>
                  <a:gd name="connsiteX4242" fmla="*/ 5986902 w 12187339"/>
                  <a:gd name="connsiteY4242" fmla="*/ 493823 h 6851196"/>
                  <a:gd name="connsiteX4243" fmla="*/ 6210990 w 12187339"/>
                  <a:gd name="connsiteY4243" fmla="*/ 493823 h 6851196"/>
                  <a:gd name="connsiteX4244" fmla="*/ 5980499 w 12187339"/>
                  <a:gd name="connsiteY4244" fmla="*/ 731948 h 6851196"/>
                  <a:gd name="connsiteX4245" fmla="*/ 5756411 w 12187339"/>
                  <a:gd name="connsiteY4245" fmla="*/ 731948 h 6851196"/>
                  <a:gd name="connsiteX4246" fmla="*/ 5756411 w 12187339"/>
                  <a:gd name="connsiteY4246" fmla="*/ 493823 h 6851196"/>
                  <a:gd name="connsiteX4247" fmla="*/ 5980499 w 12187339"/>
                  <a:gd name="connsiteY4247" fmla="*/ 493823 h 6851196"/>
                  <a:gd name="connsiteX4248" fmla="*/ 5750008 w 12187339"/>
                  <a:gd name="connsiteY4248" fmla="*/ 731948 h 6851196"/>
                  <a:gd name="connsiteX4249" fmla="*/ 5526945 w 12187339"/>
                  <a:gd name="connsiteY4249" fmla="*/ 731948 h 6851196"/>
                  <a:gd name="connsiteX4250" fmla="*/ 5526945 w 12187339"/>
                  <a:gd name="connsiteY4250" fmla="*/ 493823 h 6851196"/>
                  <a:gd name="connsiteX4251" fmla="*/ 5749495 w 12187339"/>
                  <a:gd name="connsiteY4251" fmla="*/ 493823 h 6851196"/>
                  <a:gd name="connsiteX4252" fmla="*/ 5521055 w 12187339"/>
                  <a:gd name="connsiteY4252" fmla="*/ 731948 h 6851196"/>
                  <a:gd name="connsiteX4253" fmla="*/ 5296454 w 12187339"/>
                  <a:gd name="connsiteY4253" fmla="*/ 731948 h 6851196"/>
                  <a:gd name="connsiteX4254" fmla="*/ 5296454 w 12187339"/>
                  <a:gd name="connsiteY4254" fmla="*/ 493823 h 6851196"/>
                  <a:gd name="connsiteX4255" fmla="*/ 5520542 w 12187339"/>
                  <a:gd name="connsiteY4255" fmla="*/ 493823 h 6851196"/>
                  <a:gd name="connsiteX4256" fmla="*/ 5290564 w 12187339"/>
                  <a:gd name="connsiteY4256" fmla="*/ 731948 h 6851196"/>
                  <a:gd name="connsiteX4257" fmla="*/ 5065963 w 12187339"/>
                  <a:gd name="connsiteY4257" fmla="*/ 731948 h 6851196"/>
                  <a:gd name="connsiteX4258" fmla="*/ 5065963 w 12187339"/>
                  <a:gd name="connsiteY4258" fmla="*/ 493823 h 6851196"/>
                  <a:gd name="connsiteX4259" fmla="*/ 5290051 w 12187339"/>
                  <a:gd name="connsiteY4259" fmla="*/ 493823 h 6851196"/>
                  <a:gd name="connsiteX4260" fmla="*/ 5060073 w 12187339"/>
                  <a:gd name="connsiteY4260" fmla="*/ 731948 h 6851196"/>
                  <a:gd name="connsiteX4261" fmla="*/ 4835472 w 12187339"/>
                  <a:gd name="connsiteY4261" fmla="*/ 731948 h 6851196"/>
                  <a:gd name="connsiteX4262" fmla="*/ 4835472 w 12187339"/>
                  <a:gd name="connsiteY4262" fmla="*/ 493823 h 6851196"/>
                  <a:gd name="connsiteX4263" fmla="*/ 5059560 w 12187339"/>
                  <a:gd name="connsiteY4263" fmla="*/ 493823 h 6851196"/>
                  <a:gd name="connsiteX4264" fmla="*/ 4829582 w 12187339"/>
                  <a:gd name="connsiteY4264" fmla="*/ 731948 h 6851196"/>
                  <a:gd name="connsiteX4265" fmla="*/ 4607029 w 12187339"/>
                  <a:gd name="connsiteY4265" fmla="*/ 731948 h 6851196"/>
                  <a:gd name="connsiteX4266" fmla="*/ 4607029 w 12187339"/>
                  <a:gd name="connsiteY4266" fmla="*/ 493823 h 6851196"/>
                  <a:gd name="connsiteX4267" fmla="*/ 4829582 w 12187339"/>
                  <a:gd name="connsiteY4267" fmla="*/ 493823 h 6851196"/>
                  <a:gd name="connsiteX4268" fmla="*/ 4600626 w 12187339"/>
                  <a:gd name="connsiteY4268" fmla="*/ 731948 h 6851196"/>
                  <a:gd name="connsiteX4269" fmla="*/ 4376538 w 12187339"/>
                  <a:gd name="connsiteY4269" fmla="*/ 731948 h 6851196"/>
                  <a:gd name="connsiteX4270" fmla="*/ 4376538 w 12187339"/>
                  <a:gd name="connsiteY4270" fmla="*/ 493823 h 6851196"/>
                  <a:gd name="connsiteX4271" fmla="*/ 4600626 w 12187339"/>
                  <a:gd name="connsiteY4271" fmla="*/ 493823 h 6851196"/>
                  <a:gd name="connsiteX4272" fmla="*/ 4370135 w 12187339"/>
                  <a:gd name="connsiteY4272" fmla="*/ 731948 h 6851196"/>
                  <a:gd name="connsiteX4273" fmla="*/ 4146047 w 12187339"/>
                  <a:gd name="connsiteY4273" fmla="*/ 731948 h 6851196"/>
                  <a:gd name="connsiteX4274" fmla="*/ 4146047 w 12187339"/>
                  <a:gd name="connsiteY4274" fmla="*/ 493823 h 6851196"/>
                  <a:gd name="connsiteX4275" fmla="*/ 4370135 w 12187339"/>
                  <a:gd name="connsiteY4275" fmla="*/ 493823 h 6851196"/>
                  <a:gd name="connsiteX4276" fmla="*/ 4139644 w 12187339"/>
                  <a:gd name="connsiteY4276" fmla="*/ 731948 h 6851196"/>
                  <a:gd name="connsiteX4277" fmla="*/ 3917094 w 12187339"/>
                  <a:gd name="connsiteY4277" fmla="*/ 731948 h 6851196"/>
                  <a:gd name="connsiteX4278" fmla="*/ 3917094 w 12187339"/>
                  <a:gd name="connsiteY4278" fmla="*/ 493823 h 6851196"/>
                  <a:gd name="connsiteX4279" fmla="*/ 4139644 w 12187339"/>
                  <a:gd name="connsiteY4279" fmla="*/ 493823 h 6851196"/>
                  <a:gd name="connsiteX4280" fmla="*/ 3910691 w 12187339"/>
                  <a:gd name="connsiteY4280" fmla="*/ 731948 h 6851196"/>
                  <a:gd name="connsiteX4281" fmla="*/ 3686603 w 12187339"/>
                  <a:gd name="connsiteY4281" fmla="*/ 731948 h 6851196"/>
                  <a:gd name="connsiteX4282" fmla="*/ 3686603 w 12187339"/>
                  <a:gd name="connsiteY4282" fmla="*/ 493823 h 6851196"/>
                  <a:gd name="connsiteX4283" fmla="*/ 3910691 w 12187339"/>
                  <a:gd name="connsiteY4283" fmla="*/ 493823 h 6851196"/>
                  <a:gd name="connsiteX4284" fmla="*/ 3680200 w 12187339"/>
                  <a:gd name="connsiteY4284" fmla="*/ 731948 h 6851196"/>
                  <a:gd name="connsiteX4285" fmla="*/ 3456112 w 12187339"/>
                  <a:gd name="connsiteY4285" fmla="*/ 731948 h 6851196"/>
                  <a:gd name="connsiteX4286" fmla="*/ 3456112 w 12187339"/>
                  <a:gd name="connsiteY4286" fmla="*/ 493823 h 6851196"/>
                  <a:gd name="connsiteX4287" fmla="*/ 3680200 w 12187339"/>
                  <a:gd name="connsiteY4287" fmla="*/ 493823 h 6851196"/>
                  <a:gd name="connsiteX4288" fmla="*/ 3449709 w 12187339"/>
                  <a:gd name="connsiteY4288" fmla="*/ 731948 h 6851196"/>
                  <a:gd name="connsiteX4289" fmla="*/ 3225621 w 12187339"/>
                  <a:gd name="connsiteY4289" fmla="*/ 731948 h 6851196"/>
                  <a:gd name="connsiteX4290" fmla="*/ 3225621 w 12187339"/>
                  <a:gd name="connsiteY4290" fmla="*/ 493823 h 6851196"/>
                  <a:gd name="connsiteX4291" fmla="*/ 3449709 w 12187339"/>
                  <a:gd name="connsiteY4291" fmla="*/ 493823 h 6851196"/>
                  <a:gd name="connsiteX4292" fmla="*/ 3219218 w 12187339"/>
                  <a:gd name="connsiteY4292" fmla="*/ 731948 h 6851196"/>
                  <a:gd name="connsiteX4293" fmla="*/ 2996666 w 12187339"/>
                  <a:gd name="connsiteY4293" fmla="*/ 731948 h 6851196"/>
                  <a:gd name="connsiteX4294" fmla="*/ 2996666 w 12187339"/>
                  <a:gd name="connsiteY4294" fmla="*/ 493823 h 6851196"/>
                  <a:gd name="connsiteX4295" fmla="*/ 3219218 w 12187339"/>
                  <a:gd name="connsiteY4295" fmla="*/ 493823 h 6851196"/>
                  <a:gd name="connsiteX4296" fmla="*/ 2990264 w 12187339"/>
                  <a:gd name="connsiteY4296" fmla="*/ 731948 h 6851196"/>
                  <a:gd name="connsiteX4297" fmla="*/ 2766175 w 12187339"/>
                  <a:gd name="connsiteY4297" fmla="*/ 731948 h 6851196"/>
                  <a:gd name="connsiteX4298" fmla="*/ 2766175 w 12187339"/>
                  <a:gd name="connsiteY4298" fmla="*/ 493823 h 6851196"/>
                  <a:gd name="connsiteX4299" fmla="*/ 2990264 w 12187339"/>
                  <a:gd name="connsiteY4299" fmla="*/ 493823 h 6851196"/>
                  <a:gd name="connsiteX4300" fmla="*/ 2759773 w 12187339"/>
                  <a:gd name="connsiteY4300" fmla="*/ 731948 h 6851196"/>
                  <a:gd name="connsiteX4301" fmla="*/ 2535684 w 12187339"/>
                  <a:gd name="connsiteY4301" fmla="*/ 731948 h 6851196"/>
                  <a:gd name="connsiteX4302" fmla="*/ 2535684 w 12187339"/>
                  <a:gd name="connsiteY4302" fmla="*/ 493823 h 6851196"/>
                  <a:gd name="connsiteX4303" fmla="*/ 2759773 w 12187339"/>
                  <a:gd name="connsiteY4303" fmla="*/ 493823 h 6851196"/>
                  <a:gd name="connsiteX4304" fmla="*/ 2529282 w 12187339"/>
                  <a:gd name="connsiteY4304" fmla="*/ 731948 h 6851196"/>
                  <a:gd name="connsiteX4305" fmla="*/ 2305193 w 12187339"/>
                  <a:gd name="connsiteY4305" fmla="*/ 731948 h 6851196"/>
                  <a:gd name="connsiteX4306" fmla="*/ 2305193 w 12187339"/>
                  <a:gd name="connsiteY4306" fmla="*/ 493823 h 6851196"/>
                  <a:gd name="connsiteX4307" fmla="*/ 2529282 w 12187339"/>
                  <a:gd name="connsiteY4307" fmla="*/ 493823 h 6851196"/>
                  <a:gd name="connsiteX4308" fmla="*/ 2298791 w 12187339"/>
                  <a:gd name="connsiteY4308" fmla="*/ 731948 h 6851196"/>
                  <a:gd name="connsiteX4309" fmla="*/ 2075982 w 12187339"/>
                  <a:gd name="connsiteY4309" fmla="*/ 731948 h 6851196"/>
                  <a:gd name="connsiteX4310" fmla="*/ 2075982 w 12187339"/>
                  <a:gd name="connsiteY4310" fmla="*/ 493823 h 6851196"/>
                  <a:gd name="connsiteX4311" fmla="*/ 2298534 w 12187339"/>
                  <a:gd name="connsiteY4311" fmla="*/ 493823 h 6851196"/>
                  <a:gd name="connsiteX4312" fmla="*/ 2069836 w 12187339"/>
                  <a:gd name="connsiteY4312" fmla="*/ 731948 h 6851196"/>
                  <a:gd name="connsiteX4313" fmla="*/ 1845748 w 12187339"/>
                  <a:gd name="connsiteY4313" fmla="*/ 731948 h 6851196"/>
                  <a:gd name="connsiteX4314" fmla="*/ 1845748 w 12187339"/>
                  <a:gd name="connsiteY4314" fmla="*/ 493823 h 6851196"/>
                  <a:gd name="connsiteX4315" fmla="*/ 2069580 w 12187339"/>
                  <a:gd name="connsiteY4315" fmla="*/ 493823 h 6851196"/>
                  <a:gd name="connsiteX4316" fmla="*/ 1839345 w 12187339"/>
                  <a:gd name="connsiteY4316" fmla="*/ 731948 h 6851196"/>
                  <a:gd name="connsiteX4317" fmla="*/ 1615257 w 12187339"/>
                  <a:gd name="connsiteY4317" fmla="*/ 731948 h 6851196"/>
                  <a:gd name="connsiteX4318" fmla="*/ 1615257 w 12187339"/>
                  <a:gd name="connsiteY4318" fmla="*/ 493823 h 6851196"/>
                  <a:gd name="connsiteX4319" fmla="*/ 1839089 w 12187339"/>
                  <a:gd name="connsiteY4319" fmla="*/ 493823 h 6851196"/>
                  <a:gd name="connsiteX4320" fmla="*/ 1608854 w 12187339"/>
                  <a:gd name="connsiteY4320" fmla="*/ 731948 h 6851196"/>
                  <a:gd name="connsiteX4321" fmla="*/ 1386302 w 12187339"/>
                  <a:gd name="connsiteY4321" fmla="*/ 731948 h 6851196"/>
                  <a:gd name="connsiteX4322" fmla="*/ 1386302 w 12187339"/>
                  <a:gd name="connsiteY4322" fmla="*/ 493823 h 6851196"/>
                  <a:gd name="connsiteX4323" fmla="*/ 1608598 w 12187339"/>
                  <a:gd name="connsiteY4323" fmla="*/ 493823 h 6851196"/>
                  <a:gd name="connsiteX4324" fmla="*/ 1379900 w 12187339"/>
                  <a:gd name="connsiteY4324" fmla="*/ 731948 h 6851196"/>
                  <a:gd name="connsiteX4325" fmla="*/ 1155811 w 12187339"/>
                  <a:gd name="connsiteY4325" fmla="*/ 731948 h 6851196"/>
                  <a:gd name="connsiteX4326" fmla="*/ 1155811 w 12187339"/>
                  <a:gd name="connsiteY4326" fmla="*/ 493823 h 6851196"/>
                  <a:gd name="connsiteX4327" fmla="*/ 1379900 w 12187339"/>
                  <a:gd name="connsiteY4327" fmla="*/ 493823 h 6851196"/>
                  <a:gd name="connsiteX4328" fmla="*/ 1149409 w 12187339"/>
                  <a:gd name="connsiteY4328" fmla="*/ 731948 h 6851196"/>
                  <a:gd name="connsiteX4329" fmla="*/ 925320 w 12187339"/>
                  <a:gd name="connsiteY4329" fmla="*/ 731948 h 6851196"/>
                  <a:gd name="connsiteX4330" fmla="*/ 925320 w 12187339"/>
                  <a:gd name="connsiteY4330" fmla="*/ 493823 h 6851196"/>
                  <a:gd name="connsiteX4331" fmla="*/ 1149409 w 12187339"/>
                  <a:gd name="connsiteY4331" fmla="*/ 493823 h 6851196"/>
                  <a:gd name="connsiteX4332" fmla="*/ 918918 w 12187339"/>
                  <a:gd name="connsiteY4332" fmla="*/ 731948 h 6851196"/>
                  <a:gd name="connsiteX4333" fmla="*/ 694829 w 12187339"/>
                  <a:gd name="connsiteY4333" fmla="*/ 731948 h 6851196"/>
                  <a:gd name="connsiteX4334" fmla="*/ 694829 w 12187339"/>
                  <a:gd name="connsiteY4334" fmla="*/ 493823 h 6851196"/>
                  <a:gd name="connsiteX4335" fmla="*/ 918918 w 12187339"/>
                  <a:gd name="connsiteY4335" fmla="*/ 493823 h 6851196"/>
                  <a:gd name="connsiteX4336" fmla="*/ 688427 w 12187339"/>
                  <a:gd name="connsiteY4336" fmla="*/ 731948 h 6851196"/>
                  <a:gd name="connsiteX4337" fmla="*/ 465875 w 12187339"/>
                  <a:gd name="connsiteY4337" fmla="*/ 731948 h 6851196"/>
                  <a:gd name="connsiteX4338" fmla="*/ 465875 w 12187339"/>
                  <a:gd name="connsiteY4338" fmla="*/ 493823 h 6851196"/>
                  <a:gd name="connsiteX4339" fmla="*/ 688427 w 12187339"/>
                  <a:gd name="connsiteY4339" fmla="*/ 493823 h 6851196"/>
                  <a:gd name="connsiteX4340" fmla="*/ 688427 w 12187339"/>
                  <a:gd name="connsiteY4340" fmla="*/ 738752 h 6851196"/>
                  <a:gd name="connsiteX4341" fmla="*/ 688427 w 12187339"/>
                  <a:gd name="connsiteY4341" fmla="*/ 975244 h 6851196"/>
                  <a:gd name="connsiteX4342" fmla="*/ 465875 w 12187339"/>
                  <a:gd name="connsiteY4342" fmla="*/ 975244 h 6851196"/>
                  <a:gd name="connsiteX4343" fmla="*/ 465875 w 12187339"/>
                  <a:gd name="connsiteY4343" fmla="*/ 738752 h 6851196"/>
                  <a:gd name="connsiteX4344" fmla="*/ 688427 w 12187339"/>
                  <a:gd name="connsiteY4344" fmla="*/ 982048 h 6851196"/>
                  <a:gd name="connsiteX4345" fmla="*/ 688427 w 12187339"/>
                  <a:gd name="connsiteY4345" fmla="*/ 1220173 h 6851196"/>
                  <a:gd name="connsiteX4346" fmla="*/ 465875 w 12187339"/>
                  <a:gd name="connsiteY4346" fmla="*/ 1220173 h 6851196"/>
                  <a:gd name="connsiteX4347" fmla="*/ 465875 w 12187339"/>
                  <a:gd name="connsiteY4347" fmla="*/ 981911 h 6851196"/>
                  <a:gd name="connsiteX4348" fmla="*/ 688427 w 12187339"/>
                  <a:gd name="connsiteY4348" fmla="*/ 1226976 h 6851196"/>
                  <a:gd name="connsiteX4349" fmla="*/ 688427 w 12187339"/>
                  <a:gd name="connsiteY4349" fmla="*/ 1465101 h 6851196"/>
                  <a:gd name="connsiteX4350" fmla="*/ 465875 w 12187339"/>
                  <a:gd name="connsiteY4350" fmla="*/ 1465101 h 6851196"/>
                  <a:gd name="connsiteX4351" fmla="*/ 465875 w 12187339"/>
                  <a:gd name="connsiteY4351" fmla="*/ 1226840 h 6851196"/>
                  <a:gd name="connsiteX4352" fmla="*/ 688427 w 12187339"/>
                  <a:gd name="connsiteY4352" fmla="*/ 1471905 h 6851196"/>
                  <a:gd name="connsiteX4353" fmla="*/ 688427 w 12187339"/>
                  <a:gd name="connsiteY4353" fmla="*/ 1710030 h 6851196"/>
                  <a:gd name="connsiteX4354" fmla="*/ 465875 w 12187339"/>
                  <a:gd name="connsiteY4354" fmla="*/ 1710030 h 6851196"/>
                  <a:gd name="connsiteX4355" fmla="*/ 465875 w 12187339"/>
                  <a:gd name="connsiteY4355" fmla="*/ 1471769 h 6851196"/>
                  <a:gd name="connsiteX4356" fmla="*/ 688427 w 12187339"/>
                  <a:gd name="connsiteY4356" fmla="*/ 1716833 h 6851196"/>
                  <a:gd name="connsiteX4357" fmla="*/ 688427 w 12187339"/>
                  <a:gd name="connsiteY4357" fmla="*/ 1953326 h 6851196"/>
                  <a:gd name="connsiteX4358" fmla="*/ 465875 w 12187339"/>
                  <a:gd name="connsiteY4358" fmla="*/ 1953326 h 6851196"/>
                  <a:gd name="connsiteX4359" fmla="*/ 465875 w 12187339"/>
                  <a:gd name="connsiteY4359" fmla="*/ 1716697 h 6851196"/>
                  <a:gd name="connsiteX4360" fmla="*/ 688427 w 12187339"/>
                  <a:gd name="connsiteY4360" fmla="*/ 1960129 h 6851196"/>
                  <a:gd name="connsiteX4361" fmla="*/ 688427 w 12187339"/>
                  <a:gd name="connsiteY4361" fmla="*/ 2198254 h 6851196"/>
                  <a:gd name="connsiteX4362" fmla="*/ 465875 w 12187339"/>
                  <a:gd name="connsiteY4362" fmla="*/ 2198254 h 6851196"/>
                  <a:gd name="connsiteX4363" fmla="*/ 465875 w 12187339"/>
                  <a:gd name="connsiteY4363" fmla="*/ 1960129 h 6851196"/>
                  <a:gd name="connsiteX4364" fmla="*/ 688427 w 12187339"/>
                  <a:gd name="connsiteY4364" fmla="*/ 2205058 h 6851196"/>
                  <a:gd name="connsiteX4365" fmla="*/ 688427 w 12187339"/>
                  <a:gd name="connsiteY4365" fmla="*/ 2443183 h 6851196"/>
                  <a:gd name="connsiteX4366" fmla="*/ 465875 w 12187339"/>
                  <a:gd name="connsiteY4366" fmla="*/ 2443183 h 6851196"/>
                  <a:gd name="connsiteX4367" fmla="*/ 465875 w 12187339"/>
                  <a:gd name="connsiteY4367" fmla="*/ 2205058 h 6851196"/>
                  <a:gd name="connsiteX4368" fmla="*/ 688427 w 12187339"/>
                  <a:gd name="connsiteY4368" fmla="*/ 2449986 h 6851196"/>
                  <a:gd name="connsiteX4369" fmla="*/ 688427 w 12187339"/>
                  <a:gd name="connsiteY4369" fmla="*/ 2686479 h 6851196"/>
                  <a:gd name="connsiteX4370" fmla="*/ 465875 w 12187339"/>
                  <a:gd name="connsiteY4370" fmla="*/ 2686479 h 6851196"/>
                  <a:gd name="connsiteX4371" fmla="*/ 465875 w 12187339"/>
                  <a:gd name="connsiteY4371" fmla="*/ 2449986 h 6851196"/>
                  <a:gd name="connsiteX4372" fmla="*/ 688427 w 12187339"/>
                  <a:gd name="connsiteY4372" fmla="*/ 2693282 h 6851196"/>
                  <a:gd name="connsiteX4373" fmla="*/ 688427 w 12187339"/>
                  <a:gd name="connsiteY4373" fmla="*/ 2931407 h 6851196"/>
                  <a:gd name="connsiteX4374" fmla="*/ 465875 w 12187339"/>
                  <a:gd name="connsiteY4374" fmla="*/ 2931407 h 6851196"/>
                  <a:gd name="connsiteX4375" fmla="*/ 465875 w 12187339"/>
                  <a:gd name="connsiteY4375" fmla="*/ 2693282 h 6851196"/>
                  <a:gd name="connsiteX4376" fmla="*/ 688427 w 12187339"/>
                  <a:gd name="connsiteY4376" fmla="*/ 2938211 h 6851196"/>
                  <a:gd name="connsiteX4377" fmla="*/ 688427 w 12187339"/>
                  <a:gd name="connsiteY4377" fmla="*/ 3176336 h 6851196"/>
                  <a:gd name="connsiteX4378" fmla="*/ 465875 w 12187339"/>
                  <a:gd name="connsiteY4378" fmla="*/ 3176336 h 6851196"/>
                  <a:gd name="connsiteX4379" fmla="*/ 465875 w 12187339"/>
                  <a:gd name="connsiteY4379" fmla="*/ 2938211 h 6851196"/>
                  <a:gd name="connsiteX4380" fmla="*/ 688427 w 12187339"/>
                  <a:gd name="connsiteY4380" fmla="*/ 3183139 h 6851196"/>
                  <a:gd name="connsiteX4381" fmla="*/ 688427 w 12187339"/>
                  <a:gd name="connsiteY4381" fmla="*/ 3421264 h 6851196"/>
                  <a:gd name="connsiteX4382" fmla="*/ 465875 w 12187339"/>
                  <a:gd name="connsiteY4382" fmla="*/ 3421264 h 6851196"/>
                  <a:gd name="connsiteX4383" fmla="*/ 465875 w 12187339"/>
                  <a:gd name="connsiteY4383" fmla="*/ 3183139 h 6851196"/>
                  <a:gd name="connsiteX4384" fmla="*/ 688427 w 12187339"/>
                  <a:gd name="connsiteY4384" fmla="*/ 3428068 h 6851196"/>
                  <a:gd name="connsiteX4385" fmla="*/ 688427 w 12187339"/>
                  <a:gd name="connsiteY4385" fmla="*/ 3664560 h 6851196"/>
                  <a:gd name="connsiteX4386" fmla="*/ 465875 w 12187339"/>
                  <a:gd name="connsiteY4386" fmla="*/ 3664560 h 6851196"/>
                  <a:gd name="connsiteX4387" fmla="*/ 465875 w 12187339"/>
                  <a:gd name="connsiteY4387" fmla="*/ 3428068 h 6851196"/>
                  <a:gd name="connsiteX4388" fmla="*/ 688427 w 12187339"/>
                  <a:gd name="connsiteY4388" fmla="*/ 3671364 h 6851196"/>
                  <a:gd name="connsiteX4389" fmla="*/ 688427 w 12187339"/>
                  <a:gd name="connsiteY4389" fmla="*/ 3909489 h 6851196"/>
                  <a:gd name="connsiteX4390" fmla="*/ 465875 w 12187339"/>
                  <a:gd name="connsiteY4390" fmla="*/ 3909489 h 6851196"/>
                  <a:gd name="connsiteX4391" fmla="*/ 465875 w 12187339"/>
                  <a:gd name="connsiteY4391" fmla="*/ 3671364 h 6851196"/>
                  <a:gd name="connsiteX4392" fmla="*/ 688427 w 12187339"/>
                  <a:gd name="connsiteY4392" fmla="*/ 3916292 h 6851196"/>
                  <a:gd name="connsiteX4393" fmla="*/ 688427 w 12187339"/>
                  <a:gd name="connsiteY4393" fmla="*/ 4154417 h 6851196"/>
                  <a:gd name="connsiteX4394" fmla="*/ 465875 w 12187339"/>
                  <a:gd name="connsiteY4394" fmla="*/ 4154417 h 6851196"/>
                  <a:gd name="connsiteX4395" fmla="*/ 465875 w 12187339"/>
                  <a:gd name="connsiteY4395" fmla="*/ 3916292 h 6851196"/>
                  <a:gd name="connsiteX4396" fmla="*/ 688427 w 12187339"/>
                  <a:gd name="connsiteY4396" fmla="*/ 4161221 h 6851196"/>
                  <a:gd name="connsiteX4397" fmla="*/ 688427 w 12187339"/>
                  <a:gd name="connsiteY4397" fmla="*/ 4399346 h 6851196"/>
                  <a:gd name="connsiteX4398" fmla="*/ 465875 w 12187339"/>
                  <a:gd name="connsiteY4398" fmla="*/ 4399346 h 6851196"/>
                  <a:gd name="connsiteX4399" fmla="*/ 465875 w 12187339"/>
                  <a:gd name="connsiteY4399" fmla="*/ 4161221 h 6851196"/>
                  <a:gd name="connsiteX4400" fmla="*/ 688427 w 12187339"/>
                  <a:gd name="connsiteY4400" fmla="*/ 4406149 h 6851196"/>
                  <a:gd name="connsiteX4401" fmla="*/ 688427 w 12187339"/>
                  <a:gd name="connsiteY4401" fmla="*/ 4642233 h 6851196"/>
                  <a:gd name="connsiteX4402" fmla="*/ 465875 w 12187339"/>
                  <a:gd name="connsiteY4402" fmla="*/ 4642233 h 6851196"/>
                  <a:gd name="connsiteX4403" fmla="*/ 465875 w 12187339"/>
                  <a:gd name="connsiteY4403" fmla="*/ 4405741 h 6851196"/>
                  <a:gd name="connsiteX4404" fmla="*/ 688427 w 12187339"/>
                  <a:gd name="connsiteY4404" fmla="*/ 4649445 h 6851196"/>
                  <a:gd name="connsiteX4405" fmla="*/ 688427 w 12187339"/>
                  <a:gd name="connsiteY4405" fmla="*/ 4887162 h 6851196"/>
                  <a:gd name="connsiteX4406" fmla="*/ 465875 w 12187339"/>
                  <a:gd name="connsiteY4406" fmla="*/ 4887162 h 6851196"/>
                  <a:gd name="connsiteX4407" fmla="*/ 465875 w 12187339"/>
                  <a:gd name="connsiteY4407" fmla="*/ 4649037 h 6851196"/>
                  <a:gd name="connsiteX4408" fmla="*/ 688427 w 12187339"/>
                  <a:gd name="connsiteY4408" fmla="*/ 4894374 h 6851196"/>
                  <a:gd name="connsiteX4409" fmla="*/ 688427 w 12187339"/>
                  <a:gd name="connsiteY4409" fmla="*/ 5132090 h 6851196"/>
                  <a:gd name="connsiteX4410" fmla="*/ 465875 w 12187339"/>
                  <a:gd name="connsiteY4410" fmla="*/ 5132090 h 6851196"/>
                  <a:gd name="connsiteX4411" fmla="*/ 465875 w 12187339"/>
                  <a:gd name="connsiteY4411" fmla="*/ 4893965 h 6851196"/>
                  <a:gd name="connsiteX4412" fmla="*/ 688427 w 12187339"/>
                  <a:gd name="connsiteY4412" fmla="*/ 5139302 h 6851196"/>
                  <a:gd name="connsiteX4413" fmla="*/ 688427 w 12187339"/>
                  <a:gd name="connsiteY4413" fmla="*/ 5375795 h 6851196"/>
                  <a:gd name="connsiteX4414" fmla="*/ 465875 w 12187339"/>
                  <a:gd name="connsiteY4414" fmla="*/ 5375795 h 6851196"/>
                  <a:gd name="connsiteX4415" fmla="*/ 465875 w 12187339"/>
                  <a:gd name="connsiteY4415" fmla="*/ 5139302 h 6851196"/>
                  <a:gd name="connsiteX4416" fmla="*/ 688427 w 12187339"/>
                  <a:gd name="connsiteY4416" fmla="*/ 5382598 h 6851196"/>
                  <a:gd name="connsiteX4417" fmla="*/ 688427 w 12187339"/>
                  <a:gd name="connsiteY4417" fmla="*/ 5620723 h 6851196"/>
                  <a:gd name="connsiteX4418" fmla="*/ 465875 w 12187339"/>
                  <a:gd name="connsiteY4418" fmla="*/ 5620723 h 6851196"/>
                  <a:gd name="connsiteX4419" fmla="*/ 465875 w 12187339"/>
                  <a:gd name="connsiteY4419" fmla="*/ 5382598 h 6851196"/>
                  <a:gd name="connsiteX4420" fmla="*/ 688427 w 12187339"/>
                  <a:gd name="connsiteY4420" fmla="*/ 5627527 h 6851196"/>
                  <a:gd name="connsiteX4421" fmla="*/ 688427 w 12187339"/>
                  <a:gd name="connsiteY4421" fmla="*/ 5865652 h 6851196"/>
                  <a:gd name="connsiteX4422" fmla="*/ 465875 w 12187339"/>
                  <a:gd name="connsiteY4422" fmla="*/ 5865652 h 6851196"/>
                  <a:gd name="connsiteX4423" fmla="*/ 465875 w 12187339"/>
                  <a:gd name="connsiteY4423" fmla="*/ 5627527 h 6851196"/>
                  <a:gd name="connsiteX4424" fmla="*/ 688427 w 12187339"/>
                  <a:gd name="connsiteY4424" fmla="*/ 5872455 h 6851196"/>
                  <a:gd name="connsiteX4425" fmla="*/ 688427 w 12187339"/>
                  <a:gd name="connsiteY4425" fmla="*/ 6110580 h 6851196"/>
                  <a:gd name="connsiteX4426" fmla="*/ 465875 w 12187339"/>
                  <a:gd name="connsiteY4426" fmla="*/ 6110580 h 6851196"/>
                  <a:gd name="connsiteX4427" fmla="*/ 465875 w 12187339"/>
                  <a:gd name="connsiteY4427" fmla="*/ 5872455 h 6851196"/>
                  <a:gd name="connsiteX4428" fmla="*/ 688427 w 12187339"/>
                  <a:gd name="connsiteY4428" fmla="*/ 6117384 h 6851196"/>
                  <a:gd name="connsiteX4429" fmla="*/ 688427 w 12187339"/>
                  <a:gd name="connsiteY4429" fmla="*/ 6353876 h 6851196"/>
                  <a:gd name="connsiteX4430" fmla="*/ 465875 w 12187339"/>
                  <a:gd name="connsiteY4430" fmla="*/ 6353876 h 6851196"/>
                  <a:gd name="connsiteX4431" fmla="*/ 465875 w 12187339"/>
                  <a:gd name="connsiteY4431" fmla="*/ 6117384 h 6851196"/>
                  <a:gd name="connsiteX4432" fmla="*/ 694829 w 12187339"/>
                  <a:gd name="connsiteY4432" fmla="*/ 6117384 h 6851196"/>
                  <a:gd name="connsiteX4433" fmla="*/ 918918 w 12187339"/>
                  <a:gd name="connsiteY4433" fmla="*/ 6117384 h 6851196"/>
                  <a:gd name="connsiteX4434" fmla="*/ 918918 w 12187339"/>
                  <a:gd name="connsiteY4434" fmla="*/ 6353876 h 6851196"/>
                  <a:gd name="connsiteX4435" fmla="*/ 694829 w 12187339"/>
                  <a:gd name="connsiteY4435" fmla="*/ 6353876 h 6851196"/>
                  <a:gd name="connsiteX4436" fmla="*/ 925320 w 12187339"/>
                  <a:gd name="connsiteY4436" fmla="*/ 6117384 h 6851196"/>
                  <a:gd name="connsiteX4437" fmla="*/ 1149409 w 12187339"/>
                  <a:gd name="connsiteY4437" fmla="*/ 6117384 h 6851196"/>
                  <a:gd name="connsiteX4438" fmla="*/ 1149409 w 12187339"/>
                  <a:gd name="connsiteY4438" fmla="*/ 6353876 h 6851196"/>
                  <a:gd name="connsiteX4439" fmla="*/ 925320 w 12187339"/>
                  <a:gd name="connsiteY4439" fmla="*/ 6353876 h 6851196"/>
                  <a:gd name="connsiteX4440" fmla="*/ 1155811 w 12187339"/>
                  <a:gd name="connsiteY4440" fmla="*/ 6117384 h 6851196"/>
                  <a:gd name="connsiteX4441" fmla="*/ 1379900 w 12187339"/>
                  <a:gd name="connsiteY4441" fmla="*/ 6117384 h 6851196"/>
                  <a:gd name="connsiteX4442" fmla="*/ 1379900 w 12187339"/>
                  <a:gd name="connsiteY4442" fmla="*/ 6353876 h 6851196"/>
                  <a:gd name="connsiteX4443" fmla="*/ 1155811 w 12187339"/>
                  <a:gd name="connsiteY4443" fmla="*/ 6353876 h 6851196"/>
                  <a:gd name="connsiteX4444" fmla="*/ 1386302 w 12187339"/>
                  <a:gd name="connsiteY4444" fmla="*/ 6117384 h 6851196"/>
                  <a:gd name="connsiteX4445" fmla="*/ 1608598 w 12187339"/>
                  <a:gd name="connsiteY4445" fmla="*/ 6117384 h 6851196"/>
                  <a:gd name="connsiteX4446" fmla="*/ 1608598 w 12187339"/>
                  <a:gd name="connsiteY4446" fmla="*/ 6353876 h 6851196"/>
                  <a:gd name="connsiteX4447" fmla="*/ 1386046 w 12187339"/>
                  <a:gd name="connsiteY4447" fmla="*/ 6353876 h 6851196"/>
                  <a:gd name="connsiteX4448" fmla="*/ 1615257 w 12187339"/>
                  <a:gd name="connsiteY4448" fmla="*/ 6117384 h 6851196"/>
                  <a:gd name="connsiteX4449" fmla="*/ 1839089 w 12187339"/>
                  <a:gd name="connsiteY4449" fmla="*/ 6117384 h 6851196"/>
                  <a:gd name="connsiteX4450" fmla="*/ 1839089 w 12187339"/>
                  <a:gd name="connsiteY4450" fmla="*/ 6353876 h 6851196"/>
                  <a:gd name="connsiteX4451" fmla="*/ 1615000 w 12187339"/>
                  <a:gd name="connsiteY4451" fmla="*/ 6353876 h 6851196"/>
                  <a:gd name="connsiteX4452" fmla="*/ 1845748 w 12187339"/>
                  <a:gd name="connsiteY4452" fmla="*/ 6117384 h 6851196"/>
                  <a:gd name="connsiteX4453" fmla="*/ 2069580 w 12187339"/>
                  <a:gd name="connsiteY4453" fmla="*/ 6117384 h 6851196"/>
                  <a:gd name="connsiteX4454" fmla="*/ 2069580 w 12187339"/>
                  <a:gd name="connsiteY4454" fmla="*/ 6353876 h 6851196"/>
                  <a:gd name="connsiteX4455" fmla="*/ 1845491 w 12187339"/>
                  <a:gd name="connsiteY4455" fmla="*/ 6353876 h 6851196"/>
                  <a:gd name="connsiteX4456" fmla="*/ 2076239 w 12187339"/>
                  <a:gd name="connsiteY4456" fmla="*/ 6117384 h 6851196"/>
                  <a:gd name="connsiteX4457" fmla="*/ 2298791 w 12187339"/>
                  <a:gd name="connsiteY4457" fmla="*/ 6117384 h 6851196"/>
                  <a:gd name="connsiteX4458" fmla="*/ 2298791 w 12187339"/>
                  <a:gd name="connsiteY4458" fmla="*/ 6353876 h 6851196"/>
                  <a:gd name="connsiteX4459" fmla="*/ 2075982 w 12187339"/>
                  <a:gd name="connsiteY4459" fmla="*/ 6353876 h 6851196"/>
                  <a:gd name="connsiteX4460" fmla="*/ 2305193 w 12187339"/>
                  <a:gd name="connsiteY4460" fmla="*/ 6117384 h 6851196"/>
                  <a:gd name="connsiteX4461" fmla="*/ 2529282 w 12187339"/>
                  <a:gd name="connsiteY4461" fmla="*/ 6117384 h 6851196"/>
                  <a:gd name="connsiteX4462" fmla="*/ 2529282 w 12187339"/>
                  <a:gd name="connsiteY4462" fmla="*/ 6353876 h 6851196"/>
                  <a:gd name="connsiteX4463" fmla="*/ 2305193 w 12187339"/>
                  <a:gd name="connsiteY4463" fmla="*/ 6353876 h 6851196"/>
                  <a:gd name="connsiteX4464" fmla="*/ 2535684 w 12187339"/>
                  <a:gd name="connsiteY4464" fmla="*/ 6117384 h 6851196"/>
                  <a:gd name="connsiteX4465" fmla="*/ 2759773 w 12187339"/>
                  <a:gd name="connsiteY4465" fmla="*/ 6117384 h 6851196"/>
                  <a:gd name="connsiteX4466" fmla="*/ 2759773 w 12187339"/>
                  <a:gd name="connsiteY4466" fmla="*/ 6353876 h 6851196"/>
                  <a:gd name="connsiteX4467" fmla="*/ 2535684 w 12187339"/>
                  <a:gd name="connsiteY4467" fmla="*/ 6353876 h 6851196"/>
                  <a:gd name="connsiteX4468" fmla="*/ 2766175 w 12187339"/>
                  <a:gd name="connsiteY4468" fmla="*/ 6117384 h 6851196"/>
                  <a:gd name="connsiteX4469" fmla="*/ 2990264 w 12187339"/>
                  <a:gd name="connsiteY4469" fmla="*/ 6117384 h 6851196"/>
                  <a:gd name="connsiteX4470" fmla="*/ 2990264 w 12187339"/>
                  <a:gd name="connsiteY4470" fmla="*/ 6353876 h 6851196"/>
                  <a:gd name="connsiteX4471" fmla="*/ 2766175 w 12187339"/>
                  <a:gd name="connsiteY4471" fmla="*/ 6353876 h 6851196"/>
                  <a:gd name="connsiteX4472" fmla="*/ 2996666 w 12187339"/>
                  <a:gd name="connsiteY4472" fmla="*/ 6117384 h 6851196"/>
                  <a:gd name="connsiteX4473" fmla="*/ 3219218 w 12187339"/>
                  <a:gd name="connsiteY4473" fmla="*/ 6117384 h 6851196"/>
                  <a:gd name="connsiteX4474" fmla="*/ 3219218 w 12187339"/>
                  <a:gd name="connsiteY4474" fmla="*/ 6353876 h 6851196"/>
                  <a:gd name="connsiteX4475" fmla="*/ 2996666 w 12187339"/>
                  <a:gd name="connsiteY4475" fmla="*/ 6353876 h 6851196"/>
                  <a:gd name="connsiteX4476" fmla="*/ 3225621 w 12187339"/>
                  <a:gd name="connsiteY4476" fmla="*/ 6117384 h 6851196"/>
                  <a:gd name="connsiteX4477" fmla="*/ 3449709 w 12187339"/>
                  <a:gd name="connsiteY4477" fmla="*/ 6117384 h 6851196"/>
                  <a:gd name="connsiteX4478" fmla="*/ 3449709 w 12187339"/>
                  <a:gd name="connsiteY4478" fmla="*/ 6353876 h 6851196"/>
                  <a:gd name="connsiteX4479" fmla="*/ 3225621 w 12187339"/>
                  <a:gd name="connsiteY4479" fmla="*/ 6353876 h 6851196"/>
                  <a:gd name="connsiteX4480" fmla="*/ 3456112 w 12187339"/>
                  <a:gd name="connsiteY4480" fmla="*/ 6117384 h 6851196"/>
                  <a:gd name="connsiteX4481" fmla="*/ 3680200 w 12187339"/>
                  <a:gd name="connsiteY4481" fmla="*/ 6117384 h 6851196"/>
                  <a:gd name="connsiteX4482" fmla="*/ 3680200 w 12187339"/>
                  <a:gd name="connsiteY4482" fmla="*/ 6353876 h 6851196"/>
                  <a:gd name="connsiteX4483" fmla="*/ 3456112 w 12187339"/>
                  <a:gd name="connsiteY4483" fmla="*/ 6353876 h 6851196"/>
                  <a:gd name="connsiteX4484" fmla="*/ 3686603 w 12187339"/>
                  <a:gd name="connsiteY4484" fmla="*/ 6117384 h 6851196"/>
                  <a:gd name="connsiteX4485" fmla="*/ 3910691 w 12187339"/>
                  <a:gd name="connsiteY4485" fmla="*/ 6117384 h 6851196"/>
                  <a:gd name="connsiteX4486" fmla="*/ 3910691 w 12187339"/>
                  <a:gd name="connsiteY4486" fmla="*/ 6353876 h 6851196"/>
                  <a:gd name="connsiteX4487" fmla="*/ 3686603 w 12187339"/>
                  <a:gd name="connsiteY4487" fmla="*/ 6353876 h 6851196"/>
                  <a:gd name="connsiteX4488" fmla="*/ 3917094 w 12187339"/>
                  <a:gd name="connsiteY4488" fmla="*/ 6117384 h 6851196"/>
                  <a:gd name="connsiteX4489" fmla="*/ 4139644 w 12187339"/>
                  <a:gd name="connsiteY4489" fmla="*/ 6117384 h 6851196"/>
                  <a:gd name="connsiteX4490" fmla="*/ 4139644 w 12187339"/>
                  <a:gd name="connsiteY4490" fmla="*/ 6353876 h 6851196"/>
                  <a:gd name="connsiteX4491" fmla="*/ 3917094 w 12187339"/>
                  <a:gd name="connsiteY4491" fmla="*/ 6353876 h 6851196"/>
                  <a:gd name="connsiteX4492" fmla="*/ 4146047 w 12187339"/>
                  <a:gd name="connsiteY4492" fmla="*/ 6117384 h 6851196"/>
                  <a:gd name="connsiteX4493" fmla="*/ 4370135 w 12187339"/>
                  <a:gd name="connsiteY4493" fmla="*/ 6117384 h 6851196"/>
                  <a:gd name="connsiteX4494" fmla="*/ 4370135 w 12187339"/>
                  <a:gd name="connsiteY4494" fmla="*/ 6353876 h 6851196"/>
                  <a:gd name="connsiteX4495" fmla="*/ 4146047 w 12187339"/>
                  <a:gd name="connsiteY4495" fmla="*/ 6353876 h 6851196"/>
                  <a:gd name="connsiteX4496" fmla="*/ 4376538 w 12187339"/>
                  <a:gd name="connsiteY4496" fmla="*/ 6117384 h 6851196"/>
                  <a:gd name="connsiteX4497" fmla="*/ 4600626 w 12187339"/>
                  <a:gd name="connsiteY4497" fmla="*/ 6117384 h 6851196"/>
                  <a:gd name="connsiteX4498" fmla="*/ 4600626 w 12187339"/>
                  <a:gd name="connsiteY4498" fmla="*/ 6353876 h 6851196"/>
                  <a:gd name="connsiteX4499" fmla="*/ 4376538 w 12187339"/>
                  <a:gd name="connsiteY4499" fmla="*/ 6353876 h 6851196"/>
                  <a:gd name="connsiteX4500" fmla="*/ 4607029 w 12187339"/>
                  <a:gd name="connsiteY4500" fmla="*/ 6117384 h 6851196"/>
                  <a:gd name="connsiteX4501" fmla="*/ 4829582 w 12187339"/>
                  <a:gd name="connsiteY4501" fmla="*/ 6117384 h 6851196"/>
                  <a:gd name="connsiteX4502" fmla="*/ 4829582 w 12187339"/>
                  <a:gd name="connsiteY4502" fmla="*/ 6353876 h 6851196"/>
                  <a:gd name="connsiteX4503" fmla="*/ 4607029 w 12187339"/>
                  <a:gd name="connsiteY4503" fmla="*/ 6353876 h 6851196"/>
                  <a:gd name="connsiteX4504" fmla="*/ 4835985 w 12187339"/>
                  <a:gd name="connsiteY4504" fmla="*/ 6117384 h 6851196"/>
                  <a:gd name="connsiteX4505" fmla="*/ 5060073 w 12187339"/>
                  <a:gd name="connsiteY4505" fmla="*/ 6117384 h 6851196"/>
                  <a:gd name="connsiteX4506" fmla="*/ 5060073 w 12187339"/>
                  <a:gd name="connsiteY4506" fmla="*/ 6353876 h 6851196"/>
                  <a:gd name="connsiteX4507" fmla="*/ 4835472 w 12187339"/>
                  <a:gd name="connsiteY4507" fmla="*/ 6353876 h 6851196"/>
                  <a:gd name="connsiteX4508" fmla="*/ 5066476 w 12187339"/>
                  <a:gd name="connsiteY4508" fmla="*/ 6117384 h 6851196"/>
                  <a:gd name="connsiteX4509" fmla="*/ 5290564 w 12187339"/>
                  <a:gd name="connsiteY4509" fmla="*/ 6117384 h 6851196"/>
                  <a:gd name="connsiteX4510" fmla="*/ 5290564 w 12187339"/>
                  <a:gd name="connsiteY4510" fmla="*/ 6353876 h 6851196"/>
                  <a:gd name="connsiteX4511" fmla="*/ 5065963 w 12187339"/>
                  <a:gd name="connsiteY4511" fmla="*/ 6353876 h 6851196"/>
                  <a:gd name="connsiteX4512" fmla="*/ 5296967 w 12187339"/>
                  <a:gd name="connsiteY4512" fmla="*/ 6117384 h 6851196"/>
                  <a:gd name="connsiteX4513" fmla="*/ 5521055 w 12187339"/>
                  <a:gd name="connsiteY4513" fmla="*/ 6117384 h 6851196"/>
                  <a:gd name="connsiteX4514" fmla="*/ 5521055 w 12187339"/>
                  <a:gd name="connsiteY4514" fmla="*/ 6353876 h 6851196"/>
                  <a:gd name="connsiteX4515" fmla="*/ 5296454 w 12187339"/>
                  <a:gd name="connsiteY4515" fmla="*/ 6353876 h 6851196"/>
                  <a:gd name="connsiteX4516" fmla="*/ 5527458 w 12187339"/>
                  <a:gd name="connsiteY4516" fmla="*/ 6117384 h 6851196"/>
                  <a:gd name="connsiteX4517" fmla="*/ 5750008 w 12187339"/>
                  <a:gd name="connsiteY4517" fmla="*/ 6117384 h 6851196"/>
                  <a:gd name="connsiteX4518" fmla="*/ 5750008 w 12187339"/>
                  <a:gd name="connsiteY4518" fmla="*/ 6353876 h 6851196"/>
                  <a:gd name="connsiteX4519" fmla="*/ 5526945 w 12187339"/>
                  <a:gd name="connsiteY4519" fmla="*/ 6353876 h 6851196"/>
                  <a:gd name="connsiteX4520" fmla="*/ 5756411 w 12187339"/>
                  <a:gd name="connsiteY4520" fmla="*/ 6117384 h 6851196"/>
                  <a:gd name="connsiteX4521" fmla="*/ 5980499 w 12187339"/>
                  <a:gd name="connsiteY4521" fmla="*/ 6117384 h 6851196"/>
                  <a:gd name="connsiteX4522" fmla="*/ 5980499 w 12187339"/>
                  <a:gd name="connsiteY4522" fmla="*/ 6353876 h 6851196"/>
                  <a:gd name="connsiteX4523" fmla="*/ 5756411 w 12187339"/>
                  <a:gd name="connsiteY4523" fmla="*/ 6353876 h 6851196"/>
                  <a:gd name="connsiteX4524" fmla="*/ 5986902 w 12187339"/>
                  <a:gd name="connsiteY4524" fmla="*/ 6117384 h 6851196"/>
                  <a:gd name="connsiteX4525" fmla="*/ 6210990 w 12187339"/>
                  <a:gd name="connsiteY4525" fmla="*/ 6117384 h 6851196"/>
                  <a:gd name="connsiteX4526" fmla="*/ 6210990 w 12187339"/>
                  <a:gd name="connsiteY4526" fmla="*/ 6353876 h 6851196"/>
                  <a:gd name="connsiteX4527" fmla="*/ 5986902 w 12187339"/>
                  <a:gd name="connsiteY4527" fmla="*/ 6353876 h 6851196"/>
                  <a:gd name="connsiteX4528" fmla="*/ 6217393 w 12187339"/>
                  <a:gd name="connsiteY4528" fmla="*/ 6117384 h 6851196"/>
                  <a:gd name="connsiteX4529" fmla="*/ 6439946 w 12187339"/>
                  <a:gd name="connsiteY4529" fmla="*/ 6117384 h 6851196"/>
                  <a:gd name="connsiteX4530" fmla="*/ 6439946 w 12187339"/>
                  <a:gd name="connsiteY4530" fmla="*/ 6353876 h 6851196"/>
                  <a:gd name="connsiteX4531" fmla="*/ 6217136 w 12187339"/>
                  <a:gd name="connsiteY4531" fmla="*/ 6353876 h 6851196"/>
                  <a:gd name="connsiteX4532" fmla="*/ 6446349 w 12187339"/>
                  <a:gd name="connsiteY4532" fmla="*/ 6117384 h 6851196"/>
                  <a:gd name="connsiteX4533" fmla="*/ 6656863 w 12187339"/>
                  <a:gd name="connsiteY4533" fmla="*/ 6117384 h 6851196"/>
                  <a:gd name="connsiteX4534" fmla="*/ 6656863 w 12187339"/>
                  <a:gd name="connsiteY4534" fmla="*/ 6353876 h 6851196"/>
                  <a:gd name="connsiteX4535" fmla="*/ 6446349 w 12187339"/>
                  <a:gd name="connsiteY4535" fmla="*/ 6353876 h 6851196"/>
                  <a:gd name="connsiteX4536" fmla="*/ 6663265 w 12187339"/>
                  <a:gd name="connsiteY4536" fmla="*/ 6117384 h 6851196"/>
                  <a:gd name="connsiteX4537" fmla="*/ 6887354 w 12187339"/>
                  <a:gd name="connsiteY4537" fmla="*/ 6117384 h 6851196"/>
                  <a:gd name="connsiteX4538" fmla="*/ 6887354 w 12187339"/>
                  <a:gd name="connsiteY4538" fmla="*/ 6353876 h 6851196"/>
                  <a:gd name="connsiteX4539" fmla="*/ 6663265 w 12187339"/>
                  <a:gd name="connsiteY4539" fmla="*/ 6353876 h 6851196"/>
                  <a:gd name="connsiteX4540" fmla="*/ 6893756 w 12187339"/>
                  <a:gd name="connsiteY4540" fmla="*/ 6117384 h 6851196"/>
                  <a:gd name="connsiteX4541" fmla="*/ 7117845 w 12187339"/>
                  <a:gd name="connsiteY4541" fmla="*/ 6117384 h 6851196"/>
                  <a:gd name="connsiteX4542" fmla="*/ 7117845 w 12187339"/>
                  <a:gd name="connsiteY4542" fmla="*/ 6353876 h 6851196"/>
                  <a:gd name="connsiteX4543" fmla="*/ 6893756 w 12187339"/>
                  <a:gd name="connsiteY4543" fmla="*/ 6353876 h 6851196"/>
                  <a:gd name="connsiteX4544" fmla="*/ 7124247 w 12187339"/>
                  <a:gd name="connsiteY4544" fmla="*/ 6117384 h 6851196"/>
                  <a:gd name="connsiteX4545" fmla="*/ 7346801 w 12187339"/>
                  <a:gd name="connsiteY4545" fmla="*/ 6117384 h 6851196"/>
                  <a:gd name="connsiteX4546" fmla="*/ 7346801 w 12187339"/>
                  <a:gd name="connsiteY4546" fmla="*/ 6353876 h 6851196"/>
                  <a:gd name="connsiteX4547" fmla="*/ 7124247 w 12187339"/>
                  <a:gd name="connsiteY4547" fmla="*/ 6353876 h 6851196"/>
                  <a:gd name="connsiteX4548" fmla="*/ 7353204 w 12187339"/>
                  <a:gd name="connsiteY4548" fmla="*/ 6117384 h 6851196"/>
                  <a:gd name="connsiteX4549" fmla="*/ 7577292 w 12187339"/>
                  <a:gd name="connsiteY4549" fmla="*/ 6117384 h 6851196"/>
                  <a:gd name="connsiteX4550" fmla="*/ 7577292 w 12187339"/>
                  <a:gd name="connsiteY4550" fmla="*/ 6353876 h 6851196"/>
                  <a:gd name="connsiteX4551" fmla="*/ 7353204 w 12187339"/>
                  <a:gd name="connsiteY4551" fmla="*/ 6353876 h 6851196"/>
                  <a:gd name="connsiteX4552" fmla="*/ 7583695 w 12187339"/>
                  <a:gd name="connsiteY4552" fmla="*/ 6117384 h 6851196"/>
                  <a:gd name="connsiteX4553" fmla="*/ 7807783 w 12187339"/>
                  <a:gd name="connsiteY4553" fmla="*/ 6117384 h 6851196"/>
                  <a:gd name="connsiteX4554" fmla="*/ 7807783 w 12187339"/>
                  <a:gd name="connsiteY4554" fmla="*/ 6353876 h 6851196"/>
                  <a:gd name="connsiteX4555" fmla="*/ 7583695 w 12187339"/>
                  <a:gd name="connsiteY4555" fmla="*/ 6353876 h 6851196"/>
                  <a:gd name="connsiteX4556" fmla="*/ 7814186 w 12187339"/>
                  <a:gd name="connsiteY4556" fmla="*/ 6117384 h 6851196"/>
                  <a:gd name="connsiteX4557" fmla="*/ 8038274 w 12187339"/>
                  <a:gd name="connsiteY4557" fmla="*/ 6117384 h 6851196"/>
                  <a:gd name="connsiteX4558" fmla="*/ 8038274 w 12187339"/>
                  <a:gd name="connsiteY4558" fmla="*/ 6353876 h 6851196"/>
                  <a:gd name="connsiteX4559" fmla="*/ 7814186 w 12187339"/>
                  <a:gd name="connsiteY4559" fmla="*/ 6353876 h 6851196"/>
                  <a:gd name="connsiteX4560" fmla="*/ 8044677 w 12187339"/>
                  <a:gd name="connsiteY4560" fmla="*/ 6117384 h 6851196"/>
                  <a:gd name="connsiteX4561" fmla="*/ 8267227 w 12187339"/>
                  <a:gd name="connsiteY4561" fmla="*/ 6117384 h 6851196"/>
                  <a:gd name="connsiteX4562" fmla="*/ 8267227 w 12187339"/>
                  <a:gd name="connsiteY4562" fmla="*/ 6353876 h 6851196"/>
                  <a:gd name="connsiteX4563" fmla="*/ 8044420 w 12187339"/>
                  <a:gd name="connsiteY4563" fmla="*/ 6353876 h 6851196"/>
                  <a:gd name="connsiteX4564" fmla="*/ 8273629 w 12187339"/>
                  <a:gd name="connsiteY4564" fmla="*/ 6117384 h 6851196"/>
                  <a:gd name="connsiteX4565" fmla="*/ 8497718 w 12187339"/>
                  <a:gd name="connsiteY4565" fmla="*/ 6117384 h 6851196"/>
                  <a:gd name="connsiteX4566" fmla="*/ 8497718 w 12187339"/>
                  <a:gd name="connsiteY4566" fmla="*/ 6353876 h 6851196"/>
                  <a:gd name="connsiteX4567" fmla="*/ 8273629 w 12187339"/>
                  <a:gd name="connsiteY4567" fmla="*/ 6353876 h 6851196"/>
                  <a:gd name="connsiteX4568" fmla="*/ 8504120 w 12187339"/>
                  <a:gd name="connsiteY4568" fmla="*/ 6117384 h 6851196"/>
                  <a:gd name="connsiteX4569" fmla="*/ 8728209 w 12187339"/>
                  <a:gd name="connsiteY4569" fmla="*/ 6117384 h 6851196"/>
                  <a:gd name="connsiteX4570" fmla="*/ 8728209 w 12187339"/>
                  <a:gd name="connsiteY4570" fmla="*/ 6353876 h 6851196"/>
                  <a:gd name="connsiteX4571" fmla="*/ 8504120 w 12187339"/>
                  <a:gd name="connsiteY4571" fmla="*/ 6353876 h 6851196"/>
                  <a:gd name="connsiteX4572" fmla="*/ 8734611 w 12187339"/>
                  <a:gd name="connsiteY4572" fmla="*/ 6117384 h 6851196"/>
                  <a:gd name="connsiteX4573" fmla="*/ 8957162 w 12187339"/>
                  <a:gd name="connsiteY4573" fmla="*/ 6117384 h 6851196"/>
                  <a:gd name="connsiteX4574" fmla="*/ 8957162 w 12187339"/>
                  <a:gd name="connsiteY4574" fmla="*/ 6353876 h 6851196"/>
                  <a:gd name="connsiteX4575" fmla="*/ 8734611 w 12187339"/>
                  <a:gd name="connsiteY4575" fmla="*/ 6353876 h 6851196"/>
                  <a:gd name="connsiteX4576" fmla="*/ 8963564 w 12187339"/>
                  <a:gd name="connsiteY4576" fmla="*/ 6117384 h 6851196"/>
                  <a:gd name="connsiteX4577" fmla="*/ 9187653 w 12187339"/>
                  <a:gd name="connsiteY4577" fmla="*/ 6117384 h 6851196"/>
                  <a:gd name="connsiteX4578" fmla="*/ 9187653 w 12187339"/>
                  <a:gd name="connsiteY4578" fmla="*/ 6353876 h 6851196"/>
                  <a:gd name="connsiteX4579" fmla="*/ 8963564 w 12187339"/>
                  <a:gd name="connsiteY4579" fmla="*/ 6353876 h 6851196"/>
                  <a:gd name="connsiteX4580" fmla="*/ 9194055 w 12187339"/>
                  <a:gd name="connsiteY4580" fmla="*/ 6117384 h 6851196"/>
                  <a:gd name="connsiteX4581" fmla="*/ 9418144 w 12187339"/>
                  <a:gd name="connsiteY4581" fmla="*/ 6117384 h 6851196"/>
                  <a:gd name="connsiteX4582" fmla="*/ 9418144 w 12187339"/>
                  <a:gd name="connsiteY4582" fmla="*/ 6353876 h 6851196"/>
                  <a:gd name="connsiteX4583" fmla="*/ 9194055 w 12187339"/>
                  <a:gd name="connsiteY4583" fmla="*/ 6353876 h 6851196"/>
                  <a:gd name="connsiteX4584" fmla="*/ 9424546 w 12187339"/>
                  <a:gd name="connsiteY4584" fmla="*/ 6117384 h 6851196"/>
                  <a:gd name="connsiteX4585" fmla="*/ 9648635 w 12187339"/>
                  <a:gd name="connsiteY4585" fmla="*/ 6117384 h 6851196"/>
                  <a:gd name="connsiteX4586" fmla="*/ 9648635 w 12187339"/>
                  <a:gd name="connsiteY4586" fmla="*/ 6353876 h 6851196"/>
                  <a:gd name="connsiteX4587" fmla="*/ 9424546 w 12187339"/>
                  <a:gd name="connsiteY4587" fmla="*/ 6353876 h 6851196"/>
                  <a:gd name="connsiteX4588" fmla="*/ 9655037 w 12187339"/>
                  <a:gd name="connsiteY4588" fmla="*/ 6117384 h 6851196"/>
                  <a:gd name="connsiteX4589" fmla="*/ 9877591 w 12187339"/>
                  <a:gd name="connsiteY4589" fmla="*/ 6117384 h 6851196"/>
                  <a:gd name="connsiteX4590" fmla="*/ 9877591 w 12187339"/>
                  <a:gd name="connsiteY4590" fmla="*/ 6353876 h 6851196"/>
                  <a:gd name="connsiteX4591" fmla="*/ 9655037 w 12187339"/>
                  <a:gd name="connsiteY4591" fmla="*/ 6353876 h 6851196"/>
                  <a:gd name="connsiteX4592" fmla="*/ 9883993 w 12187339"/>
                  <a:gd name="connsiteY4592" fmla="*/ 6117384 h 6851196"/>
                  <a:gd name="connsiteX4593" fmla="*/ 10108082 w 12187339"/>
                  <a:gd name="connsiteY4593" fmla="*/ 6117384 h 6851196"/>
                  <a:gd name="connsiteX4594" fmla="*/ 10108082 w 12187339"/>
                  <a:gd name="connsiteY4594" fmla="*/ 6353876 h 6851196"/>
                  <a:gd name="connsiteX4595" fmla="*/ 9883993 w 12187339"/>
                  <a:gd name="connsiteY4595" fmla="*/ 6353876 h 6851196"/>
                  <a:gd name="connsiteX4596" fmla="*/ 10114484 w 12187339"/>
                  <a:gd name="connsiteY4596" fmla="*/ 6117384 h 6851196"/>
                  <a:gd name="connsiteX4597" fmla="*/ 10338573 w 12187339"/>
                  <a:gd name="connsiteY4597" fmla="*/ 6117384 h 6851196"/>
                  <a:gd name="connsiteX4598" fmla="*/ 10338573 w 12187339"/>
                  <a:gd name="connsiteY4598" fmla="*/ 6353876 h 6851196"/>
                  <a:gd name="connsiteX4599" fmla="*/ 10114484 w 12187339"/>
                  <a:gd name="connsiteY4599" fmla="*/ 6353876 h 6851196"/>
                  <a:gd name="connsiteX4600" fmla="*/ 10344975 w 12187339"/>
                  <a:gd name="connsiteY4600" fmla="*/ 6117384 h 6851196"/>
                  <a:gd name="connsiteX4601" fmla="*/ 10569064 w 12187339"/>
                  <a:gd name="connsiteY4601" fmla="*/ 6117384 h 6851196"/>
                  <a:gd name="connsiteX4602" fmla="*/ 10569064 w 12187339"/>
                  <a:gd name="connsiteY4602" fmla="*/ 6353876 h 6851196"/>
                  <a:gd name="connsiteX4603" fmla="*/ 10344975 w 12187339"/>
                  <a:gd name="connsiteY4603" fmla="*/ 6353876 h 6851196"/>
                  <a:gd name="connsiteX4604" fmla="*/ 10575466 w 12187339"/>
                  <a:gd name="connsiteY4604" fmla="*/ 6117384 h 6851196"/>
                  <a:gd name="connsiteX4605" fmla="*/ 10798016 w 12187339"/>
                  <a:gd name="connsiteY4605" fmla="*/ 6117384 h 6851196"/>
                  <a:gd name="connsiteX4606" fmla="*/ 10798016 w 12187339"/>
                  <a:gd name="connsiteY4606" fmla="*/ 6353876 h 6851196"/>
                  <a:gd name="connsiteX4607" fmla="*/ 10575466 w 12187339"/>
                  <a:gd name="connsiteY4607" fmla="*/ 6353876 h 6851196"/>
                  <a:gd name="connsiteX4608" fmla="*/ 10804419 w 12187339"/>
                  <a:gd name="connsiteY4608" fmla="*/ 6117384 h 6851196"/>
                  <a:gd name="connsiteX4609" fmla="*/ 11028507 w 12187339"/>
                  <a:gd name="connsiteY4609" fmla="*/ 6117384 h 6851196"/>
                  <a:gd name="connsiteX4610" fmla="*/ 11028507 w 12187339"/>
                  <a:gd name="connsiteY4610" fmla="*/ 6353876 h 6851196"/>
                  <a:gd name="connsiteX4611" fmla="*/ 10804419 w 12187339"/>
                  <a:gd name="connsiteY4611" fmla="*/ 6353876 h 6851196"/>
                  <a:gd name="connsiteX4612" fmla="*/ 11034910 w 12187339"/>
                  <a:gd name="connsiteY4612" fmla="*/ 6117384 h 6851196"/>
                  <a:gd name="connsiteX4613" fmla="*/ 11258998 w 12187339"/>
                  <a:gd name="connsiteY4613" fmla="*/ 6117384 h 6851196"/>
                  <a:gd name="connsiteX4614" fmla="*/ 11258998 w 12187339"/>
                  <a:gd name="connsiteY4614" fmla="*/ 6353876 h 6851196"/>
                  <a:gd name="connsiteX4615" fmla="*/ 11034910 w 12187339"/>
                  <a:gd name="connsiteY4615" fmla="*/ 6353876 h 6851196"/>
                  <a:gd name="connsiteX4616" fmla="*/ 11265401 w 12187339"/>
                  <a:gd name="connsiteY4616" fmla="*/ 6117384 h 6851196"/>
                  <a:gd name="connsiteX4617" fmla="*/ 11487954 w 12187339"/>
                  <a:gd name="connsiteY4617" fmla="*/ 6117384 h 6851196"/>
                  <a:gd name="connsiteX4618" fmla="*/ 11487954 w 12187339"/>
                  <a:gd name="connsiteY4618" fmla="*/ 6353876 h 6851196"/>
                  <a:gd name="connsiteX4619" fmla="*/ 11265401 w 12187339"/>
                  <a:gd name="connsiteY4619" fmla="*/ 6353876 h 6851196"/>
                  <a:gd name="connsiteX4620" fmla="*/ 11494357 w 12187339"/>
                  <a:gd name="connsiteY4620" fmla="*/ 6117384 h 6851196"/>
                  <a:gd name="connsiteX4621" fmla="*/ 11718445 w 12187339"/>
                  <a:gd name="connsiteY4621" fmla="*/ 6117384 h 6851196"/>
                  <a:gd name="connsiteX4622" fmla="*/ 11718445 w 12187339"/>
                  <a:gd name="connsiteY4622" fmla="*/ 6353876 h 6851196"/>
                  <a:gd name="connsiteX4623" fmla="*/ 11494101 w 12187339"/>
                  <a:gd name="connsiteY4623" fmla="*/ 6353876 h 6851196"/>
                  <a:gd name="connsiteX4624" fmla="*/ 11494357 w 12187339"/>
                  <a:gd name="connsiteY4624" fmla="*/ 6110580 h 6851196"/>
                  <a:gd name="connsiteX4625" fmla="*/ 11494357 w 12187339"/>
                  <a:gd name="connsiteY4625" fmla="*/ 5872455 h 6851196"/>
                  <a:gd name="connsiteX4626" fmla="*/ 11718445 w 12187339"/>
                  <a:gd name="connsiteY4626" fmla="*/ 5872455 h 6851196"/>
                  <a:gd name="connsiteX4627" fmla="*/ 11718445 w 12187339"/>
                  <a:gd name="connsiteY4627" fmla="*/ 6110580 h 6851196"/>
                  <a:gd name="connsiteX4628" fmla="*/ 11494357 w 12187339"/>
                  <a:gd name="connsiteY4628" fmla="*/ 5865652 h 6851196"/>
                  <a:gd name="connsiteX4629" fmla="*/ 11494357 w 12187339"/>
                  <a:gd name="connsiteY4629" fmla="*/ 5627527 h 6851196"/>
                  <a:gd name="connsiteX4630" fmla="*/ 11718445 w 12187339"/>
                  <a:gd name="connsiteY4630" fmla="*/ 5627527 h 6851196"/>
                  <a:gd name="connsiteX4631" fmla="*/ 11718445 w 12187339"/>
                  <a:gd name="connsiteY4631" fmla="*/ 5865652 h 6851196"/>
                  <a:gd name="connsiteX4632" fmla="*/ 11494357 w 12187339"/>
                  <a:gd name="connsiteY4632" fmla="*/ 5620723 h 6851196"/>
                  <a:gd name="connsiteX4633" fmla="*/ 11494357 w 12187339"/>
                  <a:gd name="connsiteY4633" fmla="*/ 5382598 h 6851196"/>
                  <a:gd name="connsiteX4634" fmla="*/ 11718445 w 12187339"/>
                  <a:gd name="connsiteY4634" fmla="*/ 5382598 h 6851196"/>
                  <a:gd name="connsiteX4635" fmla="*/ 11718445 w 12187339"/>
                  <a:gd name="connsiteY4635" fmla="*/ 5620723 h 6851196"/>
                  <a:gd name="connsiteX4636" fmla="*/ 11494357 w 12187339"/>
                  <a:gd name="connsiteY4636" fmla="*/ 5375795 h 6851196"/>
                  <a:gd name="connsiteX4637" fmla="*/ 11494357 w 12187339"/>
                  <a:gd name="connsiteY4637" fmla="*/ 5139302 h 6851196"/>
                  <a:gd name="connsiteX4638" fmla="*/ 11718445 w 12187339"/>
                  <a:gd name="connsiteY4638" fmla="*/ 5139302 h 6851196"/>
                  <a:gd name="connsiteX4639" fmla="*/ 11718445 w 12187339"/>
                  <a:gd name="connsiteY4639" fmla="*/ 5375795 h 6851196"/>
                  <a:gd name="connsiteX4640" fmla="*/ 11494357 w 12187339"/>
                  <a:gd name="connsiteY4640" fmla="*/ 5132499 h 6851196"/>
                  <a:gd name="connsiteX4641" fmla="*/ 11494357 w 12187339"/>
                  <a:gd name="connsiteY4641" fmla="*/ 4894374 h 6851196"/>
                  <a:gd name="connsiteX4642" fmla="*/ 11718445 w 12187339"/>
                  <a:gd name="connsiteY4642" fmla="*/ 4894374 h 6851196"/>
                  <a:gd name="connsiteX4643" fmla="*/ 11718445 w 12187339"/>
                  <a:gd name="connsiteY4643" fmla="*/ 5132090 h 6851196"/>
                  <a:gd name="connsiteX4644" fmla="*/ 11494357 w 12187339"/>
                  <a:gd name="connsiteY4644" fmla="*/ 4887570 h 6851196"/>
                  <a:gd name="connsiteX4645" fmla="*/ 11494357 w 12187339"/>
                  <a:gd name="connsiteY4645" fmla="*/ 4649445 h 6851196"/>
                  <a:gd name="connsiteX4646" fmla="*/ 11718445 w 12187339"/>
                  <a:gd name="connsiteY4646" fmla="*/ 4649445 h 6851196"/>
                  <a:gd name="connsiteX4647" fmla="*/ 11718445 w 12187339"/>
                  <a:gd name="connsiteY4647" fmla="*/ 4887162 h 6851196"/>
                  <a:gd name="connsiteX4648" fmla="*/ 11494357 w 12187339"/>
                  <a:gd name="connsiteY4648" fmla="*/ 4642642 h 6851196"/>
                  <a:gd name="connsiteX4649" fmla="*/ 11494357 w 12187339"/>
                  <a:gd name="connsiteY4649" fmla="*/ 4406149 h 6851196"/>
                  <a:gd name="connsiteX4650" fmla="*/ 11718445 w 12187339"/>
                  <a:gd name="connsiteY4650" fmla="*/ 4406149 h 6851196"/>
                  <a:gd name="connsiteX4651" fmla="*/ 11718445 w 12187339"/>
                  <a:gd name="connsiteY4651" fmla="*/ 4642233 h 6851196"/>
                  <a:gd name="connsiteX4652" fmla="*/ 11494357 w 12187339"/>
                  <a:gd name="connsiteY4652" fmla="*/ 4399346 h 6851196"/>
                  <a:gd name="connsiteX4653" fmla="*/ 11494357 w 12187339"/>
                  <a:gd name="connsiteY4653" fmla="*/ 4161221 h 6851196"/>
                  <a:gd name="connsiteX4654" fmla="*/ 11718445 w 12187339"/>
                  <a:gd name="connsiteY4654" fmla="*/ 4161221 h 6851196"/>
                  <a:gd name="connsiteX4655" fmla="*/ 11718445 w 12187339"/>
                  <a:gd name="connsiteY4655" fmla="*/ 4399346 h 6851196"/>
                  <a:gd name="connsiteX4656" fmla="*/ 11494357 w 12187339"/>
                  <a:gd name="connsiteY4656" fmla="*/ 4154417 h 6851196"/>
                  <a:gd name="connsiteX4657" fmla="*/ 11494357 w 12187339"/>
                  <a:gd name="connsiteY4657" fmla="*/ 3916292 h 6851196"/>
                  <a:gd name="connsiteX4658" fmla="*/ 11718445 w 12187339"/>
                  <a:gd name="connsiteY4658" fmla="*/ 3916292 h 6851196"/>
                  <a:gd name="connsiteX4659" fmla="*/ 11718445 w 12187339"/>
                  <a:gd name="connsiteY4659" fmla="*/ 4154417 h 6851196"/>
                  <a:gd name="connsiteX4660" fmla="*/ 11494357 w 12187339"/>
                  <a:gd name="connsiteY4660" fmla="*/ 3909489 h 6851196"/>
                  <a:gd name="connsiteX4661" fmla="*/ 11494357 w 12187339"/>
                  <a:gd name="connsiteY4661" fmla="*/ 3671364 h 6851196"/>
                  <a:gd name="connsiteX4662" fmla="*/ 11718445 w 12187339"/>
                  <a:gd name="connsiteY4662" fmla="*/ 3671364 h 6851196"/>
                  <a:gd name="connsiteX4663" fmla="*/ 11718445 w 12187339"/>
                  <a:gd name="connsiteY4663" fmla="*/ 3909489 h 6851196"/>
                  <a:gd name="connsiteX4664" fmla="*/ 11494357 w 12187339"/>
                  <a:gd name="connsiteY4664" fmla="*/ 3664560 h 6851196"/>
                  <a:gd name="connsiteX4665" fmla="*/ 11494357 w 12187339"/>
                  <a:gd name="connsiteY4665" fmla="*/ 3428068 h 6851196"/>
                  <a:gd name="connsiteX4666" fmla="*/ 11718445 w 12187339"/>
                  <a:gd name="connsiteY4666" fmla="*/ 3428068 h 6851196"/>
                  <a:gd name="connsiteX4667" fmla="*/ 11718445 w 12187339"/>
                  <a:gd name="connsiteY4667" fmla="*/ 3664560 h 6851196"/>
                  <a:gd name="connsiteX4668" fmla="*/ 11494357 w 12187339"/>
                  <a:gd name="connsiteY4668" fmla="*/ 3421264 h 6851196"/>
                  <a:gd name="connsiteX4669" fmla="*/ 11494357 w 12187339"/>
                  <a:gd name="connsiteY4669" fmla="*/ 3183139 h 6851196"/>
                  <a:gd name="connsiteX4670" fmla="*/ 11718445 w 12187339"/>
                  <a:gd name="connsiteY4670" fmla="*/ 3183139 h 6851196"/>
                  <a:gd name="connsiteX4671" fmla="*/ 11718445 w 12187339"/>
                  <a:gd name="connsiteY4671" fmla="*/ 3421264 h 6851196"/>
                  <a:gd name="connsiteX4672" fmla="*/ 11494357 w 12187339"/>
                  <a:gd name="connsiteY4672" fmla="*/ 3176336 h 6851196"/>
                  <a:gd name="connsiteX4673" fmla="*/ 11494357 w 12187339"/>
                  <a:gd name="connsiteY4673" fmla="*/ 2938211 h 6851196"/>
                  <a:gd name="connsiteX4674" fmla="*/ 11718445 w 12187339"/>
                  <a:gd name="connsiteY4674" fmla="*/ 2938211 h 6851196"/>
                  <a:gd name="connsiteX4675" fmla="*/ 11718445 w 12187339"/>
                  <a:gd name="connsiteY4675" fmla="*/ 3176336 h 6851196"/>
                  <a:gd name="connsiteX4676" fmla="*/ 11494357 w 12187339"/>
                  <a:gd name="connsiteY4676" fmla="*/ 2931407 h 6851196"/>
                  <a:gd name="connsiteX4677" fmla="*/ 11494357 w 12187339"/>
                  <a:gd name="connsiteY4677" fmla="*/ 2693282 h 6851196"/>
                  <a:gd name="connsiteX4678" fmla="*/ 11718445 w 12187339"/>
                  <a:gd name="connsiteY4678" fmla="*/ 2693282 h 6851196"/>
                  <a:gd name="connsiteX4679" fmla="*/ 11718445 w 12187339"/>
                  <a:gd name="connsiteY4679" fmla="*/ 2931407 h 6851196"/>
                  <a:gd name="connsiteX4680" fmla="*/ 11494357 w 12187339"/>
                  <a:gd name="connsiteY4680" fmla="*/ 2686479 h 6851196"/>
                  <a:gd name="connsiteX4681" fmla="*/ 11494357 w 12187339"/>
                  <a:gd name="connsiteY4681" fmla="*/ 2449986 h 6851196"/>
                  <a:gd name="connsiteX4682" fmla="*/ 11718445 w 12187339"/>
                  <a:gd name="connsiteY4682" fmla="*/ 2449986 h 6851196"/>
                  <a:gd name="connsiteX4683" fmla="*/ 11718445 w 12187339"/>
                  <a:gd name="connsiteY4683" fmla="*/ 2686479 h 6851196"/>
                  <a:gd name="connsiteX4684" fmla="*/ 11494357 w 12187339"/>
                  <a:gd name="connsiteY4684" fmla="*/ 2443183 h 6851196"/>
                  <a:gd name="connsiteX4685" fmla="*/ 11494357 w 12187339"/>
                  <a:gd name="connsiteY4685" fmla="*/ 2205058 h 6851196"/>
                  <a:gd name="connsiteX4686" fmla="*/ 11718445 w 12187339"/>
                  <a:gd name="connsiteY4686" fmla="*/ 2205058 h 6851196"/>
                  <a:gd name="connsiteX4687" fmla="*/ 11718445 w 12187339"/>
                  <a:gd name="connsiteY4687" fmla="*/ 2443183 h 6851196"/>
                  <a:gd name="connsiteX4688" fmla="*/ 11494357 w 12187339"/>
                  <a:gd name="connsiteY4688" fmla="*/ 2198254 h 6851196"/>
                  <a:gd name="connsiteX4689" fmla="*/ 11494357 w 12187339"/>
                  <a:gd name="connsiteY4689" fmla="*/ 1960129 h 6851196"/>
                  <a:gd name="connsiteX4690" fmla="*/ 11718445 w 12187339"/>
                  <a:gd name="connsiteY4690" fmla="*/ 1960129 h 6851196"/>
                  <a:gd name="connsiteX4691" fmla="*/ 11718445 w 12187339"/>
                  <a:gd name="connsiteY4691" fmla="*/ 2198254 h 6851196"/>
                  <a:gd name="connsiteX4692" fmla="*/ 11494357 w 12187339"/>
                  <a:gd name="connsiteY4692" fmla="*/ 1953326 h 6851196"/>
                  <a:gd name="connsiteX4693" fmla="*/ 11494357 w 12187339"/>
                  <a:gd name="connsiteY4693" fmla="*/ 1716697 h 6851196"/>
                  <a:gd name="connsiteX4694" fmla="*/ 11718445 w 12187339"/>
                  <a:gd name="connsiteY4694" fmla="*/ 1716697 h 6851196"/>
                  <a:gd name="connsiteX4695" fmla="*/ 11718445 w 12187339"/>
                  <a:gd name="connsiteY4695" fmla="*/ 1953189 h 6851196"/>
                  <a:gd name="connsiteX4696" fmla="*/ 11494357 w 12187339"/>
                  <a:gd name="connsiteY4696" fmla="*/ 1710030 h 6851196"/>
                  <a:gd name="connsiteX4697" fmla="*/ 11494357 w 12187339"/>
                  <a:gd name="connsiteY4697" fmla="*/ 1471769 h 6851196"/>
                  <a:gd name="connsiteX4698" fmla="*/ 11718445 w 12187339"/>
                  <a:gd name="connsiteY4698" fmla="*/ 1471769 h 6851196"/>
                  <a:gd name="connsiteX4699" fmla="*/ 11718445 w 12187339"/>
                  <a:gd name="connsiteY4699" fmla="*/ 1709894 h 6851196"/>
                  <a:gd name="connsiteX4700" fmla="*/ 11494357 w 12187339"/>
                  <a:gd name="connsiteY4700" fmla="*/ 1465101 h 6851196"/>
                  <a:gd name="connsiteX4701" fmla="*/ 11494357 w 12187339"/>
                  <a:gd name="connsiteY4701" fmla="*/ 1226840 h 6851196"/>
                  <a:gd name="connsiteX4702" fmla="*/ 11718445 w 12187339"/>
                  <a:gd name="connsiteY4702" fmla="*/ 1226840 h 6851196"/>
                  <a:gd name="connsiteX4703" fmla="*/ 11718445 w 12187339"/>
                  <a:gd name="connsiteY4703" fmla="*/ 1464965 h 6851196"/>
                  <a:gd name="connsiteX4704" fmla="*/ 11494357 w 12187339"/>
                  <a:gd name="connsiteY4704" fmla="*/ 1220173 h 6851196"/>
                  <a:gd name="connsiteX4705" fmla="*/ 11494357 w 12187339"/>
                  <a:gd name="connsiteY4705" fmla="*/ 981911 h 6851196"/>
                  <a:gd name="connsiteX4706" fmla="*/ 11718445 w 12187339"/>
                  <a:gd name="connsiteY4706" fmla="*/ 981911 h 6851196"/>
                  <a:gd name="connsiteX4707" fmla="*/ 11718445 w 12187339"/>
                  <a:gd name="connsiteY4707" fmla="*/ 1220036 h 6851196"/>
                  <a:gd name="connsiteX4708" fmla="*/ 11494357 w 12187339"/>
                  <a:gd name="connsiteY4708" fmla="*/ 975244 h 6851196"/>
                  <a:gd name="connsiteX4709" fmla="*/ 11494357 w 12187339"/>
                  <a:gd name="connsiteY4709" fmla="*/ 738752 h 6851196"/>
                  <a:gd name="connsiteX4710" fmla="*/ 11718445 w 12187339"/>
                  <a:gd name="connsiteY4710" fmla="*/ 738752 h 6851196"/>
                  <a:gd name="connsiteX4711" fmla="*/ 11718445 w 12187339"/>
                  <a:gd name="connsiteY4711" fmla="*/ 975244 h 6851196"/>
                  <a:gd name="connsiteX4712" fmla="*/ 11494357 w 12187339"/>
                  <a:gd name="connsiteY4712" fmla="*/ 731948 h 6851196"/>
                  <a:gd name="connsiteX4713" fmla="*/ 11494357 w 12187339"/>
                  <a:gd name="connsiteY4713" fmla="*/ 493823 h 6851196"/>
                  <a:gd name="connsiteX4714" fmla="*/ 11718445 w 12187339"/>
                  <a:gd name="connsiteY4714" fmla="*/ 493823 h 6851196"/>
                  <a:gd name="connsiteX4715" fmla="*/ 11718445 w 12187339"/>
                  <a:gd name="connsiteY4715" fmla="*/ 731948 h 6851196"/>
                  <a:gd name="connsiteX4716" fmla="*/ 11494357 w 12187339"/>
                  <a:gd name="connsiteY4716" fmla="*/ 487020 h 6851196"/>
                  <a:gd name="connsiteX4717" fmla="*/ 11494357 w 12187339"/>
                  <a:gd name="connsiteY4717" fmla="*/ 248895 h 6851196"/>
                  <a:gd name="connsiteX4718" fmla="*/ 11718445 w 12187339"/>
                  <a:gd name="connsiteY4718" fmla="*/ 248895 h 6851196"/>
                  <a:gd name="connsiteX4719" fmla="*/ 11718445 w 12187339"/>
                  <a:gd name="connsiteY4719" fmla="*/ 487020 h 6851196"/>
                  <a:gd name="connsiteX4720" fmla="*/ 11487954 w 12187339"/>
                  <a:gd name="connsiteY4720" fmla="*/ 487020 h 6851196"/>
                  <a:gd name="connsiteX4721" fmla="*/ 11265401 w 12187339"/>
                  <a:gd name="connsiteY4721" fmla="*/ 487020 h 6851196"/>
                  <a:gd name="connsiteX4722" fmla="*/ 11265401 w 12187339"/>
                  <a:gd name="connsiteY4722" fmla="*/ 248895 h 6851196"/>
                  <a:gd name="connsiteX4723" fmla="*/ 11487954 w 12187339"/>
                  <a:gd name="connsiteY4723" fmla="*/ 248895 h 6851196"/>
                  <a:gd name="connsiteX4724" fmla="*/ 11258998 w 12187339"/>
                  <a:gd name="connsiteY4724" fmla="*/ 487020 h 6851196"/>
                  <a:gd name="connsiteX4725" fmla="*/ 11034910 w 12187339"/>
                  <a:gd name="connsiteY4725" fmla="*/ 487020 h 6851196"/>
                  <a:gd name="connsiteX4726" fmla="*/ 11034910 w 12187339"/>
                  <a:gd name="connsiteY4726" fmla="*/ 248895 h 6851196"/>
                  <a:gd name="connsiteX4727" fmla="*/ 11258998 w 12187339"/>
                  <a:gd name="connsiteY4727" fmla="*/ 248895 h 6851196"/>
                  <a:gd name="connsiteX4728" fmla="*/ 11028507 w 12187339"/>
                  <a:gd name="connsiteY4728" fmla="*/ 487020 h 6851196"/>
                  <a:gd name="connsiteX4729" fmla="*/ 10804419 w 12187339"/>
                  <a:gd name="connsiteY4729" fmla="*/ 487020 h 6851196"/>
                  <a:gd name="connsiteX4730" fmla="*/ 10804419 w 12187339"/>
                  <a:gd name="connsiteY4730" fmla="*/ 248895 h 6851196"/>
                  <a:gd name="connsiteX4731" fmla="*/ 11028507 w 12187339"/>
                  <a:gd name="connsiteY4731" fmla="*/ 248895 h 6851196"/>
                  <a:gd name="connsiteX4732" fmla="*/ 10798016 w 12187339"/>
                  <a:gd name="connsiteY4732" fmla="*/ 487020 h 6851196"/>
                  <a:gd name="connsiteX4733" fmla="*/ 10575466 w 12187339"/>
                  <a:gd name="connsiteY4733" fmla="*/ 487020 h 6851196"/>
                  <a:gd name="connsiteX4734" fmla="*/ 10575466 w 12187339"/>
                  <a:gd name="connsiteY4734" fmla="*/ 248895 h 6851196"/>
                  <a:gd name="connsiteX4735" fmla="*/ 10798016 w 12187339"/>
                  <a:gd name="connsiteY4735" fmla="*/ 248895 h 6851196"/>
                  <a:gd name="connsiteX4736" fmla="*/ 10569064 w 12187339"/>
                  <a:gd name="connsiteY4736" fmla="*/ 487020 h 6851196"/>
                  <a:gd name="connsiteX4737" fmla="*/ 10344975 w 12187339"/>
                  <a:gd name="connsiteY4737" fmla="*/ 487020 h 6851196"/>
                  <a:gd name="connsiteX4738" fmla="*/ 10344975 w 12187339"/>
                  <a:gd name="connsiteY4738" fmla="*/ 248895 h 6851196"/>
                  <a:gd name="connsiteX4739" fmla="*/ 10569064 w 12187339"/>
                  <a:gd name="connsiteY4739" fmla="*/ 248895 h 6851196"/>
                  <a:gd name="connsiteX4740" fmla="*/ 10338573 w 12187339"/>
                  <a:gd name="connsiteY4740" fmla="*/ 487020 h 6851196"/>
                  <a:gd name="connsiteX4741" fmla="*/ 10114484 w 12187339"/>
                  <a:gd name="connsiteY4741" fmla="*/ 487020 h 6851196"/>
                  <a:gd name="connsiteX4742" fmla="*/ 10114484 w 12187339"/>
                  <a:gd name="connsiteY4742" fmla="*/ 248895 h 6851196"/>
                  <a:gd name="connsiteX4743" fmla="*/ 10338573 w 12187339"/>
                  <a:gd name="connsiteY4743" fmla="*/ 248895 h 6851196"/>
                  <a:gd name="connsiteX4744" fmla="*/ 10108082 w 12187339"/>
                  <a:gd name="connsiteY4744" fmla="*/ 487020 h 6851196"/>
                  <a:gd name="connsiteX4745" fmla="*/ 9883993 w 12187339"/>
                  <a:gd name="connsiteY4745" fmla="*/ 487020 h 6851196"/>
                  <a:gd name="connsiteX4746" fmla="*/ 9883993 w 12187339"/>
                  <a:gd name="connsiteY4746" fmla="*/ 248895 h 6851196"/>
                  <a:gd name="connsiteX4747" fmla="*/ 10108082 w 12187339"/>
                  <a:gd name="connsiteY4747" fmla="*/ 248895 h 6851196"/>
                  <a:gd name="connsiteX4748" fmla="*/ 9877591 w 12187339"/>
                  <a:gd name="connsiteY4748" fmla="*/ 487020 h 6851196"/>
                  <a:gd name="connsiteX4749" fmla="*/ 9655037 w 12187339"/>
                  <a:gd name="connsiteY4749" fmla="*/ 487020 h 6851196"/>
                  <a:gd name="connsiteX4750" fmla="*/ 9655037 w 12187339"/>
                  <a:gd name="connsiteY4750" fmla="*/ 248895 h 6851196"/>
                  <a:gd name="connsiteX4751" fmla="*/ 9877591 w 12187339"/>
                  <a:gd name="connsiteY4751" fmla="*/ 248895 h 6851196"/>
                  <a:gd name="connsiteX4752" fmla="*/ 9648635 w 12187339"/>
                  <a:gd name="connsiteY4752" fmla="*/ 487020 h 6851196"/>
                  <a:gd name="connsiteX4753" fmla="*/ 9424546 w 12187339"/>
                  <a:gd name="connsiteY4753" fmla="*/ 487020 h 6851196"/>
                  <a:gd name="connsiteX4754" fmla="*/ 9424546 w 12187339"/>
                  <a:gd name="connsiteY4754" fmla="*/ 248895 h 6851196"/>
                  <a:gd name="connsiteX4755" fmla="*/ 9648635 w 12187339"/>
                  <a:gd name="connsiteY4755" fmla="*/ 248895 h 6851196"/>
                  <a:gd name="connsiteX4756" fmla="*/ 9418144 w 12187339"/>
                  <a:gd name="connsiteY4756" fmla="*/ 487020 h 6851196"/>
                  <a:gd name="connsiteX4757" fmla="*/ 9194055 w 12187339"/>
                  <a:gd name="connsiteY4757" fmla="*/ 487020 h 6851196"/>
                  <a:gd name="connsiteX4758" fmla="*/ 9194055 w 12187339"/>
                  <a:gd name="connsiteY4758" fmla="*/ 248895 h 6851196"/>
                  <a:gd name="connsiteX4759" fmla="*/ 9418144 w 12187339"/>
                  <a:gd name="connsiteY4759" fmla="*/ 248895 h 6851196"/>
                  <a:gd name="connsiteX4760" fmla="*/ 9187653 w 12187339"/>
                  <a:gd name="connsiteY4760" fmla="*/ 487020 h 6851196"/>
                  <a:gd name="connsiteX4761" fmla="*/ 8963564 w 12187339"/>
                  <a:gd name="connsiteY4761" fmla="*/ 487020 h 6851196"/>
                  <a:gd name="connsiteX4762" fmla="*/ 8963564 w 12187339"/>
                  <a:gd name="connsiteY4762" fmla="*/ 248895 h 6851196"/>
                  <a:gd name="connsiteX4763" fmla="*/ 9187653 w 12187339"/>
                  <a:gd name="connsiteY4763" fmla="*/ 248895 h 6851196"/>
                  <a:gd name="connsiteX4764" fmla="*/ 8957162 w 12187339"/>
                  <a:gd name="connsiteY4764" fmla="*/ 487020 h 6851196"/>
                  <a:gd name="connsiteX4765" fmla="*/ 8734611 w 12187339"/>
                  <a:gd name="connsiteY4765" fmla="*/ 487020 h 6851196"/>
                  <a:gd name="connsiteX4766" fmla="*/ 8734611 w 12187339"/>
                  <a:gd name="connsiteY4766" fmla="*/ 248895 h 6851196"/>
                  <a:gd name="connsiteX4767" fmla="*/ 8957162 w 12187339"/>
                  <a:gd name="connsiteY4767" fmla="*/ 248895 h 6851196"/>
                  <a:gd name="connsiteX4768" fmla="*/ 8728209 w 12187339"/>
                  <a:gd name="connsiteY4768" fmla="*/ 487020 h 6851196"/>
                  <a:gd name="connsiteX4769" fmla="*/ 8504120 w 12187339"/>
                  <a:gd name="connsiteY4769" fmla="*/ 487020 h 6851196"/>
                  <a:gd name="connsiteX4770" fmla="*/ 8504120 w 12187339"/>
                  <a:gd name="connsiteY4770" fmla="*/ 248895 h 6851196"/>
                  <a:gd name="connsiteX4771" fmla="*/ 8728209 w 12187339"/>
                  <a:gd name="connsiteY4771" fmla="*/ 248895 h 6851196"/>
                  <a:gd name="connsiteX4772" fmla="*/ 8497718 w 12187339"/>
                  <a:gd name="connsiteY4772" fmla="*/ 487020 h 6851196"/>
                  <a:gd name="connsiteX4773" fmla="*/ 8273629 w 12187339"/>
                  <a:gd name="connsiteY4773" fmla="*/ 487020 h 6851196"/>
                  <a:gd name="connsiteX4774" fmla="*/ 8273629 w 12187339"/>
                  <a:gd name="connsiteY4774" fmla="*/ 248895 h 6851196"/>
                  <a:gd name="connsiteX4775" fmla="*/ 8497718 w 12187339"/>
                  <a:gd name="connsiteY4775" fmla="*/ 248895 h 6851196"/>
                  <a:gd name="connsiteX4776" fmla="*/ 8267227 w 12187339"/>
                  <a:gd name="connsiteY4776" fmla="*/ 487020 h 6851196"/>
                  <a:gd name="connsiteX4777" fmla="*/ 8044420 w 12187339"/>
                  <a:gd name="connsiteY4777" fmla="*/ 487020 h 6851196"/>
                  <a:gd name="connsiteX4778" fmla="*/ 8044420 w 12187339"/>
                  <a:gd name="connsiteY4778" fmla="*/ 248895 h 6851196"/>
                  <a:gd name="connsiteX4779" fmla="*/ 8267227 w 12187339"/>
                  <a:gd name="connsiteY4779" fmla="*/ 248895 h 6851196"/>
                  <a:gd name="connsiteX4780" fmla="*/ 8038274 w 12187339"/>
                  <a:gd name="connsiteY4780" fmla="*/ 487020 h 6851196"/>
                  <a:gd name="connsiteX4781" fmla="*/ 7814186 w 12187339"/>
                  <a:gd name="connsiteY4781" fmla="*/ 487020 h 6851196"/>
                  <a:gd name="connsiteX4782" fmla="*/ 7814186 w 12187339"/>
                  <a:gd name="connsiteY4782" fmla="*/ 248895 h 6851196"/>
                  <a:gd name="connsiteX4783" fmla="*/ 8038274 w 12187339"/>
                  <a:gd name="connsiteY4783" fmla="*/ 248895 h 6851196"/>
                  <a:gd name="connsiteX4784" fmla="*/ 7807783 w 12187339"/>
                  <a:gd name="connsiteY4784" fmla="*/ 487020 h 6851196"/>
                  <a:gd name="connsiteX4785" fmla="*/ 7583695 w 12187339"/>
                  <a:gd name="connsiteY4785" fmla="*/ 487020 h 6851196"/>
                  <a:gd name="connsiteX4786" fmla="*/ 7583695 w 12187339"/>
                  <a:gd name="connsiteY4786" fmla="*/ 248895 h 6851196"/>
                  <a:gd name="connsiteX4787" fmla="*/ 7807783 w 12187339"/>
                  <a:gd name="connsiteY4787" fmla="*/ 248895 h 6851196"/>
                  <a:gd name="connsiteX4788" fmla="*/ 7577292 w 12187339"/>
                  <a:gd name="connsiteY4788" fmla="*/ 487020 h 6851196"/>
                  <a:gd name="connsiteX4789" fmla="*/ 7353204 w 12187339"/>
                  <a:gd name="connsiteY4789" fmla="*/ 487020 h 6851196"/>
                  <a:gd name="connsiteX4790" fmla="*/ 7353204 w 12187339"/>
                  <a:gd name="connsiteY4790" fmla="*/ 248895 h 6851196"/>
                  <a:gd name="connsiteX4791" fmla="*/ 7577292 w 12187339"/>
                  <a:gd name="connsiteY4791" fmla="*/ 248895 h 6851196"/>
                  <a:gd name="connsiteX4792" fmla="*/ 7346801 w 12187339"/>
                  <a:gd name="connsiteY4792" fmla="*/ 487020 h 6851196"/>
                  <a:gd name="connsiteX4793" fmla="*/ 7124247 w 12187339"/>
                  <a:gd name="connsiteY4793" fmla="*/ 487020 h 6851196"/>
                  <a:gd name="connsiteX4794" fmla="*/ 7124247 w 12187339"/>
                  <a:gd name="connsiteY4794" fmla="*/ 248895 h 6851196"/>
                  <a:gd name="connsiteX4795" fmla="*/ 7346801 w 12187339"/>
                  <a:gd name="connsiteY4795" fmla="*/ 248895 h 6851196"/>
                  <a:gd name="connsiteX4796" fmla="*/ 7117845 w 12187339"/>
                  <a:gd name="connsiteY4796" fmla="*/ 487020 h 6851196"/>
                  <a:gd name="connsiteX4797" fmla="*/ 6893756 w 12187339"/>
                  <a:gd name="connsiteY4797" fmla="*/ 487020 h 6851196"/>
                  <a:gd name="connsiteX4798" fmla="*/ 6893756 w 12187339"/>
                  <a:gd name="connsiteY4798" fmla="*/ 248895 h 6851196"/>
                  <a:gd name="connsiteX4799" fmla="*/ 7117845 w 12187339"/>
                  <a:gd name="connsiteY4799" fmla="*/ 248895 h 6851196"/>
                  <a:gd name="connsiteX4800" fmla="*/ 6887354 w 12187339"/>
                  <a:gd name="connsiteY4800" fmla="*/ 487020 h 6851196"/>
                  <a:gd name="connsiteX4801" fmla="*/ 6663265 w 12187339"/>
                  <a:gd name="connsiteY4801" fmla="*/ 487020 h 6851196"/>
                  <a:gd name="connsiteX4802" fmla="*/ 6663265 w 12187339"/>
                  <a:gd name="connsiteY4802" fmla="*/ 248895 h 6851196"/>
                  <a:gd name="connsiteX4803" fmla="*/ 6887354 w 12187339"/>
                  <a:gd name="connsiteY4803" fmla="*/ 248895 h 6851196"/>
                  <a:gd name="connsiteX4804" fmla="*/ 6656863 w 12187339"/>
                  <a:gd name="connsiteY4804" fmla="*/ 487020 h 6851196"/>
                  <a:gd name="connsiteX4805" fmla="*/ 6446349 w 12187339"/>
                  <a:gd name="connsiteY4805" fmla="*/ 487020 h 6851196"/>
                  <a:gd name="connsiteX4806" fmla="*/ 6446349 w 12187339"/>
                  <a:gd name="connsiteY4806" fmla="*/ 248895 h 6851196"/>
                  <a:gd name="connsiteX4807" fmla="*/ 6656863 w 12187339"/>
                  <a:gd name="connsiteY4807" fmla="*/ 248895 h 6851196"/>
                  <a:gd name="connsiteX4808" fmla="*/ 6439946 w 12187339"/>
                  <a:gd name="connsiteY4808" fmla="*/ 487020 h 6851196"/>
                  <a:gd name="connsiteX4809" fmla="*/ 6217136 w 12187339"/>
                  <a:gd name="connsiteY4809" fmla="*/ 487020 h 6851196"/>
                  <a:gd name="connsiteX4810" fmla="*/ 6217136 w 12187339"/>
                  <a:gd name="connsiteY4810" fmla="*/ 248895 h 6851196"/>
                  <a:gd name="connsiteX4811" fmla="*/ 6439690 w 12187339"/>
                  <a:gd name="connsiteY4811" fmla="*/ 248895 h 6851196"/>
                  <a:gd name="connsiteX4812" fmla="*/ 6210990 w 12187339"/>
                  <a:gd name="connsiteY4812" fmla="*/ 487020 h 6851196"/>
                  <a:gd name="connsiteX4813" fmla="*/ 5986902 w 12187339"/>
                  <a:gd name="connsiteY4813" fmla="*/ 487020 h 6851196"/>
                  <a:gd name="connsiteX4814" fmla="*/ 5986902 w 12187339"/>
                  <a:gd name="connsiteY4814" fmla="*/ 248895 h 6851196"/>
                  <a:gd name="connsiteX4815" fmla="*/ 6210990 w 12187339"/>
                  <a:gd name="connsiteY4815" fmla="*/ 248895 h 6851196"/>
                  <a:gd name="connsiteX4816" fmla="*/ 5980499 w 12187339"/>
                  <a:gd name="connsiteY4816" fmla="*/ 487020 h 6851196"/>
                  <a:gd name="connsiteX4817" fmla="*/ 5756411 w 12187339"/>
                  <a:gd name="connsiteY4817" fmla="*/ 487020 h 6851196"/>
                  <a:gd name="connsiteX4818" fmla="*/ 5756411 w 12187339"/>
                  <a:gd name="connsiteY4818" fmla="*/ 248895 h 6851196"/>
                  <a:gd name="connsiteX4819" fmla="*/ 5980499 w 12187339"/>
                  <a:gd name="connsiteY4819" fmla="*/ 248895 h 6851196"/>
                  <a:gd name="connsiteX4820" fmla="*/ 5750008 w 12187339"/>
                  <a:gd name="connsiteY4820" fmla="*/ 487020 h 6851196"/>
                  <a:gd name="connsiteX4821" fmla="*/ 5526945 w 12187339"/>
                  <a:gd name="connsiteY4821" fmla="*/ 487020 h 6851196"/>
                  <a:gd name="connsiteX4822" fmla="*/ 5526945 w 12187339"/>
                  <a:gd name="connsiteY4822" fmla="*/ 248895 h 6851196"/>
                  <a:gd name="connsiteX4823" fmla="*/ 5749495 w 12187339"/>
                  <a:gd name="connsiteY4823" fmla="*/ 248895 h 6851196"/>
                  <a:gd name="connsiteX4824" fmla="*/ 5521055 w 12187339"/>
                  <a:gd name="connsiteY4824" fmla="*/ 487020 h 6851196"/>
                  <a:gd name="connsiteX4825" fmla="*/ 5296454 w 12187339"/>
                  <a:gd name="connsiteY4825" fmla="*/ 487020 h 6851196"/>
                  <a:gd name="connsiteX4826" fmla="*/ 5296454 w 12187339"/>
                  <a:gd name="connsiteY4826" fmla="*/ 248895 h 6851196"/>
                  <a:gd name="connsiteX4827" fmla="*/ 5520542 w 12187339"/>
                  <a:gd name="connsiteY4827" fmla="*/ 248895 h 6851196"/>
                  <a:gd name="connsiteX4828" fmla="*/ 5290564 w 12187339"/>
                  <a:gd name="connsiteY4828" fmla="*/ 487020 h 6851196"/>
                  <a:gd name="connsiteX4829" fmla="*/ 5065963 w 12187339"/>
                  <a:gd name="connsiteY4829" fmla="*/ 487020 h 6851196"/>
                  <a:gd name="connsiteX4830" fmla="*/ 5065963 w 12187339"/>
                  <a:gd name="connsiteY4830" fmla="*/ 248895 h 6851196"/>
                  <a:gd name="connsiteX4831" fmla="*/ 5290051 w 12187339"/>
                  <a:gd name="connsiteY4831" fmla="*/ 248895 h 6851196"/>
                  <a:gd name="connsiteX4832" fmla="*/ 5060073 w 12187339"/>
                  <a:gd name="connsiteY4832" fmla="*/ 487020 h 6851196"/>
                  <a:gd name="connsiteX4833" fmla="*/ 4835472 w 12187339"/>
                  <a:gd name="connsiteY4833" fmla="*/ 487020 h 6851196"/>
                  <a:gd name="connsiteX4834" fmla="*/ 4835472 w 12187339"/>
                  <a:gd name="connsiteY4834" fmla="*/ 248895 h 6851196"/>
                  <a:gd name="connsiteX4835" fmla="*/ 5059560 w 12187339"/>
                  <a:gd name="connsiteY4835" fmla="*/ 248895 h 6851196"/>
                  <a:gd name="connsiteX4836" fmla="*/ 4829582 w 12187339"/>
                  <a:gd name="connsiteY4836" fmla="*/ 487020 h 6851196"/>
                  <a:gd name="connsiteX4837" fmla="*/ 4607029 w 12187339"/>
                  <a:gd name="connsiteY4837" fmla="*/ 487020 h 6851196"/>
                  <a:gd name="connsiteX4838" fmla="*/ 4607029 w 12187339"/>
                  <a:gd name="connsiteY4838" fmla="*/ 248895 h 6851196"/>
                  <a:gd name="connsiteX4839" fmla="*/ 4829582 w 12187339"/>
                  <a:gd name="connsiteY4839" fmla="*/ 248895 h 6851196"/>
                  <a:gd name="connsiteX4840" fmla="*/ 4600626 w 12187339"/>
                  <a:gd name="connsiteY4840" fmla="*/ 487020 h 6851196"/>
                  <a:gd name="connsiteX4841" fmla="*/ 4376538 w 12187339"/>
                  <a:gd name="connsiteY4841" fmla="*/ 487020 h 6851196"/>
                  <a:gd name="connsiteX4842" fmla="*/ 4376538 w 12187339"/>
                  <a:gd name="connsiteY4842" fmla="*/ 248895 h 6851196"/>
                  <a:gd name="connsiteX4843" fmla="*/ 4600626 w 12187339"/>
                  <a:gd name="connsiteY4843" fmla="*/ 248895 h 6851196"/>
                  <a:gd name="connsiteX4844" fmla="*/ 4370135 w 12187339"/>
                  <a:gd name="connsiteY4844" fmla="*/ 487020 h 6851196"/>
                  <a:gd name="connsiteX4845" fmla="*/ 4146047 w 12187339"/>
                  <a:gd name="connsiteY4845" fmla="*/ 487020 h 6851196"/>
                  <a:gd name="connsiteX4846" fmla="*/ 4146047 w 12187339"/>
                  <a:gd name="connsiteY4846" fmla="*/ 248895 h 6851196"/>
                  <a:gd name="connsiteX4847" fmla="*/ 4370135 w 12187339"/>
                  <a:gd name="connsiteY4847" fmla="*/ 248895 h 6851196"/>
                  <a:gd name="connsiteX4848" fmla="*/ 4139644 w 12187339"/>
                  <a:gd name="connsiteY4848" fmla="*/ 487020 h 6851196"/>
                  <a:gd name="connsiteX4849" fmla="*/ 3917094 w 12187339"/>
                  <a:gd name="connsiteY4849" fmla="*/ 487020 h 6851196"/>
                  <a:gd name="connsiteX4850" fmla="*/ 3917094 w 12187339"/>
                  <a:gd name="connsiteY4850" fmla="*/ 248895 h 6851196"/>
                  <a:gd name="connsiteX4851" fmla="*/ 4139644 w 12187339"/>
                  <a:gd name="connsiteY4851" fmla="*/ 248895 h 6851196"/>
                  <a:gd name="connsiteX4852" fmla="*/ 3910691 w 12187339"/>
                  <a:gd name="connsiteY4852" fmla="*/ 487020 h 6851196"/>
                  <a:gd name="connsiteX4853" fmla="*/ 3686603 w 12187339"/>
                  <a:gd name="connsiteY4853" fmla="*/ 487020 h 6851196"/>
                  <a:gd name="connsiteX4854" fmla="*/ 3686603 w 12187339"/>
                  <a:gd name="connsiteY4854" fmla="*/ 248895 h 6851196"/>
                  <a:gd name="connsiteX4855" fmla="*/ 3910691 w 12187339"/>
                  <a:gd name="connsiteY4855" fmla="*/ 248895 h 6851196"/>
                  <a:gd name="connsiteX4856" fmla="*/ 3680200 w 12187339"/>
                  <a:gd name="connsiteY4856" fmla="*/ 487020 h 6851196"/>
                  <a:gd name="connsiteX4857" fmla="*/ 3456112 w 12187339"/>
                  <a:gd name="connsiteY4857" fmla="*/ 487020 h 6851196"/>
                  <a:gd name="connsiteX4858" fmla="*/ 3456112 w 12187339"/>
                  <a:gd name="connsiteY4858" fmla="*/ 248895 h 6851196"/>
                  <a:gd name="connsiteX4859" fmla="*/ 3680200 w 12187339"/>
                  <a:gd name="connsiteY4859" fmla="*/ 248895 h 6851196"/>
                  <a:gd name="connsiteX4860" fmla="*/ 3449709 w 12187339"/>
                  <a:gd name="connsiteY4860" fmla="*/ 487020 h 6851196"/>
                  <a:gd name="connsiteX4861" fmla="*/ 3225621 w 12187339"/>
                  <a:gd name="connsiteY4861" fmla="*/ 487020 h 6851196"/>
                  <a:gd name="connsiteX4862" fmla="*/ 3225621 w 12187339"/>
                  <a:gd name="connsiteY4862" fmla="*/ 248895 h 6851196"/>
                  <a:gd name="connsiteX4863" fmla="*/ 3449709 w 12187339"/>
                  <a:gd name="connsiteY4863" fmla="*/ 248895 h 6851196"/>
                  <a:gd name="connsiteX4864" fmla="*/ 3219218 w 12187339"/>
                  <a:gd name="connsiteY4864" fmla="*/ 487020 h 6851196"/>
                  <a:gd name="connsiteX4865" fmla="*/ 2996666 w 12187339"/>
                  <a:gd name="connsiteY4865" fmla="*/ 487020 h 6851196"/>
                  <a:gd name="connsiteX4866" fmla="*/ 2996666 w 12187339"/>
                  <a:gd name="connsiteY4866" fmla="*/ 248895 h 6851196"/>
                  <a:gd name="connsiteX4867" fmla="*/ 3219218 w 12187339"/>
                  <a:gd name="connsiteY4867" fmla="*/ 248895 h 6851196"/>
                  <a:gd name="connsiteX4868" fmla="*/ 2990264 w 12187339"/>
                  <a:gd name="connsiteY4868" fmla="*/ 487020 h 6851196"/>
                  <a:gd name="connsiteX4869" fmla="*/ 2766175 w 12187339"/>
                  <a:gd name="connsiteY4869" fmla="*/ 487020 h 6851196"/>
                  <a:gd name="connsiteX4870" fmla="*/ 2766175 w 12187339"/>
                  <a:gd name="connsiteY4870" fmla="*/ 248895 h 6851196"/>
                  <a:gd name="connsiteX4871" fmla="*/ 2990264 w 12187339"/>
                  <a:gd name="connsiteY4871" fmla="*/ 248895 h 6851196"/>
                  <a:gd name="connsiteX4872" fmla="*/ 2759773 w 12187339"/>
                  <a:gd name="connsiteY4872" fmla="*/ 487020 h 6851196"/>
                  <a:gd name="connsiteX4873" fmla="*/ 2535684 w 12187339"/>
                  <a:gd name="connsiteY4873" fmla="*/ 487020 h 6851196"/>
                  <a:gd name="connsiteX4874" fmla="*/ 2535684 w 12187339"/>
                  <a:gd name="connsiteY4874" fmla="*/ 248895 h 6851196"/>
                  <a:gd name="connsiteX4875" fmla="*/ 2759773 w 12187339"/>
                  <a:gd name="connsiteY4875" fmla="*/ 248895 h 6851196"/>
                  <a:gd name="connsiteX4876" fmla="*/ 2529282 w 12187339"/>
                  <a:gd name="connsiteY4876" fmla="*/ 487020 h 6851196"/>
                  <a:gd name="connsiteX4877" fmla="*/ 2305193 w 12187339"/>
                  <a:gd name="connsiteY4877" fmla="*/ 487020 h 6851196"/>
                  <a:gd name="connsiteX4878" fmla="*/ 2305193 w 12187339"/>
                  <a:gd name="connsiteY4878" fmla="*/ 248895 h 6851196"/>
                  <a:gd name="connsiteX4879" fmla="*/ 2529282 w 12187339"/>
                  <a:gd name="connsiteY4879" fmla="*/ 248895 h 6851196"/>
                  <a:gd name="connsiteX4880" fmla="*/ 2298791 w 12187339"/>
                  <a:gd name="connsiteY4880" fmla="*/ 487020 h 6851196"/>
                  <a:gd name="connsiteX4881" fmla="*/ 2075982 w 12187339"/>
                  <a:gd name="connsiteY4881" fmla="*/ 487020 h 6851196"/>
                  <a:gd name="connsiteX4882" fmla="*/ 2075982 w 12187339"/>
                  <a:gd name="connsiteY4882" fmla="*/ 248895 h 6851196"/>
                  <a:gd name="connsiteX4883" fmla="*/ 2298534 w 12187339"/>
                  <a:gd name="connsiteY4883" fmla="*/ 248895 h 6851196"/>
                  <a:gd name="connsiteX4884" fmla="*/ 2069836 w 12187339"/>
                  <a:gd name="connsiteY4884" fmla="*/ 487020 h 6851196"/>
                  <a:gd name="connsiteX4885" fmla="*/ 1845748 w 12187339"/>
                  <a:gd name="connsiteY4885" fmla="*/ 487020 h 6851196"/>
                  <a:gd name="connsiteX4886" fmla="*/ 1845748 w 12187339"/>
                  <a:gd name="connsiteY4886" fmla="*/ 248895 h 6851196"/>
                  <a:gd name="connsiteX4887" fmla="*/ 2069580 w 12187339"/>
                  <a:gd name="connsiteY4887" fmla="*/ 248895 h 6851196"/>
                  <a:gd name="connsiteX4888" fmla="*/ 1839345 w 12187339"/>
                  <a:gd name="connsiteY4888" fmla="*/ 487020 h 6851196"/>
                  <a:gd name="connsiteX4889" fmla="*/ 1615257 w 12187339"/>
                  <a:gd name="connsiteY4889" fmla="*/ 487020 h 6851196"/>
                  <a:gd name="connsiteX4890" fmla="*/ 1615257 w 12187339"/>
                  <a:gd name="connsiteY4890" fmla="*/ 248895 h 6851196"/>
                  <a:gd name="connsiteX4891" fmla="*/ 1839089 w 12187339"/>
                  <a:gd name="connsiteY4891" fmla="*/ 248895 h 6851196"/>
                  <a:gd name="connsiteX4892" fmla="*/ 1608854 w 12187339"/>
                  <a:gd name="connsiteY4892" fmla="*/ 487020 h 6851196"/>
                  <a:gd name="connsiteX4893" fmla="*/ 1386302 w 12187339"/>
                  <a:gd name="connsiteY4893" fmla="*/ 487020 h 6851196"/>
                  <a:gd name="connsiteX4894" fmla="*/ 1386302 w 12187339"/>
                  <a:gd name="connsiteY4894" fmla="*/ 248895 h 6851196"/>
                  <a:gd name="connsiteX4895" fmla="*/ 1608598 w 12187339"/>
                  <a:gd name="connsiteY4895" fmla="*/ 248895 h 6851196"/>
                  <a:gd name="connsiteX4896" fmla="*/ 1379900 w 12187339"/>
                  <a:gd name="connsiteY4896" fmla="*/ 487020 h 6851196"/>
                  <a:gd name="connsiteX4897" fmla="*/ 1155811 w 12187339"/>
                  <a:gd name="connsiteY4897" fmla="*/ 487020 h 6851196"/>
                  <a:gd name="connsiteX4898" fmla="*/ 1155811 w 12187339"/>
                  <a:gd name="connsiteY4898" fmla="*/ 248895 h 6851196"/>
                  <a:gd name="connsiteX4899" fmla="*/ 1379900 w 12187339"/>
                  <a:gd name="connsiteY4899" fmla="*/ 248895 h 6851196"/>
                  <a:gd name="connsiteX4900" fmla="*/ 1149409 w 12187339"/>
                  <a:gd name="connsiteY4900" fmla="*/ 487020 h 6851196"/>
                  <a:gd name="connsiteX4901" fmla="*/ 925320 w 12187339"/>
                  <a:gd name="connsiteY4901" fmla="*/ 487020 h 6851196"/>
                  <a:gd name="connsiteX4902" fmla="*/ 925320 w 12187339"/>
                  <a:gd name="connsiteY4902" fmla="*/ 248895 h 6851196"/>
                  <a:gd name="connsiteX4903" fmla="*/ 1149409 w 12187339"/>
                  <a:gd name="connsiteY4903" fmla="*/ 248895 h 6851196"/>
                  <a:gd name="connsiteX4904" fmla="*/ 918918 w 12187339"/>
                  <a:gd name="connsiteY4904" fmla="*/ 487020 h 6851196"/>
                  <a:gd name="connsiteX4905" fmla="*/ 694829 w 12187339"/>
                  <a:gd name="connsiteY4905" fmla="*/ 487020 h 6851196"/>
                  <a:gd name="connsiteX4906" fmla="*/ 694829 w 12187339"/>
                  <a:gd name="connsiteY4906" fmla="*/ 248895 h 6851196"/>
                  <a:gd name="connsiteX4907" fmla="*/ 918918 w 12187339"/>
                  <a:gd name="connsiteY4907" fmla="*/ 248895 h 6851196"/>
                  <a:gd name="connsiteX4908" fmla="*/ 688427 w 12187339"/>
                  <a:gd name="connsiteY4908" fmla="*/ 487020 h 6851196"/>
                  <a:gd name="connsiteX4909" fmla="*/ 465875 w 12187339"/>
                  <a:gd name="connsiteY4909" fmla="*/ 487020 h 6851196"/>
                  <a:gd name="connsiteX4910" fmla="*/ 465875 w 12187339"/>
                  <a:gd name="connsiteY4910" fmla="*/ 248895 h 6851196"/>
                  <a:gd name="connsiteX4911" fmla="*/ 688427 w 12187339"/>
                  <a:gd name="connsiteY4911" fmla="*/ 248895 h 6851196"/>
                  <a:gd name="connsiteX4912" fmla="*/ 459472 w 12187339"/>
                  <a:gd name="connsiteY4912" fmla="*/ 487020 h 6851196"/>
                  <a:gd name="connsiteX4913" fmla="*/ 235384 w 12187339"/>
                  <a:gd name="connsiteY4913" fmla="*/ 487020 h 6851196"/>
                  <a:gd name="connsiteX4914" fmla="*/ 235384 w 12187339"/>
                  <a:gd name="connsiteY4914" fmla="*/ 248895 h 6851196"/>
                  <a:gd name="connsiteX4915" fmla="*/ 459472 w 12187339"/>
                  <a:gd name="connsiteY4915" fmla="*/ 248895 h 6851196"/>
                  <a:gd name="connsiteX4916" fmla="*/ 459472 w 12187339"/>
                  <a:gd name="connsiteY4916" fmla="*/ 493823 h 6851196"/>
                  <a:gd name="connsiteX4917" fmla="*/ 459472 w 12187339"/>
                  <a:gd name="connsiteY4917" fmla="*/ 731948 h 6851196"/>
                  <a:gd name="connsiteX4918" fmla="*/ 235384 w 12187339"/>
                  <a:gd name="connsiteY4918" fmla="*/ 731948 h 6851196"/>
                  <a:gd name="connsiteX4919" fmla="*/ 235384 w 12187339"/>
                  <a:gd name="connsiteY4919" fmla="*/ 493823 h 6851196"/>
                  <a:gd name="connsiteX4920" fmla="*/ 459472 w 12187339"/>
                  <a:gd name="connsiteY4920" fmla="*/ 738752 h 6851196"/>
                  <a:gd name="connsiteX4921" fmla="*/ 459472 w 12187339"/>
                  <a:gd name="connsiteY4921" fmla="*/ 975244 h 6851196"/>
                  <a:gd name="connsiteX4922" fmla="*/ 235384 w 12187339"/>
                  <a:gd name="connsiteY4922" fmla="*/ 975244 h 6851196"/>
                  <a:gd name="connsiteX4923" fmla="*/ 235384 w 12187339"/>
                  <a:gd name="connsiteY4923" fmla="*/ 738752 h 6851196"/>
                  <a:gd name="connsiteX4924" fmla="*/ 459472 w 12187339"/>
                  <a:gd name="connsiteY4924" fmla="*/ 982048 h 6851196"/>
                  <a:gd name="connsiteX4925" fmla="*/ 459472 w 12187339"/>
                  <a:gd name="connsiteY4925" fmla="*/ 1220173 h 6851196"/>
                  <a:gd name="connsiteX4926" fmla="*/ 235384 w 12187339"/>
                  <a:gd name="connsiteY4926" fmla="*/ 1220173 h 6851196"/>
                  <a:gd name="connsiteX4927" fmla="*/ 235384 w 12187339"/>
                  <a:gd name="connsiteY4927" fmla="*/ 981911 h 6851196"/>
                  <a:gd name="connsiteX4928" fmla="*/ 459472 w 12187339"/>
                  <a:gd name="connsiteY4928" fmla="*/ 1226976 h 6851196"/>
                  <a:gd name="connsiteX4929" fmla="*/ 459472 w 12187339"/>
                  <a:gd name="connsiteY4929" fmla="*/ 1465101 h 6851196"/>
                  <a:gd name="connsiteX4930" fmla="*/ 235384 w 12187339"/>
                  <a:gd name="connsiteY4930" fmla="*/ 1465101 h 6851196"/>
                  <a:gd name="connsiteX4931" fmla="*/ 235384 w 12187339"/>
                  <a:gd name="connsiteY4931" fmla="*/ 1226840 h 6851196"/>
                  <a:gd name="connsiteX4932" fmla="*/ 459472 w 12187339"/>
                  <a:gd name="connsiteY4932" fmla="*/ 1471905 h 6851196"/>
                  <a:gd name="connsiteX4933" fmla="*/ 459472 w 12187339"/>
                  <a:gd name="connsiteY4933" fmla="*/ 1710030 h 6851196"/>
                  <a:gd name="connsiteX4934" fmla="*/ 235384 w 12187339"/>
                  <a:gd name="connsiteY4934" fmla="*/ 1710030 h 6851196"/>
                  <a:gd name="connsiteX4935" fmla="*/ 235384 w 12187339"/>
                  <a:gd name="connsiteY4935" fmla="*/ 1471769 h 6851196"/>
                  <a:gd name="connsiteX4936" fmla="*/ 459472 w 12187339"/>
                  <a:gd name="connsiteY4936" fmla="*/ 1716833 h 6851196"/>
                  <a:gd name="connsiteX4937" fmla="*/ 459472 w 12187339"/>
                  <a:gd name="connsiteY4937" fmla="*/ 1953326 h 6851196"/>
                  <a:gd name="connsiteX4938" fmla="*/ 235384 w 12187339"/>
                  <a:gd name="connsiteY4938" fmla="*/ 1953326 h 6851196"/>
                  <a:gd name="connsiteX4939" fmla="*/ 235384 w 12187339"/>
                  <a:gd name="connsiteY4939" fmla="*/ 1716697 h 6851196"/>
                  <a:gd name="connsiteX4940" fmla="*/ 459472 w 12187339"/>
                  <a:gd name="connsiteY4940" fmla="*/ 1960129 h 6851196"/>
                  <a:gd name="connsiteX4941" fmla="*/ 459472 w 12187339"/>
                  <a:gd name="connsiteY4941" fmla="*/ 2198254 h 6851196"/>
                  <a:gd name="connsiteX4942" fmla="*/ 235384 w 12187339"/>
                  <a:gd name="connsiteY4942" fmla="*/ 2198254 h 6851196"/>
                  <a:gd name="connsiteX4943" fmla="*/ 235384 w 12187339"/>
                  <a:gd name="connsiteY4943" fmla="*/ 1960129 h 6851196"/>
                  <a:gd name="connsiteX4944" fmla="*/ 459472 w 12187339"/>
                  <a:gd name="connsiteY4944" fmla="*/ 2205058 h 6851196"/>
                  <a:gd name="connsiteX4945" fmla="*/ 459472 w 12187339"/>
                  <a:gd name="connsiteY4945" fmla="*/ 2443183 h 6851196"/>
                  <a:gd name="connsiteX4946" fmla="*/ 235384 w 12187339"/>
                  <a:gd name="connsiteY4946" fmla="*/ 2443183 h 6851196"/>
                  <a:gd name="connsiteX4947" fmla="*/ 235384 w 12187339"/>
                  <a:gd name="connsiteY4947" fmla="*/ 2205058 h 6851196"/>
                  <a:gd name="connsiteX4948" fmla="*/ 459472 w 12187339"/>
                  <a:gd name="connsiteY4948" fmla="*/ 2449986 h 6851196"/>
                  <a:gd name="connsiteX4949" fmla="*/ 459472 w 12187339"/>
                  <a:gd name="connsiteY4949" fmla="*/ 2686479 h 6851196"/>
                  <a:gd name="connsiteX4950" fmla="*/ 235384 w 12187339"/>
                  <a:gd name="connsiteY4950" fmla="*/ 2686479 h 6851196"/>
                  <a:gd name="connsiteX4951" fmla="*/ 235384 w 12187339"/>
                  <a:gd name="connsiteY4951" fmla="*/ 2449986 h 6851196"/>
                  <a:gd name="connsiteX4952" fmla="*/ 459472 w 12187339"/>
                  <a:gd name="connsiteY4952" fmla="*/ 2693282 h 6851196"/>
                  <a:gd name="connsiteX4953" fmla="*/ 459472 w 12187339"/>
                  <a:gd name="connsiteY4953" fmla="*/ 2931407 h 6851196"/>
                  <a:gd name="connsiteX4954" fmla="*/ 235384 w 12187339"/>
                  <a:gd name="connsiteY4954" fmla="*/ 2931407 h 6851196"/>
                  <a:gd name="connsiteX4955" fmla="*/ 235384 w 12187339"/>
                  <a:gd name="connsiteY4955" fmla="*/ 2693282 h 6851196"/>
                  <a:gd name="connsiteX4956" fmla="*/ 459472 w 12187339"/>
                  <a:gd name="connsiteY4956" fmla="*/ 2938211 h 6851196"/>
                  <a:gd name="connsiteX4957" fmla="*/ 459472 w 12187339"/>
                  <a:gd name="connsiteY4957" fmla="*/ 3176336 h 6851196"/>
                  <a:gd name="connsiteX4958" fmla="*/ 235384 w 12187339"/>
                  <a:gd name="connsiteY4958" fmla="*/ 3176336 h 6851196"/>
                  <a:gd name="connsiteX4959" fmla="*/ 235384 w 12187339"/>
                  <a:gd name="connsiteY4959" fmla="*/ 2938211 h 6851196"/>
                  <a:gd name="connsiteX4960" fmla="*/ 459472 w 12187339"/>
                  <a:gd name="connsiteY4960" fmla="*/ 3183139 h 6851196"/>
                  <a:gd name="connsiteX4961" fmla="*/ 459472 w 12187339"/>
                  <a:gd name="connsiteY4961" fmla="*/ 3421264 h 6851196"/>
                  <a:gd name="connsiteX4962" fmla="*/ 235384 w 12187339"/>
                  <a:gd name="connsiteY4962" fmla="*/ 3421264 h 6851196"/>
                  <a:gd name="connsiteX4963" fmla="*/ 235384 w 12187339"/>
                  <a:gd name="connsiteY4963" fmla="*/ 3183139 h 6851196"/>
                  <a:gd name="connsiteX4964" fmla="*/ 459472 w 12187339"/>
                  <a:gd name="connsiteY4964" fmla="*/ 3428068 h 6851196"/>
                  <a:gd name="connsiteX4965" fmla="*/ 459472 w 12187339"/>
                  <a:gd name="connsiteY4965" fmla="*/ 3664560 h 6851196"/>
                  <a:gd name="connsiteX4966" fmla="*/ 235384 w 12187339"/>
                  <a:gd name="connsiteY4966" fmla="*/ 3664560 h 6851196"/>
                  <a:gd name="connsiteX4967" fmla="*/ 235384 w 12187339"/>
                  <a:gd name="connsiteY4967" fmla="*/ 3428068 h 6851196"/>
                  <a:gd name="connsiteX4968" fmla="*/ 459472 w 12187339"/>
                  <a:gd name="connsiteY4968" fmla="*/ 3671364 h 6851196"/>
                  <a:gd name="connsiteX4969" fmla="*/ 459472 w 12187339"/>
                  <a:gd name="connsiteY4969" fmla="*/ 3909489 h 6851196"/>
                  <a:gd name="connsiteX4970" fmla="*/ 235384 w 12187339"/>
                  <a:gd name="connsiteY4970" fmla="*/ 3909489 h 6851196"/>
                  <a:gd name="connsiteX4971" fmla="*/ 235384 w 12187339"/>
                  <a:gd name="connsiteY4971" fmla="*/ 3671364 h 6851196"/>
                  <a:gd name="connsiteX4972" fmla="*/ 459472 w 12187339"/>
                  <a:gd name="connsiteY4972" fmla="*/ 3916292 h 6851196"/>
                  <a:gd name="connsiteX4973" fmla="*/ 459472 w 12187339"/>
                  <a:gd name="connsiteY4973" fmla="*/ 4154417 h 6851196"/>
                  <a:gd name="connsiteX4974" fmla="*/ 235384 w 12187339"/>
                  <a:gd name="connsiteY4974" fmla="*/ 4154417 h 6851196"/>
                  <a:gd name="connsiteX4975" fmla="*/ 235384 w 12187339"/>
                  <a:gd name="connsiteY4975" fmla="*/ 3916292 h 6851196"/>
                  <a:gd name="connsiteX4976" fmla="*/ 459472 w 12187339"/>
                  <a:gd name="connsiteY4976" fmla="*/ 4161221 h 6851196"/>
                  <a:gd name="connsiteX4977" fmla="*/ 459472 w 12187339"/>
                  <a:gd name="connsiteY4977" fmla="*/ 4399346 h 6851196"/>
                  <a:gd name="connsiteX4978" fmla="*/ 235384 w 12187339"/>
                  <a:gd name="connsiteY4978" fmla="*/ 4399346 h 6851196"/>
                  <a:gd name="connsiteX4979" fmla="*/ 235384 w 12187339"/>
                  <a:gd name="connsiteY4979" fmla="*/ 4161221 h 6851196"/>
                  <a:gd name="connsiteX4980" fmla="*/ 459472 w 12187339"/>
                  <a:gd name="connsiteY4980" fmla="*/ 4406149 h 6851196"/>
                  <a:gd name="connsiteX4981" fmla="*/ 459472 w 12187339"/>
                  <a:gd name="connsiteY4981" fmla="*/ 4642233 h 6851196"/>
                  <a:gd name="connsiteX4982" fmla="*/ 235384 w 12187339"/>
                  <a:gd name="connsiteY4982" fmla="*/ 4642233 h 6851196"/>
                  <a:gd name="connsiteX4983" fmla="*/ 235384 w 12187339"/>
                  <a:gd name="connsiteY4983" fmla="*/ 4405741 h 6851196"/>
                  <a:gd name="connsiteX4984" fmla="*/ 459472 w 12187339"/>
                  <a:gd name="connsiteY4984" fmla="*/ 4649445 h 6851196"/>
                  <a:gd name="connsiteX4985" fmla="*/ 459472 w 12187339"/>
                  <a:gd name="connsiteY4985" fmla="*/ 4887162 h 6851196"/>
                  <a:gd name="connsiteX4986" fmla="*/ 235384 w 12187339"/>
                  <a:gd name="connsiteY4986" fmla="*/ 4887162 h 6851196"/>
                  <a:gd name="connsiteX4987" fmla="*/ 235384 w 12187339"/>
                  <a:gd name="connsiteY4987" fmla="*/ 4649037 h 6851196"/>
                  <a:gd name="connsiteX4988" fmla="*/ 459472 w 12187339"/>
                  <a:gd name="connsiteY4988" fmla="*/ 4894374 h 6851196"/>
                  <a:gd name="connsiteX4989" fmla="*/ 459472 w 12187339"/>
                  <a:gd name="connsiteY4989" fmla="*/ 5132090 h 6851196"/>
                  <a:gd name="connsiteX4990" fmla="*/ 235384 w 12187339"/>
                  <a:gd name="connsiteY4990" fmla="*/ 5132090 h 6851196"/>
                  <a:gd name="connsiteX4991" fmla="*/ 235384 w 12187339"/>
                  <a:gd name="connsiteY4991" fmla="*/ 4893965 h 6851196"/>
                  <a:gd name="connsiteX4992" fmla="*/ 459472 w 12187339"/>
                  <a:gd name="connsiteY4992" fmla="*/ 5139302 h 6851196"/>
                  <a:gd name="connsiteX4993" fmla="*/ 459472 w 12187339"/>
                  <a:gd name="connsiteY4993" fmla="*/ 5375795 h 6851196"/>
                  <a:gd name="connsiteX4994" fmla="*/ 235384 w 12187339"/>
                  <a:gd name="connsiteY4994" fmla="*/ 5375795 h 6851196"/>
                  <a:gd name="connsiteX4995" fmla="*/ 235384 w 12187339"/>
                  <a:gd name="connsiteY4995" fmla="*/ 5139302 h 6851196"/>
                  <a:gd name="connsiteX4996" fmla="*/ 459472 w 12187339"/>
                  <a:gd name="connsiteY4996" fmla="*/ 5382598 h 6851196"/>
                  <a:gd name="connsiteX4997" fmla="*/ 459472 w 12187339"/>
                  <a:gd name="connsiteY4997" fmla="*/ 5620723 h 6851196"/>
                  <a:gd name="connsiteX4998" fmla="*/ 235384 w 12187339"/>
                  <a:gd name="connsiteY4998" fmla="*/ 5620723 h 6851196"/>
                  <a:gd name="connsiteX4999" fmla="*/ 235384 w 12187339"/>
                  <a:gd name="connsiteY4999" fmla="*/ 5382598 h 6851196"/>
                  <a:gd name="connsiteX5000" fmla="*/ 459472 w 12187339"/>
                  <a:gd name="connsiteY5000" fmla="*/ 5627527 h 6851196"/>
                  <a:gd name="connsiteX5001" fmla="*/ 459472 w 12187339"/>
                  <a:gd name="connsiteY5001" fmla="*/ 5865652 h 6851196"/>
                  <a:gd name="connsiteX5002" fmla="*/ 235384 w 12187339"/>
                  <a:gd name="connsiteY5002" fmla="*/ 5865652 h 6851196"/>
                  <a:gd name="connsiteX5003" fmla="*/ 235384 w 12187339"/>
                  <a:gd name="connsiteY5003" fmla="*/ 5627527 h 6851196"/>
                  <a:gd name="connsiteX5004" fmla="*/ 459472 w 12187339"/>
                  <a:gd name="connsiteY5004" fmla="*/ 5872455 h 6851196"/>
                  <a:gd name="connsiteX5005" fmla="*/ 459472 w 12187339"/>
                  <a:gd name="connsiteY5005" fmla="*/ 6110580 h 6851196"/>
                  <a:gd name="connsiteX5006" fmla="*/ 235384 w 12187339"/>
                  <a:gd name="connsiteY5006" fmla="*/ 6110580 h 6851196"/>
                  <a:gd name="connsiteX5007" fmla="*/ 235384 w 12187339"/>
                  <a:gd name="connsiteY5007" fmla="*/ 5872455 h 6851196"/>
                  <a:gd name="connsiteX5008" fmla="*/ 459472 w 12187339"/>
                  <a:gd name="connsiteY5008" fmla="*/ 6117384 h 6851196"/>
                  <a:gd name="connsiteX5009" fmla="*/ 459472 w 12187339"/>
                  <a:gd name="connsiteY5009" fmla="*/ 6353876 h 6851196"/>
                  <a:gd name="connsiteX5010" fmla="*/ 235384 w 12187339"/>
                  <a:gd name="connsiteY5010" fmla="*/ 6353876 h 6851196"/>
                  <a:gd name="connsiteX5011" fmla="*/ 235384 w 12187339"/>
                  <a:gd name="connsiteY5011" fmla="*/ 6117384 h 6851196"/>
                  <a:gd name="connsiteX5012" fmla="*/ 459472 w 12187339"/>
                  <a:gd name="connsiteY5012" fmla="*/ 6360680 h 6851196"/>
                  <a:gd name="connsiteX5013" fmla="*/ 459472 w 12187339"/>
                  <a:gd name="connsiteY5013" fmla="*/ 6598805 h 6851196"/>
                  <a:gd name="connsiteX5014" fmla="*/ 235384 w 12187339"/>
                  <a:gd name="connsiteY5014" fmla="*/ 6598805 h 6851196"/>
                  <a:gd name="connsiteX5015" fmla="*/ 235384 w 12187339"/>
                  <a:gd name="connsiteY5015" fmla="*/ 6360680 h 6851196"/>
                  <a:gd name="connsiteX5016" fmla="*/ 465875 w 12187339"/>
                  <a:gd name="connsiteY5016" fmla="*/ 6360680 h 6851196"/>
                  <a:gd name="connsiteX5017" fmla="*/ 688427 w 12187339"/>
                  <a:gd name="connsiteY5017" fmla="*/ 6360680 h 6851196"/>
                  <a:gd name="connsiteX5018" fmla="*/ 688427 w 12187339"/>
                  <a:gd name="connsiteY5018" fmla="*/ 6598805 h 6851196"/>
                  <a:gd name="connsiteX5019" fmla="*/ 465875 w 12187339"/>
                  <a:gd name="connsiteY5019" fmla="*/ 6598805 h 6851196"/>
                  <a:gd name="connsiteX5020" fmla="*/ 694829 w 12187339"/>
                  <a:gd name="connsiteY5020" fmla="*/ 6360680 h 6851196"/>
                  <a:gd name="connsiteX5021" fmla="*/ 918918 w 12187339"/>
                  <a:gd name="connsiteY5021" fmla="*/ 6360680 h 6851196"/>
                  <a:gd name="connsiteX5022" fmla="*/ 918918 w 12187339"/>
                  <a:gd name="connsiteY5022" fmla="*/ 6598805 h 6851196"/>
                  <a:gd name="connsiteX5023" fmla="*/ 694829 w 12187339"/>
                  <a:gd name="connsiteY5023" fmla="*/ 6598805 h 6851196"/>
                  <a:gd name="connsiteX5024" fmla="*/ 925320 w 12187339"/>
                  <a:gd name="connsiteY5024" fmla="*/ 6360680 h 6851196"/>
                  <a:gd name="connsiteX5025" fmla="*/ 1149409 w 12187339"/>
                  <a:gd name="connsiteY5025" fmla="*/ 6360680 h 6851196"/>
                  <a:gd name="connsiteX5026" fmla="*/ 1149409 w 12187339"/>
                  <a:gd name="connsiteY5026" fmla="*/ 6598805 h 6851196"/>
                  <a:gd name="connsiteX5027" fmla="*/ 925320 w 12187339"/>
                  <a:gd name="connsiteY5027" fmla="*/ 6598805 h 6851196"/>
                  <a:gd name="connsiteX5028" fmla="*/ 1155811 w 12187339"/>
                  <a:gd name="connsiteY5028" fmla="*/ 6360680 h 6851196"/>
                  <a:gd name="connsiteX5029" fmla="*/ 1379900 w 12187339"/>
                  <a:gd name="connsiteY5029" fmla="*/ 6360680 h 6851196"/>
                  <a:gd name="connsiteX5030" fmla="*/ 1379900 w 12187339"/>
                  <a:gd name="connsiteY5030" fmla="*/ 6598805 h 6851196"/>
                  <a:gd name="connsiteX5031" fmla="*/ 1155811 w 12187339"/>
                  <a:gd name="connsiteY5031" fmla="*/ 6598805 h 6851196"/>
                  <a:gd name="connsiteX5032" fmla="*/ 1386302 w 12187339"/>
                  <a:gd name="connsiteY5032" fmla="*/ 6360680 h 6851196"/>
                  <a:gd name="connsiteX5033" fmla="*/ 1608598 w 12187339"/>
                  <a:gd name="connsiteY5033" fmla="*/ 6360680 h 6851196"/>
                  <a:gd name="connsiteX5034" fmla="*/ 1608598 w 12187339"/>
                  <a:gd name="connsiteY5034" fmla="*/ 6598805 h 6851196"/>
                  <a:gd name="connsiteX5035" fmla="*/ 1386046 w 12187339"/>
                  <a:gd name="connsiteY5035" fmla="*/ 6598805 h 6851196"/>
                  <a:gd name="connsiteX5036" fmla="*/ 1615257 w 12187339"/>
                  <a:gd name="connsiteY5036" fmla="*/ 6360680 h 6851196"/>
                  <a:gd name="connsiteX5037" fmla="*/ 1839089 w 12187339"/>
                  <a:gd name="connsiteY5037" fmla="*/ 6360680 h 6851196"/>
                  <a:gd name="connsiteX5038" fmla="*/ 1839089 w 12187339"/>
                  <a:gd name="connsiteY5038" fmla="*/ 6598805 h 6851196"/>
                  <a:gd name="connsiteX5039" fmla="*/ 1615000 w 12187339"/>
                  <a:gd name="connsiteY5039" fmla="*/ 6598805 h 6851196"/>
                  <a:gd name="connsiteX5040" fmla="*/ 1845748 w 12187339"/>
                  <a:gd name="connsiteY5040" fmla="*/ 6360680 h 6851196"/>
                  <a:gd name="connsiteX5041" fmla="*/ 2069580 w 12187339"/>
                  <a:gd name="connsiteY5041" fmla="*/ 6360680 h 6851196"/>
                  <a:gd name="connsiteX5042" fmla="*/ 2069580 w 12187339"/>
                  <a:gd name="connsiteY5042" fmla="*/ 6598805 h 6851196"/>
                  <a:gd name="connsiteX5043" fmla="*/ 1845491 w 12187339"/>
                  <a:gd name="connsiteY5043" fmla="*/ 6598805 h 6851196"/>
                  <a:gd name="connsiteX5044" fmla="*/ 2076239 w 12187339"/>
                  <a:gd name="connsiteY5044" fmla="*/ 6360680 h 6851196"/>
                  <a:gd name="connsiteX5045" fmla="*/ 2298791 w 12187339"/>
                  <a:gd name="connsiteY5045" fmla="*/ 6360680 h 6851196"/>
                  <a:gd name="connsiteX5046" fmla="*/ 2298791 w 12187339"/>
                  <a:gd name="connsiteY5046" fmla="*/ 6598805 h 6851196"/>
                  <a:gd name="connsiteX5047" fmla="*/ 2075982 w 12187339"/>
                  <a:gd name="connsiteY5047" fmla="*/ 6598805 h 6851196"/>
                  <a:gd name="connsiteX5048" fmla="*/ 2305193 w 12187339"/>
                  <a:gd name="connsiteY5048" fmla="*/ 6360680 h 6851196"/>
                  <a:gd name="connsiteX5049" fmla="*/ 2529282 w 12187339"/>
                  <a:gd name="connsiteY5049" fmla="*/ 6360680 h 6851196"/>
                  <a:gd name="connsiteX5050" fmla="*/ 2529282 w 12187339"/>
                  <a:gd name="connsiteY5050" fmla="*/ 6598805 h 6851196"/>
                  <a:gd name="connsiteX5051" fmla="*/ 2305193 w 12187339"/>
                  <a:gd name="connsiteY5051" fmla="*/ 6598805 h 6851196"/>
                  <a:gd name="connsiteX5052" fmla="*/ 2535684 w 12187339"/>
                  <a:gd name="connsiteY5052" fmla="*/ 6360680 h 6851196"/>
                  <a:gd name="connsiteX5053" fmla="*/ 2759773 w 12187339"/>
                  <a:gd name="connsiteY5053" fmla="*/ 6360680 h 6851196"/>
                  <a:gd name="connsiteX5054" fmla="*/ 2759773 w 12187339"/>
                  <a:gd name="connsiteY5054" fmla="*/ 6598805 h 6851196"/>
                  <a:gd name="connsiteX5055" fmla="*/ 2535684 w 12187339"/>
                  <a:gd name="connsiteY5055" fmla="*/ 6598805 h 6851196"/>
                  <a:gd name="connsiteX5056" fmla="*/ 2766175 w 12187339"/>
                  <a:gd name="connsiteY5056" fmla="*/ 6360680 h 6851196"/>
                  <a:gd name="connsiteX5057" fmla="*/ 2990264 w 12187339"/>
                  <a:gd name="connsiteY5057" fmla="*/ 6360680 h 6851196"/>
                  <a:gd name="connsiteX5058" fmla="*/ 2990264 w 12187339"/>
                  <a:gd name="connsiteY5058" fmla="*/ 6598805 h 6851196"/>
                  <a:gd name="connsiteX5059" fmla="*/ 2766175 w 12187339"/>
                  <a:gd name="connsiteY5059" fmla="*/ 6598805 h 6851196"/>
                  <a:gd name="connsiteX5060" fmla="*/ 2996666 w 12187339"/>
                  <a:gd name="connsiteY5060" fmla="*/ 6360680 h 6851196"/>
                  <a:gd name="connsiteX5061" fmla="*/ 3219218 w 12187339"/>
                  <a:gd name="connsiteY5061" fmla="*/ 6360680 h 6851196"/>
                  <a:gd name="connsiteX5062" fmla="*/ 3219218 w 12187339"/>
                  <a:gd name="connsiteY5062" fmla="*/ 6598805 h 6851196"/>
                  <a:gd name="connsiteX5063" fmla="*/ 2996666 w 12187339"/>
                  <a:gd name="connsiteY5063" fmla="*/ 6598805 h 6851196"/>
                  <a:gd name="connsiteX5064" fmla="*/ 3225621 w 12187339"/>
                  <a:gd name="connsiteY5064" fmla="*/ 6360680 h 6851196"/>
                  <a:gd name="connsiteX5065" fmla="*/ 3449709 w 12187339"/>
                  <a:gd name="connsiteY5065" fmla="*/ 6360680 h 6851196"/>
                  <a:gd name="connsiteX5066" fmla="*/ 3449709 w 12187339"/>
                  <a:gd name="connsiteY5066" fmla="*/ 6598805 h 6851196"/>
                  <a:gd name="connsiteX5067" fmla="*/ 3225621 w 12187339"/>
                  <a:gd name="connsiteY5067" fmla="*/ 6598805 h 6851196"/>
                  <a:gd name="connsiteX5068" fmla="*/ 3456112 w 12187339"/>
                  <a:gd name="connsiteY5068" fmla="*/ 6360680 h 6851196"/>
                  <a:gd name="connsiteX5069" fmla="*/ 3680200 w 12187339"/>
                  <a:gd name="connsiteY5069" fmla="*/ 6360680 h 6851196"/>
                  <a:gd name="connsiteX5070" fmla="*/ 3680200 w 12187339"/>
                  <a:gd name="connsiteY5070" fmla="*/ 6598805 h 6851196"/>
                  <a:gd name="connsiteX5071" fmla="*/ 3456112 w 12187339"/>
                  <a:gd name="connsiteY5071" fmla="*/ 6598805 h 6851196"/>
                  <a:gd name="connsiteX5072" fmla="*/ 3686603 w 12187339"/>
                  <a:gd name="connsiteY5072" fmla="*/ 6360680 h 6851196"/>
                  <a:gd name="connsiteX5073" fmla="*/ 3910691 w 12187339"/>
                  <a:gd name="connsiteY5073" fmla="*/ 6360680 h 6851196"/>
                  <a:gd name="connsiteX5074" fmla="*/ 3910691 w 12187339"/>
                  <a:gd name="connsiteY5074" fmla="*/ 6598805 h 6851196"/>
                  <a:gd name="connsiteX5075" fmla="*/ 3686603 w 12187339"/>
                  <a:gd name="connsiteY5075" fmla="*/ 6598805 h 6851196"/>
                  <a:gd name="connsiteX5076" fmla="*/ 3917094 w 12187339"/>
                  <a:gd name="connsiteY5076" fmla="*/ 6360680 h 6851196"/>
                  <a:gd name="connsiteX5077" fmla="*/ 4139644 w 12187339"/>
                  <a:gd name="connsiteY5077" fmla="*/ 6360680 h 6851196"/>
                  <a:gd name="connsiteX5078" fmla="*/ 4139644 w 12187339"/>
                  <a:gd name="connsiteY5078" fmla="*/ 6598805 h 6851196"/>
                  <a:gd name="connsiteX5079" fmla="*/ 3917094 w 12187339"/>
                  <a:gd name="connsiteY5079" fmla="*/ 6598805 h 6851196"/>
                  <a:gd name="connsiteX5080" fmla="*/ 4146047 w 12187339"/>
                  <a:gd name="connsiteY5080" fmla="*/ 6360680 h 6851196"/>
                  <a:gd name="connsiteX5081" fmla="*/ 4370135 w 12187339"/>
                  <a:gd name="connsiteY5081" fmla="*/ 6360680 h 6851196"/>
                  <a:gd name="connsiteX5082" fmla="*/ 4370135 w 12187339"/>
                  <a:gd name="connsiteY5082" fmla="*/ 6598805 h 6851196"/>
                  <a:gd name="connsiteX5083" fmla="*/ 4146047 w 12187339"/>
                  <a:gd name="connsiteY5083" fmla="*/ 6598805 h 6851196"/>
                  <a:gd name="connsiteX5084" fmla="*/ 4376538 w 12187339"/>
                  <a:gd name="connsiteY5084" fmla="*/ 6360680 h 6851196"/>
                  <a:gd name="connsiteX5085" fmla="*/ 4600626 w 12187339"/>
                  <a:gd name="connsiteY5085" fmla="*/ 6360680 h 6851196"/>
                  <a:gd name="connsiteX5086" fmla="*/ 4600626 w 12187339"/>
                  <a:gd name="connsiteY5086" fmla="*/ 6598805 h 6851196"/>
                  <a:gd name="connsiteX5087" fmla="*/ 4376538 w 12187339"/>
                  <a:gd name="connsiteY5087" fmla="*/ 6598805 h 6851196"/>
                  <a:gd name="connsiteX5088" fmla="*/ 4607029 w 12187339"/>
                  <a:gd name="connsiteY5088" fmla="*/ 6360680 h 6851196"/>
                  <a:gd name="connsiteX5089" fmla="*/ 4829582 w 12187339"/>
                  <a:gd name="connsiteY5089" fmla="*/ 6360680 h 6851196"/>
                  <a:gd name="connsiteX5090" fmla="*/ 4829582 w 12187339"/>
                  <a:gd name="connsiteY5090" fmla="*/ 6598805 h 6851196"/>
                  <a:gd name="connsiteX5091" fmla="*/ 4607029 w 12187339"/>
                  <a:gd name="connsiteY5091" fmla="*/ 6598805 h 6851196"/>
                  <a:gd name="connsiteX5092" fmla="*/ 4835985 w 12187339"/>
                  <a:gd name="connsiteY5092" fmla="*/ 6360680 h 6851196"/>
                  <a:gd name="connsiteX5093" fmla="*/ 5060073 w 12187339"/>
                  <a:gd name="connsiteY5093" fmla="*/ 6360680 h 6851196"/>
                  <a:gd name="connsiteX5094" fmla="*/ 5060073 w 12187339"/>
                  <a:gd name="connsiteY5094" fmla="*/ 6598805 h 6851196"/>
                  <a:gd name="connsiteX5095" fmla="*/ 4835472 w 12187339"/>
                  <a:gd name="connsiteY5095" fmla="*/ 6598805 h 6851196"/>
                  <a:gd name="connsiteX5096" fmla="*/ 5066476 w 12187339"/>
                  <a:gd name="connsiteY5096" fmla="*/ 6360680 h 6851196"/>
                  <a:gd name="connsiteX5097" fmla="*/ 5290564 w 12187339"/>
                  <a:gd name="connsiteY5097" fmla="*/ 6360680 h 6851196"/>
                  <a:gd name="connsiteX5098" fmla="*/ 5290564 w 12187339"/>
                  <a:gd name="connsiteY5098" fmla="*/ 6598805 h 6851196"/>
                  <a:gd name="connsiteX5099" fmla="*/ 5065963 w 12187339"/>
                  <a:gd name="connsiteY5099" fmla="*/ 6598805 h 6851196"/>
                  <a:gd name="connsiteX5100" fmla="*/ 5296967 w 12187339"/>
                  <a:gd name="connsiteY5100" fmla="*/ 6360680 h 6851196"/>
                  <a:gd name="connsiteX5101" fmla="*/ 5521055 w 12187339"/>
                  <a:gd name="connsiteY5101" fmla="*/ 6360680 h 6851196"/>
                  <a:gd name="connsiteX5102" fmla="*/ 5521055 w 12187339"/>
                  <a:gd name="connsiteY5102" fmla="*/ 6598805 h 6851196"/>
                  <a:gd name="connsiteX5103" fmla="*/ 5296454 w 12187339"/>
                  <a:gd name="connsiteY5103" fmla="*/ 6598805 h 6851196"/>
                  <a:gd name="connsiteX5104" fmla="*/ 5527458 w 12187339"/>
                  <a:gd name="connsiteY5104" fmla="*/ 6360680 h 6851196"/>
                  <a:gd name="connsiteX5105" fmla="*/ 5750008 w 12187339"/>
                  <a:gd name="connsiteY5105" fmla="*/ 6360680 h 6851196"/>
                  <a:gd name="connsiteX5106" fmla="*/ 5750008 w 12187339"/>
                  <a:gd name="connsiteY5106" fmla="*/ 6598805 h 6851196"/>
                  <a:gd name="connsiteX5107" fmla="*/ 5526945 w 12187339"/>
                  <a:gd name="connsiteY5107" fmla="*/ 6598805 h 6851196"/>
                  <a:gd name="connsiteX5108" fmla="*/ 5756411 w 12187339"/>
                  <a:gd name="connsiteY5108" fmla="*/ 6360680 h 6851196"/>
                  <a:gd name="connsiteX5109" fmla="*/ 5980499 w 12187339"/>
                  <a:gd name="connsiteY5109" fmla="*/ 6360680 h 6851196"/>
                  <a:gd name="connsiteX5110" fmla="*/ 5980499 w 12187339"/>
                  <a:gd name="connsiteY5110" fmla="*/ 6598805 h 6851196"/>
                  <a:gd name="connsiteX5111" fmla="*/ 5756411 w 12187339"/>
                  <a:gd name="connsiteY5111" fmla="*/ 6598805 h 6851196"/>
                  <a:gd name="connsiteX5112" fmla="*/ 5986902 w 12187339"/>
                  <a:gd name="connsiteY5112" fmla="*/ 6360680 h 6851196"/>
                  <a:gd name="connsiteX5113" fmla="*/ 6210990 w 12187339"/>
                  <a:gd name="connsiteY5113" fmla="*/ 6360680 h 6851196"/>
                  <a:gd name="connsiteX5114" fmla="*/ 6210990 w 12187339"/>
                  <a:gd name="connsiteY5114" fmla="*/ 6598805 h 6851196"/>
                  <a:gd name="connsiteX5115" fmla="*/ 5986902 w 12187339"/>
                  <a:gd name="connsiteY5115" fmla="*/ 6598805 h 6851196"/>
                  <a:gd name="connsiteX5116" fmla="*/ 6217393 w 12187339"/>
                  <a:gd name="connsiteY5116" fmla="*/ 6360680 h 6851196"/>
                  <a:gd name="connsiteX5117" fmla="*/ 6439946 w 12187339"/>
                  <a:gd name="connsiteY5117" fmla="*/ 6360680 h 6851196"/>
                  <a:gd name="connsiteX5118" fmla="*/ 6439946 w 12187339"/>
                  <a:gd name="connsiteY5118" fmla="*/ 6598805 h 6851196"/>
                  <a:gd name="connsiteX5119" fmla="*/ 6217136 w 12187339"/>
                  <a:gd name="connsiteY5119" fmla="*/ 6598805 h 6851196"/>
                  <a:gd name="connsiteX5120" fmla="*/ 6446349 w 12187339"/>
                  <a:gd name="connsiteY5120" fmla="*/ 6360680 h 6851196"/>
                  <a:gd name="connsiteX5121" fmla="*/ 6656863 w 12187339"/>
                  <a:gd name="connsiteY5121" fmla="*/ 6360680 h 6851196"/>
                  <a:gd name="connsiteX5122" fmla="*/ 6656863 w 12187339"/>
                  <a:gd name="connsiteY5122" fmla="*/ 6598805 h 6851196"/>
                  <a:gd name="connsiteX5123" fmla="*/ 6446349 w 12187339"/>
                  <a:gd name="connsiteY5123" fmla="*/ 6598805 h 6851196"/>
                  <a:gd name="connsiteX5124" fmla="*/ 6663265 w 12187339"/>
                  <a:gd name="connsiteY5124" fmla="*/ 6360680 h 6851196"/>
                  <a:gd name="connsiteX5125" fmla="*/ 6887354 w 12187339"/>
                  <a:gd name="connsiteY5125" fmla="*/ 6360680 h 6851196"/>
                  <a:gd name="connsiteX5126" fmla="*/ 6887354 w 12187339"/>
                  <a:gd name="connsiteY5126" fmla="*/ 6598805 h 6851196"/>
                  <a:gd name="connsiteX5127" fmla="*/ 6663265 w 12187339"/>
                  <a:gd name="connsiteY5127" fmla="*/ 6598805 h 6851196"/>
                  <a:gd name="connsiteX5128" fmla="*/ 6893756 w 12187339"/>
                  <a:gd name="connsiteY5128" fmla="*/ 6360680 h 6851196"/>
                  <a:gd name="connsiteX5129" fmla="*/ 7117845 w 12187339"/>
                  <a:gd name="connsiteY5129" fmla="*/ 6360680 h 6851196"/>
                  <a:gd name="connsiteX5130" fmla="*/ 7117845 w 12187339"/>
                  <a:gd name="connsiteY5130" fmla="*/ 6598805 h 6851196"/>
                  <a:gd name="connsiteX5131" fmla="*/ 6893756 w 12187339"/>
                  <a:gd name="connsiteY5131" fmla="*/ 6598805 h 6851196"/>
                  <a:gd name="connsiteX5132" fmla="*/ 7124247 w 12187339"/>
                  <a:gd name="connsiteY5132" fmla="*/ 6360680 h 6851196"/>
                  <a:gd name="connsiteX5133" fmla="*/ 7346801 w 12187339"/>
                  <a:gd name="connsiteY5133" fmla="*/ 6360680 h 6851196"/>
                  <a:gd name="connsiteX5134" fmla="*/ 7346801 w 12187339"/>
                  <a:gd name="connsiteY5134" fmla="*/ 6598805 h 6851196"/>
                  <a:gd name="connsiteX5135" fmla="*/ 7124247 w 12187339"/>
                  <a:gd name="connsiteY5135" fmla="*/ 6598805 h 6851196"/>
                  <a:gd name="connsiteX5136" fmla="*/ 7353204 w 12187339"/>
                  <a:gd name="connsiteY5136" fmla="*/ 6360680 h 6851196"/>
                  <a:gd name="connsiteX5137" fmla="*/ 7577292 w 12187339"/>
                  <a:gd name="connsiteY5137" fmla="*/ 6360680 h 6851196"/>
                  <a:gd name="connsiteX5138" fmla="*/ 7577292 w 12187339"/>
                  <a:gd name="connsiteY5138" fmla="*/ 6598805 h 6851196"/>
                  <a:gd name="connsiteX5139" fmla="*/ 7353204 w 12187339"/>
                  <a:gd name="connsiteY5139" fmla="*/ 6598805 h 6851196"/>
                  <a:gd name="connsiteX5140" fmla="*/ 7583695 w 12187339"/>
                  <a:gd name="connsiteY5140" fmla="*/ 6360680 h 6851196"/>
                  <a:gd name="connsiteX5141" fmla="*/ 7807783 w 12187339"/>
                  <a:gd name="connsiteY5141" fmla="*/ 6360680 h 6851196"/>
                  <a:gd name="connsiteX5142" fmla="*/ 7807783 w 12187339"/>
                  <a:gd name="connsiteY5142" fmla="*/ 6598805 h 6851196"/>
                  <a:gd name="connsiteX5143" fmla="*/ 7583695 w 12187339"/>
                  <a:gd name="connsiteY5143" fmla="*/ 6598805 h 6851196"/>
                  <a:gd name="connsiteX5144" fmla="*/ 7814186 w 12187339"/>
                  <a:gd name="connsiteY5144" fmla="*/ 6360680 h 6851196"/>
                  <a:gd name="connsiteX5145" fmla="*/ 8038274 w 12187339"/>
                  <a:gd name="connsiteY5145" fmla="*/ 6360680 h 6851196"/>
                  <a:gd name="connsiteX5146" fmla="*/ 8038274 w 12187339"/>
                  <a:gd name="connsiteY5146" fmla="*/ 6598805 h 6851196"/>
                  <a:gd name="connsiteX5147" fmla="*/ 7814186 w 12187339"/>
                  <a:gd name="connsiteY5147" fmla="*/ 6598805 h 6851196"/>
                  <a:gd name="connsiteX5148" fmla="*/ 8044677 w 12187339"/>
                  <a:gd name="connsiteY5148" fmla="*/ 6360680 h 6851196"/>
                  <a:gd name="connsiteX5149" fmla="*/ 8267227 w 12187339"/>
                  <a:gd name="connsiteY5149" fmla="*/ 6360680 h 6851196"/>
                  <a:gd name="connsiteX5150" fmla="*/ 8267227 w 12187339"/>
                  <a:gd name="connsiteY5150" fmla="*/ 6598805 h 6851196"/>
                  <a:gd name="connsiteX5151" fmla="*/ 8044420 w 12187339"/>
                  <a:gd name="connsiteY5151" fmla="*/ 6598805 h 6851196"/>
                  <a:gd name="connsiteX5152" fmla="*/ 8273629 w 12187339"/>
                  <a:gd name="connsiteY5152" fmla="*/ 6360680 h 6851196"/>
                  <a:gd name="connsiteX5153" fmla="*/ 8497718 w 12187339"/>
                  <a:gd name="connsiteY5153" fmla="*/ 6360680 h 6851196"/>
                  <a:gd name="connsiteX5154" fmla="*/ 8497718 w 12187339"/>
                  <a:gd name="connsiteY5154" fmla="*/ 6598805 h 6851196"/>
                  <a:gd name="connsiteX5155" fmla="*/ 8273629 w 12187339"/>
                  <a:gd name="connsiteY5155" fmla="*/ 6598805 h 6851196"/>
                  <a:gd name="connsiteX5156" fmla="*/ 8504120 w 12187339"/>
                  <a:gd name="connsiteY5156" fmla="*/ 6360680 h 6851196"/>
                  <a:gd name="connsiteX5157" fmla="*/ 8728209 w 12187339"/>
                  <a:gd name="connsiteY5157" fmla="*/ 6360680 h 6851196"/>
                  <a:gd name="connsiteX5158" fmla="*/ 8728209 w 12187339"/>
                  <a:gd name="connsiteY5158" fmla="*/ 6598805 h 6851196"/>
                  <a:gd name="connsiteX5159" fmla="*/ 8504120 w 12187339"/>
                  <a:gd name="connsiteY5159" fmla="*/ 6598805 h 6851196"/>
                  <a:gd name="connsiteX5160" fmla="*/ 8734611 w 12187339"/>
                  <a:gd name="connsiteY5160" fmla="*/ 6360680 h 6851196"/>
                  <a:gd name="connsiteX5161" fmla="*/ 8957162 w 12187339"/>
                  <a:gd name="connsiteY5161" fmla="*/ 6360680 h 6851196"/>
                  <a:gd name="connsiteX5162" fmla="*/ 8957162 w 12187339"/>
                  <a:gd name="connsiteY5162" fmla="*/ 6598805 h 6851196"/>
                  <a:gd name="connsiteX5163" fmla="*/ 8734611 w 12187339"/>
                  <a:gd name="connsiteY5163" fmla="*/ 6598805 h 6851196"/>
                  <a:gd name="connsiteX5164" fmla="*/ 8963564 w 12187339"/>
                  <a:gd name="connsiteY5164" fmla="*/ 6360680 h 6851196"/>
                  <a:gd name="connsiteX5165" fmla="*/ 9187653 w 12187339"/>
                  <a:gd name="connsiteY5165" fmla="*/ 6360680 h 6851196"/>
                  <a:gd name="connsiteX5166" fmla="*/ 9187653 w 12187339"/>
                  <a:gd name="connsiteY5166" fmla="*/ 6598805 h 6851196"/>
                  <a:gd name="connsiteX5167" fmla="*/ 8963564 w 12187339"/>
                  <a:gd name="connsiteY5167" fmla="*/ 6598805 h 6851196"/>
                  <a:gd name="connsiteX5168" fmla="*/ 9194055 w 12187339"/>
                  <a:gd name="connsiteY5168" fmla="*/ 6360680 h 6851196"/>
                  <a:gd name="connsiteX5169" fmla="*/ 9418144 w 12187339"/>
                  <a:gd name="connsiteY5169" fmla="*/ 6360680 h 6851196"/>
                  <a:gd name="connsiteX5170" fmla="*/ 9418144 w 12187339"/>
                  <a:gd name="connsiteY5170" fmla="*/ 6598805 h 6851196"/>
                  <a:gd name="connsiteX5171" fmla="*/ 9194055 w 12187339"/>
                  <a:gd name="connsiteY5171" fmla="*/ 6598805 h 6851196"/>
                  <a:gd name="connsiteX5172" fmla="*/ 9424546 w 12187339"/>
                  <a:gd name="connsiteY5172" fmla="*/ 6360680 h 6851196"/>
                  <a:gd name="connsiteX5173" fmla="*/ 9648635 w 12187339"/>
                  <a:gd name="connsiteY5173" fmla="*/ 6360680 h 6851196"/>
                  <a:gd name="connsiteX5174" fmla="*/ 9648635 w 12187339"/>
                  <a:gd name="connsiteY5174" fmla="*/ 6598805 h 6851196"/>
                  <a:gd name="connsiteX5175" fmla="*/ 9424546 w 12187339"/>
                  <a:gd name="connsiteY5175" fmla="*/ 6598805 h 6851196"/>
                  <a:gd name="connsiteX5176" fmla="*/ 9655037 w 12187339"/>
                  <a:gd name="connsiteY5176" fmla="*/ 6360680 h 6851196"/>
                  <a:gd name="connsiteX5177" fmla="*/ 9877591 w 12187339"/>
                  <a:gd name="connsiteY5177" fmla="*/ 6360680 h 6851196"/>
                  <a:gd name="connsiteX5178" fmla="*/ 9877591 w 12187339"/>
                  <a:gd name="connsiteY5178" fmla="*/ 6598805 h 6851196"/>
                  <a:gd name="connsiteX5179" fmla="*/ 9655037 w 12187339"/>
                  <a:gd name="connsiteY5179" fmla="*/ 6598805 h 6851196"/>
                  <a:gd name="connsiteX5180" fmla="*/ 9883993 w 12187339"/>
                  <a:gd name="connsiteY5180" fmla="*/ 6360680 h 6851196"/>
                  <a:gd name="connsiteX5181" fmla="*/ 10108082 w 12187339"/>
                  <a:gd name="connsiteY5181" fmla="*/ 6360680 h 6851196"/>
                  <a:gd name="connsiteX5182" fmla="*/ 10108082 w 12187339"/>
                  <a:gd name="connsiteY5182" fmla="*/ 6598805 h 6851196"/>
                  <a:gd name="connsiteX5183" fmla="*/ 9883993 w 12187339"/>
                  <a:gd name="connsiteY5183" fmla="*/ 6598805 h 6851196"/>
                  <a:gd name="connsiteX5184" fmla="*/ 10114484 w 12187339"/>
                  <a:gd name="connsiteY5184" fmla="*/ 6360680 h 6851196"/>
                  <a:gd name="connsiteX5185" fmla="*/ 10338573 w 12187339"/>
                  <a:gd name="connsiteY5185" fmla="*/ 6360680 h 6851196"/>
                  <a:gd name="connsiteX5186" fmla="*/ 10338573 w 12187339"/>
                  <a:gd name="connsiteY5186" fmla="*/ 6598805 h 6851196"/>
                  <a:gd name="connsiteX5187" fmla="*/ 10114484 w 12187339"/>
                  <a:gd name="connsiteY5187" fmla="*/ 6598805 h 6851196"/>
                  <a:gd name="connsiteX5188" fmla="*/ 10344975 w 12187339"/>
                  <a:gd name="connsiteY5188" fmla="*/ 6360680 h 6851196"/>
                  <a:gd name="connsiteX5189" fmla="*/ 10569064 w 12187339"/>
                  <a:gd name="connsiteY5189" fmla="*/ 6360680 h 6851196"/>
                  <a:gd name="connsiteX5190" fmla="*/ 10569064 w 12187339"/>
                  <a:gd name="connsiteY5190" fmla="*/ 6598805 h 6851196"/>
                  <a:gd name="connsiteX5191" fmla="*/ 10344975 w 12187339"/>
                  <a:gd name="connsiteY5191" fmla="*/ 6598805 h 6851196"/>
                  <a:gd name="connsiteX5192" fmla="*/ 10575466 w 12187339"/>
                  <a:gd name="connsiteY5192" fmla="*/ 6360680 h 6851196"/>
                  <a:gd name="connsiteX5193" fmla="*/ 10798016 w 12187339"/>
                  <a:gd name="connsiteY5193" fmla="*/ 6360680 h 6851196"/>
                  <a:gd name="connsiteX5194" fmla="*/ 10798016 w 12187339"/>
                  <a:gd name="connsiteY5194" fmla="*/ 6598805 h 6851196"/>
                  <a:gd name="connsiteX5195" fmla="*/ 10575466 w 12187339"/>
                  <a:gd name="connsiteY5195" fmla="*/ 6598805 h 6851196"/>
                  <a:gd name="connsiteX5196" fmla="*/ 10804419 w 12187339"/>
                  <a:gd name="connsiteY5196" fmla="*/ 6360680 h 6851196"/>
                  <a:gd name="connsiteX5197" fmla="*/ 11028507 w 12187339"/>
                  <a:gd name="connsiteY5197" fmla="*/ 6360680 h 6851196"/>
                  <a:gd name="connsiteX5198" fmla="*/ 11028507 w 12187339"/>
                  <a:gd name="connsiteY5198" fmla="*/ 6598805 h 6851196"/>
                  <a:gd name="connsiteX5199" fmla="*/ 10804419 w 12187339"/>
                  <a:gd name="connsiteY5199" fmla="*/ 6598805 h 6851196"/>
                  <a:gd name="connsiteX5200" fmla="*/ 11034910 w 12187339"/>
                  <a:gd name="connsiteY5200" fmla="*/ 6360680 h 6851196"/>
                  <a:gd name="connsiteX5201" fmla="*/ 11258998 w 12187339"/>
                  <a:gd name="connsiteY5201" fmla="*/ 6360680 h 6851196"/>
                  <a:gd name="connsiteX5202" fmla="*/ 11258998 w 12187339"/>
                  <a:gd name="connsiteY5202" fmla="*/ 6598805 h 6851196"/>
                  <a:gd name="connsiteX5203" fmla="*/ 11034910 w 12187339"/>
                  <a:gd name="connsiteY5203" fmla="*/ 6598805 h 6851196"/>
                  <a:gd name="connsiteX5204" fmla="*/ 11265401 w 12187339"/>
                  <a:gd name="connsiteY5204" fmla="*/ 6360680 h 6851196"/>
                  <a:gd name="connsiteX5205" fmla="*/ 11487954 w 12187339"/>
                  <a:gd name="connsiteY5205" fmla="*/ 6360680 h 6851196"/>
                  <a:gd name="connsiteX5206" fmla="*/ 11487954 w 12187339"/>
                  <a:gd name="connsiteY5206" fmla="*/ 6598805 h 6851196"/>
                  <a:gd name="connsiteX5207" fmla="*/ 11265401 w 12187339"/>
                  <a:gd name="connsiteY5207" fmla="*/ 6598805 h 6851196"/>
                  <a:gd name="connsiteX5208" fmla="*/ 11494357 w 12187339"/>
                  <a:gd name="connsiteY5208" fmla="*/ 6360680 h 6851196"/>
                  <a:gd name="connsiteX5209" fmla="*/ 11718445 w 12187339"/>
                  <a:gd name="connsiteY5209" fmla="*/ 6360680 h 6851196"/>
                  <a:gd name="connsiteX5210" fmla="*/ 11718445 w 12187339"/>
                  <a:gd name="connsiteY5210" fmla="*/ 6598805 h 6851196"/>
                  <a:gd name="connsiteX5211" fmla="*/ 11494101 w 12187339"/>
                  <a:gd name="connsiteY5211" fmla="*/ 6598805 h 6851196"/>
                  <a:gd name="connsiteX5212" fmla="*/ 11724848 w 12187339"/>
                  <a:gd name="connsiteY5212" fmla="*/ 6360680 h 6851196"/>
                  <a:gd name="connsiteX5213" fmla="*/ 11948936 w 12187339"/>
                  <a:gd name="connsiteY5213" fmla="*/ 6360680 h 6851196"/>
                  <a:gd name="connsiteX5214" fmla="*/ 11948936 w 12187339"/>
                  <a:gd name="connsiteY5214" fmla="*/ 6598805 h 6851196"/>
                  <a:gd name="connsiteX5215" fmla="*/ 11724592 w 12187339"/>
                  <a:gd name="connsiteY5215" fmla="*/ 6598805 h 6851196"/>
                  <a:gd name="connsiteX5216" fmla="*/ 11724848 w 12187339"/>
                  <a:gd name="connsiteY5216" fmla="*/ 6353876 h 6851196"/>
                  <a:gd name="connsiteX5217" fmla="*/ 11724848 w 12187339"/>
                  <a:gd name="connsiteY5217" fmla="*/ 6117384 h 6851196"/>
                  <a:gd name="connsiteX5218" fmla="*/ 11948936 w 12187339"/>
                  <a:gd name="connsiteY5218" fmla="*/ 6117384 h 6851196"/>
                  <a:gd name="connsiteX5219" fmla="*/ 11948936 w 12187339"/>
                  <a:gd name="connsiteY5219" fmla="*/ 6353876 h 6851196"/>
                  <a:gd name="connsiteX5220" fmla="*/ 11724848 w 12187339"/>
                  <a:gd name="connsiteY5220" fmla="*/ 6110580 h 6851196"/>
                  <a:gd name="connsiteX5221" fmla="*/ 11724848 w 12187339"/>
                  <a:gd name="connsiteY5221" fmla="*/ 5872455 h 6851196"/>
                  <a:gd name="connsiteX5222" fmla="*/ 11948936 w 12187339"/>
                  <a:gd name="connsiteY5222" fmla="*/ 5872455 h 6851196"/>
                  <a:gd name="connsiteX5223" fmla="*/ 11948936 w 12187339"/>
                  <a:gd name="connsiteY5223" fmla="*/ 6110580 h 6851196"/>
                  <a:gd name="connsiteX5224" fmla="*/ 11724848 w 12187339"/>
                  <a:gd name="connsiteY5224" fmla="*/ 5865652 h 6851196"/>
                  <a:gd name="connsiteX5225" fmla="*/ 11724848 w 12187339"/>
                  <a:gd name="connsiteY5225" fmla="*/ 5627527 h 6851196"/>
                  <a:gd name="connsiteX5226" fmla="*/ 11948936 w 12187339"/>
                  <a:gd name="connsiteY5226" fmla="*/ 5627527 h 6851196"/>
                  <a:gd name="connsiteX5227" fmla="*/ 11948936 w 12187339"/>
                  <a:gd name="connsiteY5227" fmla="*/ 5865652 h 6851196"/>
                  <a:gd name="connsiteX5228" fmla="*/ 11724848 w 12187339"/>
                  <a:gd name="connsiteY5228" fmla="*/ 5620723 h 6851196"/>
                  <a:gd name="connsiteX5229" fmla="*/ 11724848 w 12187339"/>
                  <a:gd name="connsiteY5229" fmla="*/ 5382598 h 6851196"/>
                  <a:gd name="connsiteX5230" fmla="*/ 11948936 w 12187339"/>
                  <a:gd name="connsiteY5230" fmla="*/ 5382598 h 6851196"/>
                  <a:gd name="connsiteX5231" fmla="*/ 11948936 w 12187339"/>
                  <a:gd name="connsiteY5231" fmla="*/ 5620723 h 6851196"/>
                  <a:gd name="connsiteX5232" fmla="*/ 11724848 w 12187339"/>
                  <a:gd name="connsiteY5232" fmla="*/ 5375795 h 6851196"/>
                  <a:gd name="connsiteX5233" fmla="*/ 11724848 w 12187339"/>
                  <a:gd name="connsiteY5233" fmla="*/ 5139302 h 6851196"/>
                  <a:gd name="connsiteX5234" fmla="*/ 11948936 w 12187339"/>
                  <a:gd name="connsiteY5234" fmla="*/ 5139302 h 6851196"/>
                  <a:gd name="connsiteX5235" fmla="*/ 11948936 w 12187339"/>
                  <a:gd name="connsiteY5235" fmla="*/ 5375795 h 6851196"/>
                  <a:gd name="connsiteX5236" fmla="*/ 11724848 w 12187339"/>
                  <a:gd name="connsiteY5236" fmla="*/ 5132499 h 6851196"/>
                  <a:gd name="connsiteX5237" fmla="*/ 11724848 w 12187339"/>
                  <a:gd name="connsiteY5237" fmla="*/ 4894374 h 6851196"/>
                  <a:gd name="connsiteX5238" fmla="*/ 11948936 w 12187339"/>
                  <a:gd name="connsiteY5238" fmla="*/ 4894374 h 6851196"/>
                  <a:gd name="connsiteX5239" fmla="*/ 11948936 w 12187339"/>
                  <a:gd name="connsiteY5239" fmla="*/ 5132090 h 6851196"/>
                  <a:gd name="connsiteX5240" fmla="*/ 11724848 w 12187339"/>
                  <a:gd name="connsiteY5240" fmla="*/ 4887570 h 6851196"/>
                  <a:gd name="connsiteX5241" fmla="*/ 11724848 w 12187339"/>
                  <a:gd name="connsiteY5241" fmla="*/ 4649445 h 6851196"/>
                  <a:gd name="connsiteX5242" fmla="*/ 11948936 w 12187339"/>
                  <a:gd name="connsiteY5242" fmla="*/ 4649445 h 6851196"/>
                  <a:gd name="connsiteX5243" fmla="*/ 11948936 w 12187339"/>
                  <a:gd name="connsiteY5243" fmla="*/ 4887162 h 6851196"/>
                  <a:gd name="connsiteX5244" fmla="*/ 11724848 w 12187339"/>
                  <a:gd name="connsiteY5244" fmla="*/ 4642642 h 6851196"/>
                  <a:gd name="connsiteX5245" fmla="*/ 11724848 w 12187339"/>
                  <a:gd name="connsiteY5245" fmla="*/ 4406149 h 6851196"/>
                  <a:gd name="connsiteX5246" fmla="*/ 11948936 w 12187339"/>
                  <a:gd name="connsiteY5246" fmla="*/ 4406149 h 6851196"/>
                  <a:gd name="connsiteX5247" fmla="*/ 11948936 w 12187339"/>
                  <a:gd name="connsiteY5247" fmla="*/ 4642233 h 6851196"/>
                  <a:gd name="connsiteX5248" fmla="*/ 11724848 w 12187339"/>
                  <a:gd name="connsiteY5248" fmla="*/ 4399346 h 6851196"/>
                  <a:gd name="connsiteX5249" fmla="*/ 11724848 w 12187339"/>
                  <a:gd name="connsiteY5249" fmla="*/ 4161221 h 6851196"/>
                  <a:gd name="connsiteX5250" fmla="*/ 11948936 w 12187339"/>
                  <a:gd name="connsiteY5250" fmla="*/ 4161221 h 6851196"/>
                  <a:gd name="connsiteX5251" fmla="*/ 11948936 w 12187339"/>
                  <a:gd name="connsiteY5251" fmla="*/ 4399346 h 6851196"/>
                  <a:gd name="connsiteX5252" fmla="*/ 11724848 w 12187339"/>
                  <a:gd name="connsiteY5252" fmla="*/ 4154417 h 6851196"/>
                  <a:gd name="connsiteX5253" fmla="*/ 11724848 w 12187339"/>
                  <a:gd name="connsiteY5253" fmla="*/ 3916292 h 6851196"/>
                  <a:gd name="connsiteX5254" fmla="*/ 11948936 w 12187339"/>
                  <a:gd name="connsiteY5254" fmla="*/ 3916292 h 6851196"/>
                  <a:gd name="connsiteX5255" fmla="*/ 11948936 w 12187339"/>
                  <a:gd name="connsiteY5255" fmla="*/ 4154417 h 6851196"/>
                  <a:gd name="connsiteX5256" fmla="*/ 11724848 w 12187339"/>
                  <a:gd name="connsiteY5256" fmla="*/ 3909489 h 6851196"/>
                  <a:gd name="connsiteX5257" fmla="*/ 11724848 w 12187339"/>
                  <a:gd name="connsiteY5257" fmla="*/ 3671364 h 6851196"/>
                  <a:gd name="connsiteX5258" fmla="*/ 11948936 w 12187339"/>
                  <a:gd name="connsiteY5258" fmla="*/ 3671364 h 6851196"/>
                  <a:gd name="connsiteX5259" fmla="*/ 11948936 w 12187339"/>
                  <a:gd name="connsiteY5259" fmla="*/ 3909489 h 6851196"/>
                  <a:gd name="connsiteX5260" fmla="*/ 11724848 w 12187339"/>
                  <a:gd name="connsiteY5260" fmla="*/ 3664560 h 6851196"/>
                  <a:gd name="connsiteX5261" fmla="*/ 11724848 w 12187339"/>
                  <a:gd name="connsiteY5261" fmla="*/ 3428068 h 6851196"/>
                  <a:gd name="connsiteX5262" fmla="*/ 11948936 w 12187339"/>
                  <a:gd name="connsiteY5262" fmla="*/ 3428068 h 6851196"/>
                  <a:gd name="connsiteX5263" fmla="*/ 11948936 w 12187339"/>
                  <a:gd name="connsiteY5263" fmla="*/ 3664560 h 6851196"/>
                  <a:gd name="connsiteX5264" fmla="*/ 11724848 w 12187339"/>
                  <a:gd name="connsiteY5264" fmla="*/ 3421264 h 6851196"/>
                  <a:gd name="connsiteX5265" fmla="*/ 11724848 w 12187339"/>
                  <a:gd name="connsiteY5265" fmla="*/ 3183139 h 6851196"/>
                  <a:gd name="connsiteX5266" fmla="*/ 11948936 w 12187339"/>
                  <a:gd name="connsiteY5266" fmla="*/ 3183139 h 6851196"/>
                  <a:gd name="connsiteX5267" fmla="*/ 11948936 w 12187339"/>
                  <a:gd name="connsiteY5267" fmla="*/ 3421264 h 6851196"/>
                  <a:gd name="connsiteX5268" fmla="*/ 11724848 w 12187339"/>
                  <a:gd name="connsiteY5268" fmla="*/ 3176336 h 6851196"/>
                  <a:gd name="connsiteX5269" fmla="*/ 11724848 w 12187339"/>
                  <a:gd name="connsiteY5269" fmla="*/ 2938211 h 6851196"/>
                  <a:gd name="connsiteX5270" fmla="*/ 11948936 w 12187339"/>
                  <a:gd name="connsiteY5270" fmla="*/ 2938211 h 6851196"/>
                  <a:gd name="connsiteX5271" fmla="*/ 11948936 w 12187339"/>
                  <a:gd name="connsiteY5271" fmla="*/ 3176336 h 6851196"/>
                  <a:gd name="connsiteX5272" fmla="*/ 11724848 w 12187339"/>
                  <a:gd name="connsiteY5272" fmla="*/ 2931407 h 6851196"/>
                  <a:gd name="connsiteX5273" fmla="*/ 11724848 w 12187339"/>
                  <a:gd name="connsiteY5273" fmla="*/ 2693282 h 6851196"/>
                  <a:gd name="connsiteX5274" fmla="*/ 11948936 w 12187339"/>
                  <a:gd name="connsiteY5274" fmla="*/ 2693282 h 6851196"/>
                  <a:gd name="connsiteX5275" fmla="*/ 11948936 w 12187339"/>
                  <a:gd name="connsiteY5275" fmla="*/ 2931407 h 6851196"/>
                  <a:gd name="connsiteX5276" fmla="*/ 11724848 w 12187339"/>
                  <a:gd name="connsiteY5276" fmla="*/ 2686479 h 6851196"/>
                  <a:gd name="connsiteX5277" fmla="*/ 11724848 w 12187339"/>
                  <a:gd name="connsiteY5277" fmla="*/ 2449986 h 6851196"/>
                  <a:gd name="connsiteX5278" fmla="*/ 11948936 w 12187339"/>
                  <a:gd name="connsiteY5278" fmla="*/ 2449986 h 6851196"/>
                  <a:gd name="connsiteX5279" fmla="*/ 11948936 w 12187339"/>
                  <a:gd name="connsiteY5279" fmla="*/ 2686479 h 6851196"/>
                  <a:gd name="connsiteX5280" fmla="*/ 11724848 w 12187339"/>
                  <a:gd name="connsiteY5280" fmla="*/ 2443183 h 6851196"/>
                  <a:gd name="connsiteX5281" fmla="*/ 11724848 w 12187339"/>
                  <a:gd name="connsiteY5281" fmla="*/ 2205058 h 6851196"/>
                  <a:gd name="connsiteX5282" fmla="*/ 11948936 w 12187339"/>
                  <a:gd name="connsiteY5282" fmla="*/ 2205058 h 6851196"/>
                  <a:gd name="connsiteX5283" fmla="*/ 11948936 w 12187339"/>
                  <a:gd name="connsiteY5283" fmla="*/ 2443183 h 6851196"/>
                  <a:gd name="connsiteX5284" fmla="*/ 11724848 w 12187339"/>
                  <a:gd name="connsiteY5284" fmla="*/ 2198254 h 6851196"/>
                  <a:gd name="connsiteX5285" fmla="*/ 11724848 w 12187339"/>
                  <a:gd name="connsiteY5285" fmla="*/ 1960129 h 6851196"/>
                  <a:gd name="connsiteX5286" fmla="*/ 11948936 w 12187339"/>
                  <a:gd name="connsiteY5286" fmla="*/ 1960129 h 6851196"/>
                  <a:gd name="connsiteX5287" fmla="*/ 11948936 w 12187339"/>
                  <a:gd name="connsiteY5287" fmla="*/ 2198254 h 6851196"/>
                  <a:gd name="connsiteX5288" fmla="*/ 11724848 w 12187339"/>
                  <a:gd name="connsiteY5288" fmla="*/ 1953326 h 6851196"/>
                  <a:gd name="connsiteX5289" fmla="*/ 11724848 w 12187339"/>
                  <a:gd name="connsiteY5289" fmla="*/ 1716697 h 6851196"/>
                  <a:gd name="connsiteX5290" fmla="*/ 11948936 w 12187339"/>
                  <a:gd name="connsiteY5290" fmla="*/ 1716697 h 6851196"/>
                  <a:gd name="connsiteX5291" fmla="*/ 11948936 w 12187339"/>
                  <a:gd name="connsiteY5291" fmla="*/ 1953189 h 6851196"/>
                  <a:gd name="connsiteX5292" fmla="*/ 11724848 w 12187339"/>
                  <a:gd name="connsiteY5292" fmla="*/ 1710030 h 6851196"/>
                  <a:gd name="connsiteX5293" fmla="*/ 11724848 w 12187339"/>
                  <a:gd name="connsiteY5293" fmla="*/ 1471769 h 6851196"/>
                  <a:gd name="connsiteX5294" fmla="*/ 11948936 w 12187339"/>
                  <a:gd name="connsiteY5294" fmla="*/ 1471769 h 6851196"/>
                  <a:gd name="connsiteX5295" fmla="*/ 11948936 w 12187339"/>
                  <a:gd name="connsiteY5295" fmla="*/ 1709894 h 6851196"/>
                  <a:gd name="connsiteX5296" fmla="*/ 11724848 w 12187339"/>
                  <a:gd name="connsiteY5296" fmla="*/ 1465101 h 6851196"/>
                  <a:gd name="connsiteX5297" fmla="*/ 11724848 w 12187339"/>
                  <a:gd name="connsiteY5297" fmla="*/ 1226840 h 6851196"/>
                  <a:gd name="connsiteX5298" fmla="*/ 11948936 w 12187339"/>
                  <a:gd name="connsiteY5298" fmla="*/ 1226840 h 6851196"/>
                  <a:gd name="connsiteX5299" fmla="*/ 11948936 w 12187339"/>
                  <a:gd name="connsiteY5299" fmla="*/ 1464965 h 6851196"/>
                  <a:gd name="connsiteX5300" fmla="*/ 11724848 w 12187339"/>
                  <a:gd name="connsiteY5300" fmla="*/ 1220173 h 6851196"/>
                  <a:gd name="connsiteX5301" fmla="*/ 11724848 w 12187339"/>
                  <a:gd name="connsiteY5301" fmla="*/ 981911 h 6851196"/>
                  <a:gd name="connsiteX5302" fmla="*/ 11948936 w 12187339"/>
                  <a:gd name="connsiteY5302" fmla="*/ 981911 h 6851196"/>
                  <a:gd name="connsiteX5303" fmla="*/ 11948936 w 12187339"/>
                  <a:gd name="connsiteY5303" fmla="*/ 1220036 h 6851196"/>
                  <a:gd name="connsiteX5304" fmla="*/ 11724848 w 12187339"/>
                  <a:gd name="connsiteY5304" fmla="*/ 975244 h 6851196"/>
                  <a:gd name="connsiteX5305" fmla="*/ 11724848 w 12187339"/>
                  <a:gd name="connsiteY5305" fmla="*/ 738752 h 6851196"/>
                  <a:gd name="connsiteX5306" fmla="*/ 11948936 w 12187339"/>
                  <a:gd name="connsiteY5306" fmla="*/ 738752 h 6851196"/>
                  <a:gd name="connsiteX5307" fmla="*/ 11948936 w 12187339"/>
                  <a:gd name="connsiteY5307" fmla="*/ 975244 h 6851196"/>
                  <a:gd name="connsiteX5308" fmla="*/ 11724848 w 12187339"/>
                  <a:gd name="connsiteY5308" fmla="*/ 731948 h 6851196"/>
                  <a:gd name="connsiteX5309" fmla="*/ 11724848 w 12187339"/>
                  <a:gd name="connsiteY5309" fmla="*/ 493823 h 6851196"/>
                  <a:gd name="connsiteX5310" fmla="*/ 11948936 w 12187339"/>
                  <a:gd name="connsiteY5310" fmla="*/ 493823 h 6851196"/>
                  <a:gd name="connsiteX5311" fmla="*/ 11948936 w 12187339"/>
                  <a:gd name="connsiteY5311" fmla="*/ 731948 h 6851196"/>
                  <a:gd name="connsiteX5312" fmla="*/ 11724848 w 12187339"/>
                  <a:gd name="connsiteY5312" fmla="*/ 487020 h 6851196"/>
                  <a:gd name="connsiteX5313" fmla="*/ 11724848 w 12187339"/>
                  <a:gd name="connsiteY5313" fmla="*/ 248895 h 6851196"/>
                  <a:gd name="connsiteX5314" fmla="*/ 11948936 w 12187339"/>
                  <a:gd name="connsiteY5314" fmla="*/ 248895 h 6851196"/>
                  <a:gd name="connsiteX5315" fmla="*/ 11948936 w 12187339"/>
                  <a:gd name="connsiteY5315" fmla="*/ 487020 h 6851196"/>
                  <a:gd name="connsiteX5316" fmla="*/ 11724848 w 12187339"/>
                  <a:gd name="connsiteY5316" fmla="*/ 242091 h 6851196"/>
                  <a:gd name="connsiteX5317" fmla="*/ 11724848 w 12187339"/>
                  <a:gd name="connsiteY5317" fmla="*/ 5599 h 6851196"/>
                  <a:gd name="connsiteX5318" fmla="*/ 11948936 w 12187339"/>
                  <a:gd name="connsiteY5318" fmla="*/ 5599 h 6851196"/>
                  <a:gd name="connsiteX5319" fmla="*/ 11948936 w 12187339"/>
                  <a:gd name="connsiteY5319" fmla="*/ 242091 h 6851196"/>
                  <a:gd name="connsiteX5320" fmla="*/ 11718445 w 12187339"/>
                  <a:gd name="connsiteY5320" fmla="*/ 242091 h 6851196"/>
                  <a:gd name="connsiteX5321" fmla="*/ 11494101 w 12187339"/>
                  <a:gd name="connsiteY5321" fmla="*/ 242091 h 6851196"/>
                  <a:gd name="connsiteX5322" fmla="*/ 11494101 w 12187339"/>
                  <a:gd name="connsiteY5322" fmla="*/ 5599 h 6851196"/>
                  <a:gd name="connsiteX5323" fmla="*/ 11718189 w 12187339"/>
                  <a:gd name="connsiteY5323" fmla="*/ 5599 h 6851196"/>
                  <a:gd name="connsiteX5324" fmla="*/ 11487954 w 12187339"/>
                  <a:gd name="connsiteY5324" fmla="*/ 242091 h 6851196"/>
                  <a:gd name="connsiteX5325" fmla="*/ 11265401 w 12187339"/>
                  <a:gd name="connsiteY5325" fmla="*/ 242091 h 6851196"/>
                  <a:gd name="connsiteX5326" fmla="*/ 11265401 w 12187339"/>
                  <a:gd name="connsiteY5326" fmla="*/ 5599 h 6851196"/>
                  <a:gd name="connsiteX5327" fmla="*/ 11487954 w 12187339"/>
                  <a:gd name="connsiteY5327" fmla="*/ 5599 h 6851196"/>
                  <a:gd name="connsiteX5328" fmla="*/ 11258998 w 12187339"/>
                  <a:gd name="connsiteY5328" fmla="*/ 242091 h 6851196"/>
                  <a:gd name="connsiteX5329" fmla="*/ 11034910 w 12187339"/>
                  <a:gd name="connsiteY5329" fmla="*/ 242091 h 6851196"/>
                  <a:gd name="connsiteX5330" fmla="*/ 11034910 w 12187339"/>
                  <a:gd name="connsiteY5330" fmla="*/ 5599 h 6851196"/>
                  <a:gd name="connsiteX5331" fmla="*/ 11258998 w 12187339"/>
                  <a:gd name="connsiteY5331" fmla="*/ 5599 h 6851196"/>
                  <a:gd name="connsiteX5332" fmla="*/ 11028507 w 12187339"/>
                  <a:gd name="connsiteY5332" fmla="*/ 242091 h 6851196"/>
                  <a:gd name="connsiteX5333" fmla="*/ 10804419 w 12187339"/>
                  <a:gd name="connsiteY5333" fmla="*/ 242091 h 6851196"/>
                  <a:gd name="connsiteX5334" fmla="*/ 10804419 w 12187339"/>
                  <a:gd name="connsiteY5334" fmla="*/ 5599 h 6851196"/>
                  <a:gd name="connsiteX5335" fmla="*/ 11028507 w 12187339"/>
                  <a:gd name="connsiteY5335" fmla="*/ 5599 h 6851196"/>
                  <a:gd name="connsiteX5336" fmla="*/ 10798016 w 12187339"/>
                  <a:gd name="connsiteY5336" fmla="*/ 242091 h 6851196"/>
                  <a:gd name="connsiteX5337" fmla="*/ 10575466 w 12187339"/>
                  <a:gd name="connsiteY5337" fmla="*/ 242091 h 6851196"/>
                  <a:gd name="connsiteX5338" fmla="*/ 10575466 w 12187339"/>
                  <a:gd name="connsiteY5338" fmla="*/ 5599 h 6851196"/>
                  <a:gd name="connsiteX5339" fmla="*/ 10798016 w 12187339"/>
                  <a:gd name="connsiteY5339" fmla="*/ 5599 h 6851196"/>
                  <a:gd name="connsiteX5340" fmla="*/ 10569064 w 12187339"/>
                  <a:gd name="connsiteY5340" fmla="*/ 242091 h 6851196"/>
                  <a:gd name="connsiteX5341" fmla="*/ 10344975 w 12187339"/>
                  <a:gd name="connsiteY5341" fmla="*/ 242091 h 6851196"/>
                  <a:gd name="connsiteX5342" fmla="*/ 10344975 w 12187339"/>
                  <a:gd name="connsiteY5342" fmla="*/ 5599 h 6851196"/>
                  <a:gd name="connsiteX5343" fmla="*/ 10569064 w 12187339"/>
                  <a:gd name="connsiteY5343" fmla="*/ 5599 h 6851196"/>
                  <a:gd name="connsiteX5344" fmla="*/ 10338573 w 12187339"/>
                  <a:gd name="connsiteY5344" fmla="*/ 242091 h 6851196"/>
                  <a:gd name="connsiteX5345" fmla="*/ 10114484 w 12187339"/>
                  <a:gd name="connsiteY5345" fmla="*/ 242091 h 6851196"/>
                  <a:gd name="connsiteX5346" fmla="*/ 10114484 w 12187339"/>
                  <a:gd name="connsiteY5346" fmla="*/ 5599 h 6851196"/>
                  <a:gd name="connsiteX5347" fmla="*/ 10338573 w 12187339"/>
                  <a:gd name="connsiteY5347" fmla="*/ 5599 h 6851196"/>
                  <a:gd name="connsiteX5348" fmla="*/ 10108082 w 12187339"/>
                  <a:gd name="connsiteY5348" fmla="*/ 242091 h 6851196"/>
                  <a:gd name="connsiteX5349" fmla="*/ 9883993 w 12187339"/>
                  <a:gd name="connsiteY5349" fmla="*/ 242091 h 6851196"/>
                  <a:gd name="connsiteX5350" fmla="*/ 9883993 w 12187339"/>
                  <a:gd name="connsiteY5350" fmla="*/ 5599 h 6851196"/>
                  <a:gd name="connsiteX5351" fmla="*/ 10108082 w 12187339"/>
                  <a:gd name="connsiteY5351" fmla="*/ 5599 h 6851196"/>
                  <a:gd name="connsiteX5352" fmla="*/ 9877591 w 12187339"/>
                  <a:gd name="connsiteY5352" fmla="*/ 242091 h 6851196"/>
                  <a:gd name="connsiteX5353" fmla="*/ 9655037 w 12187339"/>
                  <a:gd name="connsiteY5353" fmla="*/ 242091 h 6851196"/>
                  <a:gd name="connsiteX5354" fmla="*/ 9655037 w 12187339"/>
                  <a:gd name="connsiteY5354" fmla="*/ 5599 h 6851196"/>
                  <a:gd name="connsiteX5355" fmla="*/ 9877591 w 12187339"/>
                  <a:gd name="connsiteY5355" fmla="*/ 5599 h 6851196"/>
                  <a:gd name="connsiteX5356" fmla="*/ 9648635 w 12187339"/>
                  <a:gd name="connsiteY5356" fmla="*/ 242091 h 6851196"/>
                  <a:gd name="connsiteX5357" fmla="*/ 9424546 w 12187339"/>
                  <a:gd name="connsiteY5357" fmla="*/ 242091 h 6851196"/>
                  <a:gd name="connsiteX5358" fmla="*/ 9424546 w 12187339"/>
                  <a:gd name="connsiteY5358" fmla="*/ 5599 h 6851196"/>
                  <a:gd name="connsiteX5359" fmla="*/ 9648635 w 12187339"/>
                  <a:gd name="connsiteY5359" fmla="*/ 5599 h 6851196"/>
                  <a:gd name="connsiteX5360" fmla="*/ 9418144 w 12187339"/>
                  <a:gd name="connsiteY5360" fmla="*/ 242091 h 6851196"/>
                  <a:gd name="connsiteX5361" fmla="*/ 9194055 w 12187339"/>
                  <a:gd name="connsiteY5361" fmla="*/ 242091 h 6851196"/>
                  <a:gd name="connsiteX5362" fmla="*/ 9194055 w 12187339"/>
                  <a:gd name="connsiteY5362" fmla="*/ 5599 h 6851196"/>
                  <a:gd name="connsiteX5363" fmla="*/ 9418144 w 12187339"/>
                  <a:gd name="connsiteY5363" fmla="*/ 5599 h 6851196"/>
                  <a:gd name="connsiteX5364" fmla="*/ 9187653 w 12187339"/>
                  <a:gd name="connsiteY5364" fmla="*/ 242091 h 6851196"/>
                  <a:gd name="connsiteX5365" fmla="*/ 8963564 w 12187339"/>
                  <a:gd name="connsiteY5365" fmla="*/ 242091 h 6851196"/>
                  <a:gd name="connsiteX5366" fmla="*/ 8963564 w 12187339"/>
                  <a:gd name="connsiteY5366" fmla="*/ 5599 h 6851196"/>
                  <a:gd name="connsiteX5367" fmla="*/ 9187653 w 12187339"/>
                  <a:gd name="connsiteY5367" fmla="*/ 5599 h 6851196"/>
                  <a:gd name="connsiteX5368" fmla="*/ 8957162 w 12187339"/>
                  <a:gd name="connsiteY5368" fmla="*/ 242091 h 6851196"/>
                  <a:gd name="connsiteX5369" fmla="*/ 8734611 w 12187339"/>
                  <a:gd name="connsiteY5369" fmla="*/ 242091 h 6851196"/>
                  <a:gd name="connsiteX5370" fmla="*/ 8734611 w 12187339"/>
                  <a:gd name="connsiteY5370" fmla="*/ 5599 h 6851196"/>
                  <a:gd name="connsiteX5371" fmla="*/ 8957162 w 12187339"/>
                  <a:gd name="connsiteY5371" fmla="*/ 5599 h 6851196"/>
                  <a:gd name="connsiteX5372" fmla="*/ 8728209 w 12187339"/>
                  <a:gd name="connsiteY5372" fmla="*/ 242091 h 6851196"/>
                  <a:gd name="connsiteX5373" fmla="*/ 8504120 w 12187339"/>
                  <a:gd name="connsiteY5373" fmla="*/ 242091 h 6851196"/>
                  <a:gd name="connsiteX5374" fmla="*/ 8504120 w 12187339"/>
                  <a:gd name="connsiteY5374" fmla="*/ 5599 h 6851196"/>
                  <a:gd name="connsiteX5375" fmla="*/ 8728209 w 12187339"/>
                  <a:gd name="connsiteY5375" fmla="*/ 5599 h 6851196"/>
                  <a:gd name="connsiteX5376" fmla="*/ 8497718 w 12187339"/>
                  <a:gd name="connsiteY5376" fmla="*/ 242091 h 6851196"/>
                  <a:gd name="connsiteX5377" fmla="*/ 8273629 w 12187339"/>
                  <a:gd name="connsiteY5377" fmla="*/ 242091 h 6851196"/>
                  <a:gd name="connsiteX5378" fmla="*/ 8273629 w 12187339"/>
                  <a:gd name="connsiteY5378" fmla="*/ 5599 h 6851196"/>
                  <a:gd name="connsiteX5379" fmla="*/ 8497718 w 12187339"/>
                  <a:gd name="connsiteY5379" fmla="*/ 5599 h 6851196"/>
                  <a:gd name="connsiteX5380" fmla="*/ 8267227 w 12187339"/>
                  <a:gd name="connsiteY5380" fmla="*/ 242091 h 6851196"/>
                  <a:gd name="connsiteX5381" fmla="*/ 8044420 w 12187339"/>
                  <a:gd name="connsiteY5381" fmla="*/ 242091 h 6851196"/>
                  <a:gd name="connsiteX5382" fmla="*/ 8044420 w 12187339"/>
                  <a:gd name="connsiteY5382" fmla="*/ 5599 h 6851196"/>
                  <a:gd name="connsiteX5383" fmla="*/ 8267227 w 12187339"/>
                  <a:gd name="connsiteY5383" fmla="*/ 5599 h 6851196"/>
                  <a:gd name="connsiteX5384" fmla="*/ 8038274 w 12187339"/>
                  <a:gd name="connsiteY5384" fmla="*/ 242091 h 6851196"/>
                  <a:gd name="connsiteX5385" fmla="*/ 7814186 w 12187339"/>
                  <a:gd name="connsiteY5385" fmla="*/ 242091 h 6851196"/>
                  <a:gd name="connsiteX5386" fmla="*/ 7814186 w 12187339"/>
                  <a:gd name="connsiteY5386" fmla="*/ 5599 h 6851196"/>
                  <a:gd name="connsiteX5387" fmla="*/ 8038274 w 12187339"/>
                  <a:gd name="connsiteY5387" fmla="*/ 5599 h 6851196"/>
                  <a:gd name="connsiteX5388" fmla="*/ 7807783 w 12187339"/>
                  <a:gd name="connsiteY5388" fmla="*/ 242091 h 6851196"/>
                  <a:gd name="connsiteX5389" fmla="*/ 7583695 w 12187339"/>
                  <a:gd name="connsiteY5389" fmla="*/ 242091 h 6851196"/>
                  <a:gd name="connsiteX5390" fmla="*/ 7583695 w 12187339"/>
                  <a:gd name="connsiteY5390" fmla="*/ 5599 h 6851196"/>
                  <a:gd name="connsiteX5391" fmla="*/ 7807783 w 12187339"/>
                  <a:gd name="connsiteY5391" fmla="*/ 5599 h 6851196"/>
                  <a:gd name="connsiteX5392" fmla="*/ 7577292 w 12187339"/>
                  <a:gd name="connsiteY5392" fmla="*/ 242091 h 6851196"/>
                  <a:gd name="connsiteX5393" fmla="*/ 7353204 w 12187339"/>
                  <a:gd name="connsiteY5393" fmla="*/ 242091 h 6851196"/>
                  <a:gd name="connsiteX5394" fmla="*/ 7353204 w 12187339"/>
                  <a:gd name="connsiteY5394" fmla="*/ 5599 h 6851196"/>
                  <a:gd name="connsiteX5395" fmla="*/ 7577292 w 12187339"/>
                  <a:gd name="connsiteY5395" fmla="*/ 5599 h 6851196"/>
                  <a:gd name="connsiteX5396" fmla="*/ 7346801 w 12187339"/>
                  <a:gd name="connsiteY5396" fmla="*/ 242091 h 6851196"/>
                  <a:gd name="connsiteX5397" fmla="*/ 7124247 w 12187339"/>
                  <a:gd name="connsiteY5397" fmla="*/ 242091 h 6851196"/>
                  <a:gd name="connsiteX5398" fmla="*/ 7124247 w 12187339"/>
                  <a:gd name="connsiteY5398" fmla="*/ 5599 h 6851196"/>
                  <a:gd name="connsiteX5399" fmla="*/ 7346801 w 12187339"/>
                  <a:gd name="connsiteY5399" fmla="*/ 5599 h 6851196"/>
                  <a:gd name="connsiteX5400" fmla="*/ 7117845 w 12187339"/>
                  <a:gd name="connsiteY5400" fmla="*/ 242091 h 6851196"/>
                  <a:gd name="connsiteX5401" fmla="*/ 6893756 w 12187339"/>
                  <a:gd name="connsiteY5401" fmla="*/ 242091 h 6851196"/>
                  <a:gd name="connsiteX5402" fmla="*/ 6893756 w 12187339"/>
                  <a:gd name="connsiteY5402" fmla="*/ 5599 h 6851196"/>
                  <a:gd name="connsiteX5403" fmla="*/ 7117845 w 12187339"/>
                  <a:gd name="connsiteY5403" fmla="*/ 5599 h 6851196"/>
                  <a:gd name="connsiteX5404" fmla="*/ 6887354 w 12187339"/>
                  <a:gd name="connsiteY5404" fmla="*/ 242091 h 6851196"/>
                  <a:gd name="connsiteX5405" fmla="*/ 6663265 w 12187339"/>
                  <a:gd name="connsiteY5405" fmla="*/ 242091 h 6851196"/>
                  <a:gd name="connsiteX5406" fmla="*/ 6663265 w 12187339"/>
                  <a:gd name="connsiteY5406" fmla="*/ 5599 h 6851196"/>
                  <a:gd name="connsiteX5407" fmla="*/ 6887354 w 12187339"/>
                  <a:gd name="connsiteY5407" fmla="*/ 5599 h 6851196"/>
                  <a:gd name="connsiteX5408" fmla="*/ 6656863 w 12187339"/>
                  <a:gd name="connsiteY5408" fmla="*/ 242091 h 6851196"/>
                  <a:gd name="connsiteX5409" fmla="*/ 6446349 w 12187339"/>
                  <a:gd name="connsiteY5409" fmla="*/ 242091 h 6851196"/>
                  <a:gd name="connsiteX5410" fmla="*/ 6446349 w 12187339"/>
                  <a:gd name="connsiteY5410" fmla="*/ 5599 h 6851196"/>
                  <a:gd name="connsiteX5411" fmla="*/ 6656863 w 12187339"/>
                  <a:gd name="connsiteY5411" fmla="*/ 5599 h 6851196"/>
                  <a:gd name="connsiteX5412" fmla="*/ 6439946 w 12187339"/>
                  <a:gd name="connsiteY5412" fmla="*/ 242091 h 6851196"/>
                  <a:gd name="connsiteX5413" fmla="*/ 6217136 w 12187339"/>
                  <a:gd name="connsiteY5413" fmla="*/ 242091 h 6851196"/>
                  <a:gd name="connsiteX5414" fmla="*/ 6217136 w 12187339"/>
                  <a:gd name="connsiteY5414" fmla="*/ 5599 h 6851196"/>
                  <a:gd name="connsiteX5415" fmla="*/ 6439690 w 12187339"/>
                  <a:gd name="connsiteY5415" fmla="*/ 5599 h 6851196"/>
                  <a:gd name="connsiteX5416" fmla="*/ 6210990 w 12187339"/>
                  <a:gd name="connsiteY5416" fmla="*/ 242091 h 6851196"/>
                  <a:gd name="connsiteX5417" fmla="*/ 5986902 w 12187339"/>
                  <a:gd name="connsiteY5417" fmla="*/ 242091 h 6851196"/>
                  <a:gd name="connsiteX5418" fmla="*/ 5986902 w 12187339"/>
                  <a:gd name="connsiteY5418" fmla="*/ 5599 h 6851196"/>
                  <a:gd name="connsiteX5419" fmla="*/ 6210990 w 12187339"/>
                  <a:gd name="connsiteY5419" fmla="*/ 5599 h 6851196"/>
                  <a:gd name="connsiteX5420" fmla="*/ 5980499 w 12187339"/>
                  <a:gd name="connsiteY5420" fmla="*/ 242091 h 6851196"/>
                  <a:gd name="connsiteX5421" fmla="*/ 5756411 w 12187339"/>
                  <a:gd name="connsiteY5421" fmla="*/ 242091 h 6851196"/>
                  <a:gd name="connsiteX5422" fmla="*/ 5756411 w 12187339"/>
                  <a:gd name="connsiteY5422" fmla="*/ 5599 h 6851196"/>
                  <a:gd name="connsiteX5423" fmla="*/ 5980499 w 12187339"/>
                  <a:gd name="connsiteY5423" fmla="*/ 5599 h 6851196"/>
                  <a:gd name="connsiteX5424" fmla="*/ 5750008 w 12187339"/>
                  <a:gd name="connsiteY5424" fmla="*/ 242091 h 6851196"/>
                  <a:gd name="connsiteX5425" fmla="*/ 5526945 w 12187339"/>
                  <a:gd name="connsiteY5425" fmla="*/ 242091 h 6851196"/>
                  <a:gd name="connsiteX5426" fmla="*/ 5526945 w 12187339"/>
                  <a:gd name="connsiteY5426" fmla="*/ 5599 h 6851196"/>
                  <a:gd name="connsiteX5427" fmla="*/ 5749495 w 12187339"/>
                  <a:gd name="connsiteY5427" fmla="*/ 5599 h 6851196"/>
                  <a:gd name="connsiteX5428" fmla="*/ 5521055 w 12187339"/>
                  <a:gd name="connsiteY5428" fmla="*/ 242091 h 6851196"/>
                  <a:gd name="connsiteX5429" fmla="*/ 5296454 w 12187339"/>
                  <a:gd name="connsiteY5429" fmla="*/ 242091 h 6851196"/>
                  <a:gd name="connsiteX5430" fmla="*/ 5296454 w 12187339"/>
                  <a:gd name="connsiteY5430" fmla="*/ 5599 h 6851196"/>
                  <a:gd name="connsiteX5431" fmla="*/ 5520542 w 12187339"/>
                  <a:gd name="connsiteY5431" fmla="*/ 5599 h 6851196"/>
                  <a:gd name="connsiteX5432" fmla="*/ 5290564 w 12187339"/>
                  <a:gd name="connsiteY5432" fmla="*/ 242091 h 6851196"/>
                  <a:gd name="connsiteX5433" fmla="*/ 5065963 w 12187339"/>
                  <a:gd name="connsiteY5433" fmla="*/ 242091 h 6851196"/>
                  <a:gd name="connsiteX5434" fmla="*/ 5065963 w 12187339"/>
                  <a:gd name="connsiteY5434" fmla="*/ 5599 h 6851196"/>
                  <a:gd name="connsiteX5435" fmla="*/ 5290051 w 12187339"/>
                  <a:gd name="connsiteY5435" fmla="*/ 5599 h 6851196"/>
                  <a:gd name="connsiteX5436" fmla="*/ 5060073 w 12187339"/>
                  <a:gd name="connsiteY5436" fmla="*/ 242091 h 6851196"/>
                  <a:gd name="connsiteX5437" fmla="*/ 4835472 w 12187339"/>
                  <a:gd name="connsiteY5437" fmla="*/ 242091 h 6851196"/>
                  <a:gd name="connsiteX5438" fmla="*/ 4835472 w 12187339"/>
                  <a:gd name="connsiteY5438" fmla="*/ 5599 h 6851196"/>
                  <a:gd name="connsiteX5439" fmla="*/ 5059560 w 12187339"/>
                  <a:gd name="connsiteY5439" fmla="*/ 5599 h 6851196"/>
                  <a:gd name="connsiteX5440" fmla="*/ 4829582 w 12187339"/>
                  <a:gd name="connsiteY5440" fmla="*/ 242091 h 6851196"/>
                  <a:gd name="connsiteX5441" fmla="*/ 4607029 w 12187339"/>
                  <a:gd name="connsiteY5441" fmla="*/ 242091 h 6851196"/>
                  <a:gd name="connsiteX5442" fmla="*/ 4607029 w 12187339"/>
                  <a:gd name="connsiteY5442" fmla="*/ 5599 h 6851196"/>
                  <a:gd name="connsiteX5443" fmla="*/ 4829582 w 12187339"/>
                  <a:gd name="connsiteY5443" fmla="*/ 5599 h 6851196"/>
                  <a:gd name="connsiteX5444" fmla="*/ 4600626 w 12187339"/>
                  <a:gd name="connsiteY5444" fmla="*/ 242091 h 6851196"/>
                  <a:gd name="connsiteX5445" fmla="*/ 4376538 w 12187339"/>
                  <a:gd name="connsiteY5445" fmla="*/ 242091 h 6851196"/>
                  <a:gd name="connsiteX5446" fmla="*/ 4376538 w 12187339"/>
                  <a:gd name="connsiteY5446" fmla="*/ 5599 h 6851196"/>
                  <a:gd name="connsiteX5447" fmla="*/ 4600626 w 12187339"/>
                  <a:gd name="connsiteY5447" fmla="*/ 5599 h 6851196"/>
                  <a:gd name="connsiteX5448" fmla="*/ 4370135 w 12187339"/>
                  <a:gd name="connsiteY5448" fmla="*/ 242091 h 6851196"/>
                  <a:gd name="connsiteX5449" fmla="*/ 4146047 w 12187339"/>
                  <a:gd name="connsiteY5449" fmla="*/ 242091 h 6851196"/>
                  <a:gd name="connsiteX5450" fmla="*/ 4146047 w 12187339"/>
                  <a:gd name="connsiteY5450" fmla="*/ 5599 h 6851196"/>
                  <a:gd name="connsiteX5451" fmla="*/ 4370135 w 12187339"/>
                  <a:gd name="connsiteY5451" fmla="*/ 5599 h 6851196"/>
                  <a:gd name="connsiteX5452" fmla="*/ 4139644 w 12187339"/>
                  <a:gd name="connsiteY5452" fmla="*/ 242091 h 6851196"/>
                  <a:gd name="connsiteX5453" fmla="*/ 3917094 w 12187339"/>
                  <a:gd name="connsiteY5453" fmla="*/ 242091 h 6851196"/>
                  <a:gd name="connsiteX5454" fmla="*/ 3917094 w 12187339"/>
                  <a:gd name="connsiteY5454" fmla="*/ 5599 h 6851196"/>
                  <a:gd name="connsiteX5455" fmla="*/ 4139644 w 12187339"/>
                  <a:gd name="connsiteY5455" fmla="*/ 5599 h 6851196"/>
                  <a:gd name="connsiteX5456" fmla="*/ 3910691 w 12187339"/>
                  <a:gd name="connsiteY5456" fmla="*/ 242091 h 6851196"/>
                  <a:gd name="connsiteX5457" fmla="*/ 3686603 w 12187339"/>
                  <a:gd name="connsiteY5457" fmla="*/ 242091 h 6851196"/>
                  <a:gd name="connsiteX5458" fmla="*/ 3686603 w 12187339"/>
                  <a:gd name="connsiteY5458" fmla="*/ 5599 h 6851196"/>
                  <a:gd name="connsiteX5459" fmla="*/ 3910691 w 12187339"/>
                  <a:gd name="connsiteY5459" fmla="*/ 5599 h 6851196"/>
                  <a:gd name="connsiteX5460" fmla="*/ 3680200 w 12187339"/>
                  <a:gd name="connsiteY5460" fmla="*/ 242091 h 6851196"/>
                  <a:gd name="connsiteX5461" fmla="*/ 3456112 w 12187339"/>
                  <a:gd name="connsiteY5461" fmla="*/ 242091 h 6851196"/>
                  <a:gd name="connsiteX5462" fmla="*/ 3456112 w 12187339"/>
                  <a:gd name="connsiteY5462" fmla="*/ 5599 h 6851196"/>
                  <a:gd name="connsiteX5463" fmla="*/ 3680200 w 12187339"/>
                  <a:gd name="connsiteY5463" fmla="*/ 5599 h 6851196"/>
                  <a:gd name="connsiteX5464" fmla="*/ 3449709 w 12187339"/>
                  <a:gd name="connsiteY5464" fmla="*/ 242091 h 6851196"/>
                  <a:gd name="connsiteX5465" fmla="*/ 3225621 w 12187339"/>
                  <a:gd name="connsiteY5465" fmla="*/ 242091 h 6851196"/>
                  <a:gd name="connsiteX5466" fmla="*/ 3225621 w 12187339"/>
                  <a:gd name="connsiteY5466" fmla="*/ 5599 h 6851196"/>
                  <a:gd name="connsiteX5467" fmla="*/ 3449709 w 12187339"/>
                  <a:gd name="connsiteY5467" fmla="*/ 5599 h 6851196"/>
                  <a:gd name="connsiteX5468" fmla="*/ 3219218 w 12187339"/>
                  <a:gd name="connsiteY5468" fmla="*/ 242091 h 6851196"/>
                  <a:gd name="connsiteX5469" fmla="*/ 2996666 w 12187339"/>
                  <a:gd name="connsiteY5469" fmla="*/ 242091 h 6851196"/>
                  <a:gd name="connsiteX5470" fmla="*/ 2996666 w 12187339"/>
                  <a:gd name="connsiteY5470" fmla="*/ 5599 h 6851196"/>
                  <a:gd name="connsiteX5471" fmla="*/ 3219218 w 12187339"/>
                  <a:gd name="connsiteY5471" fmla="*/ 5599 h 6851196"/>
                  <a:gd name="connsiteX5472" fmla="*/ 2990264 w 12187339"/>
                  <a:gd name="connsiteY5472" fmla="*/ 242091 h 6851196"/>
                  <a:gd name="connsiteX5473" fmla="*/ 2766175 w 12187339"/>
                  <a:gd name="connsiteY5473" fmla="*/ 242091 h 6851196"/>
                  <a:gd name="connsiteX5474" fmla="*/ 2766175 w 12187339"/>
                  <a:gd name="connsiteY5474" fmla="*/ 5599 h 6851196"/>
                  <a:gd name="connsiteX5475" fmla="*/ 2990264 w 12187339"/>
                  <a:gd name="connsiteY5475" fmla="*/ 5599 h 6851196"/>
                  <a:gd name="connsiteX5476" fmla="*/ 2759773 w 12187339"/>
                  <a:gd name="connsiteY5476" fmla="*/ 242091 h 6851196"/>
                  <a:gd name="connsiteX5477" fmla="*/ 2535684 w 12187339"/>
                  <a:gd name="connsiteY5477" fmla="*/ 242091 h 6851196"/>
                  <a:gd name="connsiteX5478" fmla="*/ 2535684 w 12187339"/>
                  <a:gd name="connsiteY5478" fmla="*/ 5599 h 6851196"/>
                  <a:gd name="connsiteX5479" fmla="*/ 2759773 w 12187339"/>
                  <a:gd name="connsiteY5479" fmla="*/ 5599 h 6851196"/>
                  <a:gd name="connsiteX5480" fmla="*/ 2529282 w 12187339"/>
                  <a:gd name="connsiteY5480" fmla="*/ 242091 h 6851196"/>
                  <a:gd name="connsiteX5481" fmla="*/ 2305193 w 12187339"/>
                  <a:gd name="connsiteY5481" fmla="*/ 242091 h 6851196"/>
                  <a:gd name="connsiteX5482" fmla="*/ 2305193 w 12187339"/>
                  <a:gd name="connsiteY5482" fmla="*/ 5599 h 6851196"/>
                  <a:gd name="connsiteX5483" fmla="*/ 2529282 w 12187339"/>
                  <a:gd name="connsiteY5483" fmla="*/ 5599 h 6851196"/>
                  <a:gd name="connsiteX5484" fmla="*/ 2298791 w 12187339"/>
                  <a:gd name="connsiteY5484" fmla="*/ 242091 h 6851196"/>
                  <a:gd name="connsiteX5485" fmla="*/ 2075982 w 12187339"/>
                  <a:gd name="connsiteY5485" fmla="*/ 242091 h 6851196"/>
                  <a:gd name="connsiteX5486" fmla="*/ 2075982 w 12187339"/>
                  <a:gd name="connsiteY5486" fmla="*/ 5599 h 6851196"/>
                  <a:gd name="connsiteX5487" fmla="*/ 2298534 w 12187339"/>
                  <a:gd name="connsiteY5487" fmla="*/ 5599 h 6851196"/>
                  <a:gd name="connsiteX5488" fmla="*/ 2069836 w 12187339"/>
                  <a:gd name="connsiteY5488" fmla="*/ 242091 h 6851196"/>
                  <a:gd name="connsiteX5489" fmla="*/ 1845748 w 12187339"/>
                  <a:gd name="connsiteY5489" fmla="*/ 242091 h 6851196"/>
                  <a:gd name="connsiteX5490" fmla="*/ 1845748 w 12187339"/>
                  <a:gd name="connsiteY5490" fmla="*/ 5599 h 6851196"/>
                  <a:gd name="connsiteX5491" fmla="*/ 2069580 w 12187339"/>
                  <a:gd name="connsiteY5491" fmla="*/ 5599 h 6851196"/>
                  <a:gd name="connsiteX5492" fmla="*/ 1839345 w 12187339"/>
                  <a:gd name="connsiteY5492" fmla="*/ 242091 h 6851196"/>
                  <a:gd name="connsiteX5493" fmla="*/ 1615257 w 12187339"/>
                  <a:gd name="connsiteY5493" fmla="*/ 242091 h 6851196"/>
                  <a:gd name="connsiteX5494" fmla="*/ 1615257 w 12187339"/>
                  <a:gd name="connsiteY5494" fmla="*/ 5599 h 6851196"/>
                  <a:gd name="connsiteX5495" fmla="*/ 1839089 w 12187339"/>
                  <a:gd name="connsiteY5495" fmla="*/ 5599 h 6851196"/>
                  <a:gd name="connsiteX5496" fmla="*/ 1608854 w 12187339"/>
                  <a:gd name="connsiteY5496" fmla="*/ 242091 h 6851196"/>
                  <a:gd name="connsiteX5497" fmla="*/ 1386302 w 12187339"/>
                  <a:gd name="connsiteY5497" fmla="*/ 242091 h 6851196"/>
                  <a:gd name="connsiteX5498" fmla="*/ 1386302 w 12187339"/>
                  <a:gd name="connsiteY5498" fmla="*/ 5599 h 6851196"/>
                  <a:gd name="connsiteX5499" fmla="*/ 1608598 w 12187339"/>
                  <a:gd name="connsiteY5499" fmla="*/ 5599 h 6851196"/>
                  <a:gd name="connsiteX5500" fmla="*/ 1379900 w 12187339"/>
                  <a:gd name="connsiteY5500" fmla="*/ 242091 h 6851196"/>
                  <a:gd name="connsiteX5501" fmla="*/ 1155811 w 12187339"/>
                  <a:gd name="connsiteY5501" fmla="*/ 242091 h 6851196"/>
                  <a:gd name="connsiteX5502" fmla="*/ 1155811 w 12187339"/>
                  <a:gd name="connsiteY5502" fmla="*/ 5599 h 6851196"/>
                  <a:gd name="connsiteX5503" fmla="*/ 1379900 w 12187339"/>
                  <a:gd name="connsiteY5503" fmla="*/ 5599 h 6851196"/>
                  <a:gd name="connsiteX5504" fmla="*/ 1149409 w 12187339"/>
                  <a:gd name="connsiteY5504" fmla="*/ 242091 h 6851196"/>
                  <a:gd name="connsiteX5505" fmla="*/ 925320 w 12187339"/>
                  <a:gd name="connsiteY5505" fmla="*/ 242091 h 6851196"/>
                  <a:gd name="connsiteX5506" fmla="*/ 925320 w 12187339"/>
                  <a:gd name="connsiteY5506" fmla="*/ 5599 h 6851196"/>
                  <a:gd name="connsiteX5507" fmla="*/ 1149409 w 12187339"/>
                  <a:gd name="connsiteY5507" fmla="*/ 5599 h 6851196"/>
                  <a:gd name="connsiteX5508" fmla="*/ 918918 w 12187339"/>
                  <a:gd name="connsiteY5508" fmla="*/ 242091 h 6851196"/>
                  <a:gd name="connsiteX5509" fmla="*/ 694829 w 12187339"/>
                  <a:gd name="connsiteY5509" fmla="*/ 242091 h 6851196"/>
                  <a:gd name="connsiteX5510" fmla="*/ 694829 w 12187339"/>
                  <a:gd name="connsiteY5510" fmla="*/ 5599 h 6851196"/>
                  <a:gd name="connsiteX5511" fmla="*/ 918918 w 12187339"/>
                  <a:gd name="connsiteY5511" fmla="*/ 5599 h 6851196"/>
                  <a:gd name="connsiteX5512" fmla="*/ 688427 w 12187339"/>
                  <a:gd name="connsiteY5512" fmla="*/ 242091 h 6851196"/>
                  <a:gd name="connsiteX5513" fmla="*/ 465875 w 12187339"/>
                  <a:gd name="connsiteY5513" fmla="*/ 242091 h 6851196"/>
                  <a:gd name="connsiteX5514" fmla="*/ 465875 w 12187339"/>
                  <a:gd name="connsiteY5514" fmla="*/ 5599 h 6851196"/>
                  <a:gd name="connsiteX5515" fmla="*/ 688427 w 12187339"/>
                  <a:gd name="connsiteY5515" fmla="*/ 5599 h 6851196"/>
                  <a:gd name="connsiteX5516" fmla="*/ 459472 w 12187339"/>
                  <a:gd name="connsiteY5516" fmla="*/ 242091 h 6851196"/>
                  <a:gd name="connsiteX5517" fmla="*/ 235384 w 12187339"/>
                  <a:gd name="connsiteY5517" fmla="*/ 242091 h 6851196"/>
                  <a:gd name="connsiteX5518" fmla="*/ 235384 w 12187339"/>
                  <a:gd name="connsiteY5518" fmla="*/ 5599 h 6851196"/>
                  <a:gd name="connsiteX5519" fmla="*/ 459472 w 12187339"/>
                  <a:gd name="connsiteY5519" fmla="*/ 5599 h 6851196"/>
                  <a:gd name="connsiteX5520" fmla="*/ 228981 w 12187339"/>
                  <a:gd name="connsiteY5520" fmla="*/ 242091 h 6851196"/>
                  <a:gd name="connsiteX5521" fmla="*/ 4893 w 12187339"/>
                  <a:gd name="connsiteY5521" fmla="*/ 242091 h 6851196"/>
                  <a:gd name="connsiteX5522" fmla="*/ 4893 w 12187339"/>
                  <a:gd name="connsiteY5522" fmla="*/ 5599 h 6851196"/>
                  <a:gd name="connsiteX5523" fmla="*/ 228981 w 12187339"/>
                  <a:gd name="connsiteY5523" fmla="*/ 5599 h 6851196"/>
                  <a:gd name="connsiteX5524" fmla="*/ 228981 w 12187339"/>
                  <a:gd name="connsiteY5524" fmla="*/ 248895 h 6851196"/>
                  <a:gd name="connsiteX5525" fmla="*/ 228981 w 12187339"/>
                  <a:gd name="connsiteY5525" fmla="*/ 487020 h 6851196"/>
                  <a:gd name="connsiteX5526" fmla="*/ 4893 w 12187339"/>
                  <a:gd name="connsiteY5526" fmla="*/ 487020 h 6851196"/>
                  <a:gd name="connsiteX5527" fmla="*/ 4893 w 12187339"/>
                  <a:gd name="connsiteY5527" fmla="*/ 248895 h 6851196"/>
                  <a:gd name="connsiteX5528" fmla="*/ 228981 w 12187339"/>
                  <a:gd name="connsiteY5528" fmla="*/ 493823 h 6851196"/>
                  <a:gd name="connsiteX5529" fmla="*/ 228981 w 12187339"/>
                  <a:gd name="connsiteY5529" fmla="*/ 731948 h 6851196"/>
                  <a:gd name="connsiteX5530" fmla="*/ 4893 w 12187339"/>
                  <a:gd name="connsiteY5530" fmla="*/ 731948 h 6851196"/>
                  <a:gd name="connsiteX5531" fmla="*/ 4893 w 12187339"/>
                  <a:gd name="connsiteY5531" fmla="*/ 493823 h 6851196"/>
                  <a:gd name="connsiteX5532" fmla="*/ 228981 w 12187339"/>
                  <a:gd name="connsiteY5532" fmla="*/ 738752 h 6851196"/>
                  <a:gd name="connsiteX5533" fmla="*/ 228981 w 12187339"/>
                  <a:gd name="connsiteY5533" fmla="*/ 975244 h 6851196"/>
                  <a:gd name="connsiteX5534" fmla="*/ 4893 w 12187339"/>
                  <a:gd name="connsiteY5534" fmla="*/ 975244 h 6851196"/>
                  <a:gd name="connsiteX5535" fmla="*/ 4893 w 12187339"/>
                  <a:gd name="connsiteY5535" fmla="*/ 738752 h 6851196"/>
                  <a:gd name="connsiteX5536" fmla="*/ 228981 w 12187339"/>
                  <a:gd name="connsiteY5536" fmla="*/ 982048 h 6851196"/>
                  <a:gd name="connsiteX5537" fmla="*/ 228981 w 12187339"/>
                  <a:gd name="connsiteY5537" fmla="*/ 1220173 h 6851196"/>
                  <a:gd name="connsiteX5538" fmla="*/ 4893 w 12187339"/>
                  <a:gd name="connsiteY5538" fmla="*/ 1220173 h 6851196"/>
                  <a:gd name="connsiteX5539" fmla="*/ 4893 w 12187339"/>
                  <a:gd name="connsiteY5539" fmla="*/ 981911 h 6851196"/>
                  <a:gd name="connsiteX5540" fmla="*/ 228981 w 12187339"/>
                  <a:gd name="connsiteY5540" fmla="*/ 1226976 h 6851196"/>
                  <a:gd name="connsiteX5541" fmla="*/ 228981 w 12187339"/>
                  <a:gd name="connsiteY5541" fmla="*/ 1465101 h 6851196"/>
                  <a:gd name="connsiteX5542" fmla="*/ 4893 w 12187339"/>
                  <a:gd name="connsiteY5542" fmla="*/ 1465101 h 6851196"/>
                  <a:gd name="connsiteX5543" fmla="*/ 4893 w 12187339"/>
                  <a:gd name="connsiteY5543" fmla="*/ 1226840 h 6851196"/>
                  <a:gd name="connsiteX5544" fmla="*/ 228981 w 12187339"/>
                  <a:gd name="connsiteY5544" fmla="*/ 1471905 h 6851196"/>
                  <a:gd name="connsiteX5545" fmla="*/ 228981 w 12187339"/>
                  <a:gd name="connsiteY5545" fmla="*/ 1710030 h 6851196"/>
                  <a:gd name="connsiteX5546" fmla="*/ 4893 w 12187339"/>
                  <a:gd name="connsiteY5546" fmla="*/ 1710030 h 6851196"/>
                  <a:gd name="connsiteX5547" fmla="*/ 4893 w 12187339"/>
                  <a:gd name="connsiteY5547" fmla="*/ 1471769 h 6851196"/>
                  <a:gd name="connsiteX5548" fmla="*/ 228981 w 12187339"/>
                  <a:gd name="connsiteY5548" fmla="*/ 1716833 h 6851196"/>
                  <a:gd name="connsiteX5549" fmla="*/ 228981 w 12187339"/>
                  <a:gd name="connsiteY5549" fmla="*/ 1953326 h 6851196"/>
                  <a:gd name="connsiteX5550" fmla="*/ 4893 w 12187339"/>
                  <a:gd name="connsiteY5550" fmla="*/ 1953326 h 6851196"/>
                  <a:gd name="connsiteX5551" fmla="*/ 4893 w 12187339"/>
                  <a:gd name="connsiteY5551" fmla="*/ 1716697 h 6851196"/>
                  <a:gd name="connsiteX5552" fmla="*/ 228981 w 12187339"/>
                  <a:gd name="connsiteY5552" fmla="*/ 1960129 h 6851196"/>
                  <a:gd name="connsiteX5553" fmla="*/ 228981 w 12187339"/>
                  <a:gd name="connsiteY5553" fmla="*/ 2198254 h 6851196"/>
                  <a:gd name="connsiteX5554" fmla="*/ 4893 w 12187339"/>
                  <a:gd name="connsiteY5554" fmla="*/ 2198254 h 6851196"/>
                  <a:gd name="connsiteX5555" fmla="*/ 4893 w 12187339"/>
                  <a:gd name="connsiteY5555" fmla="*/ 1960129 h 6851196"/>
                  <a:gd name="connsiteX5556" fmla="*/ 228981 w 12187339"/>
                  <a:gd name="connsiteY5556" fmla="*/ 2205058 h 6851196"/>
                  <a:gd name="connsiteX5557" fmla="*/ 228981 w 12187339"/>
                  <a:gd name="connsiteY5557" fmla="*/ 2443183 h 6851196"/>
                  <a:gd name="connsiteX5558" fmla="*/ 4893 w 12187339"/>
                  <a:gd name="connsiteY5558" fmla="*/ 2443183 h 6851196"/>
                  <a:gd name="connsiteX5559" fmla="*/ 4893 w 12187339"/>
                  <a:gd name="connsiteY5559" fmla="*/ 2205058 h 6851196"/>
                  <a:gd name="connsiteX5560" fmla="*/ 228981 w 12187339"/>
                  <a:gd name="connsiteY5560" fmla="*/ 2449986 h 6851196"/>
                  <a:gd name="connsiteX5561" fmla="*/ 228981 w 12187339"/>
                  <a:gd name="connsiteY5561" fmla="*/ 2686479 h 6851196"/>
                  <a:gd name="connsiteX5562" fmla="*/ 4893 w 12187339"/>
                  <a:gd name="connsiteY5562" fmla="*/ 2686479 h 6851196"/>
                  <a:gd name="connsiteX5563" fmla="*/ 4893 w 12187339"/>
                  <a:gd name="connsiteY5563" fmla="*/ 2449986 h 6851196"/>
                  <a:gd name="connsiteX5564" fmla="*/ 228981 w 12187339"/>
                  <a:gd name="connsiteY5564" fmla="*/ 2693282 h 6851196"/>
                  <a:gd name="connsiteX5565" fmla="*/ 228981 w 12187339"/>
                  <a:gd name="connsiteY5565" fmla="*/ 2931407 h 6851196"/>
                  <a:gd name="connsiteX5566" fmla="*/ 4893 w 12187339"/>
                  <a:gd name="connsiteY5566" fmla="*/ 2931407 h 6851196"/>
                  <a:gd name="connsiteX5567" fmla="*/ 4893 w 12187339"/>
                  <a:gd name="connsiteY5567" fmla="*/ 2693282 h 6851196"/>
                  <a:gd name="connsiteX5568" fmla="*/ 228981 w 12187339"/>
                  <a:gd name="connsiteY5568" fmla="*/ 2938211 h 6851196"/>
                  <a:gd name="connsiteX5569" fmla="*/ 228981 w 12187339"/>
                  <a:gd name="connsiteY5569" fmla="*/ 3176336 h 6851196"/>
                  <a:gd name="connsiteX5570" fmla="*/ 4893 w 12187339"/>
                  <a:gd name="connsiteY5570" fmla="*/ 3176336 h 6851196"/>
                  <a:gd name="connsiteX5571" fmla="*/ 4893 w 12187339"/>
                  <a:gd name="connsiteY5571" fmla="*/ 2938211 h 6851196"/>
                  <a:gd name="connsiteX5572" fmla="*/ 228981 w 12187339"/>
                  <a:gd name="connsiteY5572" fmla="*/ 3183139 h 6851196"/>
                  <a:gd name="connsiteX5573" fmla="*/ 228981 w 12187339"/>
                  <a:gd name="connsiteY5573" fmla="*/ 3421264 h 6851196"/>
                  <a:gd name="connsiteX5574" fmla="*/ 4893 w 12187339"/>
                  <a:gd name="connsiteY5574" fmla="*/ 3421264 h 6851196"/>
                  <a:gd name="connsiteX5575" fmla="*/ 4893 w 12187339"/>
                  <a:gd name="connsiteY5575" fmla="*/ 3183139 h 6851196"/>
                  <a:gd name="connsiteX5576" fmla="*/ 228981 w 12187339"/>
                  <a:gd name="connsiteY5576" fmla="*/ 3428068 h 6851196"/>
                  <a:gd name="connsiteX5577" fmla="*/ 228981 w 12187339"/>
                  <a:gd name="connsiteY5577" fmla="*/ 3664560 h 6851196"/>
                  <a:gd name="connsiteX5578" fmla="*/ 4893 w 12187339"/>
                  <a:gd name="connsiteY5578" fmla="*/ 3664560 h 6851196"/>
                  <a:gd name="connsiteX5579" fmla="*/ 4893 w 12187339"/>
                  <a:gd name="connsiteY5579" fmla="*/ 3428068 h 6851196"/>
                  <a:gd name="connsiteX5580" fmla="*/ 228981 w 12187339"/>
                  <a:gd name="connsiteY5580" fmla="*/ 3671364 h 6851196"/>
                  <a:gd name="connsiteX5581" fmla="*/ 228981 w 12187339"/>
                  <a:gd name="connsiteY5581" fmla="*/ 3909489 h 6851196"/>
                  <a:gd name="connsiteX5582" fmla="*/ 4893 w 12187339"/>
                  <a:gd name="connsiteY5582" fmla="*/ 3909489 h 6851196"/>
                  <a:gd name="connsiteX5583" fmla="*/ 4893 w 12187339"/>
                  <a:gd name="connsiteY5583" fmla="*/ 3671364 h 6851196"/>
                  <a:gd name="connsiteX5584" fmla="*/ 228981 w 12187339"/>
                  <a:gd name="connsiteY5584" fmla="*/ 3916292 h 6851196"/>
                  <a:gd name="connsiteX5585" fmla="*/ 228981 w 12187339"/>
                  <a:gd name="connsiteY5585" fmla="*/ 4154417 h 6851196"/>
                  <a:gd name="connsiteX5586" fmla="*/ 4893 w 12187339"/>
                  <a:gd name="connsiteY5586" fmla="*/ 4154417 h 6851196"/>
                  <a:gd name="connsiteX5587" fmla="*/ 4893 w 12187339"/>
                  <a:gd name="connsiteY5587" fmla="*/ 3916292 h 6851196"/>
                  <a:gd name="connsiteX5588" fmla="*/ 228981 w 12187339"/>
                  <a:gd name="connsiteY5588" fmla="*/ 4161221 h 6851196"/>
                  <a:gd name="connsiteX5589" fmla="*/ 228981 w 12187339"/>
                  <a:gd name="connsiteY5589" fmla="*/ 4399346 h 6851196"/>
                  <a:gd name="connsiteX5590" fmla="*/ 4893 w 12187339"/>
                  <a:gd name="connsiteY5590" fmla="*/ 4399346 h 6851196"/>
                  <a:gd name="connsiteX5591" fmla="*/ 4893 w 12187339"/>
                  <a:gd name="connsiteY5591" fmla="*/ 4161221 h 6851196"/>
                  <a:gd name="connsiteX5592" fmla="*/ 228981 w 12187339"/>
                  <a:gd name="connsiteY5592" fmla="*/ 4406149 h 6851196"/>
                  <a:gd name="connsiteX5593" fmla="*/ 228981 w 12187339"/>
                  <a:gd name="connsiteY5593" fmla="*/ 4642233 h 6851196"/>
                  <a:gd name="connsiteX5594" fmla="*/ 4893 w 12187339"/>
                  <a:gd name="connsiteY5594" fmla="*/ 4642233 h 6851196"/>
                  <a:gd name="connsiteX5595" fmla="*/ 4893 w 12187339"/>
                  <a:gd name="connsiteY5595" fmla="*/ 4405741 h 6851196"/>
                  <a:gd name="connsiteX5596" fmla="*/ 228981 w 12187339"/>
                  <a:gd name="connsiteY5596" fmla="*/ 4649445 h 6851196"/>
                  <a:gd name="connsiteX5597" fmla="*/ 228981 w 12187339"/>
                  <a:gd name="connsiteY5597" fmla="*/ 4887162 h 6851196"/>
                  <a:gd name="connsiteX5598" fmla="*/ 4893 w 12187339"/>
                  <a:gd name="connsiteY5598" fmla="*/ 4887162 h 6851196"/>
                  <a:gd name="connsiteX5599" fmla="*/ 4893 w 12187339"/>
                  <a:gd name="connsiteY5599" fmla="*/ 4649037 h 6851196"/>
                  <a:gd name="connsiteX5600" fmla="*/ 228981 w 12187339"/>
                  <a:gd name="connsiteY5600" fmla="*/ 4894374 h 6851196"/>
                  <a:gd name="connsiteX5601" fmla="*/ 228981 w 12187339"/>
                  <a:gd name="connsiteY5601" fmla="*/ 5132090 h 6851196"/>
                  <a:gd name="connsiteX5602" fmla="*/ 4893 w 12187339"/>
                  <a:gd name="connsiteY5602" fmla="*/ 5132090 h 6851196"/>
                  <a:gd name="connsiteX5603" fmla="*/ 4893 w 12187339"/>
                  <a:gd name="connsiteY5603" fmla="*/ 4893965 h 6851196"/>
                  <a:gd name="connsiteX5604" fmla="*/ 228981 w 12187339"/>
                  <a:gd name="connsiteY5604" fmla="*/ 5139302 h 6851196"/>
                  <a:gd name="connsiteX5605" fmla="*/ 228981 w 12187339"/>
                  <a:gd name="connsiteY5605" fmla="*/ 5375795 h 6851196"/>
                  <a:gd name="connsiteX5606" fmla="*/ 4893 w 12187339"/>
                  <a:gd name="connsiteY5606" fmla="*/ 5375795 h 6851196"/>
                  <a:gd name="connsiteX5607" fmla="*/ 4893 w 12187339"/>
                  <a:gd name="connsiteY5607" fmla="*/ 5139302 h 6851196"/>
                  <a:gd name="connsiteX5608" fmla="*/ 228981 w 12187339"/>
                  <a:gd name="connsiteY5608" fmla="*/ 5382598 h 6851196"/>
                  <a:gd name="connsiteX5609" fmla="*/ 228981 w 12187339"/>
                  <a:gd name="connsiteY5609" fmla="*/ 5620723 h 6851196"/>
                  <a:gd name="connsiteX5610" fmla="*/ 4893 w 12187339"/>
                  <a:gd name="connsiteY5610" fmla="*/ 5620723 h 6851196"/>
                  <a:gd name="connsiteX5611" fmla="*/ 4893 w 12187339"/>
                  <a:gd name="connsiteY5611" fmla="*/ 5382598 h 6851196"/>
                  <a:gd name="connsiteX5612" fmla="*/ 228981 w 12187339"/>
                  <a:gd name="connsiteY5612" fmla="*/ 5627527 h 6851196"/>
                  <a:gd name="connsiteX5613" fmla="*/ 228981 w 12187339"/>
                  <a:gd name="connsiteY5613" fmla="*/ 5865652 h 6851196"/>
                  <a:gd name="connsiteX5614" fmla="*/ 4893 w 12187339"/>
                  <a:gd name="connsiteY5614" fmla="*/ 5865652 h 6851196"/>
                  <a:gd name="connsiteX5615" fmla="*/ 4893 w 12187339"/>
                  <a:gd name="connsiteY5615" fmla="*/ 5627527 h 6851196"/>
                  <a:gd name="connsiteX5616" fmla="*/ 228981 w 12187339"/>
                  <a:gd name="connsiteY5616" fmla="*/ 5872455 h 6851196"/>
                  <a:gd name="connsiteX5617" fmla="*/ 228981 w 12187339"/>
                  <a:gd name="connsiteY5617" fmla="*/ 6110580 h 6851196"/>
                  <a:gd name="connsiteX5618" fmla="*/ 4893 w 12187339"/>
                  <a:gd name="connsiteY5618" fmla="*/ 6110580 h 6851196"/>
                  <a:gd name="connsiteX5619" fmla="*/ 4893 w 12187339"/>
                  <a:gd name="connsiteY5619" fmla="*/ 5872455 h 6851196"/>
                  <a:gd name="connsiteX5620" fmla="*/ 228981 w 12187339"/>
                  <a:gd name="connsiteY5620" fmla="*/ 6117384 h 6851196"/>
                  <a:gd name="connsiteX5621" fmla="*/ 228981 w 12187339"/>
                  <a:gd name="connsiteY5621" fmla="*/ 6353876 h 6851196"/>
                  <a:gd name="connsiteX5622" fmla="*/ 4893 w 12187339"/>
                  <a:gd name="connsiteY5622" fmla="*/ 6353876 h 6851196"/>
                  <a:gd name="connsiteX5623" fmla="*/ 4893 w 12187339"/>
                  <a:gd name="connsiteY5623" fmla="*/ 6117384 h 6851196"/>
                  <a:gd name="connsiteX5624" fmla="*/ 228981 w 12187339"/>
                  <a:gd name="connsiteY5624" fmla="*/ 6360680 h 6851196"/>
                  <a:gd name="connsiteX5625" fmla="*/ 228981 w 12187339"/>
                  <a:gd name="connsiteY5625" fmla="*/ 6598805 h 6851196"/>
                  <a:gd name="connsiteX5626" fmla="*/ 4893 w 12187339"/>
                  <a:gd name="connsiteY5626" fmla="*/ 6598805 h 6851196"/>
                  <a:gd name="connsiteX5627" fmla="*/ 4893 w 12187339"/>
                  <a:gd name="connsiteY5627" fmla="*/ 6360680 h 6851196"/>
                  <a:gd name="connsiteX5628" fmla="*/ 228981 w 12187339"/>
                  <a:gd name="connsiteY5628" fmla="*/ 6605608 h 6851196"/>
                  <a:gd name="connsiteX5629" fmla="*/ 228981 w 12187339"/>
                  <a:gd name="connsiteY5629" fmla="*/ 6843733 h 6851196"/>
                  <a:gd name="connsiteX5630" fmla="*/ 4893 w 12187339"/>
                  <a:gd name="connsiteY5630" fmla="*/ 6843733 h 6851196"/>
                  <a:gd name="connsiteX5631" fmla="*/ 4893 w 12187339"/>
                  <a:gd name="connsiteY5631" fmla="*/ 6605608 h 6851196"/>
                  <a:gd name="connsiteX5632" fmla="*/ 235384 w 12187339"/>
                  <a:gd name="connsiteY5632" fmla="*/ 6605608 h 6851196"/>
                  <a:gd name="connsiteX5633" fmla="*/ 459472 w 12187339"/>
                  <a:gd name="connsiteY5633" fmla="*/ 6605608 h 6851196"/>
                  <a:gd name="connsiteX5634" fmla="*/ 459472 w 12187339"/>
                  <a:gd name="connsiteY5634" fmla="*/ 6843733 h 6851196"/>
                  <a:gd name="connsiteX5635" fmla="*/ 235384 w 12187339"/>
                  <a:gd name="connsiteY5635" fmla="*/ 6843733 h 6851196"/>
                  <a:gd name="connsiteX5636" fmla="*/ 465875 w 12187339"/>
                  <a:gd name="connsiteY5636" fmla="*/ 6605608 h 6851196"/>
                  <a:gd name="connsiteX5637" fmla="*/ 688427 w 12187339"/>
                  <a:gd name="connsiteY5637" fmla="*/ 6605608 h 6851196"/>
                  <a:gd name="connsiteX5638" fmla="*/ 688427 w 12187339"/>
                  <a:gd name="connsiteY5638" fmla="*/ 6843733 h 6851196"/>
                  <a:gd name="connsiteX5639" fmla="*/ 465875 w 12187339"/>
                  <a:gd name="connsiteY5639" fmla="*/ 6843733 h 6851196"/>
                  <a:gd name="connsiteX5640" fmla="*/ 694829 w 12187339"/>
                  <a:gd name="connsiteY5640" fmla="*/ 6605608 h 6851196"/>
                  <a:gd name="connsiteX5641" fmla="*/ 918918 w 12187339"/>
                  <a:gd name="connsiteY5641" fmla="*/ 6605608 h 6851196"/>
                  <a:gd name="connsiteX5642" fmla="*/ 918918 w 12187339"/>
                  <a:gd name="connsiteY5642" fmla="*/ 6843733 h 6851196"/>
                  <a:gd name="connsiteX5643" fmla="*/ 694829 w 12187339"/>
                  <a:gd name="connsiteY5643" fmla="*/ 6843733 h 6851196"/>
                  <a:gd name="connsiteX5644" fmla="*/ 925320 w 12187339"/>
                  <a:gd name="connsiteY5644" fmla="*/ 6605608 h 6851196"/>
                  <a:gd name="connsiteX5645" fmla="*/ 1149409 w 12187339"/>
                  <a:gd name="connsiteY5645" fmla="*/ 6605608 h 6851196"/>
                  <a:gd name="connsiteX5646" fmla="*/ 1149409 w 12187339"/>
                  <a:gd name="connsiteY5646" fmla="*/ 6843733 h 6851196"/>
                  <a:gd name="connsiteX5647" fmla="*/ 925320 w 12187339"/>
                  <a:gd name="connsiteY5647" fmla="*/ 6843733 h 6851196"/>
                  <a:gd name="connsiteX5648" fmla="*/ 1155811 w 12187339"/>
                  <a:gd name="connsiteY5648" fmla="*/ 6605608 h 6851196"/>
                  <a:gd name="connsiteX5649" fmla="*/ 1379900 w 12187339"/>
                  <a:gd name="connsiteY5649" fmla="*/ 6605608 h 6851196"/>
                  <a:gd name="connsiteX5650" fmla="*/ 1379900 w 12187339"/>
                  <a:gd name="connsiteY5650" fmla="*/ 6843733 h 6851196"/>
                  <a:gd name="connsiteX5651" fmla="*/ 1155811 w 12187339"/>
                  <a:gd name="connsiteY5651" fmla="*/ 6843733 h 6851196"/>
                  <a:gd name="connsiteX5652" fmla="*/ 1386302 w 12187339"/>
                  <a:gd name="connsiteY5652" fmla="*/ 6605608 h 6851196"/>
                  <a:gd name="connsiteX5653" fmla="*/ 1608598 w 12187339"/>
                  <a:gd name="connsiteY5653" fmla="*/ 6605608 h 6851196"/>
                  <a:gd name="connsiteX5654" fmla="*/ 1608598 w 12187339"/>
                  <a:gd name="connsiteY5654" fmla="*/ 6843733 h 6851196"/>
                  <a:gd name="connsiteX5655" fmla="*/ 1386046 w 12187339"/>
                  <a:gd name="connsiteY5655" fmla="*/ 6843733 h 6851196"/>
                  <a:gd name="connsiteX5656" fmla="*/ 1615257 w 12187339"/>
                  <a:gd name="connsiteY5656" fmla="*/ 6605608 h 6851196"/>
                  <a:gd name="connsiteX5657" fmla="*/ 1839089 w 12187339"/>
                  <a:gd name="connsiteY5657" fmla="*/ 6605608 h 6851196"/>
                  <a:gd name="connsiteX5658" fmla="*/ 1839089 w 12187339"/>
                  <a:gd name="connsiteY5658" fmla="*/ 6843733 h 6851196"/>
                  <a:gd name="connsiteX5659" fmla="*/ 1615000 w 12187339"/>
                  <a:gd name="connsiteY5659" fmla="*/ 6843733 h 6851196"/>
                  <a:gd name="connsiteX5660" fmla="*/ 1845748 w 12187339"/>
                  <a:gd name="connsiteY5660" fmla="*/ 6605608 h 6851196"/>
                  <a:gd name="connsiteX5661" fmla="*/ 2069580 w 12187339"/>
                  <a:gd name="connsiteY5661" fmla="*/ 6605608 h 6851196"/>
                  <a:gd name="connsiteX5662" fmla="*/ 2069580 w 12187339"/>
                  <a:gd name="connsiteY5662" fmla="*/ 6843733 h 6851196"/>
                  <a:gd name="connsiteX5663" fmla="*/ 1845491 w 12187339"/>
                  <a:gd name="connsiteY5663" fmla="*/ 6843733 h 6851196"/>
                  <a:gd name="connsiteX5664" fmla="*/ 2076239 w 12187339"/>
                  <a:gd name="connsiteY5664" fmla="*/ 6605608 h 6851196"/>
                  <a:gd name="connsiteX5665" fmla="*/ 2298791 w 12187339"/>
                  <a:gd name="connsiteY5665" fmla="*/ 6605608 h 6851196"/>
                  <a:gd name="connsiteX5666" fmla="*/ 2298791 w 12187339"/>
                  <a:gd name="connsiteY5666" fmla="*/ 6843733 h 6851196"/>
                  <a:gd name="connsiteX5667" fmla="*/ 2075982 w 12187339"/>
                  <a:gd name="connsiteY5667" fmla="*/ 6843733 h 6851196"/>
                  <a:gd name="connsiteX5668" fmla="*/ 2305193 w 12187339"/>
                  <a:gd name="connsiteY5668" fmla="*/ 6605608 h 6851196"/>
                  <a:gd name="connsiteX5669" fmla="*/ 2529282 w 12187339"/>
                  <a:gd name="connsiteY5669" fmla="*/ 6605608 h 6851196"/>
                  <a:gd name="connsiteX5670" fmla="*/ 2529282 w 12187339"/>
                  <a:gd name="connsiteY5670" fmla="*/ 6843733 h 6851196"/>
                  <a:gd name="connsiteX5671" fmla="*/ 2305193 w 12187339"/>
                  <a:gd name="connsiteY5671" fmla="*/ 6843733 h 6851196"/>
                  <a:gd name="connsiteX5672" fmla="*/ 2535684 w 12187339"/>
                  <a:gd name="connsiteY5672" fmla="*/ 6605608 h 6851196"/>
                  <a:gd name="connsiteX5673" fmla="*/ 2759773 w 12187339"/>
                  <a:gd name="connsiteY5673" fmla="*/ 6605608 h 6851196"/>
                  <a:gd name="connsiteX5674" fmla="*/ 2759773 w 12187339"/>
                  <a:gd name="connsiteY5674" fmla="*/ 6843733 h 6851196"/>
                  <a:gd name="connsiteX5675" fmla="*/ 2535684 w 12187339"/>
                  <a:gd name="connsiteY5675" fmla="*/ 6843733 h 6851196"/>
                  <a:gd name="connsiteX5676" fmla="*/ 2766175 w 12187339"/>
                  <a:gd name="connsiteY5676" fmla="*/ 6605608 h 6851196"/>
                  <a:gd name="connsiteX5677" fmla="*/ 2990264 w 12187339"/>
                  <a:gd name="connsiteY5677" fmla="*/ 6605608 h 6851196"/>
                  <a:gd name="connsiteX5678" fmla="*/ 2990264 w 12187339"/>
                  <a:gd name="connsiteY5678" fmla="*/ 6843733 h 6851196"/>
                  <a:gd name="connsiteX5679" fmla="*/ 2766175 w 12187339"/>
                  <a:gd name="connsiteY5679" fmla="*/ 6843733 h 6851196"/>
                  <a:gd name="connsiteX5680" fmla="*/ 2996666 w 12187339"/>
                  <a:gd name="connsiteY5680" fmla="*/ 6605608 h 6851196"/>
                  <a:gd name="connsiteX5681" fmla="*/ 3219218 w 12187339"/>
                  <a:gd name="connsiteY5681" fmla="*/ 6605608 h 6851196"/>
                  <a:gd name="connsiteX5682" fmla="*/ 3219218 w 12187339"/>
                  <a:gd name="connsiteY5682" fmla="*/ 6843733 h 6851196"/>
                  <a:gd name="connsiteX5683" fmla="*/ 2996666 w 12187339"/>
                  <a:gd name="connsiteY5683" fmla="*/ 6843733 h 6851196"/>
                  <a:gd name="connsiteX5684" fmla="*/ 3225621 w 12187339"/>
                  <a:gd name="connsiteY5684" fmla="*/ 6605608 h 6851196"/>
                  <a:gd name="connsiteX5685" fmla="*/ 3449709 w 12187339"/>
                  <a:gd name="connsiteY5685" fmla="*/ 6605608 h 6851196"/>
                  <a:gd name="connsiteX5686" fmla="*/ 3449709 w 12187339"/>
                  <a:gd name="connsiteY5686" fmla="*/ 6843733 h 6851196"/>
                  <a:gd name="connsiteX5687" fmla="*/ 3225621 w 12187339"/>
                  <a:gd name="connsiteY5687" fmla="*/ 6843733 h 6851196"/>
                  <a:gd name="connsiteX5688" fmla="*/ 3456112 w 12187339"/>
                  <a:gd name="connsiteY5688" fmla="*/ 6605608 h 6851196"/>
                  <a:gd name="connsiteX5689" fmla="*/ 3680200 w 12187339"/>
                  <a:gd name="connsiteY5689" fmla="*/ 6605608 h 6851196"/>
                  <a:gd name="connsiteX5690" fmla="*/ 3680200 w 12187339"/>
                  <a:gd name="connsiteY5690" fmla="*/ 6843733 h 6851196"/>
                  <a:gd name="connsiteX5691" fmla="*/ 3456112 w 12187339"/>
                  <a:gd name="connsiteY5691" fmla="*/ 6843733 h 6851196"/>
                  <a:gd name="connsiteX5692" fmla="*/ 3686603 w 12187339"/>
                  <a:gd name="connsiteY5692" fmla="*/ 6605608 h 6851196"/>
                  <a:gd name="connsiteX5693" fmla="*/ 3910691 w 12187339"/>
                  <a:gd name="connsiteY5693" fmla="*/ 6605608 h 6851196"/>
                  <a:gd name="connsiteX5694" fmla="*/ 3910691 w 12187339"/>
                  <a:gd name="connsiteY5694" fmla="*/ 6843733 h 6851196"/>
                  <a:gd name="connsiteX5695" fmla="*/ 3686603 w 12187339"/>
                  <a:gd name="connsiteY5695" fmla="*/ 6843733 h 6851196"/>
                  <a:gd name="connsiteX5696" fmla="*/ 3917094 w 12187339"/>
                  <a:gd name="connsiteY5696" fmla="*/ 6605608 h 6851196"/>
                  <a:gd name="connsiteX5697" fmla="*/ 4139644 w 12187339"/>
                  <a:gd name="connsiteY5697" fmla="*/ 6605608 h 6851196"/>
                  <a:gd name="connsiteX5698" fmla="*/ 4139644 w 12187339"/>
                  <a:gd name="connsiteY5698" fmla="*/ 6843733 h 6851196"/>
                  <a:gd name="connsiteX5699" fmla="*/ 3917094 w 12187339"/>
                  <a:gd name="connsiteY5699" fmla="*/ 6843733 h 6851196"/>
                  <a:gd name="connsiteX5700" fmla="*/ 4146047 w 12187339"/>
                  <a:gd name="connsiteY5700" fmla="*/ 6605608 h 6851196"/>
                  <a:gd name="connsiteX5701" fmla="*/ 4370135 w 12187339"/>
                  <a:gd name="connsiteY5701" fmla="*/ 6605608 h 6851196"/>
                  <a:gd name="connsiteX5702" fmla="*/ 4370135 w 12187339"/>
                  <a:gd name="connsiteY5702" fmla="*/ 6843733 h 6851196"/>
                  <a:gd name="connsiteX5703" fmla="*/ 4146047 w 12187339"/>
                  <a:gd name="connsiteY5703" fmla="*/ 6843733 h 6851196"/>
                  <a:gd name="connsiteX5704" fmla="*/ 4376538 w 12187339"/>
                  <a:gd name="connsiteY5704" fmla="*/ 6605608 h 6851196"/>
                  <a:gd name="connsiteX5705" fmla="*/ 4600626 w 12187339"/>
                  <a:gd name="connsiteY5705" fmla="*/ 6605608 h 6851196"/>
                  <a:gd name="connsiteX5706" fmla="*/ 4600626 w 12187339"/>
                  <a:gd name="connsiteY5706" fmla="*/ 6843733 h 6851196"/>
                  <a:gd name="connsiteX5707" fmla="*/ 4376538 w 12187339"/>
                  <a:gd name="connsiteY5707" fmla="*/ 6843733 h 6851196"/>
                  <a:gd name="connsiteX5708" fmla="*/ 4607029 w 12187339"/>
                  <a:gd name="connsiteY5708" fmla="*/ 6605608 h 6851196"/>
                  <a:gd name="connsiteX5709" fmla="*/ 4829582 w 12187339"/>
                  <a:gd name="connsiteY5709" fmla="*/ 6605608 h 6851196"/>
                  <a:gd name="connsiteX5710" fmla="*/ 4829582 w 12187339"/>
                  <a:gd name="connsiteY5710" fmla="*/ 6843733 h 6851196"/>
                  <a:gd name="connsiteX5711" fmla="*/ 4607029 w 12187339"/>
                  <a:gd name="connsiteY5711" fmla="*/ 6843733 h 6851196"/>
                  <a:gd name="connsiteX5712" fmla="*/ 4835985 w 12187339"/>
                  <a:gd name="connsiteY5712" fmla="*/ 6605608 h 6851196"/>
                  <a:gd name="connsiteX5713" fmla="*/ 5060073 w 12187339"/>
                  <a:gd name="connsiteY5713" fmla="*/ 6605608 h 6851196"/>
                  <a:gd name="connsiteX5714" fmla="*/ 5060073 w 12187339"/>
                  <a:gd name="connsiteY5714" fmla="*/ 6843733 h 6851196"/>
                  <a:gd name="connsiteX5715" fmla="*/ 4835472 w 12187339"/>
                  <a:gd name="connsiteY5715" fmla="*/ 6843733 h 6851196"/>
                  <a:gd name="connsiteX5716" fmla="*/ 5066476 w 12187339"/>
                  <a:gd name="connsiteY5716" fmla="*/ 6605608 h 6851196"/>
                  <a:gd name="connsiteX5717" fmla="*/ 5290564 w 12187339"/>
                  <a:gd name="connsiteY5717" fmla="*/ 6605608 h 6851196"/>
                  <a:gd name="connsiteX5718" fmla="*/ 5290564 w 12187339"/>
                  <a:gd name="connsiteY5718" fmla="*/ 6843733 h 6851196"/>
                  <a:gd name="connsiteX5719" fmla="*/ 5065963 w 12187339"/>
                  <a:gd name="connsiteY5719" fmla="*/ 6843733 h 6851196"/>
                  <a:gd name="connsiteX5720" fmla="*/ 5296967 w 12187339"/>
                  <a:gd name="connsiteY5720" fmla="*/ 6605608 h 6851196"/>
                  <a:gd name="connsiteX5721" fmla="*/ 5521055 w 12187339"/>
                  <a:gd name="connsiteY5721" fmla="*/ 6605608 h 6851196"/>
                  <a:gd name="connsiteX5722" fmla="*/ 5521055 w 12187339"/>
                  <a:gd name="connsiteY5722" fmla="*/ 6843733 h 6851196"/>
                  <a:gd name="connsiteX5723" fmla="*/ 5296454 w 12187339"/>
                  <a:gd name="connsiteY5723" fmla="*/ 6843733 h 6851196"/>
                  <a:gd name="connsiteX5724" fmla="*/ 5527458 w 12187339"/>
                  <a:gd name="connsiteY5724" fmla="*/ 6605608 h 6851196"/>
                  <a:gd name="connsiteX5725" fmla="*/ 5750008 w 12187339"/>
                  <a:gd name="connsiteY5725" fmla="*/ 6605608 h 6851196"/>
                  <a:gd name="connsiteX5726" fmla="*/ 5750008 w 12187339"/>
                  <a:gd name="connsiteY5726" fmla="*/ 6843733 h 6851196"/>
                  <a:gd name="connsiteX5727" fmla="*/ 5526945 w 12187339"/>
                  <a:gd name="connsiteY5727" fmla="*/ 6843733 h 6851196"/>
                  <a:gd name="connsiteX5728" fmla="*/ 5756411 w 12187339"/>
                  <a:gd name="connsiteY5728" fmla="*/ 6605608 h 6851196"/>
                  <a:gd name="connsiteX5729" fmla="*/ 5980499 w 12187339"/>
                  <a:gd name="connsiteY5729" fmla="*/ 6605608 h 6851196"/>
                  <a:gd name="connsiteX5730" fmla="*/ 5980499 w 12187339"/>
                  <a:gd name="connsiteY5730" fmla="*/ 6843733 h 6851196"/>
                  <a:gd name="connsiteX5731" fmla="*/ 5756411 w 12187339"/>
                  <a:gd name="connsiteY5731" fmla="*/ 6843733 h 6851196"/>
                  <a:gd name="connsiteX5732" fmla="*/ 5986902 w 12187339"/>
                  <a:gd name="connsiteY5732" fmla="*/ 6605608 h 6851196"/>
                  <a:gd name="connsiteX5733" fmla="*/ 6210990 w 12187339"/>
                  <a:gd name="connsiteY5733" fmla="*/ 6605608 h 6851196"/>
                  <a:gd name="connsiteX5734" fmla="*/ 6210990 w 12187339"/>
                  <a:gd name="connsiteY5734" fmla="*/ 6843733 h 6851196"/>
                  <a:gd name="connsiteX5735" fmla="*/ 5986902 w 12187339"/>
                  <a:gd name="connsiteY5735" fmla="*/ 6843733 h 6851196"/>
                  <a:gd name="connsiteX5736" fmla="*/ 6217393 w 12187339"/>
                  <a:gd name="connsiteY5736" fmla="*/ 6605608 h 6851196"/>
                  <a:gd name="connsiteX5737" fmla="*/ 6439946 w 12187339"/>
                  <a:gd name="connsiteY5737" fmla="*/ 6605608 h 6851196"/>
                  <a:gd name="connsiteX5738" fmla="*/ 6439946 w 12187339"/>
                  <a:gd name="connsiteY5738" fmla="*/ 6843733 h 6851196"/>
                  <a:gd name="connsiteX5739" fmla="*/ 6217136 w 12187339"/>
                  <a:gd name="connsiteY5739" fmla="*/ 6843733 h 6851196"/>
                  <a:gd name="connsiteX5740" fmla="*/ 6446349 w 12187339"/>
                  <a:gd name="connsiteY5740" fmla="*/ 6605608 h 6851196"/>
                  <a:gd name="connsiteX5741" fmla="*/ 6656863 w 12187339"/>
                  <a:gd name="connsiteY5741" fmla="*/ 6605608 h 6851196"/>
                  <a:gd name="connsiteX5742" fmla="*/ 6656863 w 12187339"/>
                  <a:gd name="connsiteY5742" fmla="*/ 6843733 h 6851196"/>
                  <a:gd name="connsiteX5743" fmla="*/ 6446349 w 12187339"/>
                  <a:gd name="connsiteY5743" fmla="*/ 6843733 h 6851196"/>
                  <a:gd name="connsiteX5744" fmla="*/ 6663265 w 12187339"/>
                  <a:gd name="connsiteY5744" fmla="*/ 6605608 h 6851196"/>
                  <a:gd name="connsiteX5745" fmla="*/ 6887354 w 12187339"/>
                  <a:gd name="connsiteY5745" fmla="*/ 6605608 h 6851196"/>
                  <a:gd name="connsiteX5746" fmla="*/ 6887354 w 12187339"/>
                  <a:gd name="connsiteY5746" fmla="*/ 6843733 h 6851196"/>
                  <a:gd name="connsiteX5747" fmla="*/ 6663265 w 12187339"/>
                  <a:gd name="connsiteY5747" fmla="*/ 6843733 h 6851196"/>
                  <a:gd name="connsiteX5748" fmla="*/ 6893756 w 12187339"/>
                  <a:gd name="connsiteY5748" fmla="*/ 6605608 h 6851196"/>
                  <a:gd name="connsiteX5749" fmla="*/ 7117845 w 12187339"/>
                  <a:gd name="connsiteY5749" fmla="*/ 6605608 h 6851196"/>
                  <a:gd name="connsiteX5750" fmla="*/ 7117845 w 12187339"/>
                  <a:gd name="connsiteY5750" fmla="*/ 6843733 h 6851196"/>
                  <a:gd name="connsiteX5751" fmla="*/ 6893756 w 12187339"/>
                  <a:gd name="connsiteY5751" fmla="*/ 6843733 h 6851196"/>
                  <a:gd name="connsiteX5752" fmla="*/ 7124247 w 12187339"/>
                  <a:gd name="connsiteY5752" fmla="*/ 6605608 h 6851196"/>
                  <a:gd name="connsiteX5753" fmla="*/ 7346801 w 12187339"/>
                  <a:gd name="connsiteY5753" fmla="*/ 6605608 h 6851196"/>
                  <a:gd name="connsiteX5754" fmla="*/ 7346801 w 12187339"/>
                  <a:gd name="connsiteY5754" fmla="*/ 6843733 h 6851196"/>
                  <a:gd name="connsiteX5755" fmla="*/ 7124247 w 12187339"/>
                  <a:gd name="connsiteY5755" fmla="*/ 6843733 h 6851196"/>
                  <a:gd name="connsiteX5756" fmla="*/ 7353204 w 12187339"/>
                  <a:gd name="connsiteY5756" fmla="*/ 6605608 h 6851196"/>
                  <a:gd name="connsiteX5757" fmla="*/ 7577292 w 12187339"/>
                  <a:gd name="connsiteY5757" fmla="*/ 6605608 h 6851196"/>
                  <a:gd name="connsiteX5758" fmla="*/ 7577292 w 12187339"/>
                  <a:gd name="connsiteY5758" fmla="*/ 6843733 h 6851196"/>
                  <a:gd name="connsiteX5759" fmla="*/ 7353204 w 12187339"/>
                  <a:gd name="connsiteY5759" fmla="*/ 6843733 h 6851196"/>
                  <a:gd name="connsiteX5760" fmla="*/ 7583695 w 12187339"/>
                  <a:gd name="connsiteY5760" fmla="*/ 6605608 h 6851196"/>
                  <a:gd name="connsiteX5761" fmla="*/ 7807783 w 12187339"/>
                  <a:gd name="connsiteY5761" fmla="*/ 6605608 h 6851196"/>
                  <a:gd name="connsiteX5762" fmla="*/ 7807783 w 12187339"/>
                  <a:gd name="connsiteY5762" fmla="*/ 6843733 h 6851196"/>
                  <a:gd name="connsiteX5763" fmla="*/ 7583695 w 12187339"/>
                  <a:gd name="connsiteY5763" fmla="*/ 6843733 h 6851196"/>
                  <a:gd name="connsiteX5764" fmla="*/ 7814186 w 12187339"/>
                  <a:gd name="connsiteY5764" fmla="*/ 6605608 h 6851196"/>
                  <a:gd name="connsiteX5765" fmla="*/ 8038274 w 12187339"/>
                  <a:gd name="connsiteY5765" fmla="*/ 6605608 h 6851196"/>
                  <a:gd name="connsiteX5766" fmla="*/ 8038274 w 12187339"/>
                  <a:gd name="connsiteY5766" fmla="*/ 6843733 h 6851196"/>
                  <a:gd name="connsiteX5767" fmla="*/ 7814186 w 12187339"/>
                  <a:gd name="connsiteY5767" fmla="*/ 6843733 h 6851196"/>
                  <a:gd name="connsiteX5768" fmla="*/ 8044677 w 12187339"/>
                  <a:gd name="connsiteY5768" fmla="*/ 6605608 h 6851196"/>
                  <a:gd name="connsiteX5769" fmla="*/ 8267227 w 12187339"/>
                  <a:gd name="connsiteY5769" fmla="*/ 6605608 h 6851196"/>
                  <a:gd name="connsiteX5770" fmla="*/ 8267227 w 12187339"/>
                  <a:gd name="connsiteY5770" fmla="*/ 6843733 h 6851196"/>
                  <a:gd name="connsiteX5771" fmla="*/ 8044420 w 12187339"/>
                  <a:gd name="connsiteY5771" fmla="*/ 6843733 h 6851196"/>
                  <a:gd name="connsiteX5772" fmla="*/ 8273629 w 12187339"/>
                  <a:gd name="connsiteY5772" fmla="*/ 6605608 h 6851196"/>
                  <a:gd name="connsiteX5773" fmla="*/ 8497718 w 12187339"/>
                  <a:gd name="connsiteY5773" fmla="*/ 6605608 h 6851196"/>
                  <a:gd name="connsiteX5774" fmla="*/ 8497718 w 12187339"/>
                  <a:gd name="connsiteY5774" fmla="*/ 6843733 h 6851196"/>
                  <a:gd name="connsiteX5775" fmla="*/ 8273629 w 12187339"/>
                  <a:gd name="connsiteY5775" fmla="*/ 6843733 h 6851196"/>
                  <a:gd name="connsiteX5776" fmla="*/ 8504120 w 12187339"/>
                  <a:gd name="connsiteY5776" fmla="*/ 6605608 h 6851196"/>
                  <a:gd name="connsiteX5777" fmla="*/ 8728209 w 12187339"/>
                  <a:gd name="connsiteY5777" fmla="*/ 6605608 h 6851196"/>
                  <a:gd name="connsiteX5778" fmla="*/ 8728209 w 12187339"/>
                  <a:gd name="connsiteY5778" fmla="*/ 6843733 h 6851196"/>
                  <a:gd name="connsiteX5779" fmla="*/ 8504120 w 12187339"/>
                  <a:gd name="connsiteY5779" fmla="*/ 6843733 h 6851196"/>
                  <a:gd name="connsiteX5780" fmla="*/ 8734611 w 12187339"/>
                  <a:gd name="connsiteY5780" fmla="*/ 6605608 h 6851196"/>
                  <a:gd name="connsiteX5781" fmla="*/ 8957162 w 12187339"/>
                  <a:gd name="connsiteY5781" fmla="*/ 6605608 h 6851196"/>
                  <a:gd name="connsiteX5782" fmla="*/ 8957162 w 12187339"/>
                  <a:gd name="connsiteY5782" fmla="*/ 6843733 h 6851196"/>
                  <a:gd name="connsiteX5783" fmla="*/ 8734611 w 12187339"/>
                  <a:gd name="connsiteY5783" fmla="*/ 6843733 h 6851196"/>
                  <a:gd name="connsiteX5784" fmla="*/ 8963564 w 12187339"/>
                  <a:gd name="connsiteY5784" fmla="*/ 6605608 h 6851196"/>
                  <a:gd name="connsiteX5785" fmla="*/ 9187653 w 12187339"/>
                  <a:gd name="connsiteY5785" fmla="*/ 6605608 h 6851196"/>
                  <a:gd name="connsiteX5786" fmla="*/ 9187653 w 12187339"/>
                  <a:gd name="connsiteY5786" fmla="*/ 6843733 h 6851196"/>
                  <a:gd name="connsiteX5787" fmla="*/ 8963564 w 12187339"/>
                  <a:gd name="connsiteY5787" fmla="*/ 6843733 h 6851196"/>
                  <a:gd name="connsiteX5788" fmla="*/ 9194055 w 12187339"/>
                  <a:gd name="connsiteY5788" fmla="*/ 6605608 h 6851196"/>
                  <a:gd name="connsiteX5789" fmla="*/ 9418144 w 12187339"/>
                  <a:gd name="connsiteY5789" fmla="*/ 6605608 h 6851196"/>
                  <a:gd name="connsiteX5790" fmla="*/ 9418144 w 12187339"/>
                  <a:gd name="connsiteY5790" fmla="*/ 6843733 h 6851196"/>
                  <a:gd name="connsiteX5791" fmla="*/ 9194055 w 12187339"/>
                  <a:gd name="connsiteY5791" fmla="*/ 6843733 h 6851196"/>
                  <a:gd name="connsiteX5792" fmla="*/ 9424546 w 12187339"/>
                  <a:gd name="connsiteY5792" fmla="*/ 6605608 h 6851196"/>
                  <a:gd name="connsiteX5793" fmla="*/ 9648635 w 12187339"/>
                  <a:gd name="connsiteY5793" fmla="*/ 6605608 h 6851196"/>
                  <a:gd name="connsiteX5794" fmla="*/ 9648635 w 12187339"/>
                  <a:gd name="connsiteY5794" fmla="*/ 6843733 h 6851196"/>
                  <a:gd name="connsiteX5795" fmla="*/ 9424546 w 12187339"/>
                  <a:gd name="connsiteY5795" fmla="*/ 6843733 h 6851196"/>
                  <a:gd name="connsiteX5796" fmla="*/ 9655037 w 12187339"/>
                  <a:gd name="connsiteY5796" fmla="*/ 6605608 h 6851196"/>
                  <a:gd name="connsiteX5797" fmla="*/ 9877591 w 12187339"/>
                  <a:gd name="connsiteY5797" fmla="*/ 6605608 h 6851196"/>
                  <a:gd name="connsiteX5798" fmla="*/ 9877591 w 12187339"/>
                  <a:gd name="connsiteY5798" fmla="*/ 6843733 h 6851196"/>
                  <a:gd name="connsiteX5799" fmla="*/ 9655037 w 12187339"/>
                  <a:gd name="connsiteY5799" fmla="*/ 6843733 h 6851196"/>
                  <a:gd name="connsiteX5800" fmla="*/ 9883993 w 12187339"/>
                  <a:gd name="connsiteY5800" fmla="*/ 6605608 h 6851196"/>
                  <a:gd name="connsiteX5801" fmla="*/ 10108082 w 12187339"/>
                  <a:gd name="connsiteY5801" fmla="*/ 6605608 h 6851196"/>
                  <a:gd name="connsiteX5802" fmla="*/ 10108082 w 12187339"/>
                  <a:gd name="connsiteY5802" fmla="*/ 6843733 h 6851196"/>
                  <a:gd name="connsiteX5803" fmla="*/ 9883993 w 12187339"/>
                  <a:gd name="connsiteY5803" fmla="*/ 6843733 h 6851196"/>
                  <a:gd name="connsiteX5804" fmla="*/ 10114484 w 12187339"/>
                  <a:gd name="connsiteY5804" fmla="*/ 6605608 h 6851196"/>
                  <a:gd name="connsiteX5805" fmla="*/ 10338573 w 12187339"/>
                  <a:gd name="connsiteY5805" fmla="*/ 6605608 h 6851196"/>
                  <a:gd name="connsiteX5806" fmla="*/ 10338573 w 12187339"/>
                  <a:gd name="connsiteY5806" fmla="*/ 6843733 h 6851196"/>
                  <a:gd name="connsiteX5807" fmla="*/ 10114484 w 12187339"/>
                  <a:gd name="connsiteY5807" fmla="*/ 6843733 h 6851196"/>
                  <a:gd name="connsiteX5808" fmla="*/ 10344975 w 12187339"/>
                  <a:gd name="connsiteY5808" fmla="*/ 6605608 h 6851196"/>
                  <a:gd name="connsiteX5809" fmla="*/ 10569064 w 12187339"/>
                  <a:gd name="connsiteY5809" fmla="*/ 6605608 h 6851196"/>
                  <a:gd name="connsiteX5810" fmla="*/ 10569064 w 12187339"/>
                  <a:gd name="connsiteY5810" fmla="*/ 6843733 h 6851196"/>
                  <a:gd name="connsiteX5811" fmla="*/ 10344975 w 12187339"/>
                  <a:gd name="connsiteY5811" fmla="*/ 6843733 h 6851196"/>
                  <a:gd name="connsiteX5812" fmla="*/ 10575466 w 12187339"/>
                  <a:gd name="connsiteY5812" fmla="*/ 6605608 h 6851196"/>
                  <a:gd name="connsiteX5813" fmla="*/ 10798016 w 12187339"/>
                  <a:gd name="connsiteY5813" fmla="*/ 6605608 h 6851196"/>
                  <a:gd name="connsiteX5814" fmla="*/ 10798016 w 12187339"/>
                  <a:gd name="connsiteY5814" fmla="*/ 6843733 h 6851196"/>
                  <a:gd name="connsiteX5815" fmla="*/ 10575466 w 12187339"/>
                  <a:gd name="connsiteY5815" fmla="*/ 6843733 h 6851196"/>
                  <a:gd name="connsiteX5816" fmla="*/ 10804419 w 12187339"/>
                  <a:gd name="connsiteY5816" fmla="*/ 6605608 h 6851196"/>
                  <a:gd name="connsiteX5817" fmla="*/ 11028507 w 12187339"/>
                  <a:gd name="connsiteY5817" fmla="*/ 6605608 h 6851196"/>
                  <a:gd name="connsiteX5818" fmla="*/ 11028507 w 12187339"/>
                  <a:gd name="connsiteY5818" fmla="*/ 6843733 h 6851196"/>
                  <a:gd name="connsiteX5819" fmla="*/ 10804419 w 12187339"/>
                  <a:gd name="connsiteY5819" fmla="*/ 6843733 h 6851196"/>
                  <a:gd name="connsiteX5820" fmla="*/ 11034910 w 12187339"/>
                  <a:gd name="connsiteY5820" fmla="*/ 6605608 h 6851196"/>
                  <a:gd name="connsiteX5821" fmla="*/ 11258998 w 12187339"/>
                  <a:gd name="connsiteY5821" fmla="*/ 6605608 h 6851196"/>
                  <a:gd name="connsiteX5822" fmla="*/ 11258998 w 12187339"/>
                  <a:gd name="connsiteY5822" fmla="*/ 6843733 h 6851196"/>
                  <a:gd name="connsiteX5823" fmla="*/ 11034910 w 12187339"/>
                  <a:gd name="connsiteY5823" fmla="*/ 6843733 h 6851196"/>
                  <a:gd name="connsiteX5824" fmla="*/ 11265401 w 12187339"/>
                  <a:gd name="connsiteY5824" fmla="*/ 6605608 h 6851196"/>
                  <a:gd name="connsiteX5825" fmla="*/ 11487954 w 12187339"/>
                  <a:gd name="connsiteY5825" fmla="*/ 6605608 h 6851196"/>
                  <a:gd name="connsiteX5826" fmla="*/ 11487954 w 12187339"/>
                  <a:gd name="connsiteY5826" fmla="*/ 6843733 h 6851196"/>
                  <a:gd name="connsiteX5827" fmla="*/ 11265401 w 12187339"/>
                  <a:gd name="connsiteY5827" fmla="*/ 6843733 h 6851196"/>
                  <a:gd name="connsiteX5828" fmla="*/ 11494357 w 12187339"/>
                  <a:gd name="connsiteY5828" fmla="*/ 6605608 h 6851196"/>
                  <a:gd name="connsiteX5829" fmla="*/ 11718445 w 12187339"/>
                  <a:gd name="connsiteY5829" fmla="*/ 6605608 h 6851196"/>
                  <a:gd name="connsiteX5830" fmla="*/ 11718445 w 12187339"/>
                  <a:gd name="connsiteY5830" fmla="*/ 6843733 h 6851196"/>
                  <a:gd name="connsiteX5831" fmla="*/ 11494101 w 12187339"/>
                  <a:gd name="connsiteY5831" fmla="*/ 6843733 h 6851196"/>
                  <a:gd name="connsiteX5832" fmla="*/ 11724848 w 12187339"/>
                  <a:gd name="connsiteY5832" fmla="*/ 6605608 h 6851196"/>
                  <a:gd name="connsiteX5833" fmla="*/ 11948936 w 12187339"/>
                  <a:gd name="connsiteY5833" fmla="*/ 6605608 h 6851196"/>
                  <a:gd name="connsiteX5834" fmla="*/ 11948936 w 12187339"/>
                  <a:gd name="connsiteY5834" fmla="*/ 6843733 h 6851196"/>
                  <a:gd name="connsiteX5835" fmla="*/ 11724592 w 12187339"/>
                  <a:gd name="connsiteY5835" fmla="*/ 6843733 h 6851196"/>
                  <a:gd name="connsiteX5836" fmla="*/ 11955339 w 12187339"/>
                  <a:gd name="connsiteY5836" fmla="*/ 6605608 h 6851196"/>
                  <a:gd name="connsiteX5837" fmla="*/ 12179427 w 12187339"/>
                  <a:gd name="connsiteY5837" fmla="*/ 6605608 h 6851196"/>
                  <a:gd name="connsiteX5838" fmla="*/ 12179427 w 12187339"/>
                  <a:gd name="connsiteY5838" fmla="*/ 6843733 h 6851196"/>
                  <a:gd name="connsiteX5839" fmla="*/ 11955083 w 12187339"/>
                  <a:gd name="connsiteY5839" fmla="*/ 6843733 h 6851196"/>
                  <a:gd name="connsiteX5840" fmla="*/ 11955339 w 12187339"/>
                  <a:gd name="connsiteY5840" fmla="*/ 6598805 h 6851196"/>
                  <a:gd name="connsiteX5841" fmla="*/ 11955339 w 12187339"/>
                  <a:gd name="connsiteY5841" fmla="*/ 6360680 h 6851196"/>
                  <a:gd name="connsiteX5842" fmla="*/ 12179427 w 12187339"/>
                  <a:gd name="connsiteY5842" fmla="*/ 6360680 h 6851196"/>
                  <a:gd name="connsiteX5843" fmla="*/ 12179427 w 12187339"/>
                  <a:gd name="connsiteY5843" fmla="*/ 6598805 h 6851196"/>
                  <a:gd name="connsiteX5844" fmla="*/ 11955339 w 12187339"/>
                  <a:gd name="connsiteY5844" fmla="*/ 6353876 h 6851196"/>
                  <a:gd name="connsiteX5845" fmla="*/ 11955339 w 12187339"/>
                  <a:gd name="connsiteY5845" fmla="*/ 6117384 h 6851196"/>
                  <a:gd name="connsiteX5846" fmla="*/ 12179427 w 12187339"/>
                  <a:gd name="connsiteY5846" fmla="*/ 6117384 h 6851196"/>
                  <a:gd name="connsiteX5847" fmla="*/ 12179427 w 12187339"/>
                  <a:gd name="connsiteY5847" fmla="*/ 6353876 h 6851196"/>
                  <a:gd name="connsiteX5848" fmla="*/ 11955339 w 12187339"/>
                  <a:gd name="connsiteY5848" fmla="*/ 6110580 h 6851196"/>
                  <a:gd name="connsiteX5849" fmla="*/ 11955339 w 12187339"/>
                  <a:gd name="connsiteY5849" fmla="*/ 5872455 h 6851196"/>
                  <a:gd name="connsiteX5850" fmla="*/ 12179427 w 12187339"/>
                  <a:gd name="connsiteY5850" fmla="*/ 5872455 h 6851196"/>
                  <a:gd name="connsiteX5851" fmla="*/ 12179427 w 12187339"/>
                  <a:gd name="connsiteY5851" fmla="*/ 6110580 h 6851196"/>
                  <a:gd name="connsiteX5852" fmla="*/ 11955339 w 12187339"/>
                  <a:gd name="connsiteY5852" fmla="*/ 5865652 h 6851196"/>
                  <a:gd name="connsiteX5853" fmla="*/ 11955339 w 12187339"/>
                  <a:gd name="connsiteY5853" fmla="*/ 5627527 h 6851196"/>
                  <a:gd name="connsiteX5854" fmla="*/ 12179427 w 12187339"/>
                  <a:gd name="connsiteY5854" fmla="*/ 5627527 h 6851196"/>
                  <a:gd name="connsiteX5855" fmla="*/ 12179427 w 12187339"/>
                  <a:gd name="connsiteY5855" fmla="*/ 5865652 h 6851196"/>
                  <a:gd name="connsiteX5856" fmla="*/ 11955339 w 12187339"/>
                  <a:gd name="connsiteY5856" fmla="*/ 5620723 h 6851196"/>
                  <a:gd name="connsiteX5857" fmla="*/ 11955339 w 12187339"/>
                  <a:gd name="connsiteY5857" fmla="*/ 5382598 h 6851196"/>
                  <a:gd name="connsiteX5858" fmla="*/ 12179427 w 12187339"/>
                  <a:gd name="connsiteY5858" fmla="*/ 5382598 h 6851196"/>
                  <a:gd name="connsiteX5859" fmla="*/ 12179427 w 12187339"/>
                  <a:gd name="connsiteY5859" fmla="*/ 5620723 h 6851196"/>
                  <a:gd name="connsiteX5860" fmla="*/ 11955339 w 12187339"/>
                  <a:gd name="connsiteY5860" fmla="*/ 5375795 h 6851196"/>
                  <a:gd name="connsiteX5861" fmla="*/ 11955339 w 12187339"/>
                  <a:gd name="connsiteY5861" fmla="*/ 5139302 h 6851196"/>
                  <a:gd name="connsiteX5862" fmla="*/ 12179427 w 12187339"/>
                  <a:gd name="connsiteY5862" fmla="*/ 5139302 h 6851196"/>
                  <a:gd name="connsiteX5863" fmla="*/ 12179427 w 12187339"/>
                  <a:gd name="connsiteY5863" fmla="*/ 5375795 h 6851196"/>
                  <a:gd name="connsiteX5864" fmla="*/ 11955339 w 12187339"/>
                  <a:gd name="connsiteY5864" fmla="*/ 5132499 h 6851196"/>
                  <a:gd name="connsiteX5865" fmla="*/ 11955339 w 12187339"/>
                  <a:gd name="connsiteY5865" fmla="*/ 4894374 h 6851196"/>
                  <a:gd name="connsiteX5866" fmla="*/ 12179427 w 12187339"/>
                  <a:gd name="connsiteY5866" fmla="*/ 4894374 h 6851196"/>
                  <a:gd name="connsiteX5867" fmla="*/ 12179427 w 12187339"/>
                  <a:gd name="connsiteY5867" fmla="*/ 5132090 h 6851196"/>
                  <a:gd name="connsiteX5868" fmla="*/ 11955339 w 12187339"/>
                  <a:gd name="connsiteY5868" fmla="*/ 4887570 h 6851196"/>
                  <a:gd name="connsiteX5869" fmla="*/ 11955339 w 12187339"/>
                  <a:gd name="connsiteY5869" fmla="*/ 4649445 h 6851196"/>
                  <a:gd name="connsiteX5870" fmla="*/ 12179427 w 12187339"/>
                  <a:gd name="connsiteY5870" fmla="*/ 4649445 h 6851196"/>
                  <a:gd name="connsiteX5871" fmla="*/ 12179427 w 12187339"/>
                  <a:gd name="connsiteY5871" fmla="*/ 4887162 h 6851196"/>
                  <a:gd name="connsiteX5872" fmla="*/ 11955339 w 12187339"/>
                  <a:gd name="connsiteY5872" fmla="*/ 4642642 h 6851196"/>
                  <a:gd name="connsiteX5873" fmla="*/ 11955339 w 12187339"/>
                  <a:gd name="connsiteY5873" fmla="*/ 4406149 h 6851196"/>
                  <a:gd name="connsiteX5874" fmla="*/ 12179427 w 12187339"/>
                  <a:gd name="connsiteY5874" fmla="*/ 4406149 h 6851196"/>
                  <a:gd name="connsiteX5875" fmla="*/ 12179427 w 12187339"/>
                  <a:gd name="connsiteY5875" fmla="*/ 4642233 h 6851196"/>
                  <a:gd name="connsiteX5876" fmla="*/ 11955339 w 12187339"/>
                  <a:gd name="connsiteY5876" fmla="*/ 4399346 h 6851196"/>
                  <a:gd name="connsiteX5877" fmla="*/ 11955339 w 12187339"/>
                  <a:gd name="connsiteY5877" fmla="*/ 4161221 h 6851196"/>
                  <a:gd name="connsiteX5878" fmla="*/ 12179427 w 12187339"/>
                  <a:gd name="connsiteY5878" fmla="*/ 4161221 h 6851196"/>
                  <a:gd name="connsiteX5879" fmla="*/ 12179427 w 12187339"/>
                  <a:gd name="connsiteY5879" fmla="*/ 4399346 h 6851196"/>
                  <a:gd name="connsiteX5880" fmla="*/ 11955339 w 12187339"/>
                  <a:gd name="connsiteY5880" fmla="*/ 4154417 h 6851196"/>
                  <a:gd name="connsiteX5881" fmla="*/ 11955339 w 12187339"/>
                  <a:gd name="connsiteY5881" fmla="*/ 3916292 h 6851196"/>
                  <a:gd name="connsiteX5882" fmla="*/ 12179427 w 12187339"/>
                  <a:gd name="connsiteY5882" fmla="*/ 3916292 h 6851196"/>
                  <a:gd name="connsiteX5883" fmla="*/ 12179427 w 12187339"/>
                  <a:gd name="connsiteY5883" fmla="*/ 4154417 h 6851196"/>
                  <a:gd name="connsiteX5884" fmla="*/ 11955339 w 12187339"/>
                  <a:gd name="connsiteY5884" fmla="*/ 3909489 h 6851196"/>
                  <a:gd name="connsiteX5885" fmla="*/ 11955339 w 12187339"/>
                  <a:gd name="connsiteY5885" fmla="*/ 3671364 h 6851196"/>
                  <a:gd name="connsiteX5886" fmla="*/ 12179427 w 12187339"/>
                  <a:gd name="connsiteY5886" fmla="*/ 3671364 h 6851196"/>
                  <a:gd name="connsiteX5887" fmla="*/ 12179427 w 12187339"/>
                  <a:gd name="connsiteY5887" fmla="*/ 3909489 h 6851196"/>
                  <a:gd name="connsiteX5888" fmla="*/ 11955339 w 12187339"/>
                  <a:gd name="connsiteY5888" fmla="*/ 3664560 h 6851196"/>
                  <a:gd name="connsiteX5889" fmla="*/ 11955339 w 12187339"/>
                  <a:gd name="connsiteY5889" fmla="*/ 3428068 h 6851196"/>
                  <a:gd name="connsiteX5890" fmla="*/ 12179427 w 12187339"/>
                  <a:gd name="connsiteY5890" fmla="*/ 3428068 h 6851196"/>
                  <a:gd name="connsiteX5891" fmla="*/ 12179427 w 12187339"/>
                  <a:gd name="connsiteY5891" fmla="*/ 3664560 h 6851196"/>
                  <a:gd name="connsiteX5892" fmla="*/ 11955339 w 12187339"/>
                  <a:gd name="connsiteY5892" fmla="*/ 3421264 h 6851196"/>
                  <a:gd name="connsiteX5893" fmla="*/ 11955339 w 12187339"/>
                  <a:gd name="connsiteY5893" fmla="*/ 3183139 h 6851196"/>
                  <a:gd name="connsiteX5894" fmla="*/ 12179427 w 12187339"/>
                  <a:gd name="connsiteY5894" fmla="*/ 3183139 h 6851196"/>
                  <a:gd name="connsiteX5895" fmla="*/ 12179427 w 12187339"/>
                  <a:gd name="connsiteY5895" fmla="*/ 3421264 h 6851196"/>
                  <a:gd name="connsiteX5896" fmla="*/ 11955339 w 12187339"/>
                  <a:gd name="connsiteY5896" fmla="*/ 3176336 h 6851196"/>
                  <a:gd name="connsiteX5897" fmla="*/ 11955339 w 12187339"/>
                  <a:gd name="connsiteY5897" fmla="*/ 2938211 h 6851196"/>
                  <a:gd name="connsiteX5898" fmla="*/ 12179427 w 12187339"/>
                  <a:gd name="connsiteY5898" fmla="*/ 2938211 h 6851196"/>
                  <a:gd name="connsiteX5899" fmla="*/ 12179427 w 12187339"/>
                  <a:gd name="connsiteY5899" fmla="*/ 3176336 h 6851196"/>
                  <a:gd name="connsiteX5900" fmla="*/ 11955339 w 12187339"/>
                  <a:gd name="connsiteY5900" fmla="*/ 2931407 h 6851196"/>
                  <a:gd name="connsiteX5901" fmla="*/ 11955339 w 12187339"/>
                  <a:gd name="connsiteY5901" fmla="*/ 2693282 h 6851196"/>
                  <a:gd name="connsiteX5902" fmla="*/ 12179427 w 12187339"/>
                  <a:gd name="connsiteY5902" fmla="*/ 2693282 h 6851196"/>
                  <a:gd name="connsiteX5903" fmla="*/ 12179427 w 12187339"/>
                  <a:gd name="connsiteY5903" fmla="*/ 2931407 h 6851196"/>
                  <a:gd name="connsiteX5904" fmla="*/ 11955339 w 12187339"/>
                  <a:gd name="connsiteY5904" fmla="*/ 2686479 h 6851196"/>
                  <a:gd name="connsiteX5905" fmla="*/ 11955339 w 12187339"/>
                  <a:gd name="connsiteY5905" fmla="*/ 2449986 h 6851196"/>
                  <a:gd name="connsiteX5906" fmla="*/ 12179427 w 12187339"/>
                  <a:gd name="connsiteY5906" fmla="*/ 2449986 h 6851196"/>
                  <a:gd name="connsiteX5907" fmla="*/ 12179427 w 12187339"/>
                  <a:gd name="connsiteY5907" fmla="*/ 2686479 h 6851196"/>
                  <a:gd name="connsiteX5908" fmla="*/ 11955339 w 12187339"/>
                  <a:gd name="connsiteY5908" fmla="*/ 2443183 h 6851196"/>
                  <a:gd name="connsiteX5909" fmla="*/ 11955339 w 12187339"/>
                  <a:gd name="connsiteY5909" fmla="*/ 2205058 h 6851196"/>
                  <a:gd name="connsiteX5910" fmla="*/ 12179427 w 12187339"/>
                  <a:gd name="connsiteY5910" fmla="*/ 2205058 h 6851196"/>
                  <a:gd name="connsiteX5911" fmla="*/ 12179427 w 12187339"/>
                  <a:gd name="connsiteY5911" fmla="*/ 2443183 h 6851196"/>
                  <a:gd name="connsiteX5912" fmla="*/ 11955339 w 12187339"/>
                  <a:gd name="connsiteY5912" fmla="*/ 2198254 h 6851196"/>
                  <a:gd name="connsiteX5913" fmla="*/ 11955339 w 12187339"/>
                  <a:gd name="connsiteY5913" fmla="*/ 1960129 h 6851196"/>
                  <a:gd name="connsiteX5914" fmla="*/ 12179427 w 12187339"/>
                  <a:gd name="connsiteY5914" fmla="*/ 1960129 h 6851196"/>
                  <a:gd name="connsiteX5915" fmla="*/ 12179427 w 12187339"/>
                  <a:gd name="connsiteY5915" fmla="*/ 2198254 h 6851196"/>
                  <a:gd name="connsiteX5916" fmla="*/ 11955339 w 12187339"/>
                  <a:gd name="connsiteY5916" fmla="*/ 1953326 h 6851196"/>
                  <a:gd name="connsiteX5917" fmla="*/ 11955339 w 12187339"/>
                  <a:gd name="connsiteY5917" fmla="*/ 1716697 h 6851196"/>
                  <a:gd name="connsiteX5918" fmla="*/ 12179427 w 12187339"/>
                  <a:gd name="connsiteY5918" fmla="*/ 1716697 h 6851196"/>
                  <a:gd name="connsiteX5919" fmla="*/ 12179427 w 12187339"/>
                  <a:gd name="connsiteY5919" fmla="*/ 1953189 h 6851196"/>
                  <a:gd name="connsiteX5920" fmla="*/ 11955339 w 12187339"/>
                  <a:gd name="connsiteY5920" fmla="*/ 1710030 h 6851196"/>
                  <a:gd name="connsiteX5921" fmla="*/ 11955339 w 12187339"/>
                  <a:gd name="connsiteY5921" fmla="*/ 1471769 h 6851196"/>
                  <a:gd name="connsiteX5922" fmla="*/ 12179427 w 12187339"/>
                  <a:gd name="connsiteY5922" fmla="*/ 1471769 h 6851196"/>
                  <a:gd name="connsiteX5923" fmla="*/ 12179427 w 12187339"/>
                  <a:gd name="connsiteY5923" fmla="*/ 1709894 h 6851196"/>
                  <a:gd name="connsiteX5924" fmla="*/ 11955339 w 12187339"/>
                  <a:gd name="connsiteY5924" fmla="*/ 1465101 h 6851196"/>
                  <a:gd name="connsiteX5925" fmla="*/ 11955339 w 12187339"/>
                  <a:gd name="connsiteY5925" fmla="*/ 1226840 h 6851196"/>
                  <a:gd name="connsiteX5926" fmla="*/ 12179427 w 12187339"/>
                  <a:gd name="connsiteY5926" fmla="*/ 1226840 h 6851196"/>
                  <a:gd name="connsiteX5927" fmla="*/ 12179427 w 12187339"/>
                  <a:gd name="connsiteY5927" fmla="*/ 1464965 h 6851196"/>
                  <a:gd name="connsiteX5928" fmla="*/ 11955339 w 12187339"/>
                  <a:gd name="connsiteY5928" fmla="*/ 1220173 h 6851196"/>
                  <a:gd name="connsiteX5929" fmla="*/ 11955339 w 12187339"/>
                  <a:gd name="connsiteY5929" fmla="*/ 981911 h 6851196"/>
                  <a:gd name="connsiteX5930" fmla="*/ 12179427 w 12187339"/>
                  <a:gd name="connsiteY5930" fmla="*/ 981911 h 6851196"/>
                  <a:gd name="connsiteX5931" fmla="*/ 12179427 w 12187339"/>
                  <a:gd name="connsiteY5931" fmla="*/ 1220036 h 6851196"/>
                  <a:gd name="connsiteX5932" fmla="*/ 11955339 w 12187339"/>
                  <a:gd name="connsiteY5932" fmla="*/ 975244 h 6851196"/>
                  <a:gd name="connsiteX5933" fmla="*/ 11955339 w 12187339"/>
                  <a:gd name="connsiteY5933" fmla="*/ 738752 h 6851196"/>
                  <a:gd name="connsiteX5934" fmla="*/ 12179427 w 12187339"/>
                  <a:gd name="connsiteY5934" fmla="*/ 738752 h 6851196"/>
                  <a:gd name="connsiteX5935" fmla="*/ 12179427 w 12187339"/>
                  <a:gd name="connsiteY5935" fmla="*/ 975244 h 6851196"/>
                  <a:gd name="connsiteX5936" fmla="*/ 11955339 w 12187339"/>
                  <a:gd name="connsiteY5936" fmla="*/ 731948 h 6851196"/>
                  <a:gd name="connsiteX5937" fmla="*/ 11955339 w 12187339"/>
                  <a:gd name="connsiteY5937" fmla="*/ 493823 h 6851196"/>
                  <a:gd name="connsiteX5938" fmla="*/ 12179427 w 12187339"/>
                  <a:gd name="connsiteY5938" fmla="*/ 493823 h 6851196"/>
                  <a:gd name="connsiteX5939" fmla="*/ 12179427 w 12187339"/>
                  <a:gd name="connsiteY5939" fmla="*/ 731948 h 6851196"/>
                  <a:gd name="connsiteX5940" fmla="*/ 11955339 w 12187339"/>
                  <a:gd name="connsiteY5940" fmla="*/ 487020 h 6851196"/>
                  <a:gd name="connsiteX5941" fmla="*/ 11955339 w 12187339"/>
                  <a:gd name="connsiteY5941" fmla="*/ 248895 h 6851196"/>
                  <a:gd name="connsiteX5942" fmla="*/ 12179427 w 12187339"/>
                  <a:gd name="connsiteY5942" fmla="*/ 248895 h 6851196"/>
                  <a:gd name="connsiteX5943" fmla="*/ 12179427 w 12187339"/>
                  <a:gd name="connsiteY5943" fmla="*/ 487020 h 6851196"/>
                  <a:gd name="connsiteX5944" fmla="*/ 11955339 w 12187339"/>
                  <a:gd name="connsiteY5944" fmla="*/ 242091 h 6851196"/>
                  <a:gd name="connsiteX5945" fmla="*/ 11955339 w 12187339"/>
                  <a:gd name="connsiteY5945" fmla="*/ 5599 h 6851196"/>
                  <a:gd name="connsiteX5946" fmla="*/ 12179427 w 12187339"/>
                  <a:gd name="connsiteY5946" fmla="*/ 5599 h 6851196"/>
                  <a:gd name="connsiteX5947" fmla="*/ 12179427 w 12187339"/>
                  <a:gd name="connsiteY5947" fmla="*/ 242091 h 6851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</a:cxnLst>
                <a:rect l="l" t="t" r="r" b="b"/>
                <a:pathLst>
                  <a:path w="12187339" h="6851196">
                    <a:moveTo>
                      <a:pt x="12185574" y="2197"/>
                    </a:moveTo>
                    <a:lnTo>
                      <a:pt x="12182372" y="2197"/>
                    </a:lnTo>
                    <a:lnTo>
                      <a:pt x="12182372" y="-1205"/>
                    </a:lnTo>
                    <a:lnTo>
                      <a:pt x="1435" y="-1205"/>
                    </a:lnTo>
                    <a:lnTo>
                      <a:pt x="1435" y="2197"/>
                    </a:lnTo>
                    <a:lnTo>
                      <a:pt x="-1766" y="2197"/>
                    </a:lnTo>
                    <a:lnTo>
                      <a:pt x="-1766" y="6846590"/>
                    </a:lnTo>
                    <a:lnTo>
                      <a:pt x="1435" y="6846590"/>
                    </a:lnTo>
                    <a:lnTo>
                      <a:pt x="1435" y="6849992"/>
                    </a:lnTo>
                    <a:lnTo>
                      <a:pt x="12182372" y="6849992"/>
                    </a:lnTo>
                    <a:lnTo>
                      <a:pt x="12182372" y="6846590"/>
                    </a:lnTo>
                    <a:lnTo>
                      <a:pt x="12185574" y="6846590"/>
                    </a:lnTo>
                    <a:close/>
                    <a:moveTo>
                      <a:pt x="8728209" y="3421264"/>
                    </a:moveTo>
                    <a:lnTo>
                      <a:pt x="8504120" y="3421264"/>
                    </a:lnTo>
                    <a:lnTo>
                      <a:pt x="8504120" y="3183139"/>
                    </a:lnTo>
                    <a:lnTo>
                      <a:pt x="8728209" y="3183139"/>
                    </a:lnTo>
                    <a:close/>
                    <a:moveTo>
                      <a:pt x="8734611" y="3183139"/>
                    </a:moveTo>
                    <a:lnTo>
                      <a:pt x="8957162" y="3183139"/>
                    </a:lnTo>
                    <a:lnTo>
                      <a:pt x="8957162" y="3421264"/>
                    </a:lnTo>
                    <a:lnTo>
                      <a:pt x="8734611" y="3421264"/>
                    </a:lnTo>
                    <a:close/>
                    <a:moveTo>
                      <a:pt x="8497718" y="3421264"/>
                    </a:moveTo>
                    <a:lnTo>
                      <a:pt x="8273629" y="3421264"/>
                    </a:lnTo>
                    <a:lnTo>
                      <a:pt x="8273629" y="3183139"/>
                    </a:lnTo>
                    <a:lnTo>
                      <a:pt x="8497718" y="3183139"/>
                    </a:lnTo>
                    <a:close/>
                    <a:moveTo>
                      <a:pt x="8267227" y="3421264"/>
                    </a:moveTo>
                    <a:lnTo>
                      <a:pt x="8044420" y="3421264"/>
                    </a:lnTo>
                    <a:lnTo>
                      <a:pt x="8044420" y="3183139"/>
                    </a:lnTo>
                    <a:lnTo>
                      <a:pt x="8267227" y="3183139"/>
                    </a:lnTo>
                    <a:close/>
                    <a:moveTo>
                      <a:pt x="8038274" y="3421264"/>
                    </a:moveTo>
                    <a:lnTo>
                      <a:pt x="7814186" y="3421264"/>
                    </a:lnTo>
                    <a:lnTo>
                      <a:pt x="7814186" y="3183139"/>
                    </a:lnTo>
                    <a:lnTo>
                      <a:pt x="8038274" y="3183139"/>
                    </a:lnTo>
                    <a:close/>
                    <a:moveTo>
                      <a:pt x="7807783" y="3421264"/>
                    </a:moveTo>
                    <a:lnTo>
                      <a:pt x="7583695" y="3421264"/>
                    </a:lnTo>
                    <a:lnTo>
                      <a:pt x="7583695" y="3183139"/>
                    </a:lnTo>
                    <a:lnTo>
                      <a:pt x="7807783" y="3183139"/>
                    </a:lnTo>
                    <a:close/>
                    <a:moveTo>
                      <a:pt x="7577292" y="3421264"/>
                    </a:moveTo>
                    <a:lnTo>
                      <a:pt x="7353204" y="3421264"/>
                    </a:lnTo>
                    <a:lnTo>
                      <a:pt x="7353204" y="3183139"/>
                    </a:lnTo>
                    <a:lnTo>
                      <a:pt x="7577292" y="3183139"/>
                    </a:lnTo>
                    <a:close/>
                    <a:moveTo>
                      <a:pt x="7346801" y="3421264"/>
                    </a:moveTo>
                    <a:lnTo>
                      <a:pt x="7124247" y="3421264"/>
                    </a:lnTo>
                    <a:lnTo>
                      <a:pt x="7124247" y="3183139"/>
                    </a:lnTo>
                    <a:lnTo>
                      <a:pt x="7346801" y="3183139"/>
                    </a:lnTo>
                    <a:close/>
                    <a:moveTo>
                      <a:pt x="7117845" y="3421264"/>
                    </a:moveTo>
                    <a:lnTo>
                      <a:pt x="6893756" y="3421264"/>
                    </a:lnTo>
                    <a:lnTo>
                      <a:pt x="6893756" y="3183139"/>
                    </a:lnTo>
                    <a:lnTo>
                      <a:pt x="7117845" y="3183139"/>
                    </a:lnTo>
                    <a:close/>
                    <a:moveTo>
                      <a:pt x="6887354" y="3421264"/>
                    </a:moveTo>
                    <a:lnTo>
                      <a:pt x="6663265" y="3421264"/>
                    </a:lnTo>
                    <a:lnTo>
                      <a:pt x="6663265" y="3183139"/>
                    </a:lnTo>
                    <a:lnTo>
                      <a:pt x="6887354" y="3183139"/>
                    </a:lnTo>
                    <a:close/>
                    <a:moveTo>
                      <a:pt x="6656863" y="3421264"/>
                    </a:moveTo>
                    <a:lnTo>
                      <a:pt x="6446349" y="3421264"/>
                    </a:lnTo>
                    <a:lnTo>
                      <a:pt x="6446349" y="3183139"/>
                    </a:lnTo>
                    <a:lnTo>
                      <a:pt x="6656863" y="3183139"/>
                    </a:lnTo>
                    <a:close/>
                    <a:moveTo>
                      <a:pt x="6439946" y="3421264"/>
                    </a:moveTo>
                    <a:lnTo>
                      <a:pt x="6217136" y="3421264"/>
                    </a:lnTo>
                    <a:lnTo>
                      <a:pt x="6217136" y="3183139"/>
                    </a:lnTo>
                    <a:lnTo>
                      <a:pt x="6439690" y="3183139"/>
                    </a:lnTo>
                    <a:close/>
                    <a:moveTo>
                      <a:pt x="6210990" y="3421264"/>
                    </a:moveTo>
                    <a:lnTo>
                      <a:pt x="5986902" y="3421264"/>
                    </a:lnTo>
                    <a:lnTo>
                      <a:pt x="5986902" y="3183139"/>
                    </a:lnTo>
                    <a:lnTo>
                      <a:pt x="6210990" y="3183139"/>
                    </a:lnTo>
                    <a:close/>
                    <a:moveTo>
                      <a:pt x="5980499" y="3421264"/>
                    </a:moveTo>
                    <a:lnTo>
                      <a:pt x="5756411" y="3421264"/>
                    </a:lnTo>
                    <a:lnTo>
                      <a:pt x="5756411" y="3183139"/>
                    </a:lnTo>
                    <a:lnTo>
                      <a:pt x="5980499" y="3183139"/>
                    </a:lnTo>
                    <a:close/>
                    <a:moveTo>
                      <a:pt x="5750008" y="3421264"/>
                    </a:moveTo>
                    <a:lnTo>
                      <a:pt x="5526945" y="3421264"/>
                    </a:lnTo>
                    <a:lnTo>
                      <a:pt x="5526945" y="3183139"/>
                    </a:lnTo>
                    <a:lnTo>
                      <a:pt x="5749495" y="3183139"/>
                    </a:lnTo>
                    <a:close/>
                    <a:moveTo>
                      <a:pt x="5521055" y="3421264"/>
                    </a:moveTo>
                    <a:lnTo>
                      <a:pt x="5296454" y="3421264"/>
                    </a:lnTo>
                    <a:lnTo>
                      <a:pt x="5296454" y="3183139"/>
                    </a:lnTo>
                    <a:lnTo>
                      <a:pt x="5520542" y="3183139"/>
                    </a:lnTo>
                    <a:close/>
                    <a:moveTo>
                      <a:pt x="5290564" y="3421264"/>
                    </a:moveTo>
                    <a:lnTo>
                      <a:pt x="5065963" y="3421264"/>
                    </a:lnTo>
                    <a:lnTo>
                      <a:pt x="5065963" y="3183139"/>
                    </a:lnTo>
                    <a:lnTo>
                      <a:pt x="5290051" y="3183139"/>
                    </a:lnTo>
                    <a:close/>
                    <a:moveTo>
                      <a:pt x="5060073" y="3421264"/>
                    </a:moveTo>
                    <a:lnTo>
                      <a:pt x="4835472" y="3421264"/>
                    </a:lnTo>
                    <a:lnTo>
                      <a:pt x="4835472" y="3183139"/>
                    </a:lnTo>
                    <a:lnTo>
                      <a:pt x="5059560" y="3183139"/>
                    </a:lnTo>
                    <a:close/>
                    <a:moveTo>
                      <a:pt x="4829582" y="3421264"/>
                    </a:moveTo>
                    <a:lnTo>
                      <a:pt x="4607029" y="3421264"/>
                    </a:lnTo>
                    <a:lnTo>
                      <a:pt x="4607029" y="3183139"/>
                    </a:lnTo>
                    <a:lnTo>
                      <a:pt x="4829582" y="3183139"/>
                    </a:lnTo>
                    <a:close/>
                    <a:moveTo>
                      <a:pt x="4600626" y="3421264"/>
                    </a:moveTo>
                    <a:lnTo>
                      <a:pt x="4376538" y="3421264"/>
                    </a:lnTo>
                    <a:lnTo>
                      <a:pt x="4376538" y="3183139"/>
                    </a:lnTo>
                    <a:lnTo>
                      <a:pt x="4600626" y="3183139"/>
                    </a:lnTo>
                    <a:close/>
                    <a:moveTo>
                      <a:pt x="4370135" y="3421264"/>
                    </a:moveTo>
                    <a:lnTo>
                      <a:pt x="4146047" y="3421264"/>
                    </a:lnTo>
                    <a:lnTo>
                      <a:pt x="4146047" y="3183139"/>
                    </a:lnTo>
                    <a:lnTo>
                      <a:pt x="4370135" y="3183139"/>
                    </a:lnTo>
                    <a:close/>
                    <a:moveTo>
                      <a:pt x="4139644" y="3421264"/>
                    </a:moveTo>
                    <a:lnTo>
                      <a:pt x="3917094" y="3421264"/>
                    </a:lnTo>
                    <a:lnTo>
                      <a:pt x="3917094" y="3183139"/>
                    </a:lnTo>
                    <a:lnTo>
                      <a:pt x="4139644" y="3183139"/>
                    </a:lnTo>
                    <a:close/>
                    <a:moveTo>
                      <a:pt x="3910691" y="3421264"/>
                    </a:moveTo>
                    <a:lnTo>
                      <a:pt x="3686603" y="3421264"/>
                    </a:lnTo>
                    <a:lnTo>
                      <a:pt x="3686603" y="3183139"/>
                    </a:lnTo>
                    <a:lnTo>
                      <a:pt x="3910691" y="3183139"/>
                    </a:lnTo>
                    <a:close/>
                    <a:moveTo>
                      <a:pt x="3680200" y="3421264"/>
                    </a:moveTo>
                    <a:lnTo>
                      <a:pt x="3456112" y="3421264"/>
                    </a:lnTo>
                    <a:lnTo>
                      <a:pt x="3456112" y="3183139"/>
                    </a:lnTo>
                    <a:lnTo>
                      <a:pt x="3680200" y="3183139"/>
                    </a:lnTo>
                    <a:close/>
                    <a:moveTo>
                      <a:pt x="3449709" y="3421264"/>
                    </a:moveTo>
                    <a:lnTo>
                      <a:pt x="3225621" y="3421264"/>
                    </a:lnTo>
                    <a:lnTo>
                      <a:pt x="3225621" y="3183139"/>
                    </a:lnTo>
                    <a:lnTo>
                      <a:pt x="3449709" y="3183139"/>
                    </a:lnTo>
                    <a:close/>
                    <a:moveTo>
                      <a:pt x="3219218" y="3421264"/>
                    </a:moveTo>
                    <a:lnTo>
                      <a:pt x="2996666" y="3421264"/>
                    </a:lnTo>
                    <a:lnTo>
                      <a:pt x="2996666" y="3183139"/>
                    </a:lnTo>
                    <a:lnTo>
                      <a:pt x="3219218" y="3183139"/>
                    </a:lnTo>
                    <a:close/>
                    <a:moveTo>
                      <a:pt x="3219218" y="3428068"/>
                    </a:moveTo>
                    <a:lnTo>
                      <a:pt x="3219218" y="3664560"/>
                    </a:lnTo>
                    <a:lnTo>
                      <a:pt x="2996666" y="3664560"/>
                    </a:lnTo>
                    <a:lnTo>
                      <a:pt x="2996666" y="3428068"/>
                    </a:lnTo>
                    <a:close/>
                    <a:moveTo>
                      <a:pt x="3225621" y="3428068"/>
                    </a:moveTo>
                    <a:lnTo>
                      <a:pt x="3449709" y="3428068"/>
                    </a:lnTo>
                    <a:lnTo>
                      <a:pt x="3449709" y="3664560"/>
                    </a:lnTo>
                    <a:lnTo>
                      <a:pt x="3225621" y="3664560"/>
                    </a:lnTo>
                    <a:close/>
                    <a:moveTo>
                      <a:pt x="3456112" y="3428068"/>
                    </a:moveTo>
                    <a:lnTo>
                      <a:pt x="3680200" y="3428068"/>
                    </a:lnTo>
                    <a:lnTo>
                      <a:pt x="3680200" y="3664560"/>
                    </a:lnTo>
                    <a:lnTo>
                      <a:pt x="3456112" y="3664560"/>
                    </a:lnTo>
                    <a:close/>
                    <a:moveTo>
                      <a:pt x="3686603" y="3428068"/>
                    </a:moveTo>
                    <a:lnTo>
                      <a:pt x="3910691" y="3428068"/>
                    </a:lnTo>
                    <a:lnTo>
                      <a:pt x="3910691" y="3664560"/>
                    </a:lnTo>
                    <a:lnTo>
                      <a:pt x="3686603" y="3664560"/>
                    </a:lnTo>
                    <a:close/>
                    <a:moveTo>
                      <a:pt x="3917094" y="3428068"/>
                    </a:moveTo>
                    <a:lnTo>
                      <a:pt x="4139644" y="3428068"/>
                    </a:lnTo>
                    <a:lnTo>
                      <a:pt x="4139644" y="3664560"/>
                    </a:lnTo>
                    <a:lnTo>
                      <a:pt x="3917094" y="3664560"/>
                    </a:lnTo>
                    <a:close/>
                    <a:moveTo>
                      <a:pt x="4146047" y="3428068"/>
                    </a:moveTo>
                    <a:lnTo>
                      <a:pt x="4370135" y="3428068"/>
                    </a:lnTo>
                    <a:lnTo>
                      <a:pt x="4370135" y="3664560"/>
                    </a:lnTo>
                    <a:lnTo>
                      <a:pt x="4146047" y="3664560"/>
                    </a:lnTo>
                    <a:close/>
                    <a:moveTo>
                      <a:pt x="4376538" y="3428068"/>
                    </a:moveTo>
                    <a:lnTo>
                      <a:pt x="4600626" y="3428068"/>
                    </a:lnTo>
                    <a:lnTo>
                      <a:pt x="4600626" y="3664560"/>
                    </a:lnTo>
                    <a:lnTo>
                      <a:pt x="4376538" y="3664560"/>
                    </a:lnTo>
                    <a:close/>
                    <a:moveTo>
                      <a:pt x="4607029" y="3428068"/>
                    </a:moveTo>
                    <a:lnTo>
                      <a:pt x="4829582" y="3428068"/>
                    </a:lnTo>
                    <a:lnTo>
                      <a:pt x="4829582" y="3664560"/>
                    </a:lnTo>
                    <a:lnTo>
                      <a:pt x="4607029" y="3664560"/>
                    </a:lnTo>
                    <a:close/>
                    <a:moveTo>
                      <a:pt x="4835985" y="3428068"/>
                    </a:moveTo>
                    <a:lnTo>
                      <a:pt x="5060073" y="3428068"/>
                    </a:lnTo>
                    <a:lnTo>
                      <a:pt x="5060073" y="3664560"/>
                    </a:lnTo>
                    <a:lnTo>
                      <a:pt x="4835472" y="3664560"/>
                    </a:lnTo>
                    <a:close/>
                    <a:moveTo>
                      <a:pt x="5066476" y="3428068"/>
                    </a:moveTo>
                    <a:lnTo>
                      <a:pt x="5290564" y="3428068"/>
                    </a:lnTo>
                    <a:lnTo>
                      <a:pt x="5290564" y="3664560"/>
                    </a:lnTo>
                    <a:lnTo>
                      <a:pt x="5065963" y="3664560"/>
                    </a:lnTo>
                    <a:close/>
                    <a:moveTo>
                      <a:pt x="5296967" y="3428068"/>
                    </a:moveTo>
                    <a:lnTo>
                      <a:pt x="5521055" y="3428068"/>
                    </a:lnTo>
                    <a:lnTo>
                      <a:pt x="5521055" y="3664560"/>
                    </a:lnTo>
                    <a:lnTo>
                      <a:pt x="5296454" y="3664560"/>
                    </a:lnTo>
                    <a:close/>
                    <a:moveTo>
                      <a:pt x="5527458" y="3428068"/>
                    </a:moveTo>
                    <a:lnTo>
                      <a:pt x="5750008" y="3428068"/>
                    </a:lnTo>
                    <a:lnTo>
                      <a:pt x="5750008" y="3664560"/>
                    </a:lnTo>
                    <a:lnTo>
                      <a:pt x="5526945" y="3664560"/>
                    </a:lnTo>
                    <a:close/>
                    <a:moveTo>
                      <a:pt x="5756411" y="3428068"/>
                    </a:moveTo>
                    <a:lnTo>
                      <a:pt x="5980499" y="3428068"/>
                    </a:lnTo>
                    <a:lnTo>
                      <a:pt x="5980499" y="3664560"/>
                    </a:lnTo>
                    <a:lnTo>
                      <a:pt x="5756411" y="3664560"/>
                    </a:lnTo>
                    <a:close/>
                    <a:moveTo>
                      <a:pt x="5986902" y="3428068"/>
                    </a:moveTo>
                    <a:lnTo>
                      <a:pt x="6210990" y="3428068"/>
                    </a:lnTo>
                    <a:lnTo>
                      <a:pt x="6210990" y="3664560"/>
                    </a:lnTo>
                    <a:lnTo>
                      <a:pt x="5986902" y="3664560"/>
                    </a:lnTo>
                    <a:close/>
                    <a:moveTo>
                      <a:pt x="6217393" y="3428068"/>
                    </a:moveTo>
                    <a:lnTo>
                      <a:pt x="6439946" y="3428068"/>
                    </a:lnTo>
                    <a:lnTo>
                      <a:pt x="6439946" y="3664560"/>
                    </a:lnTo>
                    <a:lnTo>
                      <a:pt x="6217136" y="3664560"/>
                    </a:lnTo>
                    <a:close/>
                    <a:moveTo>
                      <a:pt x="6446349" y="3428068"/>
                    </a:moveTo>
                    <a:lnTo>
                      <a:pt x="6656863" y="3428068"/>
                    </a:lnTo>
                    <a:lnTo>
                      <a:pt x="6656863" y="3664560"/>
                    </a:lnTo>
                    <a:lnTo>
                      <a:pt x="6446349" y="3664560"/>
                    </a:lnTo>
                    <a:close/>
                    <a:moveTo>
                      <a:pt x="6663265" y="3428068"/>
                    </a:moveTo>
                    <a:lnTo>
                      <a:pt x="6887354" y="3428068"/>
                    </a:lnTo>
                    <a:lnTo>
                      <a:pt x="6887354" y="3664560"/>
                    </a:lnTo>
                    <a:lnTo>
                      <a:pt x="6663265" y="3664560"/>
                    </a:lnTo>
                    <a:close/>
                    <a:moveTo>
                      <a:pt x="6893756" y="3428068"/>
                    </a:moveTo>
                    <a:lnTo>
                      <a:pt x="7117845" y="3428068"/>
                    </a:lnTo>
                    <a:lnTo>
                      <a:pt x="7117845" y="3664560"/>
                    </a:lnTo>
                    <a:lnTo>
                      <a:pt x="6893756" y="3664560"/>
                    </a:lnTo>
                    <a:close/>
                    <a:moveTo>
                      <a:pt x="7124247" y="3428068"/>
                    </a:moveTo>
                    <a:lnTo>
                      <a:pt x="7346801" y="3428068"/>
                    </a:lnTo>
                    <a:lnTo>
                      <a:pt x="7346801" y="3664560"/>
                    </a:lnTo>
                    <a:lnTo>
                      <a:pt x="7124247" y="3664560"/>
                    </a:lnTo>
                    <a:close/>
                    <a:moveTo>
                      <a:pt x="7353204" y="3428068"/>
                    </a:moveTo>
                    <a:lnTo>
                      <a:pt x="7577292" y="3428068"/>
                    </a:lnTo>
                    <a:lnTo>
                      <a:pt x="7577292" y="3664560"/>
                    </a:lnTo>
                    <a:lnTo>
                      <a:pt x="7353204" y="3664560"/>
                    </a:lnTo>
                    <a:close/>
                    <a:moveTo>
                      <a:pt x="7583695" y="3428068"/>
                    </a:moveTo>
                    <a:lnTo>
                      <a:pt x="7807783" y="3428068"/>
                    </a:lnTo>
                    <a:lnTo>
                      <a:pt x="7807783" y="3664560"/>
                    </a:lnTo>
                    <a:lnTo>
                      <a:pt x="7583695" y="3664560"/>
                    </a:lnTo>
                    <a:close/>
                    <a:moveTo>
                      <a:pt x="7814186" y="3428068"/>
                    </a:moveTo>
                    <a:lnTo>
                      <a:pt x="8038274" y="3428068"/>
                    </a:lnTo>
                    <a:lnTo>
                      <a:pt x="8038274" y="3664560"/>
                    </a:lnTo>
                    <a:lnTo>
                      <a:pt x="7814186" y="3664560"/>
                    </a:lnTo>
                    <a:close/>
                    <a:moveTo>
                      <a:pt x="8044677" y="3428068"/>
                    </a:moveTo>
                    <a:lnTo>
                      <a:pt x="8267227" y="3428068"/>
                    </a:lnTo>
                    <a:lnTo>
                      <a:pt x="8267227" y="3664560"/>
                    </a:lnTo>
                    <a:lnTo>
                      <a:pt x="8044420" y="3664560"/>
                    </a:lnTo>
                    <a:close/>
                    <a:moveTo>
                      <a:pt x="8273629" y="3428068"/>
                    </a:moveTo>
                    <a:lnTo>
                      <a:pt x="8497718" y="3428068"/>
                    </a:lnTo>
                    <a:lnTo>
                      <a:pt x="8497718" y="3664560"/>
                    </a:lnTo>
                    <a:lnTo>
                      <a:pt x="8273629" y="3664560"/>
                    </a:lnTo>
                    <a:close/>
                    <a:moveTo>
                      <a:pt x="8504120" y="3428068"/>
                    </a:moveTo>
                    <a:lnTo>
                      <a:pt x="8728209" y="3428068"/>
                    </a:lnTo>
                    <a:lnTo>
                      <a:pt x="8728209" y="3664560"/>
                    </a:lnTo>
                    <a:lnTo>
                      <a:pt x="8504120" y="3664560"/>
                    </a:lnTo>
                    <a:close/>
                    <a:moveTo>
                      <a:pt x="8734611" y="3428068"/>
                    </a:moveTo>
                    <a:lnTo>
                      <a:pt x="8957162" y="3428068"/>
                    </a:lnTo>
                    <a:lnTo>
                      <a:pt x="8957162" y="3664560"/>
                    </a:lnTo>
                    <a:lnTo>
                      <a:pt x="8734611" y="3664560"/>
                    </a:lnTo>
                    <a:close/>
                    <a:moveTo>
                      <a:pt x="8963564" y="3428068"/>
                    </a:moveTo>
                    <a:lnTo>
                      <a:pt x="9187653" y="3428068"/>
                    </a:lnTo>
                    <a:lnTo>
                      <a:pt x="9187653" y="3664560"/>
                    </a:lnTo>
                    <a:lnTo>
                      <a:pt x="8963564" y="3664560"/>
                    </a:lnTo>
                    <a:close/>
                    <a:moveTo>
                      <a:pt x="8963564" y="3421264"/>
                    </a:moveTo>
                    <a:lnTo>
                      <a:pt x="8963564" y="3183139"/>
                    </a:lnTo>
                    <a:lnTo>
                      <a:pt x="9187653" y="3183139"/>
                    </a:lnTo>
                    <a:lnTo>
                      <a:pt x="9187653" y="3421264"/>
                    </a:lnTo>
                    <a:close/>
                    <a:moveTo>
                      <a:pt x="8963564" y="3176336"/>
                    </a:moveTo>
                    <a:lnTo>
                      <a:pt x="8963564" y="2938211"/>
                    </a:lnTo>
                    <a:lnTo>
                      <a:pt x="9187653" y="2938211"/>
                    </a:lnTo>
                    <a:lnTo>
                      <a:pt x="9187653" y="3176336"/>
                    </a:lnTo>
                    <a:close/>
                    <a:moveTo>
                      <a:pt x="8957162" y="3176336"/>
                    </a:moveTo>
                    <a:lnTo>
                      <a:pt x="8734611" y="3176336"/>
                    </a:lnTo>
                    <a:lnTo>
                      <a:pt x="8734611" y="2938211"/>
                    </a:lnTo>
                    <a:lnTo>
                      <a:pt x="8957162" y="2938211"/>
                    </a:lnTo>
                    <a:close/>
                    <a:moveTo>
                      <a:pt x="8728209" y="3176336"/>
                    </a:moveTo>
                    <a:lnTo>
                      <a:pt x="8504120" y="3176336"/>
                    </a:lnTo>
                    <a:lnTo>
                      <a:pt x="8504120" y="2938211"/>
                    </a:lnTo>
                    <a:lnTo>
                      <a:pt x="8728209" y="2938211"/>
                    </a:lnTo>
                    <a:close/>
                    <a:moveTo>
                      <a:pt x="8497718" y="3176336"/>
                    </a:moveTo>
                    <a:lnTo>
                      <a:pt x="8273629" y="3176336"/>
                    </a:lnTo>
                    <a:lnTo>
                      <a:pt x="8273629" y="2938211"/>
                    </a:lnTo>
                    <a:lnTo>
                      <a:pt x="8497718" y="2938211"/>
                    </a:lnTo>
                    <a:close/>
                    <a:moveTo>
                      <a:pt x="8267227" y="3176336"/>
                    </a:moveTo>
                    <a:lnTo>
                      <a:pt x="8044420" y="3176336"/>
                    </a:lnTo>
                    <a:lnTo>
                      <a:pt x="8044420" y="2938211"/>
                    </a:lnTo>
                    <a:lnTo>
                      <a:pt x="8267227" y="2938211"/>
                    </a:lnTo>
                    <a:close/>
                    <a:moveTo>
                      <a:pt x="8038274" y="3176336"/>
                    </a:moveTo>
                    <a:lnTo>
                      <a:pt x="7814186" y="3176336"/>
                    </a:lnTo>
                    <a:lnTo>
                      <a:pt x="7814186" y="2938211"/>
                    </a:lnTo>
                    <a:lnTo>
                      <a:pt x="8038274" y="2938211"/>
                    </a:lnTo>
                    <a:close/>
                    <a:moveTo>
                      <a:pt x="7807783" y="3176336"/>
                    </a:moveTo>
                    <a:lnTo>
                      <a:pt x="7583695" y="3176336"/>
                    </a:lnTo>
                    <a:lnTo>
                      <a:pt x="7583695" y="2938211"/>
                    </a:lnTo>
                    <a:lnTo>
                      <a:pt x="7807783" y="2938211"/>
                    </a:lnTo>
                    <a:close/>
                    <a:moveTo>
                      <a:pt x="7577292" y="3176336"/>
                    </a:moveTo>
                    <a:lnTo>
                      <a:pt x="7353204" y="3176336"/>
                    </a:lnTo>
                    <a:lnTo>
                      <a:pt x="7353204" y="2938211"/>
                    </a:lnTo>
                    <a:lnTo>
                      <a:pt x="7577292" y="2938211"/>
                    </a:lnTo>
                    <a:close/>
                    <a:moveTo>
                      <a:pt x="7346801" y="3176336"/>
                    </a:moveTo>
                    <a:lnTo>
                      <a:pt x="7124247" y="3176336"/>
                    </a:lnTo>
                    <a:lnTo>
                      <a:pt x="7124247" y="2938211"/>
                    </a:lnTo>
                    <a:lnTo>
                      <a:pt x="7346801" y="2938211"/>
                    </a:lnTo>
                    <a:close/>
                    <a:moveTo>
                      <a:pt x="7117845" y="3176336"/>
                    </a:moveTo>
                    <a:lnTo>
                      <a:pt x="6893756" y="3176336"/>
                    </a:lnTo>
                    <a:lnTo>
                      <a:pt x="6893756" y="2938211"/>
                    </a:lnTo>
                    <a:lnTo>
                      <a:pt x="7117845" y="2938211"/>
                    </a:lnTo>
                    <a:close/>
                    <a:moveTo>
                      <a:pt x="6887354" y="3176336"/>
                    </a:moveTo>
                    <a:lnTo>
                      <a:pt x="6663265" y="3176336"/>
                    </a:lnTo>
                    <a:lnTo>
                      <a:pt x="6663265" y="2938211"/>
                    </a:lnTo>
                    <a:lnTo>
                      <a:pt x="6887354" y="2938211"/>
                    </a:lnTo>
                    <a:close/>
                    <a:moveTo>
                      <a:pt x="6656863" y="3176336"/>
                    </a:moveTo>
                    <a:lnTo>
                      <a:pt x="6446349" y="3176336"/>
                    </a:lnTo>
                    <a:lnTo>
                      <a:pt x="6446349" y="2938211"/>
                    </a:lnTo>
                    <a:lnTo>
                      <a:pt x="6656863" y="2938211"/>
                    </a:lnTo>
                    <a:close/>
                    <a:moveTo>
                      <a:pt x="6439946" y="3176336"/>
                    </a:moveTo>
                    <a:lnTo>
                      <a:pt x="6217136" y="3176336"/>
                    </a:lnTo>
                    <a:lnTo>
                      <a:pt x="6217136" y="2938211"/>
                    </a:lnTo>
                    <a:lnTo>
                      <a:pt x="6439690" y="2938211"/>
                    </a:lnTo>
                    <a:close/>
                    <a:moveTo>
                      <a:pt x="6210990" y="3176336"/>
                    </a:moveTo>
                    <a:lnTo>
                      <a:pt x="5986902" y="3176336"/>
                    </a:lnTo>
                    <a:lnTo>
                      <a:pt x="5986902" y="2938211"/>
                    </a:lnTo>
                    <a:lnTo>
                      <a:pt x="6210990" y="2938211"/>
                    </a:lnTo>
                    <a:close/>
                    <a:moveTo>
                      <a:pt x="5980499" y="3176336"/>
                    </a:moveTo>
                    <a:lnTo>
                      <a:pt x="5756411" y="3176336"/>
                    </a:lnTo>
                    <a:lnTo>
                      <a:pt x="5756411" y="2938211"/>
                    </a:lnTo>
                    <a:lnTo>
                      <a:pt x="5980499" y="2938211"/>
                    </a:lnTo>
                    <a:close/>
                    <a:moveTo>
                      <a:pt x="5750008" y="3176336"/>
                    </a:moveTo>
                    <a:lnTo>
                      <a:pt x="5526945" y="3176336"/>
                    </a:lnTo>
                    <a:lnTo>
                      <a:pt x="5526945" y="2938211"/>
                    </a:lnTo>
                    <a:lnTo>
                      <a:pt x="5749495" y="2938211"/>
                    </a:lnTo>
                    <a:close/>
                    <a:moveTo>
                      <a:pt x="5521055" y="3176336"/>
                    </a:moveTo>
                    <a:lnTo>
                      <a:pt x="5296454" y="3176336"/>
                    </a:lnTo>
                    <a:lnTo>
                      <a:pt x="5296454" y="2938211"/>
                    </a:lnTo>
                    <a:lnTo>
                      <a:pt x="5520542" y="2938211"/>
                    </a:lnTo>
                    <a:close/>
                    <a:moveTo>
                      <a:pt x="5290564" y="3176336"/>
                    </a:moveTo>
                    <a:lnTo>
                      <a:pt x="5065963" y="3176336"/>
                    </a:lnTo>
                    <a:lnTo>
                      <a:pt x="5065963" y="2938211"/>
                    </a:lnTo>
                    <a:lnTo>
                      <a:pt x="5290051" y="2938211"/>
                    </a:lnTo>
                    <a:close/>
                    <a:moveTo>
                      <a:pt x="5060073" y="3176336"/>
                    </a:moveTo>
                    <a:lnTo>
                      <a:pt x="4835472" y="3176336"/>
                    </a:lnTo>
                    <a:lnTo>
                      <a:pt x="4835472" y="2938211"/>
                    </a:lnTo>
                    <a:lnTo>
                      <a:pt x="5059560" y="2938211"/>
                    </a:lnTo>
                    <a:close/>
                    <a:moveTo>
                      <a:pt x="4829582" y="3176336"/>
                    </a:moveTo>
                    <a:lnTo>
                      <a:pt x="4607029" y="3176336"/>
                    </a:lnTo>
                    <a:lnTo>
                      <a:pt x="4607029" y="2938211"/>
                    </a:lnTo>
                    <a:lnTo>
                      <a:pt x="4829582" y="2938211"/>
                    </a:lnTo>
                    <a:close/>
                    <a:moveTo>
                      <a:pt x="4600626" y="3176336"/>
                    </a:moveTo>
                    <a:lnTo>
                      <a:pt x="4376538" y="3176336"/>
                    </a:lnTo>
                    <a:lnTo>
                      <a:pt x="4376538" y="2938211"/>
                    </a:lnTo>
                    <a:lnTo>
                      <a:pt x="4600626" y="2938211"/>
                    </a:lnTo>
                    <a:close/>
                    <a:moveTo>
                      <a:pt x="4370135" y="3176336"/>
                    </a:moveTo>
                    <a:lnTo>
                      <a:pt x="4146047" y="3176336"/>
                    </a:lnTo>
                    <a:lnTo>
                      <a:pt x="4146047" y="2938211"/>
                    </a:lnTo>
                    <a:lnTo>
                      <a:pt x="4370135" y="2938211"/>
                    </a:lnTo>
                    <a:close/>
                    <a:moveTo>
                      <a:pt x="4139644" y="3176336"/>
                    </a:moveTo>
                    <a:lnTo>
                      <a:pt x="3917094" y="3176336"/>
                    </a:lnTo>
                    <a:lnTo>
                      <a:pt x="3917094" y="2938211"/>
                    </a:lnTo>
                    <a:lnTo>
                      <a:pt x="4139644" y="2938211"/>
                    </a:lnTo>
                    <a:close/>
                    <a:moveTo>
                      <a:pt x="3910691" y="3176336"/>
                    </a:moveTo>
                    <a:lnTo>
                      <a:pt x="3686603" y="3176336"/>
                    </a:lnTo>
                    <a:lnTo>
                      <a:pt x="3686603" y="2938211"/>
                    </a:lnTo>
                    <a:lnTo>
                      <a:pt x="3910691" y="2938211"/>
                    </a:lnTo>
                    <a:close/>
                    <a:moveTo>
                      <a:pt x="3680200" y="3176336"/>
                    </a:moveTo>
                    <a:lnTo>
                      <a:pt x="3456112" y="3176336"/>
                    </a:lnTo>
                    <a:lnTo>
                      <a:pt x="3456112" y="2938211"/>
                    </a:lnTo>
                    <a:lnTo>
                      <a:pt x="3680200" y="2938211"/>
                    </a:lnTo>
                    <a:close/>
                    <a:moveTo>
                      <a:pt x="3449709" y="3176336"/>
                    </a:moveTo>
                    <a:lnTo>
                      <a:pt x="3225621" y="3176336"/>
                    </a:lnTo>
                    <a:lnTo>
                      <a:pt x="3225621" y="2938211"/>
                    </a:lnTo>
                    <a:lnTo>
                      <a:pt x="3449709" y="2938211"/>
                    </a:lnTo>
                    <a:close/>
                    <a:moveTo>
                      <a:pt x="3219218" y="3176336"/>
                    </a:moveTo>
                    <a:lnTo>
                      <a:pt x="2996666" y="3176336"/>
                    </a:lnTo>
                    <a:lnTo>
                      <a:pt x="2996666" y="2938211"/>
                    </a:lnTo>
                    <a:lnTo>
                      <a:pt x="3219218" y="2938211"/>
                    </a:lnTo>
                    <a:close/>
                    <a:moveTo>
                      <a:pt x="2990264" y="3176336"/>
                    </a:moveTo>
                    <a:lnTo>
                      <a:pt x="2766175" y="3176336"/>
                    </a:lnTo>
                    <a:lnTo>
                      <a:pt x="2766175" y="2938211"/>
                    </a:lnTo>
                    <a:lnTo>
                      <a:pt x="2990264" y="2938211"/>
                    </a:lnTo>
                    <a:close/>
                    <a:moveTo>
                      <a:pt x="2990264" y="3183139"/>
                    </a:moveTo>
                    <a:lnTo>
                      <a:pt x="2990264" y="3421264"/>
                    </a:lnTo>
                    <a:lnTo>
                      <a:pt x="2766175" y="3421264"/>
                    </a:lnTo>
                    <a:lnTo>
                      <a:pt x="2766175" y="3183139"/>
                    </a:lnTo>
                    <a:close/>
                    <a:moveTo>
                      <a:pt x="2990264" y="3428068"/>
                    </a:moveTo>
                    <a:lnTo>
                      <a:pt x="2990264" y="3664560"/>
                    </a:lnTo>
                    <a:lnTo>
                      <a:pt x="2766175" y="3664560"/>
                    </a:lnTo>
                    <a:lnTo>
                      <a:pt x="2766175" y="3428068"/>
                    </a:lnTo>
                    <a:close/>
                    <a:moveTo>
                      <a:pt x="2990264" y="3671364"/>
                    </a:moveTo>
                    <a:lnTo>
                      <a:pt x="2990264" y="3909489"/>
                    </a:lnTo>
                    <a:lnTo>
                      <a:pt x="2766175" y="3909489"/>
                    </a:lnTo>
                    <a:lnTo>
                      <a:pt x="2766175" y="3671364"/>
                    </a:lnTo>
                    <a:close/>
                    <a:moveTo>
                      <a:pt x="2996666" y="3671364"/>
                    </a:moveTo>
                    <a:lnTo>
                      <a:pt x="3219218" y="3671364"/>
                    </a:lnTo>
                    <a:lnTo>
                      <a:pt x="3219218" y="3909489"/>
                    </a:lnTo>
                    <a:lnTo>
                      <a:pt x="2996666" y="3909489"/>
                    </a:lnTo>
                    <a:close/>
                    <a:moveTo>
                      <a:pt x="3225621" y="3671364"/>
                    </a:moveTo>
                    <a:lnTo>
                      <a:pt x="3449709" y="3671364"/>
                    </a:lnTo>
                    <a:lnTo>
                      <a:pt x="3449709" y="3909489"/>
                    </a:lnTo>
                    <a:lnTo>
                      <a:pt x="3225621" y="3909489"/>
                    </a:lnTo>
                    <a:close/>
                    <a:moveTo>
                      <a:pt x="3456112" y="3671364"/>
                    </a:moveTo>
                    <a:lnTo>
                      <a:pt x="3680200" y="3671364"/>
                    </a:lnTo>
                    <a:lnTo>
                      <a:pt x="3680200" y="3909489"/>
                    </a:lnTo>
                    <a:lnTo>
                      <a:pt x="3456112" y="3909489"/>
                    </a:lnTo>
                    <a:close/>
                    <a:moveTo>
                      <a:pt x="3686603" y="3671364"/>
                    </a:moveTo>
                    <a:lnTo>
                      <a:pt x="3910691" y="3671364"/>
                    </a:lnTo>
                    <a:lnTo>
                      <a:pt x="3910691" y="3909489"/>
                    </a:lnTo>
                    <a:lnTo>
                      <a:pt x="3686603" y="3909489"/>
                    </a:lnTo>
                    <a:close/>
                    <a:moveTo>
                      <a:pt x="3917094" y="3671364"/>
                    </a:moveTo>
                    <a:lnTo>
                      <a:pt x="4139644" y="3671364"/>
                    </a:lnTo>
                    <a:lnTo>
                      <a:pt x="4139644" y="3909489"/>
                    </a:lnTo>
                    <a:lnTo>
                      <a:pt x="3917094" y="3909489"/>
                    </a:lnTo>
                    <a:close/>
                    <a:moveTo>
                      <a:pt x="4146047" y="3671364"/>
                    </a:moveTo>
                    <a:lnTo>
                      <a:pt x="4370135" y="3671364"/>
                    </a:lnTo>
                    <a:lnTo>
                      <a:pt x="4370135" y="3909489"/>
                    </a:lnTo>
                    <a:lnTo>
                      <a:pt x="4146047" y="3909489"/>
                    </a:lnTo>
                    <a:close/>
                    <a:moveTo>
                      <a:pt x="4376538" y="3671364"/>
                    </a:moveTo>
                    <a:lnTo>
                      <a:pt x="4600626" y="3671364"/>
                    </a:lnTo>
                    <a:lnTo>
                      <a:pt x="4600626" y="3909489"/>
                    </a:lnTo>
                    <a:lnTo>
                      <a:pt x="4376538" y="3909489"/>
                    </a:lnTo>
                    <a:close/>
                    <a:moveTo>
                      <a:pt x="4607029" y="3671364"/>
                    </a:moveTo>
                    <a:lnTo>
                      <a:pt x="4829582" y="3671364"/>
                    </a:lnTo>
                    <a:lnTo>
                      <a:pt x="4829582" y="3909489"/>
                    </a:lnTo>
                    <a:lnTo>
                      <a:pt x="4607029" y="3909489"/>
                    </a:lnTo>
                    <a:close/>
                    <a:moveTo>
                      <a:pt x="4835985" y="3671364"/>
                    </a:moveTo>
                    <a:lnTo>
                      <a:pt x="5060073" y="3671364"/>
                    </a:lnTo>
                    <a:lnTo>
                      <a:pt x="5060073" y="3909489"/>
                    </a:lnTo>
                    <a:lnTo>
                      <a:pt x="4835472" y="3909489"/>
                    </a:lnTo>
                    <a:close/>
                    <a:moveTo>
                      <a:pt x="5066476" y="3671364"/>
                    </a:moveTo>
                    <a:lnTo>
                      <a:pt x="5290564" y="3671364"/>
                    </a:lnTo>
                    <a:lnTo>
                      <a:pt x="5290564" y="3909489"/>
                    </a:lnTo>
                    <a:lnTo>
                      <a:pt x="5065963" y="3909489"/>
                    </a:lnTo>
                    <a:close/>
                    <a:moveTo>
                      <a:pt x="5296967" y="3671364"/>
                    </a:moveTo>
                    <a:lnTo>
                      <a:pt x="5521055" y="3671364"/>
                    </a:lnTo>
                    <a:lnTo>
                      <a:pt x="5521055" y="3909489"/>
                    </a:lnTo>
                    <a:lnTo>
                      <a:pt x="5296454" y="3909489"/>
                    </a:lnTo>
                    <a:close/>
                    <a:moveTo>
                      <a:pt x="5527458" y="3671364"/>
                    </a:moveTo>
                    <a:lnTo>
                      <a:pt x="5750008" y="3671364"/>
                    </a:lnTo>
                    <a:lnTo>
                      <a:pt x="5750008" y="3909489"/>
                    </a:lnTo>
                    <a:lnTo>
                      <a:pt x="5526945" y="3909489"/>
                    </a:lnTo>
                    <a:close/>
                    <a:moveTo>
                      <a:pt x="5756411" y="3671364"/>
                    </a:moveTo>
                    <a:lnTo>
                      <a:pt x="5980499" y="3671364"/>
                    </a:lnTo>
                    <a:lnTo>
                      <a:pt x="5980499" y="3909489"/>
                    </a:lnTo>
                    <a:lnTo>
                      <a:pt x="5756411" y="3909489"/>
                    </a:lnTo>
                    <a:close/>
                    <a:moveTo>
                      <a:pt x="5986902" y="3671364"/>
                    </a:moveTo>
                    <a:lnTo>
                      <a:pt x="6210990" y="3671364"/>
                    </a:lnTo>
                    <a:lnTo>
                      <a:pt x="6210990" y="3909489"/>
                    </a:lnTo>
                    <a:lnTo>
                      <a:pt x="5986902" y="3909489"/>
                    </a:lnTo>
                    <a:close/>
                    <a:moveTo>
                      <a:pt x="6217393" y="3671364"/>
                    </a:moveTo>
                    <a:lnTo>
                      <a:pt x="6439946" y="3671364"/>
                    </a:lnTo>
                    <a:lnTo>
                      <a:pt x="6439946" y="3909489"/>
                    </a:lnTo>
                    <a:lnTo>
                      <a:pt x="6217136" y="3909489"/>
                    </a:lnTo>
                    <a:close/>
                    <a:moveTo>
                      <a:pt x="6446349" y="3671364"/>
                    </a:moveTo>
                    <a:lnTo>
                      <a:pt x="6656863" y="3671364"/>
                    </a:lnTo>
                    <a:lnTo>
                      <a:pt x="6656863" y="3909489"/>
                    </a:lnTo>
                    <a:lnTo>
                      <a:pt x="6446349" y="3909489"/>
                    </a:lnTo>
                    <a:close/>
                    <a:moveTo>
                      <a:pt x="6663265" y="3671364"/>
                    </a:moveTo>
                    <a:lnTo>
                      <a:pt x="6887354" y="3671364"/>
                    </a:lnTo>
                    <a:lnTo>
                      <a:pt x="6887354" y="3909489"/>
                    </a:lnTo>
                    <a:lnTo>
                      <a:pt x="6663265" y="3909489"/>
                    </a:lnTo>
                    <a:close/>
                    <a:moveTo>
                      <a:pt x="6893756" y="3671364"/>
                    </a:moveTo>
                    <a:lnTo>
                      <a:pt x="7117845" y="3671364"/>
                    </a:lnTo>
                    <a:lnTo>
                      <a:pt x="7117845" y="3909489"/>
                    </a:lnTo>
                    <a:lnTo>
                      <a:pt x="6893756" y="3909489"/>
                    </a:lnTo>
                    <a:close/>
                    <a:moveTo>
                      <a:pt x="7124247" y="3671364"/>
                    </a:moveTo>
                    <a:lnTo>
                      <a:pt x="7346801" y="3671364"/>
                    </a:lnTo>
                    <a:lnTo>
                      <a:pt x="7346801" y="3909489"/>
                    </a:lnTo>
                    <a:lnTo>
                      <a:pt x="7124247" y="3909489"/>
                    </a:lnTo>
                    <a:close/>
                    <a:moveTo>
                      <a:pt x="7353204" y="3671364"/>
                    </a:moveTo>
                    <a:lnTo>
                      <a:pt x="7577292" y="3671364"/>
                    </a:lnTo>
                    <a:lnTo>
                      <a:pt x="7577292" y="3909489"/>
                    </a:lnTo>
                    <a:lnTo>
                      <a:pt x="7353204" y="3909489"/>
                    </a:lnTo>
                    <a:close/>
                    <a:moveTo>
                      <a:pt x="7583695" y="3671364"/>
                    </a:moveTo>
                    <a:lnTo>
                      <a:pt x="7807783" y="3671364"/>
                    </a:lnTo>
                    <a:lnTo>
                      <a:pt x="7807783" y="3909489"/>
                    </a:lnTo>
                    <a:lnTo>
                      <a:pt x="7583695" y="3909489"/>
                    </a:lnTo>
                    <a:close/>
                    <a:moveTo>
                      <a:pt x="7814186" y="3671364"/>
                    </a:moveTo>
                    <a:lnTo>
                      <a:pt x="8038274" y="3671364"/>
                    </a:lnTo>
                    <a:lnTo>
                      <a:pt x="8038274" y="3909489"/>
                    </a:lnTo>
                    <a:lnTo>
                      <a:pt x="7814186" y="3909489"/>
                    </a:lnTo>
                    <a:close/>
                    <a:moveTo>
                      <a:pt x="8044677" y="3671364"/>
                    </a:moveTo>
                    <a:lnTo>
                      <a:pt x="8267227" y="3671364"/>
                    </a:lnTo>
                    <a:lnTo>
                      <a:pt x="8267227" y="3909489"/>
                    </a:lnTo>
                    <a:lnTo>
                      <a:pt x="8044420" y="3909489"/>
                    </a:lnTo>
                    <a:close/>
                    <a:moveTo>
                      <a:pt x="8273629" y="3671364"/>
                    </a:moveTo>
                    <a:lnTo>
                      <a:pt x="8497718" y="3671364"/>
                    </a:lnTo>
                    <a:lnTo>
                      <a:pt x="8497718" y="3909489"/>
                    </a:lnTo>
                    <a:lnTo>
                      <a:pt x="8273629" y="3909489"/>
                    </a:lnTo>
                    <a:close/>
                    <a:moveTo>
                      <a:pt x="8504120" y="3671364"/>
                    </a:moveTo>
                    <a:lnTo>
                      <a:pt x="8728209" y="3671364"/>
                    </a:lnTo>
                    <a:lnTo>
                      <a:pt x="8728209" y="3909489"/>
                    </a:lnTo>
                    <a:lnTo>
                      <a:pt x="8504120" y="3909489"/>
                    </a:lnTo>
                    <a:close/>
                    <a:moveTo>
                      <a:pt x="8734611" y="3671364"/>
                    </a:moveTo>
                    <a:lnTo>
                      <a:pt x="8957162" y="3671364"/>
                    </a:lnTo>
                    <a:lnTo>
                      <a:pt x="8957162" y="3909489"/>
                    </a:lnTo>
                    <a:lnTo>
                      <a:pt x="8734611" y="3909489"/>
                    </a:lnTo>
                    <a:close/>
                    <a:moveTo>
                      <a:pt x="8963564" y="3671364"/>
                    </a:moveTo>
                    <a:lnTo>
                      <a:pt x="9187653" y="3671364"/>
                    </a:lnTo>
                    <a:lnTo>
                      <a:pt x="9187653" y="3909489"/>
                    </a:lnTo>
                    <a:lnTo>
                      <a:pt x="8963564" y="3909489"/>
                    </a:lnTo>
                    <a:close/>
                    <a:moveTo>
                      <a:pt x="9194055" y="3671364"/>
                    </a:moveTo>
                    <a:lnTo>
                      <a:pt x="9418144" y="3671364"/>
                    </a:lnTo>
                    <a:lnTo>
                      <a:pt x="9418144" y="3909489"/>
                    </a:lnTo>
                    <a:lnTo>
                      <a:pt x="9194055" y="3909489"/>
                    </a:lnTo>
                    <a:close/>
                    <a:moveTo>
                      <a:pt x="9194055" y="3664560"/>
                    </a:moveTo>
                    <a:lnTo>
                      <a:pt x="9194055" y="3428068"/>
                    </a:lnTo>
                    <a:lnTo>
                      <a:pt x="9418144" y="3428068"/>
                    </a:lnTo>
                    <a:lnTo>
                      <a:pt x="9418144" y="3664560"/>
                    </a:lnTo>
                    <a:close/>
                    <a:moveTo>
                      <a:pt x="9194055" y="3421264"/>
                    </a:moveTo>
                    <a:lnTo>
                      <a:pt x="9194055" y="3183139"/>
                    </a:lnTo>
                    <a:lnTo>
                      <a:pt x="9418144" y="3183139"/>
                    </a:lnTo>
                    <a:lnTo>
                      <a:pt x="9418144" y="3421264"/>
                    </a:lnTo>
                    <a:close/>
                    <a:moveTo>
                      <a:pt x="9194055" y="3176336"/>
                    </a:moveTo>
                    <a:lnTo>
                      <a:pt x="9194055" y="2938211"/>
                    </a:lnTo>
                    <a:lnTo>
                      <a:pt x="9418144" y="2938211"/>
                    </a:lnTo>
                    <a:lnTo>
                      <a:pt x="9418144" y="3176336"/>
                    </a:lnTo>
                    <a:close/>
                    <a:moveTo>
                      <a:pt x="9194055" y="2931407"/>
                    </a:moveTo>
                    <a:lnTo>
                      <a:pt x="9194055" y="2693282"/>
                    </a:lnTo>
                    <a:lnTo>
                      <a:pt x="9418144" y="2693282"/>
                    </a:lnTo>
                    <a:lnTo>
                      <a:pt x="9418144" y="2931407"/>
                    </a:lnTo>
                    <a:close/>
                    <a:moveTo>
                      <a:pt x="9187653" y="2931407"/>
                    </a:moveTo>
                    <a:lnTo>
                      <a:pt x="8963564" y="2931407"/>
                    </a:lnTo>
                    <a:lnTo>
                      <a:pt x="8963564" y="2693282"/>
                    </a:lnTo>
                    <a:lnTo>
                      <a:pt x="9187653" y="2693282"/>
                    </a:lnTo>
                    <a:close/>
                    <a:moveTo>
                      <a:pt x="8957162" y="2931407"/>
                    </a:moveTo>
                    <a:lnTo>
                      <a:pt x="8734611" y="2931407"/>
                    </a:lnTo>
                    <a:lnTo>
                      <a:pt x="8734611" y="2693282"/>
                    </a:lnTo>
                    <a:lnTo>
                      <a:pt x="8957162" y="2693282"/>
                    </a:lnTo>
                    <a:close/>
                    <a:moveTo>
                      <a:pt x="8728209" y="2931407"/>
                    </a:moveTo>
                    <a:lnTo>
                      <a:pt x="8504120" y="2931407"/>
                    </a:lnTo>
                    <a:lnTo>
                      <a:pt x="8504120" y="2693282"/>
                    </a:lnTo>
                    <a:lnTo>
                      <a:pt x="8728209" y="2693282"/>
                    </a:lnTo>
                    <a:close/>
                    <a:moveTo>
                      <a:pt x="8497718" y="2931407"/>
                    </a:moveTo>
                    <a:lnTo>
                      <a:pt x="8273629" y="2931407"/>
                    </a:lnTo>
                    <a:lnTo>
                      <a:pt x="8273629" y="2693282"/>
                    </a:lnTo>
                    <a:lnTo>
                      <a:pt x="8497718" y="2693282"/>
                    </a:lnTo>
                    <a:close/>
                    <a:moveTo>
                      <a:pt x="8267227" y="2931407"/>
                    </a:moveTo>
                    <a:lnTo>
                      <a:pt x="8044420" y="2931407"/>
                    </a:lnTo>
                    <a:lnTo>
                      <a:pt x="8044420" y="2693282"/>
                    </a:lnTo>
                    <a:lnTo>
                      <a:pt x="8267227" y="2693282"/>
                    </a:lnTo>
                    <a:close/>
                    <a:moveTo>
                      <a:pt x="8038274" y="2931407"/>
                    </a:moveTo>
                    <a:lnTo>
                      <a:pt x="7814186" y="2931407"/>
                    </a:lnTo>
                    <a:lnTo>
                      <a:pt x="7814186" y="2693282"/>
                    </a:lnTo>
                    <a:lnTo>
                      <a:pt x="8038274" y="2693282"/>
                    </a:lnTo>
                    <a:close/>
                    <a:moveTo>
                      <a:pt x="7807783" y="2931407"/>
                    </a:moveTo>
                    <a:lnTo>
                      <a:pt x="7583695" y="2931407"/>
                    </a:lnTo>
                    <a:lnTo>
                      <a:pt x="7583695" y="2693282"/>
                    </a:lnTo>
                    <a:lnTo>
                      <a:pt x="7807783" y="2693282"/>
                    </a:lnTo>
                    <a:close/>
                    <a:moveTo>
                      <a:pt x="7577292" y="2931407"/>
                    </a:moveTo>
                    <a:lnTo>
                      <a:pt x="7353204" y="2931407"/>
                    </a:lnTo>
                    <a:lnTo>
                      <a:pt x="7353204" y="2693282"/>
                    </a:lnTo>
                    <a:lnTo>
                      <a:pt x="7577292" y="2693282"/>
                    </a:lnTo>
                    <a:close/>
                    <a:moveTo>
                      <a:pt x="7346801" y="2931407"/>
                    </a:moveTo>
                    <a:lnTo>
                      <a:pt x="7124247" y="2931407"/>
                    </a:lnTo>
                    <a:lnTo>
                      <a:pt x="7124247" y="2693282"/>
                    </a:lnTo>
                    <a:lnTo>
                      <a:pt x="7346801" y="2693282"/>
                    </a:lnTo>
                    <a:close/>
                    <a:moveTo>
                      <a:pt x="7117845" y="2931407"/>
                    </a:moveTo>
                    <a:lnTo>
                      <a:pt x="6893756" y="2931407"/>
                    </a:lnTo>
                    <a:lnTo>
                      <a:pt x="6893756" y="2693282"/>
                    </a:lnTo>
                    <a:lnTo>
                      <a:pt x="7117845" y="2693282"/>
                    </a:lnTo>
                    <a:close/>
                    <a:moveTo>
                      <a:pt x="6887354" y="2931407"/>
                    </a:moveTo>
                    <a:lnTo>
                      <a:pt x="6663265" y="2931407"/>
                    </a:lnTo>
                    <a:lnTo>
                      <a:pt x="6663265" y="2693282"/>
                    </a:lnTo>
                    <a:lnTo>
                      <a:pt x="6887354" y="2693282"/>
                    </a:lnTo>
                    <a:close/>
                    <a:moveTo>
                      <a:pt x="6656863" y="2931407"/>
                    </a:moveTo>
                    <a:lnTo>
                      <a:pt x="6446349" y="2931407"/>
                    </a:lnTo>
                    <a:lnTo>
                      <a:pt x="6446349" y="2693282"/>
                    </a:lnTo>
                    <a:lnTo>
                      <a:pt x="6656863" y="2693282"/>
                    </a:lnTo>
                    <a:close/>
                    <a:moveTo>
                      <a:pt x="6439946" y="2931407"/>
                    </a:moveTo>
                    <a:lnTo>
                      <a:pt x="6217136" y="2931407"/>
                    </a:lnTo>
                    <a:lnTo>
                      <a:pt x="6217136" y="2693282"/>
                    </a:lnTo>
                    <a:lnTo>
                      <a:pt x="6439690" y="2693282"/>
                    </a:lnTo>
                    <a:close/>
                    <a:moveTo>
                      <a:pt x="6210990" y="2931407"/>
                    </a:moveTo>
                    <a:lnTo>
                      <a:pt x="5986902" y="2931407"/>
                    </a:lnTo>
                    <a:lnTo>
                      <a:pt x="5986902" y="2693282"/>
                    </a:lnTo>
                    <a:lnTo>
                      <a:pt x="6210990" y="2693282"/>
                    </a:lnTo>
                    <a:close/>
                    <a:moveTo>
                      <a:pt x="5980499" y="2931407"/>
                    </a:moveTo>
                    <a:lnTo>
                      <a:pt x="5756411" y="2931407"/>
                    </a:lnTo>
                    <a:lnTo>
                      <a:pt x="5756411" y="2693282"/>
                    </a:lnTo>
                    <a:lnTo>
                      <a:pt x="5980499" y="2693282"/>
                    </a:lnTo>
                    <a:close/>
                    <a:moveTo>
                      <a:pt x="5750008" y="2931407"/>
                    </a:moveTo>
                    <a:lnTo>
                      <a:pt x="5526945" y="2931407"/>
                    </a:lnTo>
                    <a:lnTo>
                      <a:pt x="5526945" y="2693282"/>
                    </a:lnTo>
                    <a:lnTo>
                      <a:pt x="5749495" y="2693282"/>
                    </a:lnTo>
                    <a:close/>
                    <a:moveTo>
                      <a:pt x="5521055" y="2931407"/>
                    </a:moveTo>
                    <a:lnTo>
                      <a:pt x="5296454" y="2931407"/>
                    </a:lnTo>
                    <a:lnTo>
                      <a:pt x="5296454" y="2693282"/>
                    </a:lnTo>
                    <a:lnTo>
                      <a:pt x="5520542" y="2693282"/>
                    </a:lnTo>
                    <a:close/>
                    <a:moveTo>
                      <a:pt x="5290564" y="2931407"/>
                    </a:moveTo>
                    <a:lnTo>
                      <a:pt x="5065963" y="2931407"/>
                    </a:lnTo>
                    <a:lnTo>
                      <a:pt x="5065963" y="2693282"/>
                    </a:lnTo>
                    <a:lnTo>
                      <a:pt x="5290051" y="2693282"/>
                    </a:lnTo>
                    <a:close/>
                    <a:moveTo>
                      <a:pt x="5060073" y="2931407"/>
                    </a:moveTo>
                    <a:lnTo>
                      <a:pt x="4835472" y="2931407"/>
                    </a:lnTo>
                    <a:lnTo>
                      <a:pt x="4835472" y="2693282"/>
                    </a:lnTo>
                    <a:lnTo>
                      <a:pt x="5059560" y="2693282"/>
                    </a:lnTo>
                    <a:close/>
                    <a:moveTo>
                      <a:pt x="4829582" y="2931407"/>
                    </a:moveTo>
                    <a:lnTo>
                      <a:pt x="4607029" y="2931407"/>
                    </a:lnTo>
                    <a:lnTo>
                      <a:pt x="4607029" y="2693282"/>
                    </a:lnTo>
                    <a:lnTo>
                      <a:pt x="4829582" y="2693282"/>
                    </a:lnTo>
                    <a:close/>
                    <a:moveTo>
                      <a:pt x="4600626" y="2931407"/>
                    </a:moveTo>
                    <a:lnTo>
                      <a:pt x="4376538" y="2931407"/>
                    </a:lnTo>
                    <a:lnTo>
                      <a:pt x="4376538" y="2693282"/>
                    </a:lnTo>
                    <a:lnTo>
                      <a:pt x="4600626" y="2693282"/>
                    </a:lnTo>
                    <a:close/>
                    <a:moveTo>
                      <a:pt x="4370135" y="2931407"/>
                    </a:moveTo>
                    <a:lnTo>
                      <a:pt x="4146047" y="2931407"/>
                    </a:lnTo>
                    <a:lnTo>
                      <a:pt x="4146047" y="2693282"/>
                    </a:lnTo>
                    <a:lnTo>
                      <a:pt x="4370135" y="2693282"/>
                    </a:lnTo>
                    <a:close/>
                    <a:moveTo>
                      <a:pt x="4139644" y="2931407"/>
                    </a:moveTo>
                    <a:lnTo>
                      <a:pt x="3917094" y="2931407"/>
                    </a:lnTo>
                    <a:lnTo>
                      <a:pt x="3917094" y="2693282"/>
                    </a:lnTo>
                    <a:lnTo>
                      <a:pt x="4139644" y="2693282"/>
                    </a:lnTo>
                    <a:close/>
                    <a:moveTo>
                      <a:pt x="3910691" y="2931407"/>
                    </a:moveTo>
                    <a:lnTo>
                      <a:pt x="3686603" y="2931407"/>
                    </a:lnTo>
                    <a:lnTo>
                      <a:pt x="3686603" y="2693282"/>
                    </a:lnTo>
                    <a:lnTo>
                      <a:pt x="3910691" y="2693282"/>
                    </a:lnTo>
                    <a:close/>
                    <a:moveTo>
                      <a:pt x="3680200" y="2931407"/>
                    </a:moveTo>
                    <a:lnTo>
                      <a:pt x="3456112" y="2931407"/>
                    </a:lnTo>
                    <a:lnTo>
                      <a:pt x="3456112" y="2693282"/>
                    </a:lnTo>
                    <a:lnTo>
                      <a:pt x="3680200" y="2693282"/>
                    </a:lnTo>
                    <a:close/>
                    <a:moveTo>
                      <a:pt x="3449709" y="2931407"/>
                    </a:moveTo>
                    <a:lnTo>
                      <a:pt x="3225621" y="2931407"/>
                    </a:lnTo>
                    <a:lnTo>
                      <a:pt x="3225621" y="2693282"/>
                    </a:lnTo>
                    <a:lnTo>
                      <a:pt x="3449709" y="2693282"/>
                    </a:lnTo>
                    <a:close/>
                    <a:moveTo>
                      <a:pt x="3219218" y="2931407"/>
                    </a:moveTo>
                    <a:lnTo>
                      <a:pt x="2996666" y="2931407"/>
                    </a:lnTo>
                    <a:lnTo>
                      <a:pt x="2996666" y="2693282"/>
                    </a:lnTo>
                    <a:lnTo>
                      <a:pt x="3219218" y="2693282"/>
                    </a:lnTo>
                    <a:close/>
                    <a:moveTo>
                      <a:pt x="2990264" y="2931407"/>
                    </a:moveTo>
                    <a:lnTo>
                      <a:pt x="2766175" y="2931407"/>
                    </a:lnTo>
                    <a:lnTo>
                      <a:pt x="2766175" y="2693282"/>
                    </a:lnTo>
                    <a:lnTo>
                      <a:pt x="2990264" y="2693282"/>
                    </a:lnTo>
                    <a:close/>
                    <a:moveTo>
                      <a:pt x="2759773" y="2931407"/>
                    </a:moveTo>
                    <a:lnTo>
                      <a:pt x="2535684" y="2931407"/>
                    </a:lnTo>
                    <a:lnTo>
                      <a:pt x="2535684" y="2693282"/>
                    </a:lnTo>
                    <a:lnTo>
                      <a:pt x="2759773" y="2693282"/>
                    </a:lnTo>
                    <a:close/>
                    <a:moveTo>
                      <a:pt x="2759773" y="2938211"/>
                    </a:moveTo>
                    <a:lnTo>
                      <a:pt x="2759773" y="3176336"/>
                    </a:lnTo>
                    <a:lnTo>
                      <a:pt x="2535684" y="3176336"/>
                    </a:lnTo>
                    <a:lnTo>
                      <a:pt x="2535684" y="2938211"/>
                    </a:lnTo>
                    <a:close/>
                    <a:moveTo>
                      <a:pt x="2759773" y="3183139"/>
                    </a:moveTo>
                    <a:lnTo>
                      <a:pt x="2759773" y="3421264"/>
                    </a:lnTo>
                    <a:lnTo>
                      <a:pt x="2535684" y="3421264"/>
                    </a:lnTo>
                    <a:lnTo>
                      <a:pt x="2535684" y="3183139"/>
                    </a:lnTo>
                    <a:close/>
                    <a:moveTo>
                      <a:pt x="2759773" y="3428068"/>
                    </a:moveTo>
                    <a:lnTo>
                      <a:pt x="2759773" y="3664560"/>
                    </a:lnTo>
                    <a:lnTo>
                      <a:pt x="2535684" y="3664560"/>
                    </a:lnTo>
                    <a:lnTo>
                      <a:pt x="2535684" y="3428068"/>
                    </a:lnTo>
                    <a:close/>
                    <a:moveTo>
                      <a:pt x="2759773" y="3671364"/>
                    </a:moveTo>
                    <a:lnTo>
                      <a:pt x="2759773" y="3909489"/>
                    </a:lnTo>
                    <a:lnTo>
                      <a:pt x="2535684" y="3909489"/>
                    </a:lnTo>
                    <a:lnTo>
                      <a:pt x="2535684" y="3671364"/>
                    </a:lnTo>
                    <a:close/>
                    <a:moveTo>
                      <a:pt x="2759773" y="3916292"/>
                    </a:moveTo>
                    <a:lnTo>
                      <a:pt x="2759773" y="4154417"/>
                    </a:lnTo>
                    <a:lnTo>
                      <a:pt x="2535684" y="4154417"/>
                    </a:lnTo>
                    <a:lnTo>
                      <a:pt x="2535684" y="3916292"/>
                    </a:lnTo>
                    <a:close/>
                    <a:moveTo>
                      <a:pt x="2766175" y="3916292"/>
                    </a:moveTo>
                    <a:lnTo>
                      <a:pt x="2990264" y="3916292"/>
                    </a:lnTo>
                    <a:lnTo>
                      <a:pt x="2990264" y="4154417"/>
                    </a:lnTo>
                    <a:lnTo>
                      <a:pt x="2766175" y="4154417"/>
                    </a:lnTo>
                    <a:close/>
                    <a:moveTo>
                      <a:pt x="2996666" y="3916292"/>
                    </a:moveTo>
                    <a:lnTo>
                      <a:pt x="3219218" y="3916292"/>
                    </a:lnTo>
                    <a:lnTo>
                      <a:pt x="3219218" y="4154417"/>
                    </a:lnTo>
                    <a:lnTo>
                      <a:pt x="2996666" y="4154417"/>
                    </a:lnTo>
                    <a:close/>
                    <a:moveTo>
                      <a:pt x="3225621" y="3916292"/>
                    </a:moveTo>
                    <a:lnTo>
                      <a:pt x="3449709" y="3916292"/>
                    </a:lnTo>
                    <a:lnTo>
                      <a:pt x="3449709" y="4154417"/>
                    </a:lnTo>
                    <a:lnTo>
                      <a:pt x="3225621" y="4154417"/>
                    </a:lnTo>
                    <a:close/>
                    <a:moveTo>
                      <a:pt x="3456112" y="3916292"/>
                    </a:moveTo>
                    <a:lnTo>
                      <a:pt x="3680200" y="3916292"/>
                    </a:lnTo>
                    <a:lnTo>
                      <a:pt x="3680200" y="4154417"/>
                    </a:lnTo>
                    <a:lnTo>
                      <a:pt x="3456112" y="4154417"/>
                    </a:lnTo>
                    <a:close/>
                    <a:moveTo>
                      <a:pt x="3686603" y="3916292"/>
                    </a:moveTo>
                    <a:lnTo>
                      <a:pt x="3910691" y="3916292"/>
                    </a:lnTo>
                    <a:lnTo>
                      <a:pt x="3910691" y="4154417"/>
                    </a:lnTo>
                    <a:lnTo>
                      <a:pt x="3686603" y="4154417"/>
                    </a:lnTo>
                    <a:close/>
                    <a:moveTo>
                      <a:pt x="3917094" y="3916292"/>
                    </a:moveTo>
                    <a:lnTo>
                      <a:pt x="4139644" y="3916292"/>
                    </a:lnTo>
                    <a:lnTo>
                      <a:pt x="4139644" y="4154417"/>
                    </a:lnTo>
                    <a:lnTo>
                      <a:pt x="3917094" y="4154417"/>
                    </a:lnTo>
                    <a:close/>
                    <a:moveTo>
                      <a:pt x="4146047" y="3916292"/>
                    </a:moveTo>
                    <a:lnTo>
                      <a:pt x="4370135" y="3916292"/>
                    </a:lnTo>
                    <a:lnTo>
                      <a:pt x="4370135" y="4154417"/>
                    </a:lnTo>
                    <a:lnTo>
                      <a:pt x="4146047" y="4154417"/>
                    </a:lnTo>
                    <a:close/>
                    <a:moveTo>
                      <a:pt x="4376538" y="3916292"/>
                    </a:moveTo>
                    <a:lnTo>
                      <a:pt x="4600626" y="3916292"/>
                    </a:lnTo>
                    <a:lnTo>
                      <a:pt x="4600626" y="4154417"/>
                    </a:lnTo>
                    <a:lnTo>
                      <a:pt x="4376538" y="4154417"/>
                    </a:lnTo>
                    <a:close/>
                    <a:moveTo>
                      <a:pt x="4607029" y="3916292"/>
                    </a:moveTo>
                    <a:lnTo>
                      <a:pt x="4829582" y="3916292"/>
                    </a:lnTo>
                    <a:lnTo>
                      <a:pt x="4829582" y="4154417"/>
                    </a:lnTo>
                    <a:lnTo>
                      <a:pt x="4607029" y="4154417"/>
                    </a:lnTo>
                    <a:close/>
                    <a:moveTo>
                      <a:pt x="4835985" y="3916292"/>
                    </a:moveTo>
                    <a:lnTo>
                      <a:pt x="5060073" y="3916292"/>
                    </a:lnTo>
                    <a:lnTo>
                      <a:pt x="5060073" y="4154417"/>
                    </a:lnTo>
                    <a:lnTo>
                      <a:pt x="4835472" y="4154417"/>
                    </a:lnTo>
                    <a:close/>
                    <a:moveTo>
                      <a:pt x="5066476" y="3916292"/>
                    </a:moveTo>
                    <a:lnTo>
                      <a:pt x="5290564" y="3916292"/>
                    </a:lnTo>
                    <a:lnTo>
                      <a:pt x="5290564" y="4154417"/>
                    </a:lnTo>
                    <a:lnTo>
                      <a:pt x="5065963" y="4154417"/>
                    </a:lnTo>
                    <a:close/>
                    <a:moveTo>
                      <a:pt x="5296967" y="3916292"/>
                    </a:moveTo>
                    <a:lnTo>
                      <a:pt x="5521055" y="3916292"/>
                    </a:lnTo>
                    <a:lnTo>
                      <a:pt x="5521055" y="4154417"/>
                    </a:lnTo>
                    <a:lnTo>
                      <a:pt x="5296454" y="4154417"/>
                    </a:lnTo>
                    <a:close/>
                    <a:moveTo>
                      <a:pt x="5527458" y="3916292"/>
                    </a:moveTo>
                    <a:lnTo>
                      <a:pt x="5750008" y="3916292"/>
                    </a:lnTo>
                    <a:lnTo>
                      <a:pt x="5750008" y="4154417"/>
                    </a:lnTo>
                    <a:lnTo>
                      <a:pt x="5526945" y="4154417"/>
                    </a:lnTo>
                    <a:close/>
                    <a:moveTo>
                      <a:pt x="5756411" y="3916292"/>
                    </a:moveTo>
                    <a:lnTo>
                      <a:pt x="5980499" y="3916292"/>
                    </a:lnTo>
                    <a:lnTo>
                      <a:pt x="5980499" y="4154417"/>
                    </a:lnTo>
                    <a:lnTo>
                      <a:pt x="5756411" y="4154417"/>
                    </a:lnTo>
                    <a:close/>
                    <a:moveTo>
                      <a:pt x="5986902" y="3916292"/>
                    </a:moveTo>
                    <a:lnTo>
                      <a:pt x="6210990" y="3916292"/>
                    </a:lnTo>
                    <a:lnTo>
                      <a:pt x="6210990" y="4154417"/>
                    </a:lnTo>
                    <a:lnTo>
                      <a:pt x="5986902" y="4154417"/>
                    </a:lnTo>
                    <a:close/>
                    <a:moveTo>
                      <a:pt x="6217393" y="3916292"/>
                    </a:moveTo>
                    <a:lnTo>
                      <a:pt x="6439946" y="3916292"/>
                    </a:lnTo>
                    <a:lnTo>
                      <a:pt x="6439946" y="4154417"/>
                    </a:lnTo>
                    <a:lnTo>
                      <a:pt x="6217136" y="4154417"/>
                    </a:lnTo>
                    <a:close/>
                    <a:moveTo>
                      <a:pt x="6446349" y="3916292"/>
                    </a:moveTo>
                    <a:lnTo>
                      <a:pt x="6656863" y="3916292"/>
                    </a:lnTo>
                    <a:lnTo>
                      <a:pt x="6656863" y="4154417"/>
                    </a:lnTo>
                    <a:lnTo>
                      <a:pt x="6446349" y="4154417"/>
                    </a:lnTo>
                    <a:close/>
                    <a:moveTo>
                      <a:pt x="6663265" y="3916292"/>
                    </a:moveTo>
                    <a:lnTo>
                      <a:pt x="6887354" y="3916292"/>
                    </a:lnTo>
                    <a:lnTo>
                      <a:pt x="6887354" y="4154417"/>
                    </a:lnTo>
                    <a:lnTo>
                      <a:pt x="6663265" y="4154417"/>
                    </a:lnTo>
                    <a:close/>
                    <a:moveTo>
                      <a:pt x="6893756" y="3916292"/>
                    </a:moveTo>
                    <a:lnTo>
                      <a:pt x="7117845" y="3916292"/>
                    </a:lnTo>
                    <a:lnTo>
                      <a:pt x="7117845" y="4154417"/>
                    </a:lnTo>
                    <a:lnTo>
                      <a:pt x="6893756" y="4154417"/>
                    </a:lnTo>
                    <a:close/>
                    <a:moveTo>
                      <a:pt x="7124247" y="3916292"/>
                    </a:moveTo>
                    <a:lnTo>
                      <a:pt x="7346801" y="3916292"/>
                    </a:lnTo>
                    <a:lnTo>
                      <a:pt x="7346801" y="4154417"/>
                    </a:lnTo>
                    <a:lnTo>
                      <a:pt x="7124247" y="4154417"/>
                    </a:lnTo>
                    <a:close/>
                    <a:moveTo>
                      <a:pt x="7353204" y="3916292"/>
                    </a:moveTo>
                    <a:lnTo>
                      <a:pt x="7577292" y="3916292"/>
                    </a:lnTo>
                    <a:lnTo>
                      <a:pt x="7577292" y="4154417"/>
                    </a:lnTo>
                    <a:lnTo>
                      <a:pt x="7353204" y="4154417"/>
                    </a:lnTo>
                    <a:close/>
                    <a:moveTo>
                      <a:pt x="7583695" y="3916292"/>
                    </a:moveTo>
                    <a:lnTo>
                      <a:pt x="7807783" y="3916292"/>
                    </a:lnTo>
                    <a:lnTo>
                      <a:pt x="7807783" y="4154417"/>
                    </a:lnTo>
                    <a:lnTo>
                      <a:pt x="7583695" y="4154417"/>
                    </a:lnTo>
                    <a:close/>
                    <a:moveTo>
                      <a:pt x="7814186" y="3916292"/>
                    </a:moveTo>
                    <a:lnTo>
                      <a:pt x="8038274" y="3916292"/>
                    </a:lnTo>
                    <a:lnTo>
                      <a:pt x="8038274" y="4154417"/>
                    </a:lnTo>
                    <a:lnTo>
                      <a:pt x="7814186" y="4154417"/>
                    </a:lnTo>
                    <a:close/>
                    <a:moveTo>
                      <a:pt x="8044677" y="3916292"/>
                    </a:moveTo>
                    <a:lnTo>
                      <a:pt x="8267227" y="3916292"/>
                    </a:lnTo>
                    <a:lnTo>
                      <a:pt x="8267227" y="4154417"/>
                    </a:lnTo>
                    <a:lnTo>
                      <a:pt x="8044420" y="4154417"/>
                    </a:lnTo>
                    <a:close/>
                    <a:moveTo>
                      <a:pt x="8273629" y="3916292"/>
                    </a:moveTo>
                    <a:lnTo>
                      <a:pt x="8497718" y="3916292"/>
                    </a:lnTo>
                    <a:lnTo>
                      <a:pt x="8497718" y="4154417"/>
                    </a:lnTo>
                    <a:lnTo>
                      <a:pt x="8273629" y="4154417"/>
                    </a:lnTo>
                    <a:close/>
                    <a:moveTo>
                      <a:pt x="8504120" y="3916292"/>
                    </a:moveTo>
                    <a:lnTo>
                      <a:pt x="8728209" y="3916292"/>
                    </a:lnTo>
                    <a:lnTo>
                      <a:pt x="8728209" y="4154417"/>
                    </a:lnTo>
                    <a:lnTo>
                      <a:pt x="8504120" y="4154417"/>
                    </a:lnTo>
                    <a:close/>
                    <a:moveTo>
                      <a:pt x="8734611" y="3916292"/>
                    </a:moveTo>
                    <a:lnTo>
                      <a:pt x="8957162" y="3916292"/>
                    </a:lnTo>
                    <a:lnTo>
                      <a:pt x="8957162" y="4154417"/>
                    </a:lnTo>
                    <a:lnTo>
                      <a:pt x="8734611" y="4154417"/>
                    </a:lnTo>
                    <a:close/>
                    <a:moveTo>
                      <a:pt x="8963564" y="3916292"/>
                    </a:moveTo>
                    <a:lnTo>
                      <a:pt x="9187653" y="3916292"/>
                    </a:lnTo>
                    <a:lnTo>
                      <a:pt x="9187653" y="4154417"/>
                    </a:lnTo>
                    <a:lnTo>
                      <a:pt x="8963564" y="4154417"/>
                    </a:lnTo>
                    <a:close/>
                    <a:moveTo>
                      <a:pt x="9194055" y="3916292"/>
                    </a:moveTo>
                    <a:lnTo>
                      <a:pt x="9418144" y="3916292"/>
                    </a:lnTo>
                    <a:lnTo>
                      <a:pt x="9418144" y="4154417"/>
                    </a:lnTo>
                    <a:lnTo>
                      <a:pt x="9194055" y="4154417"/>
                    </a:lnTo>
                    <a:close/>
                    <a:moveTo>
                      <a:pt x="9424546" y="3916292"/>
                    </a:moveTo>
                    <a:lnTo>
                      <a:pt x="9648635" y="3916292"/>
                    </a:lnTo>
                    <a:lnTo>
                      <a:pt x="9648635" y="4154417"/>
                    </a:lnTo>
                    <a:lnTo>
                      <a:pt x="9424546" y="4154417"/>
                    </a:lnTo>
                    <a:close/>
                    <a:moveTo>
                      <a:pt x="9424546" y="3909489"/>
                    </a:moveTo>
                    <a:lnTo>
                      <a:pt x="9424546" y="3671364"/>
                    </a:lnTo>
                    <a:lnTo>
                      <a:pt x="9648635" y="3671364"/>
                    </a:lnTo>
                    <a:lnTo>
                      <a:pt x="9648635" y="3909489"/>
                    </a:lnTo>
                    <a:close/>
                    <a:moveTo>
                      <a:pt x="9424546" y="3664560"/>
                    </a:moveTo>
                    <a:lnTo>
                      <a:pt x="9424546" y="3428068"/>
                    </a:lnTo>
                    <a:lnTo>
                      <a:pt x="9648635" y="3428068"/>
                    </a:lnTo>
                    <a:lnTo>
                      <a:pt x="9648635" y="3664560"/>
                    </a:lnTo>
                    <a:close/>
                    <a:moveTo>
                      <a:pt x="9424546" y="3421264"/>
                    </a:moveTo>
                    <a:lnTo>
                      <a:pt x="9424546" y="3183139"/>
                    </a:lnTo>
                    <a:lnTo>
                      <a:pt x="9648635" y="3183139"/>
                    </a:lnTo>
                    <a:lnTo>
                      <a:pt x="9648635" y="3421264"/>
                    </a:lnTo>
                    <a:close/>
                    <a:moveTo>
                      <a:pt x="9424546" y="3176336"/>
                    </a:moveTo>
                    <a:lnTo>
                      <a:pt x="9424546" y="2938211"/>
                    </a:lnTo>
                    <a:lnTo>
                      <a:pt x="9648635" y="2938211"/>
                    </a:lnTo>
                    <a:lnTo>
                      <a:pt x="9648635" y="3176336"/>
                    </a:lnTo>
                    <a:close/>
                    <a:moveTo>
                      <a:pt x="9424546" y="2931407"/>
                    </a:moveTo>
                    <a:lnTo>
                      <a:pt x="9424546" y="2693282"/>
                    </a:lnTo>
                    <a:lnTo>
                      <a:pt x="9648635" y="2693282"/>
                    </a:lnTo>
                    <a:lnTo>
                      <a:pt x="9648635" y="2931407"/>
                    </a:lnTo>
                    <a:close/>
                    <a:moveTo>
                      <a:pt x="9424546" y="2686479"/>
                    </a:moveTo>
                    <a:lnTo>
                      <a:pt x="9424546" y="2449986"/>
                    </a:lnTo>
                    <a:lnTo>
                      <a:pt x="9648635" y="2449986"/>
                    </a:lnTo>
                    <a:lnTo>
                      <a:pt x="9648635" y="2686479"/>
                    </a:lnTo>
                    <a:close/>
                    <a:moveTo>
                      <a:pt x="9418144" y="2686479"/>
                    </a:moveTo>
                    <a:lnTo>
                      <a:pt x="9194055" y="2686479"/>
                    </a:lnTo>
                    <a:lnTo>
                      <a:pt x="9194055" y="2449986"/>
                    </a:lnTo>
                    <a:lnTo>
                      <a:pt x="9418144" y="2449986"/>
                    </a:lnTo>
                    <a:close/>
                    <a:moveTo>
                      <a:pt x="9187653" y="2686479"/>
                    </a:moveTo>
                    <a:lnTo>
                      <a:pt x="8963564" y="2686479"/>
                    </a:lnTo>
                    <a:lnTo>
                      <a:pt x="8963564" y="2449986"/>
                    </a:lnTo>
                    <a:lnTo>
                      <a:pt x="9187653" y="2449986"/>
                    </a:lnTo>
                    <a:close/>
                    <a:moveTo>
                      <a:pt x="8957162" y="2686479"/>
                    </a:moveTo>
                    <a:lnTo>
                      <a:pt x="8734611" y="2686479"/>
                    </a:lnTo>
                    <a:lnTo>
                      <a:pt x="8734611" y="2449986"/>
                    </a:lnTo>
                    <a:lnTo>
                      <a:pt x="8957162" y="2449986"/>
                    </a:lnTo>
                    <a:close/>
                    <a:moveTo>
                      <a:pt x="8728209" y="2686479"/>
                    </a:moveTo>
                    <a:lnTo>
                      <a:pt x="8504120" y="2686479"/>
                    </a:lnTo>
                    <a:lnTo>
                      <a:pt x="8504120" y="2449986"/>
                    </a:lnTo>
                    <a:lnTo>
                      <a:pt x="8728209" y="2449986"/>
                    </a:lnTo>
                    <a:close/>
                    <a:moveTo>
                      <a:pt x="8497718" y="2686479"/>
                    </a:moveTo>
                    <a:lnTo>
                      <a:pt x="8273629" y="2686479"/>
                    </a:lnTo>
                    <a:lnTo>
                      <a:pt x="8273629" y="2449986"/>
                    </a:lnTo>
                    <a:lnTo>
                      <a:pt x="8497718" y="2449986"/>
                    </a:lnTo>
                    <a:close/>
                    <a:moveTo>
                      <a:pt x="8267227" y="2686479"/>
                    </a:moveTo>
                    <a:lnTo>
                      <a:pt x="8044420" y="2686479"/>
                    </a:lnTo>
                    <a:lnTo>
                      <a:pt x="8044420" y="2449986"/>
                    </a:lnTo>
                    <a:lnTo>
                      <a:pt x="8267227" y="2449986"/>
                    </a:lnTo>
                    <a:close/>
                    <a:moveTo>
                      <a:pt x="8038274" y="2686479"/>
                    </a:moveTo>
                    <a:lnTo>
                      <a:pt x="7814186" y="2686479"/>
                    </a:lnTo>
                    <a:lnTo>
                      <a:pt x="7814186" y="2449986"/>
                    </a:lnTo>
                    <a:lnTo>
                      <a:pt x="8038274" y="2449986"/>
                    </a:lnTo>
                    <a:close/>
                    <a:moveTo>
                      <a:pt x="7807783" y="2686479"/>
                    </a:moveTo>
                    <a:lnTo>
                      <a:pt x="7583695" y="2686479"/>
                    </a:lnTo>
                    <a:lnTo>
                      <a:pt x="7583695" y="2449986"/>
                    </a:lnTo>
                    <a:lnTo>
                      <a:pt x="7807783" y="2449986"/>
                    </a:lnTo>
                    <a:close/>
                    <a:moveTo>
                      <a:pt x="7577292" y="2686479"/>
                    </a:moveTo>
                    <a:lnTo>
                      <a:pt x="7353204" y="2686479"/>
                    </a:lnTo>
                    <a:lnTo>
                      <a:pt x="7353204" y="2449986"/>
                    </a:lnTo>
                    <a:lnTo>
                      <a:pt x="7577292" y="2449986"/>
                    </a:lnTo>
                    <a:close/>
                    <a:moveTo>
                      <a:pt x="7346801" y="2686479"/>
                    </a:moveTo>
                    <a:lnTo>
                      <a:pt x="7124247" y="2686479"/>
                    </a:lnTo>
                    <a:lnTo>
                      <a:pt x="7124247" y="2449986"/>
                    </a:lnTo>
                    <a:lnTo>
                      <a:pt x="7346801" y="2449986"/>
                    </a:lnTo>
                    <a:close/>
                    <a:moveTo>
                      <a:pt x="7117845" y="2686479"/>
                    </a:moveTo>
                    <a:lnTo>
                      <a:pt x="6893756" y="2686479"/>
                    </a:lnTo>
                    <a:lnTo>
                      <a:pt x="6893756" y="2449986"/>
                    </a:lnTo>
                    <a:lnTo>
                      <a:pt x="7117845" y="2449986"/>
                    </a:lnTo>
                    <a:close/>
                    <a:moveTo>
                      <a:pt x="6887354" y="2686479"/>
                    </a:moveTo>
                    <a:lnTo>
                      <a:pt x="6663265" y="2686479"/>
                    </a:lnTo>
                    <a:lnTo>
                      <a:pt x="6663265" y="2449986"/>
                    </a:lnTo>
                    <a:lnTo>
                      <a:pt x="6887354" y="2449986"/>
                    </a:lnTo>
                    <a:close/>
                    <a:moveTo>
                      <a:pt x="6656863" y="2686479"/>
                    </a:moveTo>
                    <a:lnTo>
                      <a:pt x="6446349" y="2686479"/>
                    </a:lnTo>
                    <a:lnTo>
                      <a:pt x="6446349" y="2449986"/>
                    </a:lnTo>
                    <a:lnTo>
                      <a:pt x="6656863" y="2449986"/>
                    </a:lnTo>
                    <a:close/>
                    <a:moveTo>
                      <a:pt x="6439946" y="2686479"/>
                    </a:moveTo>
                    <a:lnTo>
                      <a:pt x="6217136" y="2686479"/>
                    </a:lnTo>
                    <a:lnTo>
                      <a:pt x="6217136" y="2449986"/>
                    </a:lnTo>
                    <a:lnTo>
                      <a:pt x="6439690" y="2449986"/>
                    </a:lnTo>
                    <a:close/>
                    <a:moveTo>
                      <a:pt x="6210990" y="2686479"/>
                    </a:moveTo>
                    <a:lnTo>
                      <a:pt x="5986902" y="2686479"/>
                    </a:lnTo>
                    <a:lnTo>
                      <a:pt x="5986902" y="2449986"/>
                    </a:lnTo>
                    <a:lnTo>
                      <a:pt x="6210990" y="2449986"/>
                    </a:lnTo>
                    <a:close/>
                    <a:moveTo>
                      <a:pt x="5980499" y="2686479"/>
                    </a:moveTo>
                    <a:lnTo>
                      <a:pt x="5756411" y="2686479"/>
                    </a:lnTo>
                    <a:lnTo>
                      <a:pt x="5756411" y="2449986"/>
                    </a:lnTo>
                    <a:lnTo>
                      <a:pt x="5980499" y="2449986"/>
                    </a:lnTo>
                    <a:close/>
                    <a:moveTo>
                      <a:pt x="5750008" y="2686479"/>
                    </a:moveTo>
                    <a:lnTo>
                      <a:pt x="5526945" y="2686479"/>
                    </a:lnTo>
                    <a:lnTo>
                      <a:pt x="5526945" y="2449986"/>
                    </a:lnTo>
                    <a:lnTo>
                      <a:pt x="5749495" y="2449986"/>
                    </a:lnTo>
                    <a:close/>
                    <a:moveTo>
                      <a:pt x="5521055" y="2686479"/>
                    </a:moveTo>
                    <a:lnTo>
                      <a:pt x="5296454" y="2686479"/>
                    </a:lnTo>
                    <a:lnTo>
                      <a:pt x="5296454" y="2449986"/>
                    </a:lnTo>
                    <a:lnTo>
                      <a:pt x="5520542" y="2449986"/>
                    </a:lnTo>
                    <a:close/>
                    <a:moveTo>
                      <a:pt x="5290564" y="2686479"/>
                    </a:moveTo>
                    <a:lnTo>
                      <a:pt x="5065963" y="2686479"/>
                    </a:lnTo>
                    <a:lnTo>
                      <a:pt x="5065963" y="2449986"/>
                    </a:lnTo>
                    <a:lnTo>
                      <a:pt x="5290051" y="2449986"/>
                    </a:lnTo>
                    <a:close/>
                    <a:moveTo>
                      <a:pt x="5060073" y="2686479"/>
                    </a:moveTo>
                    <a:lnTo>
                      <a:pt x="4835472" y="2686479"/>
                    </a:lnTo>
                    <a:lnTo>
                      <a:pt x="4835472" y="2449986"/>
                    </a:lnTo>
                    <a:lnTo>
                      <a:pt x="5059560" y="2449986"/>
                    </a:lnTo>
                    <a:close/>
                    <a:moveTo>
                      <a:pt x="4829582" y="2686479"/>
                    </a:moveTo>
                    <a:lnTo>
                      <a:pt x="4607029" y="2686479"/>
                    </a:lnTo>
                    <a:lnTo>
                      <a:pt x="4607029" y="2449986"/>
                    </a:lnTo>
                    <a:lnTo>
                      <a:pt x="4829582" y="2449986"/>
                    </a:lnTo>
                    <a:close/>
                    <a:moveTo>
                      <a:pt x="4600626" y="2686479"/>
                    </a:moveTo>
                    <a:lnTo>
                      <a:pt x="4376538" y="2686479"/>
                    </a:lnTo>
                    <a:lnTo>
                      <a:pt x="4376538" y="2449986"/>
                    </a:lnTo>
                    <a:lnTo>
                      <a:pt x="4600626" y="2449986"/>
                    </a:lnTo>
                    <a:close/>
                    <a:moveTo>
                      <a:pt x="4370135" y="2686479"/>
                    </a:moveTo>
                    <a:lnTo>
                      <a:pt x="4146047" y="2686479"/>
                    </a:lnTo>
                    <a:lnTo>
                      <a:pt x="4146047" y="2449986"/>
                    </a:lnTo>
                    <a:lnTo>
                      <a:pt x="4370135" y="2449986"/>
                    </a:lnTo>
                    <a:close/>
                    <a:moveTo>
                      <a:pt x="4139644" y="2686479"/>
                    </a:moveTo>
                    <a:lnTo>
                      <a:pt x="3917094" y="2686479"/>
                    </a:lnTo>
                    <a:lnTo>
                      <a:pt x="3917094" y="2449986"/>
                    </a:lnTo>
                    <a:lnTo>
                      <a:pt x="4139644" y="2449986"/>
                    </a:lnTo>
                    <a:close/>
                    <a:moveTo>
                      <a:pt x="3910691" y="2686479"/>
                    </a:moveTo>
                    <a:lnTo>
                      <a:pt x="3686603" y="2686479"/>
                    </a:lnTo>
                    <a:lnTo>
                      <a:pt x="3686603" y="2449986"/>
                    </a:lnTo>
                    <a:lnTo>
                      <a:pt x="3910691" y="2449986"/>
                    </a:lnTo>
                    <a:close/>
                    <a:moveTo>
                      <a:pt x="3680200" y="2686479"/>
                    </a:moveTo>
                    <a:lnTo>
                      <a:pt x="3456112" y="2686479"/>
                    </a:lnTo>
                    <a:lnTo>
                      <a:pt x="3456112" y="2449986"/>
                    </a:lnTo>
                    <a:lnTo>
                      <a:pt x="3680200" y="2449986"/>
                    </a:lnTo>
                    <a:close/>
                    <a:moveTo>
                      <a:pt x="3449709" y="2686479"/>
                    </a:moveTo>
                    <a:lnTo>
                      <a:pt x="3225621" y="2686479"/>
                    </a:lnTo>
                    <a:lnTo>
                      <a:pt x="3225621" y="2449986"/>
                    </a:lnTo>
                    <a:lnTo>
                      <a:pt x="3449709" y="2449986"/>
                    </a:lnTo>
                    <a:close/>
                    <a:moveTo>
                      <a:pt x="3219218" y="2686479"/>
                    </a:moveTo>
                    <a:lnTo>
                      <a:pt x="2996666" y="2686479"/>
                    </a:lnTo>
                    <a:lnTo>
                      <a:pt x="2996666" y="2449986"/>
                    </a:lnTo>
                    <a:lnTo>
                      <a:pt x="3219218" y="2449986"/>
                    </a:lnTo>
                    <a:close/>
                    <a:moveTo>
                      <a:pt x="2990264" y="2686479"/>
                    </a:moveTo>
                    <a:lnTo>
                      <a:pt x="2766175" y="2686479"/>
                    </a:lnTo>
                    <a:lnTo>
                      <a:pt x="2766175" y="2449986"/>
                    </a:lnTo>
                    <a:lnTo>
                      <a:pt x="2990264" y="2449986"/>
                    </a:lnTo>
                    <a:close/>
                    <a:moveTo>
                      <a:pt x="2759773" y="2686479"/>
                    </a:moveTo>
                    <a:lnTo>
                      <a:pt x="2535684" y="2686479"/>
                    </a:lnTo>
                    <a:lnTo>
                      <a:pt x="2535684" y="2449986"/>
                    </a:lnTo>
                    <a:lnTo>
                      <a:pt x="2759773" y="2449986"/>
                    </a:lnTo>
                    <a:close/>
                    <a:moveTo>
                      <a:pt x="2529282" y="2686479"/>
                    </a:moveTo>
                    <a:lnTo>
                      <a:pt x="2305193" y="2686479"/>
                    </a:lnTo>
                    <a:lnTo>
                      <a:pt x="2305193" y="2449986"/>
                    </a:lnTo>
                    <a:lnTo>
                      <a:pt x="2529282" y="2449986"/>
                    </a:lnTo>
                    <a:close/>
                    <a:moveTo>
                      <a:pt x="2529282" y="2693282"/>
                    </a:moveTo>
                    <a:lnTo>
                      <a:pt x="2529282" y="2931407"/>
                    </a:lnTo>
                    <a:lnTo>
                      <a:pt x="2305193" y="2931407"/>
                    </a:lnTo>
                    <a:lnTo>
                      <a:pt x="2305193" y="2693282"/>
                    </a:lnTo>
                    <a:close/>
                    <a:moveTo>
                      <a:pt x="2529282" y="2938211"/>
                    </a:moveTo>
                    <a:lnTo>
                      <a:pt x="2529282" y="3176336"/>
                    </a:lnTo>
                    <a:lnTo>
                      <a:pt x="2305193" y="3176336"/>
                    </a:lnTo>
                    <a:lnTo>
                      <a:pt x="2305193" y="2938211"/>
                    </a:lnTo>
                    <a:close/>
                    <a:moveTo>
                      <a:pt x="2529282" y="3183139"/>
                    </a:moveTo>
                    <a:lnTo>
                      <a:pt x="2529282" y="3421264"/>
                    </a:lnTo>
                    <a:lnTo>
                      <a:pt x="2305193" y="3421264"/>
                    </a:lnTo>
                    <a:lnTo>
                      <a:pt x="2305193" y="3183139"/>
                    </a:lnTo>
                    <a:close/>
                    <a:moveTo>
                      <a:pt x="2529282" y="3428068"/>
                    </a:moveTo>
                    <a:lnTo>
                      <a:pt x="2529282" y="3664560"/>
                    </a:lnTo>
                    <a:lnTo>
                      <a:pt x="2305193" y="3664560"/>
                    </a:lnTo>
                    <a:lnTo>
                      <a:pt x="2305193" y="3428068"/>
                    </a:lnTo>
                    <a:close/>
                    <a:moveTo>
                      <a:pt x="2529282" y="3671364"/>
                    </a:moveTo>
                    <a:lnTo>
                      <a:pt x="2529282" y="3909489"/>
                    </a:lnTo>
                    <a:lnTo>
                      <a:pt x="2305193" y="3909489"/>
                    </a:lnTo>
                    <a:lnTo>
                      <a:pt x="2305193" y="3671364"/>
                    </a:lnTo>
                    <a:close/>
                    <a:moveTo>
                      <a:pt x="2529282" y="3916292"/>
                    </a:moveTo>
                    <a:lnTo>
                      <a:pt x="2529282" y="4154417"/>
                    </a:lnTo>
                    <a:lnTo>
                      <a:pt x="2305193" y="4154417"/>
                    </a:lnTo>
                    <a:lnTo>
                      <a:pt x="2305193" y="3916292"/>
                    </a:lnTo>
                    <a:close/>
                    <a:moveTo>
                      <a:pt x="2529282" y="4161221"/>
                    </a:moveTo>
                    <a:lnTo>
                      <a:pt x="2529282" y="4399346"/>
                    </a:lnTo>
                    <a:lnTo>
                      <a:pt x="2305193" y="4399346"/>
                    </a:lnTo>
                    <a:lnTo>
                      <a:pt x="2305193" y="4161221"/>
                    </a:lnTo>
                    <a:close/>
                    <a:moveTo>
                      <a:pt x="2535684" y="4161221"/>
                    </a:moveTo>
                    <a:lnTo>
                      <a:pt x="2759773" y="4161221"/>
                    </a:lnTo>
                    <a:lnTo>
                      <a:pt x="2759773" y="4399346"/>
                    </a:lnTo>
                    <a:lnTo>
                      <a:pt x="2535684" y="4399346"/>
                    </a:lnTo>
                    <a:close/>
                    <a:moveTo>
                      <a:pt x="2766175" y="4161221"/>
                    </a:moveTo>
                    <a:lnTo>
                      <a:pt x="2990264" y="4161221"/>
                    </a:lnTo>
                    <a:lnTo>
                      <a:pt x="2990264" y="4399346"/>
                    </a:lnTo>
                    <a:lnTo>
                      <a:pt x="2766175" y="4399346"/>
                    </a:lnTo>
                    <a:close/>
                    <a:moveTo>
                      <a:pt x="2996666" y="4161221"/>
                    </a:moveTo>
                    <a:lnTo>
                      <a:pt x="3219218" y="4161221"/>
                    </a:lnTo>
                    <a:lnTo>
                      <a:pt x="3219218" y="4399346"/>
                    </a:lnTo>
                    <a:lnTo>
                      <a:pt x="2996666" y="4399346"/>
                    </a:lnTo>
                    <a:close/>
                    <a:moveTo>
                      <a:pt x="3225621" y="4161221"/>
                    </a:moveTo>
                    <a:lnTo>
                      <a:pt x="3449709" y="4161221"/>
                    </a:lnTo>
                    <a:lnTo>
                      <a:pt x="3449709" y="4399346"/>
                    </a:lnTo>
                    <a:lnTo>
                      <a:pt x="3225621" y="4399346"/>
                    </a:lnTo>
                    <a:close/>
                    <a:moveTo>
                      <a:pt x="3456112" y="4161221"/>
                    </a:moveTo>
                    <a:lnTo>
                      <a:pt x="3680200" y="4161221"/>
                    </a:lnTo>
                    <a:lnTo>
                      <a:pt x="3680200" y="4399346"/>
                    </a:lnTo>
                    <a:lnTo>
                      <a:pt x="3456112" y="4399346"/>
                    </a:lnTo>
                    <a:close/>
                    <a:moveTo>
                      <a:pt x="3686603" y="4161221"/>
                    </a:moveTo>
                    <a:lnTo>
                      <a:pt x="3910691" y="4161221"/>
                    </a:lnTo>
                    <a:lnTo>
                      <a:pt x="3910691" y="4399346"/>
                    </a:lnTo>
                    <a:lnTo>
                      <a:pt x="3686603" y="4399346"/>
                    </a:lnTo>
                    <a:close/>
                    <a:moveTo>
                      <a:pt x="3917094" y="4161221"/>
                    </a:moveTo>
                    <a:lnTo>
                      <a:pt x="4139644" y="4161221"/>
                    </a:lnTo>
                    <a:lnTo>
                      <a:pt x="4139644" y="4399346"/>
                    </a:lnTo>
                    <a:lnTo>
                      <a:pt x="3917094" y="4399346"/>
                    </a:lnTo>
                    <a:close/>
                    <a:moveTo>
                      <a:pt x="4146047" y="4161221"/>
                    </a:moveTo>
                    <a:lnTo>
                      <a:pt x="4370135" y="4161221"/>
                    </a:lnTo>
                    <a:lnTo>
                      <a:pt x="4370135" y="4399346"/>
                    </a:lnTo>
                    <a:lnTo>
                      <a:pt x="4146047" y="4399346"/>
                    </a:lnTo>
                    <a:close/>
                    <a:moveTo>
                      <a:pt x="4376538" y="4161221"/>
                    </a:moveTo>
                    <a:lnTo>
                      <a:pt x="4600626" y="4161221"/>
                    </a:lnTo>
                    <a:lnTo>
                      <a:pt x="4600626" y="4399346"/>
                    </a:lnTo>
                    <a:lnTo>
                      <a:pt x="4376538" y="4399346"/>
                    </a:lnTo>
                    <a:close/>
                    <a:moveTo>
                      <a:pt x="4607029" y="4161221"/>
                    </a:moveTo>
                    <a:lnTo>
                      <a:pt x="4829582" y="4161221"/>
                    </a:lnTo>
                    <a:lnTo>
                      <a:pt x="4829582" y="4399346"/>
                    </a:lnTo>
                    <a:lnTo>
                      <a:pt x="4607029" y="4399346"/>
                    </a:lnTo>
                    <a:close/>
                    <a:moveTo>
                      <a:pt x="4835985" y="4161221"/>
                    </a:moveTo>
                    <a:lnTo>
                      <a:pt x="5060073" y="4161221"/>
                    </a:lnTo>
                    <a:lnTo>
                      <a:pt x="5060073" y="4399346"/>
                    </a:lnTo>
                    <a:lnTo>
                      <a:pt x="4835472" y="4399346"/>
                    </a:lnTo>
                    <a:close/>
                    <a:moveTo>
                      <a:pt x="5066476" y="4161221"/>
                    </a:moveTo>
                    <a:lnTo>
                      <a:pt x="5290564" y="4161221"/>
                    </a:lnTo>
                    <a:lnTo>
                      <a:pt x="5290564" y="4399346"/>
                    </a:lnTo>
                    <a:lnTo>
                      <a:pt x="5065963" y="4399346"/>
                    </a:lnTo>
                    <a:close/>
                    <a:moveTo>
                      <a:pt x="5296967" y="4161221"/>
                    </a:moveTo>
                    <a:lnTo>
                      <a:pt x="5521055" y="4161221"/>
                    </a:lnTo>
                    <a:lnTo>
                      <a:pt x="5521055" y="4399346"/>
                    </a:lnTo>
                    <a:lnTo>
                      <a:pt x="5296454" y="4399346"/>
                    </a:lnTo>
                    <a:close/>
                    <a:moveTo>
                      <a:pt x="5527458" y="4161221"/>
                    </a:moveTo>
                    <a:lnTo>
                      <a:pt x="5750008" y="4161221"/>
                    </a:lnTo>
                    <a:lnTo>
                      <a:pt x="5750008" y="4399346"/>
                    </a:lnTo>
                    <a:lnTo>
                      <a:pt x="5526945" y="4399346"/>
                    </a:lnTo>
                    <a:close/>
                    <a:moveTo>
                      <a:pt x="5756411" y="4161221"/>
                    </a:moveTo>
                    <a:lnTo>
                      <a:pt x="5980499" y="4161221"/>
                    </a:lnTo>
                    <a:lnTo>
                      <a:pt x="5980499" y="4399346"/>
                    </a:lnTo>
                    <a:lnTo>
                      <a:pt x="5756411" y="4399346"/>
                    </a:lnTo>
                    <a:close/>
                    <a:moveTo>
                      <a:pt x="5986902" y="4161221"/>
                    </a:moveTo>
                    <a:lnTo>
                      <a:pt x="6210990" y="4161221"/>
                    </a:lnTo>
                    <a:lnTo>
                      <a:pt x="6210990" y="4399346"/>
                    </a:lnTo>
                    <a:lnTo>
                      <a:pt x="5986902" y="4399346"/>
                    </a:lnTo>
                    <a:close/>
                    <a:moveTo>
                      <a:pt x="6217393" y="4161221"/>
                    </a:moveTo>
                    <a:lnTo>
                      <a:pt x="6439946" y="4161221"/>
                    </a:lnTo>
                    <a:lnTo>
                      <a:pt x="6439946" y="4399346"/>
                    </a:lnTo>
                    <a:lnTo>
                      <a:pt x="6217136" y="4399346"/>
                    </a:lnTo>
                    <a:close/>
                    <a:moveTo>
                      <a:pt x="6446349" y="4161221"/>
                    </a:moveTo>
                    <a:lnTo>
                      <a:pt x="6656863" y="4161221"/>
                    </a:lnTo>
                    <a:lnTo>
                      <a:pt x="6656863" y="4399346"/>
                    </a:lnTo>
                    <a:lnTo>
                      <a:pt x="6446349" y="4399346"/>
                    </a:lnTo>
                    <a:close/>
                    <a:moveTo>
                      <a:pt x="6663265" y="4161221"/>
                    </a:moveTo>
                    <a:lnTo>
                      <a:pt x="6887354" y="4161221"/>
                    </a:lnTo>
                    <a:lnTo>
                      <a:pt x="6887354" y="4399346"/>
                    </a:lnTo>
                    <a:lnTo>
                      <a:pt x="6663265" y="4399346"/>
                    </a:lnTo>
                    <a:close/>
                    <a:moveTo>
                      <a:pt x="6893756" y="4161221"/>
                    </a:moveTo>
                    <a:lnTo>
                      <a:pt x="7117845" y="4161221"/>
                    </a:lnTo>
                    <a:lnTo>
                      <a:pt x="7117845" y="4399346"/>
                    </a:lnTo>
                    <a:lnTo>
                      <a:pt x="6893756" y="4399346"/>
                    </a:lnTo>
                    <a:close/>
                    <a:moveTo>
                      <a:pt x="7124247" y="4161221"/>
                    </a:moveTo>
                    <a:lnTo>
                      <a:pt x="7346801" y="4161221"/>
                    </a:lnTo>
                    <a:lnTo>
                      <a:pt x="7346801" y="4399346"/>
                    </a:lnTo>
                    <a:lnTo>
                      <a:pt x="7124247" y="4399346"/>
                    </a:lnTo>
                    <a:close/>
                    <a:moveTo>
                      <a:pt x="7353204" y="4161221"/>
                    </a:moveTo>
                    <a:lnTo>
                      <a:pt x="7577292" y="4161221"/>
                    </a:lnTo>
                    <a:lnTo>
                      <a:pt x="7577292" y="4399346"/>
                    </a:lnTo>
                    <a:lnTo>
                      <a:pt x="7353204" y="4399346"/>
                    </a:lnTo>
                    <a:close/>
                    <a:moveTo>
                      <a:pt x="7583695" y="4161221"/>
                    </a:moveTo>
                    <a:lnTo>
                      <a:pt x="7807783" y="4161221"/>
                    </a:lnTo>
                    <a:lnTo>
                      <a:pt x="7807783" y="4399346"/>
                    </a:lnTo>
                    <a:lnTo>
                      <a:pt x="7583695" y="4399346"/>
                    </a:lnTo>
                    <a:close/>
                    <a:moveTo>
                      <a:pt x="7814186" y="4161221"/>
                    </a:moveTo>
                    <a:lnTo>
                      <a:pt x="8038274" y="4161221"/>
                    </a:lnTo>
                    <a:lnTo>
                      <a:pt x="8038274" y="4399346"/>
                    </a:lnTo>
                    <a:lnTo>
                      <a:pt x="7814186" y="4399346"/>
                    </a:lnTo>
                    <a:close/>
                    <a:moveTo>
                      <a:pt x="8044677" y="4161221"/>
                    </a:moveTo>
                    <a:lnTo>
                      <a:pt x="8267227" y="4161221"/>
                    </a:lnTo>
                    <a:lnTo>
                      <a:pt x="8267227" y="4399346"/>
                    </a:lnTo>
                    <a:lnTo>
                      <a:pt x="8044420" y="4399346"/>
                    </a:lnTo>
                    <a:close/>
                    <a:moveTo>
                      <a:pt x="8273629" y="4161221"/>
                    </a:moveTo>
                    <a:lnTo>
                      <a:pt x="8497718" y="4161221"/>
                    </a:lnTo>
                    <a:lnTo>
                      <a:pt x="8497718" y="4399346"/>
                    </a:lnTo>
                    <a:lnTo>
                      <a:pt x="8273629" y="4399346"/>
                    </a:lnTo>
                    <a:close/>
                    <a:moveTo>
                      <a:pt x="8504120" y="4161221"/>
                    </a:moveTo>
                    <a:lnTo>
                      <a:pt x="8728209" y="4161221"/>
                    </a:lnTo>
                    <a:lnTo>
                      <a:pt x="8728209" y="4399346"/>
                    </a:lnTo>
                    <a:lnTo>
                      <a:pt x="8504120" y="4399346"/>
                    </a:lnTo>
                    <a:close/>
                    <a:moveTo>
                      <a:pt x="8734611" y="4161221"/>
                    </a:moveTo>
                    <a:lnTo>
                      <a:pt x="8957162" y="4161221"/>
                    </a:lnTo>
                    <a:lnTo>
                      <a:pt x="8957162" y="4399346"/>
                    </a:lnTo>
                    <a:lnTo>
                      <a:pt x="8734611" y="4399346"/>
                    </a:lnTo>
                    <a:close/>
                    <a:moveTo>
                      <a:pt x="8963564" y="4161221"/>
                    </a:moveTo>
                    <a:lnTo>
                      <a:pt x="9187653" y="4161221"/>
                    </a:lnTo>
                    <a:lnTo>
                      <a:pt x="9187653" y="4399346"/>
                    </a:lnTo>
                    <a:lnTo>
                      <a:pt x="8963564" y="4399346"/>
                    </a:lnTo>
                    <a:close/>
                    <a:moveTo>
                      <a:pt x="9194055" y="4161221"/>
                    </a:moveTo>
                    <a:lnTo>
                      <a:pt x="9418144" y="4161221"/>
                    </a:lnTo>
                    <a:lnTo>
                      <a:pt x="9418144" y="4399346"/>
                    </a:lnTo>
                    <a:lnTo>
                      <a:pt x="9194055" y="4399346"/>
                    </a:lnTo>
                    <a:close/>
                    <a:moveTo>
                      <a:pt x="9424546" y="4161221"/>
                    </a:moveTo>
                    <a:lnTo>
                      <a:pt x="9648635" y="4161221"/>
                    </a:lnTo>
                    <a:lnTo>
                      <a:pt x="9648635" y="4399346"/>
                    </a:lnTo>
                    <a:lnTo>
                      <a:pt x="9424546" y="4399346"/>
                    </a:lnTo>
                    <a:close/>
                    <a:moveTo>
                      <a:pt x="9655037" y="4161221"/>
                    </a:moveTo>
                    <a:lnTo>
                      <a:pt x="9877591" y="4161221"/>
                    </a:lnTo>
                    <a:lnTo>
                      <a:pt x="9877591" y="4399346"/>
                    </a:lnTo>
                    <a:lnTo>
                      <a:pt x="9655037" y="4399346"/>
                    </a:lnTo>
                    <a:close/>
                    <a:moveTo>
                      <a:pt x="9655037" y="4154417"/>
                    </a:moveTo>
                    <a:lnTo>
                      <a:pt x="9655037" y="3916292"/>
                    </a:lnTo>
                    <a:lnTo>
                      <a:pt x="9877591" y="3916292"/>
                    </a:lnTo>
                    <a:lnTo>
                      <a:pt x="9877591" y="4154417"/>
                    </a:lnTo>
                    <a:close/>
                    <a:moveTo>
                      <a:pt x="9655037" y="3909489"/>
                    </a:moveTo>
                    <a:lnTo>
                      <a:pt x="9655037" y="3671364"/>
                    </a:lnTo>
                    <a:lnTo>
                      <a:pt x="9877591" y="3671364"/>
                    </a:lnTo>
                    <a:lnTo>
                      <a:pt x="9877591" y="3909489"/>
                    </a:lnTo>
                    <a:close/>
                    <a:moveTo>
                      <a:pt x="9655037" y="3664560"/>
                    </a:moveTo>
                    <a:lnTo>
                      <a:pt x="9655037" y="3428068"/>
                    </a:lnTo>
                    <a:lnTo>
                      <a:pt x="9877591" y="3428068"/>
                    </a:lnTo>
                    <a:lnTo>
                      <a:pt x="9877591" y="3664560"/>
                    </a:lnTo>
                    <a:close/>
                    <a:moveTo>
                      <a:pt x="9655037" y="3421264"/>
                    </a:moveTo>
                    <a:lnTo>
                      <a:pt x="9655037" y="3183139"/>
                    </a:lnTo>
                    <a:lnTo>
                      <a:pt x="9877591" y="3183139"/>
                    </a:lnTo>
                    <a:lnTo>
                      <a:pt x="9877591" y="3421264"/>
                    </a:lnTo>
                    <a:close/>
                    <a:moveTo>
                      <a:pt x="9655037" y="3176336"/>
                    </a:moveTo>
                    <a:lnTo>
                      <a:pt x="9655037" y="2938211"/>
                    </a:lnTo>
                    <a:lnTo>
                      <a:pt x="9877591" y="2938211"/>
                    </a:lnTo>
                    <a:lnTo>
                      <a:pt x="9877591" y="3176336"/>
                    </a:lnTo>
                    <a:close/>
                    <a:moveTo>
                      <a:pt x="9655037" y="2931407"/>
                    </a:moveTo>
                    <a:lnTo>
                      <a:pt x="9655037" y="2693282"/>
                    </a:lnTo>
                    <a:lnTo>
                      <a:pt x="9877591" y="2693282"/>
                    </a:lnTo>
                    <a:lnTo>
                      <a:pt x="9877591" y="2931407"/>
                    </a:lnTo>
                    <a:close/>
                    <a:moveTo>
                      <a:pt x="9655037" y="2686479"/>
                    </a:moveTo>
                    <a:lnTo>
                      <a:pt x="9655037" y="2449986"/>
                    </a:lnTo>
                    <a:lnTo>
                      <a:pt x="9877591" y="2449986"/>
                    </a:lnTo>
                    <a:lnTo>
                      <a:pt x="9877591" y="2686479"/>
                    </a:lnTo>
                    <a:close/>
                    <a:moveTo>
                      <a:pt x="9655037" y="2443183"/>
                    </a:moveTo>
                    <a:lnTo>
                      <a:pt x="9655037" y="2205058"/>
                    </a:lnTo>
                    <a:lnTo>
                      <a:pt x="9877591" y="2205058"/>
                    </a:lnTo>
                    <a:lnTo>
                      <a:pt x="9877591" y="2443183"/>
                    </a:lnTo>
                    <a:close/>
                    <a:moveTo>
                      <a:pt x="9648635" y="2443183"/>
                    </a:moveTo>
                    <a:lnTo>
                      <a:pt x="9424546" y="2443183"/>
                    </a:lnTo>
                    <a:lnTo>
                      <a:pt x="9424546" y="2205058"/>
                    </a:lnTo>
                    <a:lnTo>
                      <a:pt x="9648635" y="2205058"/>
                    </a:lnTo>
                    <a:close/>
                    <a:moveTo>
                      <a:pt x="9418144" y="2443183"/>
                    </a:moveTo>
                    <a:lnTo>
                      <a:pt x="9194055" y="2443183"/>
                    </a:lnTo>
                    <a:lnTo>
                      <a:pt x="9194055" y="2205058"/>
                    </a:lnTo>
                    <a:lnTo>
                      <a:pt x="9418144" y="2205058"/>
                    </a:lnTo>
                    <a:close/>
                    <a:moveTo>
                      <a:pt x="9187653" y="2443183"/>
                    </a:moveTo>
                    <a:lnTo>
                      <a:pt x="8963564" y="2443183"/>
                    </a:lnTo>
                    <a:lnTo>
                      <a:pt x="8963564" y="2205058"/>
                    </a:lnTo>
                    <a:lnTo>
                      <a:pt x="9187653" y="2205058"/>
                    </a:lnTo>
                    <a:close/>
                    <a:moveTo>
                      <a:pt x="8957162" y="2443183"/>
                    </a:moveTo>
                    <a:lnTo>
                      <a:pt x="8734611" y="2443183"/>
                    </a:lnTo>
                    <a:lnTo>
                      <a:pt x="8734611" y="2205058"/>
                    </a:lnTo>
                    <a:lnTo>
                      <a:pt x="8957162" y="2205058"/>
                    </a:lnTo>
                    <a:close/>
                    <a:moveTo>
                      <a:pt x="8728209" y="2443183"/>
                    </a:moveTo>
                    <a:lnTo>
                      <a:pt x="8504120" y="2443183"/>
                    </a:lnTo>
                    <a:lnTo>
                      <a:pt x="8504120" y="2205058"/>
                    </a:lnTo>
                    <a:lnTo>
                      <a:pt x="8728209" y="2205058"/>
                    </a:lnTo>
                    <a:close/>
                    <a:moveTo>
                      <a:pt x="8497718" y="2443183"/>
                    </a:moveTo>
                    <a:lnTo>
                      <a:pt x="8273629" y="2443183"/>
                    </a:lnTo>
                    <a:lnTo>
                      <a:pt x="8273629" y="2205058"/>
                    </a:lnTo>
                    <a:lnTo>
                      <a:pt x="8497718" y="2205058"/>
                    </a:lnTo>
                    <a:close/>
                    <a:moveTo>
                      <a:pt x="8267227" y="2443183"/>
                    </a:moveTo>
                    <a:lnTo>
                      <a:pt x="8044420" y="2443183"/>
                    </a:lnTo>
                    <a:lnTo>
                      <a:pt x="8044420" y="2205058"/>
                    </a:lnTo>
                    <a:lnTo>
                      <a:pt x="8267227" y="2205058"/>
                    </a:lnTo>
                    <a:close/>
                    <a:moveTo>
                      <a:pt x="8038274" y="2443183"/>
                    </a:moveTo>
                    <a:lnTo>
                      <a:pt x="7814186" y="2443183"/>
                    </a:lnTo>
                    <a:lnTo>
                      <a:pt x="7814186" y="2205058"/>
                    </a:lnTo>
                    <a:lnTo>
                      <a:pt x="8038274" y="2205058"/>
                    </a:lnTo>
                    <a:close/>
                    <a:moveTo>
                      <a:pt x="7807783" y="2443183"/>
                    </a:moveTo>
                    <a:lnTo>
                      <a:pt x="7583695" y="2443183"/>
                    </a:lnTo>
                    <a:lnTo>
                      <a:pt x="7583695" y="2205058"/>
                    </a:lnTo>
                    <a:lnTo>
                      <a:pt x="7807783" y="2205058"/>
                    </a:lnTo>
                    <a:close/>
                    <a:moveTo>
                      <a:pt x="7577292" y="2443183"/>
                    </a:moveTo>
                    <a:lnTo>
                      <a:pt x="7353204" y="2443183"/>
                    </a:lnTo>
                    <a:lnTo>
                      <a:pt x="7353204" y="2205058"/>
                    </a:lnTo>
                    <a:lnTo>
                      <a:pt x="7577292" y="2205058"/>
                    </a:lnTo>
                    <a:close/>
                    <a:moveTo>
                      <a:pt x="7346801" y="2443183"/>
                    </a:moveTo>
                    <a:lnTo>
                      <a:pt x="7124247" y="2443183"/>
                    </a:lnTo>
                    <a:lnTo>
                      <a:pt x="7124247" y="2205058"/>
                    </a:lnTo>
                    <a:lnTo>
                      <a:pt x="7346801" y="2205058"/>
                    </a:lnTo>
                    <a:close/>
                    <a:moveTo>
                      <a:pt x="7117845" y="2443183"/>
                    </a:moveTo>
                    <a:lnTo>
                      <a:pt x="6893756" y="2443183"/>
                    </a:lnTo>
                    <a:lnTo>
                      <a:pt x="6893756" y="2205058"/>
                    </a:lnTo>
                    <a:lnTo>
                      <a:pt x="7117845" y="2205058"/>
                    </a:lnTo>
                    <a:close/>
                    <a:moveTo>
                      <a:pt x="6887354" y="2443183"/>
                    </a:moveTo>
                    <a:lnTo>
                      <a:pt x="6663265" y="2443183"/>
                    </a:lnTo>
                    <a:lnTo>
                      <a:pt x="6663265" y="2205058"/>
                    </a:lnTo>
                    <a:lnTo>
                      <a:pt x="6887354" y="2205058"/>
                    </a:lnTo>
                    <a:close/>
                    <a:moveTo>
                      <a:pt x="6656863" y="2443183"/>
                    </a:moveTo>
                    <a:lnTo>
                      <a:pt x="6446349" y="2443183"/>
                    </a:lnTo>
                    <a:lnTo>
                      <a:pt x="6446349" y="2205058"/>
                    </a:lnTo>
                    <a:lnTo>
                      <a:pt x="6656863" y="2205058"/>
                    </a:lnTo>
                    <a:close/>
                    <a:moveTo>
                      <a:pt x="6439946" y="2443183"/>
                    </a:moveTo>
                    <a:lnTo>
                      <a:pt x="6217136" y="2443183"/>
                    </a:lnTo>
                    <a:lnTo>
                      <a:pt x="6217136" y="2205058"/>
                    </a:lnTo>
                    <a:lnTo>
                      <a:pt x="6439690" y="2205058"/>
                    </a:lnTo>
                    <a:close/>
                    <a:moveTo>
                      <a:pt x="6210990" y="2443183"/>
                    </a:moveTo>
                    <a:lnTo>
                      <a:pt x="5986902" y="2443183"/>
                    </a:lnTo>
                    <a:lnTo>
                      <a:pt x="5986902" y="2205058"/>
                    </a:lnTo>
                    <a:lnTo>
                      <a:pt x="6210990" y="2205058"/>
                    </a:lnTo>
                    <a:close/>
                    <a:moveTo>
                      <a:pt x="5980499" y="2443183"/>
                    </a:moveTo>
                    <a:lnTo>
                      <a:pt x="5756411" y="2443183"/>
                    </a:lnTo>
                    <a:lnTo>
                      <a:pt x="5756411" y="2205058"/>
                    </a:lnTo>
                    <a:lnTo>
                      <a:pt x="5980499" y="2205058"/>
                    </a:lnTo>
                    <a:close/>
                    <a:moveTo>
                      <a:pt x="5750008" y="2443183"/>
                    </a:moveTo>
                    <a:lnTo>
                      <a:pt x="5526945" y="2443183"/>
                    </a:lnTo>
                    <a:lnTo>
                      <a:pt x="5526945" y="2205058"/>
                    </a:lnTo>
                    <a:lnTo>
                      <a:pt x="5749495" y="2205058"/>
                    </a:lnTo>
                    <a:close/>
                    <a:moveTo>
                      <a:pt x="5521055" y="2443183"/>
                    </a:moveTo>
                    <a:lnTo>
                      <a:pt x="5296454" y="2443183"/>
                    </a:lnTo>
                    <a:lnTo>
                      <a:pt x="5296454" y="2205058"/>
                    </a:lnTo>
                    <a:lnTo>
                      <a:pt x="5520542" y="2205058"/>
                    </a:lnTo>
                    <a:close/>
                    <a:moveTo>
                      <a:pt x="5290564" y="2443183"/>
                    </a:moveTo>
                    <a:lnTo>
                      <a:pt x="5065963" y="2443183"/>
                    </a:lnTo>
                    <a:lnTo>
                      <a:pt x="5065963" y="2205058"/>
                    </a:lnTo>
                    <a:lnTo>
                      <a:pt x="5290051" y="2205058"/>
                    </a:lnTo>
                    <a:close/>
                    <a:moveTo>
                      <a:pt x="5060073" y="2443183"/>
                    </a:moveTo>
                    <a:lnTo>
                      <a:pt x="4835472" y="2443183"/>
                    </a:lnTo>
                    <a:lnTo>
                      <a:pt x="4835472" y="2205058"/>
                    </a:lnTo>
                    <a:lnTo>
                      <a:pt x="5059560" y="2205058"/>
                    </a:lnTo>
                    <a:close/>
                    <a:moveTo>
                      <a:pt x="4829582" y="2443183"/>
                    </a:moveTo>
                    <a:lnTo>
                      <a:pt x="4607029" y="2443183"/>
                    </a:lnTo>
                    <a:lnTo>
                      <a:pt x="4607029" y="2205058"/>
                    </a:lnTo>
                    <a:lnTo>
                      <a:pt x="4829582" y="2205058"/>
                    </a:lnTo>
                    <a:close/>
                    <a:moveTo>
                      <a:pt x="4600626" y="2443183"/>
                    </a:moveTo>
                    <a:lnTo>
                      <a:pt x="4376538" y="2443183"/>
                    </a:lnTo>
                    <a:lnTo>
                      <a:pt x="4376538" y="2205058"/>
                    </a:lnTo>
                    <a:lnTo>
                      <a:pt x="4600626" y="2205058"/>
                    </a:lnTo>
                    <a:close/>
                    <a:moveTo>
                      <a:pt x="4370135" y="2443183"/>
                    </a:moveTo>
                    <a:lnTo>
                      <a:pt x="4146047" y="2443183"/>
                    </a:lnTo>
                    <a:lnTo>
                      <a:pt x="4146047" y="2205058"/>
                    </a:lnTo>
                    <a:lnTo>
                      <a:pt x="4370135" y="2205058"/>
                    </a:lnTo>
                    <a:close/>
                    <a:moveTo>
                      <a:pt x="4139644" y="2443183"/>
                    </a:moveTo>
                    <a:lnTo>
                      <a:pt x="3917094" y="2443183"/>
                    </a:lnTo>
                    <a:lnTo>
                      <a:pt x="3917094" y="2205058"/>
                    </a:lnTo>
                    <a:lnTo>
                      <a:pt x="4139644" y="2205058"/>
                    </a:lnTo>
                    <a:close/>
                    <a:moveTo>
                      <a:pt x="3910691" y="2443183"/>
                    </a:moveTo>
                    <a:lnTo>
                      <a:pt x="3686603" y="2443183"/>
                    </a:lnTo>
                    <a:lnTo>
                      <a:pt x="3686603" y="2205058"/>
                    </a:lnTo>
                    <a:lnTo>
                      <a:pt x="3910691" y="2205058"/>
                    </a:lnTo>
                    <a:close/>
                    <a:moveTo>
                      <a:pt x="3680200" y="2443183"/>
                    </a:moveTo>
                    <a:lnTo>
                      <a:pt x="3456112" y="2443183"/>
                    </a:lnTo>
                    <a:lnTo>
                      <a:pt x="3456112" y="2205058"/>
                    </a:lnTo>
                    <a:lnTo>
                      <a:pt x="3680200" y="2205058"/>
                    </a:lnTo>
                    <a:close/>
                    <a:moveTo>
                      <a:pt x="3449709" y="2443183"/>
                    </a:moveTo>
                    <a:lnTo>
                      <a:pt x="3225621" y="2443183"/>
                    </a:lnTo>
                    <a:lnTo>
                      <a:pt x="3225621" y="2205058"/>
                    </a:lnTo>
                    <a:lnTo>
                      <a:pt x="3449709" y="2205058"/>
                    </a:lnTo>
                    <a:close/>
                    <a:moveTo>
                      <a:pt x="3219218" y="2443183"/>
                    </a:moveTo>
                    <a:lnTo>
                      <a:pt x="2996666" y="2443183"/>
                    </a:lnTo>
                    <a:lnTo>
                      <a:pt x="2996666" y="2205058"/>
                    </a:lnTo>
                    <a:lnTo>
                      <a:pt x="3219218" y="2205058"/>
                    </a:lnTo>
                    <a:close/>
                    <a:moveTo>
                      <a:pt x="2990264" y="2443183"/>
                    </a:moveTo>
                    <a:lnTo>
                      <a:pt x="2766175" y="2443183"/>
                    </a:lnTo>
                    <a:lnTo>
                      <a:pt x="2766175" y="2205058"/>
                    </a:lnTo>
                    <a:lnTo>
                      <a:pt x="2990264" y="2205058"/>
                    </a:lnTo>
                    <a:close/>
                    <a:moveTo>
                      <a:pt x="2759773" y="2443183"/>
                    </a:moveTo>
                    <a:lnTo>
                      <a:pt x="2535684" y="2443183"/>
                    </a:lnTo>
                    <a:lnTo>
                      <a:pt x="2535684" y="2205058"/>
                    </a:lnTo>
                    <a:lnTo>
                      <a:pt x="2759773" y="2205058"/>
                    </a:lnTo>
                    <a:close/>
                    <a:moveTo>
                      <a:pt x="2529282" y="2443183"/>
                    </a:moveTo>
                    <a:lnTo>
                      <a:pt x="2305193" y="2443183"/>
                    </a:lnTo>
                    <a:lnTo>
                      <a:pt x="2305193" y="2205058"/>
                    </a:lnTo>
                    <a:lnTo>
                      <a:pt x="2529282" y="2205058"/>
                    </a:lnTo>
                    <a:close/>
                    <a:moveTo>
                      <a:pt x="2298791" y="2443183"/>
                    </a:moveTo>
                    <a:lnTo>
                      <a:pt x="2075982" y="2443183"/>
                    </a:lnTo>
                    <a:lnTo>
                      <a:pt x="2075982" y="2205058"/>
                    </a:lnTo>
                    <a:lnTo>
                      <a:pt x="2298534" y="2205058"/>
                    </a:lnTo>
                    <a:close/>
                    <a:moveTo>
                      <a:pt x="2298791" y="2449986"/>
                    </a:moveTo>
                    <a:lnTo>
                      <a:pt x="2298791" y="2686479"/>
                    </a:lnTo>
                    <a:lnTo>
                      <a:pt x="2075982" y="2686479"/>
                    </a:lnTo>
                    <a:lnTo>
                      <a:pt x="2075982" y="2449986"/>
                    </a:lnTo>
                    <a:close/>
                    <a:moveTo>
                      <a:pt x="2298791" y="2693282"/>
                    </a:moveTo>
                    <a:lnTo>
                      <a:pt x="2298791" y="2931407"/>
                    </a:lnTo>
                    <a:lnTo>
                      <a:pt x="2075982" y="2931407"/>
                    </a:lnTo>
                    <a:lnTo>
                      <a:pt x="2075982" y="2693282"/>
                    </a:lnTo>
                    <a:close/>
                    <a:moveTo>
                      <a:pt x="2298791" y="2938211"/>
                    </a:moveTo>
                    <a:lnTo>
                      <a:pt x="2298791" y="3176336"/>
                    </a:lnTo>
                    <a:lnTo>
                      <a:pt x="2075982" y="3176336"/>
                    </a:lnTo>
                    <a:lnTo>
                      <a:pt x="2075982" y="2938211"/>
                    </a:lnTo>
                    <a:close/>
                    <a:moveTo>
                      <a:pt x="2298791" y="3183139"/>
                    </a:moveTo>
                    <a:lnTo>
                      <a:pt x="2298791" y="3421264"/>
                    </a:lnTo>
                    <a:lnTo>
                      <a:pt x="2075982" y="3421264"/>
                    </a:lnTo>
                    <a:lnTo>
                      <a:pt x="2075982" y="3183139"/>
                    </a:lnTo>
                    <a:close/>
                    <a:moveTo>
                      <a:pt x="2298791" y="3428068"/>
                    </a:moveTo>
                    <a:lnTo>
                      <a:pt x="2298791" y="3664560"/>
                    </a:lnTo>
                    <a:lnTo>
                      <a:pt x="2075982" y="3664560"/>
                    </a:lnTo>
                    <a:lnTo>
                      <a:pt x="2075982" y="3428068"/>
                    </a:lnTo>
                    <a:close/>
                    <a:moveTo>
                      <a:pt x="2298791" y="3671364"/>
                    </a:moveTo>
                    <a:lnTo>
                      <a:pt x="2298791" y="3909489"/>
                    </a:lnTo>
                    <a:lnTo>
                      <a:pt x="2075982" y="3909489"/>
                    </a:lnTo>
                    <a:lnTo>
                      <a:pt x="2075982" y="3671364"/>
                    </a:lnTo>
                    <a:close/>
                    <a:moveTo>
                      <a:pt x="2298791" y="3916292"/>
                    </a:moveTo>
                    <a:lnTo>
                      <a:pt x="2298791" y="4154417"/>
                    </a:lnTo>
                    <a:lnTo>
                      <a:pt x="2075982" y="4154417"/>
                    </a:lnTo>
                    <a:lnTo>
                      <a:pt x="2075982" y="3916292"/>
                    </a:lnTo>
                    <a:close/>
                    <a:moveTo>
                      <a:pt x="2298791" y="4161221"/>
                    </a:moveTo>
                    <a:lnTo>
                      <a:pt x="2298791" y="4399346"/>
                    </a:lnTo>
                    <a:lnTo>
                      <a:pt x="2075982" y="4399346"/>
                    </a:lnTo>
                    <a:lnTo>
                      <a:pt x="2075982" y="4161221"/>
                    </a:lnTo>
                    <a:close/>
                    <a:moveTo>
                      <a:pt x="2298791" y="4406149"/>
                    </a:moveTo>
                    <a:lnTo>
                      <a:pt x="2298791" y="4642233"/>
                    </a:lnTo>
                    <a:lnTo>
                      <a:pt x="2075982" y="4642233"/>
                    </a:lnTo>
                    <a:lnTo>
                      <a:pt x="2075982" y="4405741"/>
                    </a:lnTo>
                    <a:close/>
                    <a:moveTo>
                      <a:pt x="2305193" y="4406149"/>
                    </a:moveTo>
                    <a:lnTo>
                      <a:pt x="2529282" y="4406149"/>
                    </a:lnTo>
                    <a:lnTo>
                      <a:pt x="2529282" y="4642233"/>
                    </a:lnTo>
                    <a:lnTo>
                      <a:pt x="2305193" y="4642233"/>
                    </a:lnTo>
                    <a:close/>
                    <a:moveTo>
                      <a:pt x="2535684" y="4406149"/>
                    </a:moveTo>
                    <a:lnTo>
                      <a:pt x="2759773" y="4406149"/>
                    </a:lnTo>
                    <a:lnTo>
                      <a:pt x="2759773" y="4642233"/>
                    </a:lnTo>
                    <a:lnTo>
                      <a:pt x="2535684" y="4642233"/>
                    </a:lnTo>
                    <a:close/>
                    <a:moveTo>
                      <a:pt x="2766175" y="4406149"/>
                    </a:moveTo>
                    <a:lnTo>
                      <a:pt x="2990264" y="4406149"/>
                    </a:lnTo>
                    <a:lnTo>
                      <a:pt x="2990264" y="4642233"/>
                    </a:lnTo>
                    <a:lnTo>
                      <a:pt x="2766175" y="4642233"/>
                    </a:lnTo>
                    <a:close/>
                    <a:moveTo>
                      <a:pt x="2996666" y="4406149"/>
                    </a:moveTo>
                    <a:lnTo>
                      <a:pt x="3219218" y="4406149"/>
                    </a:lnTo>
                    <a:lnTo>
                      <a:pt x="3219218" y="4642233"/>
                    </a:lnTo>
                    <a:lnTo>
                      <a:pt x="2996666" y="4642233"/>
                    </a:lnTo>
                    <a:close/>
                    <a:moveTo>
                      <a:pt x="3225621" y="4406149"/>
                    </a:moveTo>
                    <a:lnTo>
                      <a:pt x="3449709" y="4406149"/>
                    </a:lnTo>
                    <a:lnTo>
                      <a:pt x="3449709" y="4642233"/>
                    </a:lnTo>
                    <a:lnTo>
                      <a:pt x="3225621" y="4642233"/>
                    </a:lnTo>
                    <a:close/>
                    <a:moveTo>
                      <a:pt x="3456112" y="4406149"/>
                    </a:moveTo>
                    <a:lnTo>
                      <a:pt x="3680200" y="4406149"/>
                    </a:lnTo>
                    <a:lnTo>
                      <a:pt x="3680200" y="4642233"/>
                    </a:lnTo>
                    <a:lnTo>
                      <a:pt x="3456112" y="4642233"/>
                    </a:lnTo>
                    <a:close/>
                    <a:moveTo>
                      <a:pt x="3686603" y="4406149"/>
                    </a:moveTo>
                    <a:lnTo>
                      <a:pt x="3910691" y="4406149"/>
                    </a:lnTo>
                    <a:lnTo>
                      <a:pt x="3910691" y="4642233"/>
                    </a:lnTo>
                    <a:lnTo>
                      <a:pt x="3686603" y="4642233"/>
                    </a:lnTo>
                    <a:close/>
                    <a:moveTo>
                      <a:pt x="3917094" y="4406149"/>
                    </a:moveTo>
                    <a:lnTo>
                      <a:pt x="4139644" y="4406149"/>
                    </a:lnTo>
                    <a:lnTo>
                      <a:pt x="4139644" y="4642233"/>
                    </a:lnTo>
                    <a:lnTo>
                      <a:pt x="3917094" y="4642233"/>
                    </a:lnTo>
                    <a:close/>
                    <a:moveTo>
                      <a:pt x="4146047" y="4406149"/>
                    </a:moveTo>
                    <a:lnTo>
                      <a:pt x="4370135" y="4406149"/>
                    </a:lnTo>
                    <a:lnTo>
                      <a:pt x="4370135" y="4642233"/>
                    </a:lnTo>
                    <a:lnTo>
                      <a:pt x="4146047" y="4642233"/>
                    </a:lnTo>
                    <a:close/>
                    <a:moveTo>
                      <a:pt x="4376538" y="4406149"/>
                    </a:moveTo>
                    <a:lnTo>
                      <a:pt x="4600626" y="4406149"/>
                    </a:lnTo>
                    <a:lnTo>
                      <a:pt x="4600626" y="4642233"/>
                    </a:lnTo>
                    <a:lnTo>
                      <a:pt x="4376538" y="4642233"/>
                    </a:lnTo>
                    <a:close/>
                    <a:moveTo>
                      <a:pt x="4607029" y="4406149"/>
                    </a:moveTo>
                    <a:lnTo>
                      <a:pt x="4829582" y="4406149"/>
                    </a:lnTo>
                    <a:lnTo>
                      <a:pt x="4829582" y="4642233"/>
                    </a:lnTo>
                    <a:lnTo>
                      <a:pt x="4607029" y="4642233"/>
                    </a:lnTo>
                    <a:close/>
                    <a:moveTo>
                      <a:pt x="4835985" y="4406149"/>
                    </a:moveTo>
                    <a:lnTo>
                      <a:pt x="5060073" y="4406149"/>
                    </a:lnTo>
                    <a:lnTo>
                      <a:pt x="5060073" y="4642233"/>
                    </a:lnTo>
                    <a:lnTo>
                      <a:pt x="4835472" y="4642233"/>
                    </a:lnTo>
                    <a:close/>
                    <a:moveTo>
                      <a:pt x="5066476" y="4406149"/>
                    </a:moveTo>
                    <a:lnTo>
                      <a:pt x="5290564" y="4406149"/>
                    </a:lnTo>
                    <a:lnTo>
                      <a:pt x="5290564" y="4642233"/>
                    </a:lnTo>
                    <a:lnTo>
                      <a:pt x="5065963" y="4642233"/>
                    </a:lnTo>
                    <a:close/>
                    <a:moveTo>
                      <a:pt x="5296967" y="4406149"/>
                    </a:moveTo>
                    <a:lnTo>
                      <a:pt x="5521055" y="4406149"/>
                    </a:lnTo>
                    <a:lnTo>
                      <a:pt x="5521055" y="4642233"/>
                    </a:lnTo>
                    <a:lnTo>
                      <a:pt x="5296454" y="4642233"/>
                    </a:lnTo>
                    <a:close/>
                    <a:moveTo>
                      <a:pt x="5527458" y="4406149"/>
                    </a:moveTo>
                    <a:lnTo>
                      <a:pt x="5750008" y="4406149"/>
                    </a:lnTo>
                    <a:lnTo>
                      <a:pt x="5750008" y="4642233"/>
                    </a:lnTo>
                    <a:lnTo>
                      <a:pt x="5526945" y="4642233"/>
                    </a:lnTo>
                    <a:close/>
                    <a:moveTo>
                      <a:pt x="5756411" y="4406149"/>
                    </a:moveTo>
                    <a:lnTo>
                      <a:pt x="5980499" y="4406149"/>
                    </a:lnTo>
                    <a:lnTo>
                      <a:pt x="5980499" y="4642233"/>
                    </a:lnTo>
                    <a:lnTo>
                      <a:pt x="5756411" y="4642233"/>
                    </a:lnTo>
                    <a:close/>
                    <a:moveTo>
                      <a:pt x="5986902" y="4406149"/>
                    </a:moveTo>
                    <a:lnTo>
                      <a:pt x="6210990" y="4406149"/>
                    </a:lnTo>
                    <a:lnTo>
                      <a:pt x="6210990" y="4642233"/>
                    </a:lnTo>
                    <a:lnTo>
                      <a:pt x="5986902" y="4642233"/>
                    </a:lnTo>
                    <a:close/>
                    <a:moveTo>
                      <a:pt x="6217393" y="4406149"/>
                    </a:moveTo>
                    <a:lnTo>
                      <a:pt x="6439946" y="4406149"/>
                    </a:lnTo>
                    <a:lnTo>
                      <a:pt x="6439946" y="4642233"/>
                    </a:lnTo>
                    <a:lnTo>
                      <a:pt x="6217136" y="4642233"/>
                    </a:lnTo>
                    <a:close/>
                    <a:moveTo>
                      <a:pt x="6446349" y="4406149"/>
                    </a:moveTo>
                    <a:lnTo>
                      <a:pt x="6656863" y="4406149"/>
                    </a:lnTo>
                    <a:lnTo>
                      <a:pt x="6656863" y="4642233"/>
                    </a:lnTo>
                    <a:lnTo>
                      <a:pt x="6446349" y="4642233"/>
                    </a:lnTo>
                    <a:close/>
                    <a:moveTo>
                      <a:pt x="6663265" y="4406149"/>
                    </a:moveTo>
                    <a:lnTo>
                      <a:pt x="6887354" y="4406149"/>
                    </a:lnTo>
                    <a:lnTo>
                      <a:pt x="6887354" y="4642233"/>
                    </a:lnTo>
                    <a:lnTo>
                      <a:pt x="6663265" y="4642233"/>
                    </a:lnTo>
                    <a:close/>
                    <a:moveTo>
                      <a:pt x="6893756" y="4406149"/>
                    </a:moveTo>
                    <a:lnTo>
                      <a:pt x="7117845" y="4406149"/>
                    </a:lnTo>
                    <a:lnTo>
                      <a:pt x="7117845" y="4642233"/>
                    </a:lnTo>
                    <a:lnTo>
                      <a:pt x="6893756" y="4642233"/>
                    </a:lnTo>
                    <a:close/>
                    <a:moveTo>
                      <a:pt x="7124247" y="4406149"/>
                    </a:moveTo>
                    <a:lnTo>
                      <a:pt x="7346801" y="4406149"/>
                    </a:lnTo>
                    <a:lnTo>
                      <a:pt x="7346801" y="4642233"/>
                    </a:lnTo>
                    <a:lnTo>
                      <a:pt x="7124247" y="4642233"/>
                    </a:lnTo>
                    <a:close/>
                    <a:moveTo>
                      <a:pt x="7353204" y="4406149"/>
                    </a:moveTo>
                    <a:lnTo>
                      <a:pt x="7577292" y="4406149"/>
                    </a:lnTo>
                    <a:lnTo>
                      <a:pt x="7577292" y="4642233"/>
                    </a:lnTo>
                    <a:lnTo>
                      <a:pt x="7353204" y="4642233"/>
                    </a:lnTo>
                    <a:close/>
                    <a:moveTo>
                      <a:pt x="7583695" y="4406149"/>
                    </a:moveTo>
                    <a:lnTo>
                      <a:pt x="7807783" y="4406149"/>
                    </a:lnTo>
                    <a:lnTo>
                      <a:pt x="7807783" y="4642233"/>
                    </a:lnTo>
                    <a:lnTo>
                      <a:pt x="7583695" y="4642233"/>
                    </a:lnTo>
                    <a:close/>
                    <a:moveTo>
                      <a:pt x="7814186" y="4406149"/>
                    </a:moveTo>
                    <a:lnTo>
                      <a:pt x="8038274" y="4406149"/>
                    </a:lnTo>
                    <a:lnTo>
                      <a:pt x="8038274" y="4642233"/>
                    </a:lnTo>
                    <a:lnTo>
                      <a:pt x="7814186" y="4642233"/>
                    </a:lnTo>
                    <a:close/>
                    <a:moveTo>
                      <a:pt x="8044677" y="4406149"/>
                    </a:moveTo>
                    <a:lnTo>
                      <a:pt x="8267227" y="4406149"/>
                    </a:lnTo>
                    <a:lnTo>
                      <a:pt x="8267227" y="4642233"/>
                    </a:lnTo>
                    <a:lnTo>
                      <a:pt x="8044420" y="4642233"/>
                    </a:lnTo>
                    <a:close/>
                    <a:moveTo>
                      <a:pt x="8273629" y="4406149"/>
                    </a:moveTo>
                    <a:lnTo>
                      <a:pt x="8497718" y="4406149"/>
                    </a:lnTo>
                    <a:lnTo>
                      <a:pt x="8497718" y="4642233"/>
                    </a:lnTo>
                    <a:lnTo>
                      <a:pt x="8273629" y="4642233"/>
                    </a:lnTo>
                    <a:close/>
                    <a:moveTo>
                      <a:pt x="8504120" y="4406149"/>
                    </a:moveTo>
                    <a:lnTo>
                      <a:pt x="8728209" y="4406149"/>
                    </a:lnTo>
                    <a:lnTo>
                      <a:pt x="8728209" y="4642233"/>
                    </a:lnTo>
                    <a:lnTo>
                      <a:pt x="8504120" y="4642233"/>
                    </a:lnTo>
                    <a:close/>
                    <a:moveTo>
                      <a:pt x="8734611" y="4406149"/>
                    </a:moveTo>
                    <a:lnTo>
                      <a:pt x="8957162" y="4406149"/>
                    </a:lnTo>
                    <a:lnTo>
                      <a:pt x="8957162" y="4642233"/>
                    </a:lnTo>
                    <a:lnTo>
                      <a:pt x="8734611" y="4642233"/>
                    </a:lnTo>
                    <a:close/>
                    <a:moveTo>
                      <a:pt x="8963564" y="4406149"/>
                    </a:moveTo>
                    <a:lnTo>
                      <a:pt x="9187653" y="4406149"/>
                    </a:lnTo>
                    <a:lnTo>
                      <a:pt x="9187653" y="4642233"/>
                    </a:lnTo>
                    <a:lnTo>
                      <a:pt x="8963564" y="4642233"/>
                    </a:lnTo>
                    <a:close/>
                    <a:moveTo>
                      <a:pt x="9194055" y="4406149"/>
                    </a:moveTo>
                    <a:lnTo>
                      <a:pt x="9418144" y="4406149"/>
                    </a:lnTo>
                    <a:lnTo>
                      <a:pt x="9418144" y="4642233"/>
                    </a:lnTo>
                    <a:lnTo>
                      <a:pt x="9194055" y="4642233"/>
                    </a:lnTo>
                    <a:close/>
                    <a:moveTo>
                      <a:pt x="9424546" y="4406149"/>
                    </a:moveTo>
                    <a:lnTo>
                      <a:pt x="9648635" y="4406149"/>
                    </a:lnTo>
                    <a:lnTo>
                      <a:pt x="9648635" y="4642233"/>
                    </a:lnTo>
                    <a:lnTo>
                      <a:pt x="9424546" y="4642233"/>
                    </a:lnTo>
                    <a:close/>
                    <a:moveTo>
                      <a:pt x="9655037" y="4406149"/>
                    </a:moveTo>
                    <a:lnTo>
                      <a:pt x="9877591" y="4406149"/>
                    </a:lnTo>
                    <a:lnTo>
                      <a:pt x="9877591" y="4642233"/>
                    </a:lnTo>
                    <a:lnTo>
                      <a:pt x="9655037" y="4642233"/>
                    </a:lnTo>
                    <a:close/>
                    <a:moveTo>
                      <a:pt x="9883993" y="4406149"/>
                    </a:moveTo>
                    <a:lnTo>
                      <a:pt x="10108082" y="4406149"/>
                    </a:lnTo>
                    <a:lnTo>
                      <a:pt x="10108082" y="4642233"/>
                    </a:lnTo>
                    <a:lnTo>
                      <a:pt x="9883993" y="4642233"/>
                    </a:lnTo>
                    <a:close/>
                    <a:moveTo>
                      <a:pt x="9883993" y="4399346"/>
                    </a:moveTo>
                    <a:lnTo>
                      <a:pt x="9883993" y="4161221"/>
                    </a:lnTo>
                    <a:lnTo>
                      <a:pt x="10108082" y="4161221"/>
                    </a:lnTo>
                    <a:lnTo>
                      <a:pt x="10108082" y="4399346"/>
                    </a:lnTo>
                    <a:close/>
                    <a:moveTo>
                      <a:pt x="9883993" y="4154417"/>
                    </a:moveTo>
                    <a:lnTo>
                      <a:pt x="9883993" y="3916292"/>
                    </a:lnTo>
                    <a:lnTo>
                      <a:pt x="10108082" y="3916292"/>
                    </a:lnTo>
                    <a:lnTo>
                      <a:pt x="10108082" y="4154417"/>
                    </a:lnTo>
                    <a:close/>
                    <a:moveTo>
                      <a:pt x="9883993" y="3909489"/>
                    </a:moveTo>
                    <a:lnTo>
                      <a:pt x="9883993" y="3671364"/>
                    </a:lnTo>
                    <a:lnTo>
                      <a:pt x="10108082" y="3671364"/>
                    </a:lnTo>
                    <a:lnTo>
                      <a:pt x="10108082" y="3909489"/>
                    </a:lnTo>
                    <a:close/>
                    <a:moveTo>
                      <a:pt x="9883993" y="3664560"/>
                    </a:moveTo>
                    <a:lnTo>
                      <a:pt x="9883993" y="3428068"/>
                    </a:lnTo>
                    <a:lnTo>
                      <a:pt x="10108082" y="3428068"/>
                    </a:lnTo>
                    <a:lnTo>
                      <a:pt x="10108082" y="3664560"/>
                    </a:lnTo>
                    <a:close/>
                    <a:moveTo>
                      <a:pt x="9883993" y="3421264"/>
                    </a:moveTo>
                    <a:lnTo>
                      <a:pt x="9883993" y="3183139"/>
                    </a:lnTo>
                    <a:lnTo>
                      <a:pt x="10108082" y="3183139"/>
                    </a:lnTo>
                    <a:lnTo>
                      <a:pt x="10108082" y="3421264"/>
                    </a:lnTo>
                    <a:close/>
                    <a:moveTo>
                      <a:pt x="9883993" y="3176336"/>
                    </a:moveTo>
                    <a:lnTo>
                      <a:pt x="9883993" y="2938211"/>
                    </a:lnTo>
                    <a:lnTo>
                      <a:pt x="10108082" y="2938211"/>
                    </a:lnTo>
                    <a:lnTo>
                      <a:pt x="10108082" y="3176336"/>
                    </a:lnTo>
                    <a:close/>
                    <a:moveTo>
                      <a:pt x="9883993" y="2931407"/>
                    </a:moveTo>
                    <a:lnTo>
                      <a:pt x="9883993" y="2693282"/>
                    </a:lnTo>
                    <a:lnTo>
                      <a:pt x="10108082" y="2693282"/>
                    </a:lnTo>
                    <a:lnTo>
                      <a:pt x="10108082" y="2931407"/>
                    </a:lnTo>
                    <a:close/>
                    <a:moveTo>
                      <a:pt x="9883993" y="2686479"/>
                    </a:moveTo>
                    <a:lnTo>
                      <a:pt x="9883993" y="2449986"/>
                    </a:lnTo>
                    <a:lnTo>
                      <a:pt x="10108082" y="2449986"/>
                    </a:lnTo>
                    <a:lnTo>
                      <a:pt x="10108082" y="2686479"/>
                    </a:lnTo>
                    <a:close/>
                    <a:moveTo>
                      <a:pt x="9883993" y="2443183"/>
                    </a:moveTo>
                    <a:lnTo>
                      <a:pt x="9883993" y="2205058"/>
                    </a:lnTo>
                    <a:lnTo>
                      <a:pt x="10108082" y="2205058"/>
                    </a:lnTo>
                    <a:lnTo>
                      <a:pt x="10108082" y="2443183"/>
                    </a:lnTo>
                    <a:close/>
                    <a:moveTo>
                      <a:pt x="9883993" y="2198254"/>
                    </a:moveTo>
                    <a:lnTo>
                      <a:pt x="9883993" y="1960129"/>
                    </a:lnTo>
                    <a:lnTo>
                      <a:pt x="10108082" y="1960129"/>
                    </a:lnTo>
                    <a:lnTo>
                      <a:pt x="10108082" y="2198254"/>
                    </a:lnTo>
                    <a:close/>
                    <a:moveTo>
                      <a:pt x="9877591" y="2198254"/>
                    </a:moveTo>
                    <a:lnTo>
                      <a:pt x="9655037" y="2198254"/>
                    </a:lnTo>
                    <a:lnTo>
                      <a:pt x="9655037" y="1960129"/>
                    </a:lnTo>
                    <a:lnTo>
                      <a:pt x="9877591" y="1960129"/>
                    </a:lnTo>
                    <a:close/>
                    <a:moveTo>
                      <a:pt x="9648635" y="2198254"/>
                    </a:moveTo>
                    <a:lnTo>
                      <a:pt x="9424546" y="2198254"/>
                    </a:lnTo>
                    <a:lnTo>
                      <a:pt x="9424546" y="1960129"/>
                    </a:lnTo>
                    <a:lnTo>
                      <a:pt x="9648635" y="1960129"/>
                    </a:lnTo>
                    <a:close/>
                    <a:moveTo>
                      <a:pt x="9418144" y="2198254"/>
                    </a:moveTo>
                    <a:lnTo>
                      <a:pt x="9194055" y="2198254"/>
                    </a:lnTo>
                    <a:lnTo>
                      <a:pt x="9194055" y="1960129"/>
                    </a:lnTo>
                    <a:lnTo>
                      <a:pt x="9418144" y="1960129"/>
                    </a:lnTo>
                    <a:close/>
                    <a:moveTo>
                      <a:pt x="9187653" y="2198254"/>
                    </a:moveTo>
                    <a:lnTo>
                      <a:pt x="8963564" y="2198254"/>
                    </a:lnTo>
                    <a:lnTo>
                      <a:pt x="8963564" y="1960129"/>
                    </a:lnTo>
                    <a:lnTo>
                      <a:pt x="9187653" y="1960129"/>
                    </a:lnTo>
                    <a:close/>
                    <a:moveTo>
                      <a:pt x="8957162" y="2198254"/>
                    </a:moveTo>
                    <a:lnTo>
                      <a:pt x="8734611" y="2198254"/>
                    </a:lnTo>
                    <a:lnTo>
                      <a:pt x="8734611" y="1960129"/>
                    </a:lnTo>
                    <a:lnTo>
                      <a:pt x="8957162" y="1960129"/>
                    </a:lnTo>
                    <a:close/>
                    <a:moveTo>
                      <a:pt x="8728209" y="2198254"/>
                    </a:moveTo>
                    <a:lnTo>
                      <a:pt x="8504120" y="2198254"/>
                    </a:lnTo>
                    <a:lnTo>
                      <a:pt x="8504120" y="1960129"/>
                    </a:lnTo>
                    <a:lnTo>
                      <a:pt x="8728209" y="1960129"/>
                    </a:lnTo>
                    <a:close/>
                    <a:moveTo>
                      <a:pt x="8497718" y="2198254"/>
                    </a:moveTo>
                    <a:lnTo>
                      <a:pt x="8273629" y="2198254"/>
                    </a:lnTo>
                    <a:lnTo>
                      <a:pt x="8273629" y="1960129"/>
                    </a:lnTo>
                    <a:lnTo>
                      <a:pt x="8497718" y="1960129"/>
                    </a:lnTo>
                    <a:close/>
                    <a:moveTo>
                      <a:pt x="8267227" y="2198254"/>
                    </a:moveTo>
                    <a:lnTo>
                      <a:pt x="8044420" y="2198254"/>
                    </a:lnTo>
                    <a:lnTo>
                      <a:pt x="8044420" y="1960129"/>
                    </a:lnTo>
                    <a:lnTo>
                      <a:pt x="8267227" y="1960129"/>
                    </a:lnTo>
                    <a:close/>
                    <a:moveTo>
                      <a:pt x="8038274" y="2198254"/>
                    </a:moveTo>
                    <a:lnTo>
                      <a:pt x="7814186" y="2198254"/>
                    </a:lnTo>
                    <a:lnTo>
                      <a:pt x="7814186" y="1960129"/>
                    </a:lnTo>
                    <a:lnTo>
                      <a:pt x="8038274" y="1960129"/>
                    </a:lnTo>
                    <a:close/>
                    <a:moveTo>
                      <a:pt x="7807783" y="2198254"/>
                    </a:moveTo>
                    <a:lnTo>
                      <a:pt x="7583695" y="2198254"/>
                    </a:lnTo>
                    <a:lnTo>
                      <a:pt x="7583695" y="1960129"/>
                    </a:lnTo>
                    <a:lnTo>
                      <a:pt x="7807783" y="1960129"/>
                    </a:lnTo>
                    <a:close/>
                    <a:moveTo>
                      <a:pt x="7577292" y="2198254"/>
                    </a:moveTo>
                    <a:lnTo>
                      <a:pt x="7353204" y="2198254"/>
                    </a:lnTo>
                    <a:lnTo>
                      <a:pt x="7353204" y="1960129"/>
                    </a:lnTo>
                    <a:lnTo>
                      <a:pt x="7577292" y="1960129"/>
                    </a:lnTo>
                    <a:close/>
                    <a:moveTo>
                      <a:pt x="7346801" y="2198254"/>
                    </a:moveTo>
                    <a:lnTo>
                      <a:pt x="7124247" y="2198254"/>
                    </a:lnTo>
                    <a:lnTo>
                      <a:pt x="7124247" y="1960129"/>
                    </a:lnTo>
                    <a:lnTo>
                      <a:pt x="7346801" y="1960129"/>
                    </a:lnTo>
                    <a:close/>
                    <a:moveTo>
                      <a:pt x="7117845" y="2198254"/>
                    </a:moveTo>
                    <a:lnTo>
                      <a:pt x="6893756" y="2198254"/>
                    </a:lnTo>
                    <a:lnTo>
                      <a:pt x="6893756" y="1960129"/>
                    </a:lnTo>
                    <a:lnTo>
                      <a:pt x="7117845" y="1960129"/>
                    </a:lnTo>
                    <a:close/>
                    <a:moveTo>
                      <a:pt x="6887354" y="2198254"/>
                    </a:moveTo>
                    <a:lnTo>
                      <a:pt x="6663265" y="2198254"/>
                    </a:lnTo>
                    <a:lnTo>
                      <a:pt x="6663265" y="1960129"/>
                    </a:lnTo>
                    <a:lnTo>
                      <a:pt x="6887354" y="1960129"/>
                    </a:lnTo>
                    <a:close/>
                    <a:moveTo>
                      <a:pt x="6656863" y="2198254"/>
                    </a:moveTo>
                    <a:lnTo>
                      <a:pt x="6446349" y="2198254"/>
                    </a:lnTo>
                    <a:lnTo>
                      <a:pt x="6446349" y="1960129"/>
                    </a:lnTo>
                    <a:lnTo>
                      <a:pt x="6656863" y="1960129"/>
                    </a:lnTo>
                    <a:close/>
                    <a:moveTo>
                      <a:pt x="6439946" y="2198254"/>
                    </a:moveTo>
                    <a:lnTo>
                      <a:pt x="6217136" y="2198254"/>
                    </a:lnTo>
                    <a:lnTo>
                      <a:pt x="6217136" y="1960129"/>
                    </a:lnTo>
                    <a:lnTo>
                      <a:pt x="6439690" y="1960129"/>
                    </a:lnTo>
                    <a:close/>
                    <a:moveTo>
                      <a:pt x="6210990" y="2198254"/>
                    </a:moveTo>
                    <a:lnTo>
                      <a:pt x="5986902" y="2198254"/>
                    </a:lnTo>
                    <a:lnTo>
                      <a:pt x="5986902" y="1960129"/>
                    </a:lnTo>
                    <a:lnTo>
                      <a:pt x="6210990" y="1960129"/>
                    </a:lnTo>
                    <a:close/>
                    <a:moveTo>
                      <a:pt x="5980499" y="2198254"/>
                    </a:moveTo>
                    <a:lnTo>
                      <a:pt x="5756411" y="2198254"/>
                    </a:lnTo>
                    <a:lnTo>
                      <a:pt x="5756411" y="1960129"/>
                    </a:lnTo>
                    <a:lnTo>
                      <a:pt x="5980499" y="1960129"/>
                    </a:lnTo>
                    <a:close/>
                    <a:moveTo>
                      <a:pt x="5750008" y="2198254"/>
                    </a:moveTo>
                    <a:lnTo>
                      <a:pt x="5526945" y="2198254"/>
                    </a:lnTo>
                    <a:lnTo>
                      <a:pt x="5526945" y="1960129"/>
                    </a:lnTo>
                    <a:lnTo>
                      <a:pt x="5749495" y="1960129"/>
                    </a:lnTo>
                    <a:close/>
                    <a:moveTo>
                      <a:pt x="5521055" y="2198254"/>
                    </a:moveTo>
                    <a:lnTo>
                      <a:pt x="5296454" y="2198254"/>
                    </a:lnTo>
                    <a:lnTo>
                      <a:pt x="5296454" y="1960129"/>
                    </a:lnTo>
                    <a:lnTo>
                      <a:pt x="5520542" y="1960129"/>
                    </a:lnTo>
                    <a:close/>
                    <a:moveTo>
                      <a:pt x="5290564" y="2198254"/>
                    </a:moveTo>
                    <a:lnTo>
                      <a:pt x="5065963" y="2198254"/>
                    </a:lnTo>
                    <a:lnTo>
                      <a:pt x="5065963" y="1960129"/>
                    </a:lnTo>
                    <a:lnTo>
                      <a:pt x="5290051" y="1960129"/>
                    </a:lnTo>
                    <a:close/>
                    <a:moveTo>
                      <a:pt x="5060073" y="2198254"/>
                    </a:moveTo>
                    <a:lnTo>
                      <a:pt x="4835472" y="2198254"/>
                    </a:lnTo>
                    <a:lnTo>
                      <a:pt x="4835472" y="1960129"/>
                    </a:lnTo>
                    <a:lnTo>
                      <a:pt x="5059560" y="1960129"/>
                    </a:lnTo>
                    <a:close/>
                    <a:moveTo>
                      <a:pt x="4829582" y="2198254"/>
                    </a:moveTo>
                    <a:lnTo>
                      <a:pt x="4607029" y="2198254"/>
                    </a:lnTo>
                    <a:lnTo>
                      <a:pt x="4607029" y="1960129"/>
                    </a:lnTo>
                    <a:lnTo>
                      <a:pt x="4829582" y="1960129"/>
                    </a:lnTo>
                    <a:close/>
                    <a:moveTo>
                      <a:pt x="4600626" y="2198254"/>
                    </a:moveTo>
                    <a:lnTo>
                      <a:pt x="4376538" y="2198254"/>
                    </a:lnTo>
                    <a:lnTo>
                      <a:pt x="4376538" y="1960129"/>
                    </a:lnTo>
                    <a:lnTo>
                      <a:pt x="4600626" y="1960129"/>
                    </a:lnTo>
                    <a:close/>
                    <a:moveTo>
                      <a:pt x="4370135" y="2198254"/>
                    </a:moveTo>
                    <a:lnTo>
                      <a:pt x="4146047" y="2198254"/>
                    </a:lnTo>
                    <a:lnTo>
                      <a:pt x="4146047" y="1960129"/>
                    </a:lnTo>
                    <a:lnTo>
                      <a:pt x="4370135" y="1960129"/>
                    </a:lnTo>
                    <a:close/>
                    <a:moveTo>
                      <a:pt x="4139644" y="2198254"/>
                    </a:moveTo>
                    <a:lnTo>
                      <a:pt x="3917094" y="2198254"/>
                    </a:lnTo>
                    <a:lnTo>
                      <a:pt x="3917094" y="1960129"/>
                    </a:lnTo>
                    <a:lnTo>
                      <a:pt x="4139644" y="1960129"/>
                    </a:lnTo>
                    <a:close/>
                    <a:moveTo>
                      <a:pt x="3910691" y="2198254"/>
                    </a:moveTo>
                    <a:lnTo>
                      <a:pt x="3686603" y="2198254"/>
                    </a:lnTo>
                    <a:lnTo>
                      <a:pt x="3686603" y="1960129"/>
                    </a:lnTo>
                    <a:lnTo>
                      <a:pt x="3910691" y="1960129"/>
                    </a:lnTo>
                    <a:close/>
                    <a:moveTo>
                      <a:pt x="3680200" y="2198254"/>
                    </a:moveTo>
                    <a:lnTo>
                      <a:pt x="3456112" y="2198254"/>
                    </a:lnTo>
                    <a:lnTo>
                      <a:pt x="3456112" y="1960129"/>
                    </a:lnTo>
                    <a:lnTo>
                      <a:pt x="3680200" y="1960129"/>
                    </a:lnTo>
                    <a:close/>
                    <a:moveTo>
                      <a:pt x="3449709" y="2198254"/>
                    </a:moveTo>
                    <a:lnTo>
                      <a:pt x="3225621" y="2198254"/>
                    </a:lnTo>
                    <a:lnTo>
                      <a:pt x="3225621" y="1960129"/>
                    </a:lnTo>
                    <a:lnTo>
                      <a:pt x="3449709" y="1960129"/>
                    </a:lnTo>
                    <a:close/>
                    <a:moveTo>
                      <a:pt x="3219218" y="2198254"/>
                    </a:moveTo>
                    <a:lnTo>
                      <a:pt x="2996666" y="2198254"/>
                    </a:lnTo>
                    <a:lnTo>
                      <a:pt x="2996666" y="1960129"/>
                    </a:lnTo>
                    <a:lnTo>
                      <a:pt x="3219218" y="1960129"/>
                    </a:lnTo>
                    <a:close/>
                    <a:moveTo>
                      <a:pt x="2990264" y="2198254"/>
                    </a:moveTo>
                    <a:lnTo>
                      <a:pt x="2766175" y="2198254"/>
                    </a:lnTo>
                    <a:lnTo>
                      <a:pt x="2766175" y="1960129"/>
                    </a:lnTo>
                    <a:lnTo>
                      <a:pt x="2990264" y="1960129"/>
                    </a:lnTo>
                    <a:close/>
                    <a:moveTo>
                      <a:pt x="2759773" y="2198254"/>
                    </a:moveTo>
                    <a:lnTo>
                      <a:pt x="2535684" y="2198254"/>
                    </a:lnTo>
                    <a:lnTo>
                      <a:pt x="2535684" y="1960129"/>
                    </a:lnTo>
                    <a:lnTo>
                      <a:pt x="2759773" y="1960129"/>
                    </a:lnTo>
                    <a:close/>
                    <a:moveTo>
                      <a:pt x="2529282" y="2198254"/>
                    </a:moveTo>
                    <a:lnTo>
                      <a:pt x="2305193" y="2198254"/>
                    </a:lnTo>
                    <a:lnTo>
                      <a:pt x="2305193" y="1960129"/>
                    </a:lnTo>
                    <a:lnTo>
                      <a:pt x="2529282" y="1960129"/>
                    </a:lnTo>
                    <a:close/>
                    <a:moveTo>
                      <a:pt x="2298791" y="2198254"/>
                    </a:moveTo>
                    <a:lnTo>
                      <a:pt x="2075982" y="2198254"/>
                    </a:lnTo>
                    <a:lnTo>
                      <a:pt x="2075982" y="1960129"/>
                    </a:lnTo>
                    <a:lnTo>
                      <a:pt x="2298534" y="1960129"/>
                    </a:lnTo>
                    <a:close/>
                    <a:moveTo>
                      <a:pt x="2069836" y="2198254"/>
                    </a:moveTo>
                    <a:lnTo>
                      <a:pt x="1845748" y="2198254"/>
                    </a:lnTo>
                    <a:lnTo>
                      <a:pt x="1845748" y="1960129"/>
                    </a:lnTo>
                    <a:lnTo>
                      <a:pt x="2069580" y="1960129"/>
                    </a:lnTo>
                    <a:close/>
                    <a:moveTo>
                      <a:pt x="2069836" y="2205058"/>
                    </a:moveTo>
                    <a:lnTo>
                      <a:pt x="2069836" y="2443183"/>
                    </a:lnTo>
                    <a:lnTo>
                      <a:pt x="1845748" y="2443183"/>
                    </a:lnTo>
                    <a:lnTo>
                      <a:pt x="1845748" y="2205058"/>
                    </a:lnTo>
                    <a:close/>
                    <a:moveTo>
                      <a:pt x="2069836" y="2449986"/>
                    </a:moveTo>
                    <a:lnTo>
                      <a:pt x="2069836" y="2686479"/>
                    </a:lnTo>
                    <a:lnTo>
                      <a:pt x="1845748" y="2686479"/>
                    </a:lnTo>
                    <a:lnTo>
                      <a:pt x="1845748" y="2449986"/>
                    </a:lnTo>
                    <a:close/>
                    <a:moveTo>
                      <a:pt x="2069836" y="2693282"/>
                    </a:moveTo>
                    <a:lnTo>
                      <a:pt x="2069836" y="2931407"/>
                    </a:lnTo>
                    <a:lnTo>
                      <a:pt x="1845748" y="2931407"/>
                    </a:lnTo>
                    <a:lnTo>
                      <a:pt x="1845748" y="2693282"/>
                    </a:lnTo>
                    <a:close/>
                    <a:moveTo>
                      <a:pt x="2069836" y="2938211"/>
                    </a:moveTo>
                    <a:lnTo>
                      <a:pt x="2069836" y="3176336"/>
                    </a:lnTo>
                    <a:lnTo>
                      <a:pt x="1845748" y="3176336"/>
                    </a:lnTo>
                    <a:lnTo>
                      <a:pt x="1845748" y="2938211"/>
                    </a:lnTo>
                    <a:close/>
                    <a:moveTo>
                      <a:pt x="2069836" y="3183139"/>
                    </a:moveTo>
                    <a:lnTo>
                      <a:pt x="2069836" y="3421264"/>
                    </a:lnTo>
                    <a:lnTo>
                      <a:pt x="1845748" y="3421264"/>
                    </a:lnTo>
                    <a:lnTo>
                      <a:pt x="1845748" y="3183139"/>
                    </a:lnTo>
                    <a:close/>
                    <a:moveTo>
                      <a:pt x="2069836" y="3428068"/>
                    </a:moveTo>
                    <a:lnTo>
                      <a:pt x="2069836" y="3664560"/>
                    </a:lnTo>
                    <a:lnTo>
                      <a:pt x="1845748" y="3664560"/>
                    </a:lnTo>
                    <a:lnTo>
                      <a:pt x="1845748" y="3428068"/>
                    </a:lnTo>
                    <a:close/>
                    <a:moveTo>
                      <a:pt x="2069836" y="3671364"/>
                    </a:moveTo>
                    <a:lnTo>
                      <a:pt x="2069836" y="3909489"/>
                    </a:lnTo>
                    <a:lnTo>
                      <a:pt x="1845748" y="3909489"/>
                    </a:lnTo>
                    <a:lnTo>
                      <a:pt x="1845748" y="3671364"/>
                    </a:lnTo>
                    <a:close/>
                    <a:moveTo>
                      <a:pt x="2069836" y="3916292"/>
                    </a:moveTo>
                    <a:lnTo>
                      <a:pt x="2069836" y="4154417"/>
                    </a:lnTo>
                    <a:lnTo>
                      <a:pt x="1845748" y="4154417"/>
                    </a:lnTo>
                    <a:lnTo>
                      <a:pt x="1845748" y="3916292"/>
                    </a:lnTo>
                    <a:close/>
                    <a:moveTo>
                      <a:pt x="2069836" y="4161221"/>
                    </a:moveTo>
                    <a:lnTo>
                      <a:pt x="2069836" y="4399346"/>
                    </a:lnTo>
                    <a:lnTo>
                      <a:pt x="1845748" y="4399346"/>
                    </a:lnTo>
                    <a:lnTo>
                      <a:pt x="1845748" y="4161221"/>
                    </a:lnTo>
                    <a:close/>
                    <a:moveTo>
                      <a:pt x="2069836" y="4406149"/>
                    </a:moveTo>
                    <a:lnTo>
                      <a:pt x="2069836" y="4642233"/>
                    </a:lnTo>
                    <a:lnTo>
                      <a:pt x="1845748" y="4642233"/>
                    </a:lnTo>
                    <a:lnTo>
                      <a:pt x="1845748" y="4405741"/>
                    </a:lnTo>
                    <a:close/>
                    <a:moveTo>
                      <a:pt x="2069836" y="4649445"/>
                    </a:moveTo>
                    <a:lnTo>
                      <a:pt x="2069836" y="4887162"/>
                    </a:lnTo>
                    <a:lnTo>
                      <a:pt x="1845748" y="4887162"/>
                    </a:lnTo>
                    <a:lnTo>
                      <a:pt x="1845748" y="4649037"/>
                    </a:lnTo>
                    <a:close/>
                    <a:moveTo>
                      <a:pt x="2076239" y="4649445"/>
                    </a:moveTo>
                    <a:lnTo>
                      <a:pt x="2298791" y="4649445"/>
                    </a:lnTo>
                    <a:lnTo>
                      <a:pt x="2298791" y="4887162"/>
                    </a:lnTo>
                    <a:lnTo>
                      <a:pt x="2075982" y="4887162"/>
                    </a:lnTo>
                    <a:close/>
                    <a:moveTo>
                      <a:pt x="2305193" y="4649445"/>
                    </a:moveTo>
                    <a:lnTo>
                      <a:pt x="2529282" y="4649445"/>
                    </a:lnTo>
                    <a:lnTo>
                      <a:pt x="2529282" y="4887162"/>
                    </a:lnTo>
                    <a:lnTo>
                      <a:pt x="2305193" y="4887162"/>
                    </a:lnTo>
                    <a:close/>
                    <a:moveTo>
                      <a:pt x="2535684" y="4649445"/>
                    </a:moveTo>
                    <a:lnTo>
                      <a:pt x="2759773" y="4649445"/>
                    </a:lnTo>
                    <a:lnTo>
                      <a:pt x="2759773" y="4887162"/>
                    </a:lnTo>
                    <a:lnTo>
                      <a:pt x="2535684" y="4887162"/>
                    </a:lnTo>
                    <a:close/>
                    <a:moveTo>
                      <a:pt x="2766175" y="4649445"/>
                    </a:moveTo>
                    <a:lnTo>
                      <a:pt x="2990264" y="4649445"/>
                    </a:lnTo>
                    <a:lnTo>
                      <a:pt x="2990264" y="4887162"/>
                    </a:lnTo>
                    <a:lnTo>
                      <a:pt x="2766175" y="4887162"/>
                    </a:lnTo>
                    <a:close/>
                    <a:moveTo>
                      <a:pt x="2996666" y="4649445"/>
                    </a:moveTo>
                    <a:lnTo>
                      <a:pt x="3219218" y="4649445"/>
                    </a:lnTo>
                    <a:lnTo>
                      <a:pt x="3219218" y="4887162"/>
                    </a:lnTo>
                    <a:lnTo>
                      <a:pt x="2996666" y="4887162"/>
                    </a:lnTo>
                    <a:close/>
                    <a:moveTo>
                      <a:pt x="3225621" y="4649445"/>
                    </a:moveTo>
                    <a:lnTo>
                      <a:pt x="3449709" y="4649445"/>
                    </a:lnTo>
                    <a:lnTo>
                      <a:pt x="3449709" y="4887162"/>
                    </a:lnTo>
                    <a:lnTo>
                      <a:pt x="3225621" y="4887162"/>
                    </a:lnTo>
                    <a:close/>
                    <a:moveTo>
                      <a:pt x="3456112" y="4649445"/>
                    </a:moveTo>
                    <a:lnTo>
                      <a:pt x="3680200" y="4649445"/>
                    </a:lnTo>
                    <a:lnTo>
                      <a:pt x="3680200" y="4887162"/>
                    </a:lnTo>
                    <a:lnTo>
                      <a:pt x="3456112" y="4887162"/>
                    </a:lnTo>
                    <a:close/>
                    <a:moveTo>
                      <a:pt x="3686603" y="4649445"/>
                    </a:moveTo>
                    <a:lnTo>
                      <a:pt x="3910691" y="4649445"/>
                    </a:lnTo>
                    <a:lnTo>
                      <a:pt x="3910691" y="4887162"/>
                    </a:lnTo>
                    <a:lnTo>
                      <a:pt x="3686603" y="4887162"/>
                    </a:lnTo>
                    <a:close/>
                    <a:moveTo>
                      <a:pt x="3917094" y="4649445"/>
                    </a:moveTo>
                    <a:lnTo>
                      <a:pt x="4139644" y="4649445"/>
                    </a:lnTo>
                    <a:lnTo>
                      <a:pt x="4139644" y="4887162"/>
                    </a:lnTo>
                    <a:lnTo>
                      <a:pt x="3917094" y="4887162"/>
                    </a:lnTo>
                    <a:close/>
                    <a:moveTo>
                      <a:pt x="4146047" y="4649445"/>
                    </a:moveTo>
                    <a:lnTo>
                      <a:pt x="4370135" y="4649445"/>
                    </a:lnTo>
                    <a:lnTo>
                      <a:pt x="4370135" y="4887162"/>
                    </a:lnTo>
                    <a:lnTo>
                      <a:pt x="4146047" y="4887162"/>
                    </a:lnTo>
                    <a:close/>
                    <a:moveTo>
                      <a:pt x="4376538" y="4649445"/>
                    </a:moveTo>
                    <a:lnTo>
                      <a:pt x="4600626" y="4649445"/>
                    </a:lnTo>
                    <a:lnTo>
                      <a:pt x="4600626" y="4887162"/>
                    </a:lnTo>
                    <a:lnTo>
                      <a:pt x="4376538" y="4887162"/>
                    </a:lnTo>
                    <a:close/>
                    <a:moveTo>
                      <a:pt x="4607029" y="4649445"/>
                    </a:moveTo>
                    <a:lnTo>
                      <a:pt x="4829582" y="4649445"/>
                    </a:lnTo>
                    <a:lnTo>
                      <a:pt x="4829582" y="4887162"/>
                    </a:lnTo>
                    <a:lnTo>
                      <a:pt x="4607029" y="4887162"/>
                    </a:lnTo>
                    <a:close/>
                    <a:moveTo>
                      <a:pt x="4835985" y="4649445"/>
                    </a:moveTo>
                    <a:lnTo>
                      <a:pt x="5060073" y="4649445"/>
                    </a:lnTo>
                    <a:lnTo>
                      <a:pt x="5060073" y="4887162"/>
                    </a:lnTo>
                    <a:lnTo>
                      <a:pt x="4835472" y="4887162"/>
                    </a:lnTo>
                    <a:close/>
                    <a:moveTo>
                      <a:pt x="5066476" y="4649445"/>
                    </a:moveTo>
                    <a:lnTo>
                      <a:pt x="5290564" y="4649445"/>
                    </a:lnTo>
                    <a:lnTo>
                      <a:pt x="5290564" y="4887162"/>
                    </a:lnTo>
                    <a:lnTo>
                      <a:pt x="5065963" y="4887162"/>
                    </a:lnTo>
                    <a:close/>
                    <a:moveTo>
                      <a:pt x="5296967" y="4649445"/>
                    </a:moveTo>
                    <a:lnTo>
                      <a:pt x="5521055" y="4649445"/>
                    </a:lnTo>
                    <a:lnTo>
                      <a:pt x="5521055" y="4887162"/>
                    </a:lnTo>
                    <a:lnTo>
                      <a:pt x="5296454" y="4887162"/>
                    </a:lnTo>
                    <a:close/>
                    <a:moveTo>
                      <a:pt x="5527458" y="4649445"/>
                    </a:moveTo>
                    <a:lnTo>
                      <a:pt x="5750008" y="4649445"/>
                    </a:lnTo>
                    <a:lnTo>
                      <a:pt x="5750008" y="4887162"/>
                    </a:lnTo>
                    <a:lnTo>
                      <a:pt x="5526945" y="4887162"/>
                    </a:lnTo>
                    <a:close/>
                    <a:moveTo>
                      <a:pt x="5756411" y="4649445"/>
                    </a:moveTo>
                    <a:lnTo>
                      <a:pt x="5980499" y="4649445"/>
                    </a:lnTo>
                    <a:lnTo>
                      <a:pt x="5980499" y="4887162"/>
                    </a:lnTo>
                    <a:lnTo>
                      <a:pt x="5756411" y="4887162"/>
                    </a:lnTo>
                    <a:close/>
                    <a:moveTo>
                      <a:pt x="5986902" y="4649445"/>
                    </a:moveTo>
                    <a:lnTo>
                      <a:pt x="6210990" y="4649445"/>
                    </a:lnTo>
                    <a:lnTo>
                      <a:pt x="6210990" y="4887162"/>
                    </a:lnTo>
                    <a:lnTo>
                      <a:pt x="5986902" y="4887162"/>
                    </a:lnTo>
                    <a:close/>
                    <a:moveTo>
                      <a:pt x="6217393" y="4649445"/>
                    </a:moveTo>
                    <a:lnTo>
                      <a:pt x="6439946" y="4649445"/>
                    </a:lnTo>
                    <a:lnTo>
                      <a:pt x="6439946" y="4887162"/>
                    </a:lnTo>
                    <a:lnTo>
                      <a:pt x="6217136" y="4887162"/>
                    </a:lnTo>
                    <a:close/>
                    <a:moveTo>
                      <a:pt x="6446349" y="4649445"/>
                    </a:moveTo>
                    <a:lnTo>
                      <a:pt x="6656863" y="4649445"/>
                    </a:lnTo>
                    <a:lnTo>
                      <a:pt x="6656863" y="4887162"/>
                    </a:lnTo>
                    <a:lnTo>
                      <a:pt x="6446349" y="4887162"/>
                    </a:lnTo>
                    <a:close/>
                    <a:moveTo>
                      <a:pt x="6663265" y="4649445"/>
                    </a:moveTo>
                    <a:lnTo>
                      <a:pt x="6887354" y="4649445"/>
                    </a:lnTo>
                    <a:lnTo>
                      <a:pt x="6887354" y="4887162"/>
                    </a:lnTo>
                    <a:lnTo>
                      <a:pt x="6663265" y="4887162"/>
                    </a:lnTo>
                    <a:close/>
                    <a:moveTo>
                      <a:pt x="6893756" y="4649445"/>
                    </a:moveTo>
                    <a:lnTo>
                      <a:pt x="7117845" y="4649445"/>
                    </a:lnTo>
                    <a:lnTo>
                      <a:pt x="7117845" y="4887162"/>
                    </a:lnTo>
                    <a:lnTo>
                      <a:pt x="6893756" y="4887162"/>
                    </a:lnTo>
                    <a:close/>
                    <a:moveTo>
                      <a:pt x="7124247" y="4649445"/>
                    </a:moveTo>
                    <a:lnTo>
                      <a:pt x="7346801" y="4649445"/>
                    </a:lnTo>
                    <a:lnTo>
                      <a:pt x="7346801" y="4887162"/>
                    </a:lnTo>
                    <a:lnTo>
                      <a:pt x="7124247" y="4887162"/>
                    </a:lnTo>
                    <a:close/>
                    <a:moveTo>
                      <a:pt x="7353204" y="4649445"/>
                    </a:moveTo>
                    <a:lnTo>
                      <a:pt x="7577292" y="4649445"/>
                    </a:lnTo>
                    <a:lnTo>
                      <a:pt x="7577292" y="4887162"/>
                    </a:lnTo>
                    <a:lnTo>
                      <a:pt x="7353204" y="4887162"/>
                    </a:lnTo>
                    <a:close/>
                    <a:moveTo>
                      <a:pt x="7583695" y="4649445"/>
                    </a:moveTo>
                    <a:lnTo>
                      <a:pt x="7807783" y="4649445"/>
                    </a:lnTo>
                    <a:lnTo>
                      <a:pt x="7807783" y="4887162"/>
                    </a:lnTo>
                    <a:lnTo>
                      <a:pt x="7583695" y="4887162"/>
                    </a:lnTo>
                    <a:close/>
                    <a:moveTo>
                      <a:pt x="7814186" y="4649445"/>
                    </a:moveTo>
                    <a:lnTo>
                      <a:pt x="8038274" y="4649445"/>
                    </a:lnTo>
                    <a:lnTo>
                      <a:pt x="8038274" y="4887162"/>
                    </a:lnTo>
                    <a:lnTo>
                      <a:pt x="7814186" y="4887162"/>
                    </a:lnTo>
                    <a:close/>
                    <a:moveTo>
                      <a:pt x="8044677" y="4649445"/>
                    </a:moveTo>
                    <a:lnTo>
                      <a:pt x="8267227" y="4649445"/>
                    </a:lnTo>
                    <a:lnTo>
                      <a:pt x="8267227" y="4887162"/>
                    </a:lnTo>
                    <a:lnTo>
                      <a:pt x="8044420" y="4887162"/>
                    </a:lnTo>
                    <a:close/>
                    <a:moveTo>
                      <a:pt x="8273629" y="4649445"/>
                    </a:moveTo>
                    <a:lnTo>
                      <a:pt x="8497718" y="4649445"/>
                    </a:lnTo>
                    <a:lnTo>
                      <a:pt x="8497718" y="4887162"/>
                    </a:lnTo>
                    <a:lnTo>
                      <a:pt x="8273629" y="4887162"/>
                    </a:lnTo>
                    <a:close/>
                    <a:moveTo>
                      <a:pt x="8504120" y="4649445"/>
                    </a:moveTo>
                    <a:lnTo>
                      <a:pt x="8728209" y="4649445"/>
                    </a:lnTo>
                    <a:lnTo>
                      <a:pt x="8728209" y="4887162"/>
                    </a:lnTo>
                    <a:lnTo>
                      <a:pt x="8504120" y="4887162"/>
                    </a:lnTo>
                    <a:close/>
                    <a:moveTo>
                      <a:pt x="8734611" y="4649445"/>
                    </a:moveTo>
                    <a:lnTo>
                      <a:pt x="8957162" y="4649445"/>
                    </a:lnTo>
                    <a:lnTo>
                      <a:pt x="8957162" y="4887162"/>
                    </a:lnTo>
                    <a:lnTo>
                      <a:pt x="8734611" y="4887162"/>
                    </a:lnTo>
                    <a:close/>
                    <a:moveTo>
                      <a:pt x="8963564" y="4649445"/>
                    </a:moveTo>
                    <a:lnTo>
                      <a:pt x="9187653" y="4649445"/>
                    </a:lnTo>
                    <a:lnTo>
                      <a:pt x="9187653" y="4887162"/>
                    </a:lnTo>
                    <a:lnTo>
                      <a:pt x="8963564" y="4887162"/>
                    </a:lnTo>
                    <a:close/>
                    <a:moveTo>
                      <a:pt x="9194055" y="4649445"/>
                    </a:moveTo>
                    <a:lnTo>
                      <a:pt x="9418144" y="4649445"/>
                    </a:lnTo>
                    <a:lnTo>
                      <a:pt x="9418144" y="4887162"/>
                    </a:lnTo>
                    <a:lnTo>
                      <a:pt x="9194055" y="4887162"/>
                    </a:lnTo>
                    <a:close/>
                    <a:moveTo>
                      <a:pt x="9424546" y="4649445"/>
                    </a:moveTo>
                    <a:lnTo>
                      <a:pt x="9648635" y="4649445"/>
                    </a:lnTo>
                    <a:lnTo>
                      <a:pt x="9648635" y="4887162"/>
                    </a:lnTo>
                    <a:lnTo>
                      <a:pt x="9424546" y="4887162"/>
                    </a:lnTo>
                    <a:close/>
                    <a:moveTo>
                      <a:pt x="9655037" y="4649445"/>
                    </a:moveTo>
                    <a:lnTo>
                      <a:pt x="9877591" y="4649445"/>
                    </a:lnTo>
                    <a:lnTo>
                      <a:pt x="9877591" y="4887162"/>
                    </a:lnTo>
                    <a:lnTo>
                      <a:pt x="9655037" y="4887162"/>
                    </a:lnTo>
                    <a:close/>
                    <a:moveTo>
                      <a:pt x="9883993" y="4649445"/>
                    </a:moveTo>
                    <a:lnTo>
                      <a:pt x="10108082" y="4649445"/>
                    </a:lnTo>
                    <a:lnTo>
                      <a:pt x="10108082" y="4887162"/>
                    </a:lnTo>
                    <a:lnTo>
                      <a:pt x="9883993" y="4887162"/>
                    </a:lnTo>
                    <a:close/>
                    <a:moveTo>
                      <a:pt x="10114484" y="4649445"/>
                    </a:moveTo>
                    <a:lnTo>
                      <a:pt x="10338573" y="4649445"/>
                    </a:lnTo>
                    <a:lnTo>
                      <a:pt x="10338573" y="4887162"/>
                    </a:lnTo>
                    <a:lnTo>
                      <a:pt x="10114484" y="4887162"/>
                    </a:lnTo>
                    <a:close/>
                    <a:moveTo>
                      <a:pt x="10114484" y="4642642"/>
                    </a:moveTo>
                    <a:lnTo>
                      <a:pt x="10114484" y="4406149"/>
                    </a:lnTo>
                    <a:lnTo>
                      <a:pt x="10338573" y="4406149"/>
                    </a:lnTo>
                    <a:lnTo>
                      <a:pt x="10338573" y="4642233"/>
                    </a:lnTo>
                    <a:close/>
                    <a:moveTo>
                      <a:pt x="10114484" y="4399346"/>
                    </a:moveTo>
                    <a:lnTo>
                      <a:pt x="10114484" y="4161221"/>
                    </a:lnTo>
                    <a:lnTo>
                      <a:pt x="10338573" y="4161221"/>
                    </a:lnTo>
                    <a:lnTo>
                      <a:pt x="10338573" y="4399346"/>
                    </a:lnTo>
                    <a:close/>
                    <a:moveTo>
                      <a:pt x="10114484" y="4154417"/>
                    </a:moveTo>
                    <a:lnTo>
                      <a:pt x="10114484" y="3916292"/>
                    </a:lnTo>
                    <a:lnTo>
                      <a:pt x="10338573" y="3916292"/>
                    </a:lnTo>
                    <a:lnTo>
                      <a:pt x="10338573" y="4154417"/>
                    </a:lnTo>
                    <a:close/>
                    <a:moveTo>
                      <a:pt x="10114484" y="3909489"/>
                    </a:moveTo>
                    <a:lnTo>
                      <a:pt x="10114484" y="3671364"/>
                    </a:lnTo>
                    <a:lnTo>
                      <a:pt x="10338573" y="3671364"/>
                    </a:lnTo>
                    <a:lnTo>
                      <a:pt x="10338573" y="3909489"/>
                    </a:lnTo>
                    <a:close/>
                    <a:moveTo>
                      <a:pt x="10114484" y="3664560"/>
                    </a:moveTo>
                    <a:lnTo>
                      <a:pt x="10114484" y="3428068"/>
                    </a:lnTo>
                    <a:lnTo>
                      <a:pt x="10338573" y="3428068"/>
                    </a:lnTo>
                    <a:lnTo>
                      <a:pt x="10338573" y="3664560"/>
                    </a:lnTo>
                    <a:close/>
                    <a:moveTo>
                      <a:pt x="10114484" y="3421264"/>
                    </a:moveTo>
                    <a:lnTo>
                      <a:pt x="10114484" y="3183139"/>
                    </a:lnTo>
                    <a:lnTo>
                      <a:pt x="10338573" y="3183139"/>
                    </a:lnTo>
                    <a:lnTo>
                      <a:pt x="10338573" y="3421264"/>
                    </a:lnTo>
                    <a:close/>
                    <a:moveTo>
                      <a:pt x="10114484" y="3176336"/>
                    </a:moveTo>
                    <a:lnTo>
                      <a:pt x="10114484" y="2938211"/>
                    </a:lnTo>
                    <a:lnTo>
                      <a:pt x="10338573" y="2938211"/>
                    </a:lnTo>
                    <a:lnTo>
                      <a:pt x="10338573" y="3176336"/>
                    </a:lnTo>
                    <a:close/>
                    <a:moveTo>
                      <a:pt x="10114484" y="2931407"/>
                    </a:moveTo>
                    <a:lnTo>
                      <a:pt x="10114484" y="2693282"/>
                    </a:lnTo>
                    <a:lnTo>
                      <a:pt x="10338573" y="2693282"/>
                    </a:lnTo>
                    <a:lnTo>
                      <a:pt x="10338573" y="2931407"/>
                    </a:lnTo>
                    <a:close/>
                    <a:moveTo>
                      <a:pt x="10114484" y="2686479"/>
                    </a:moveTo>
                    <a:lnTo>
                      <a:pt x="10114484" y="2449986"/>
                    </a:lnTo>
                    <a:lnTo>
                      <a:pt x="10338573" y="2449986"/>
                    </a:lnTo>
                    <a:lnTo>
                      <a:pt x="10338573" y="2686479"/>
                    </a:lnTo>
                    <a:close/>
                    <a:moveTo>
                      <a:pt x="10114484" y="2443183"/>
                    </a:moveTo>
                    <a:lnTo>
                      <a:pt x="10114484" y="2205058"/>
                    </a:lnTo>
                    <a:lnTo>
                      <a:pt x="10338573" y="2205058"/>
                    </a:lnTo>
                    <a:lnTo>
                      <a:pt x="10338573" y="2443183"/>
                    </a:lnTo>
                    <a:close/>
                    <a:moveTo>
                      <a:pt x="10114484" y="2198254"/>
                    </a:moveTo>
                    <a:lnTo>
                      <a:pt x="10114484" y="1960129"/>
                    </a:lnTo>
                    <a:lnTo>
                      <a:pt x="10338573" y="1960129"/>
                    </a:lnTo>
                    <a:lnTo>
                      <a:pt x="10338573" y="2198254"/>
                    </a:lnTo>
                    <a:close/>
                    <a:moveTo>
                      <a:pt x="10114484" y="1953326"/>
                    </a:moveTo>
                    <a:lnTo>
                      <a:pt x="10114484" y="1716697"/>
                    </a:lnTo>
                    <a:lnTo>
                      <a:pt x="10338573" y="1716697"/>
                    </a:lnTo>
                    <a:lnTo>
                      <a:pt x="10338573" y="1953189"/>
                    </a:lnTo>
                    <a:close/>
                    <a:moveTo>
                      <a:pt x="10108082" y="1953326"/>
                    </a:moveTo>
                    <a:lnTo>
                      <a:pt x="9883993" y="1953326"/>
                    </a:lnTo>
                    <a:lnTo>
                      <a:pt x="9883993" y="1716697"/>
                    </a:lnTo>
                    <a:lnTo>
                      <a:pt x="10108082" y="1716697"/>
                    </a:lnTo>
                    <a:close/>
                    <a:moveTo>
                      <a:pt x="9877591" y="1953326"/>
                    </a:moveTo>
                    <a:lnTo>
                      <a:pt x="9655037" y="1953326"/>
                    </a:lnTo>
                    <a:lnTo>
                      <a:pt x="9655037" y="1716697"/>
                    </a:lnTo>
                    <a:lnTo>
                      <a:pt x="9877591" y="1716697"/>
                    </a:lnTo>
                    <a:close/>
                    <a:moveTo>
                      <a:pt x="9648635" y="1953326"/>
                    </a:moveTo>
                    <a:lnTo>
                      <a:pt x="9424546" y="1953326"/>
                    </a:lnTo>
                    <a:lnTo>
                      <a:pt x="9424546" y="1716697"/>
                    </a:lnTo>
                    <a:lnTo>
                      <a:pt x="9648635" y="1716697"/>
                    </a:lnTo>
                    <a:close/>
                    <a:moveTo>
                      <a:pt x="9418144" y="1953326"/>
                    </a:moveTo>
                    <a:lnTo>
                      <a:pt x="9194055" y="1953326"/>
                    </a:lnTo>
                    <a:lnTo>
                      <a:pt x="9194055" y="1716697"/>
                    </a:lnTo>
                    <a:lnTo>
                      <a:pt x="9418144" y="1716697"/>
                    </a:lnTo>
                    <a:close/>
                    <a:moveTo>
                      <a:pt x="9187653" y="1953326"/>
                    </a:moveTo>
                    <a:lnTo>
                      <a:pt x="8963564" y="1953326"/>
                    </a:lnTo>
                    <a:lnTo>
                      <a:pt x="8963564" y="1716697"/>
                    </a:lnTo>
                    <a:lnTo>
                      <a:pt x="9187653" y="1716697"/>
                    </a:lnTo>
                    <a:close/>
                    <a:moveTo>
                      <a:pt x="8957162" y="1953326"/>
                    </a:moveTo>
                    <a:lnTo>
                      <a:pt x="8734611" y="1953326"/>
                    </a:lnTo>
                    <a:lnTo>
                      <a:pt x="8734611" y="1716697"/>
                    </a:lnTo>
                    <a:lnTo>
                      <a:pt x="8957162" y="1716697"/>
                    </a:lnTo>
                    <a:close/>
                    <a:moveTo>
                      <a:pt x="8728209" y="1953326"/>
                    </a:moveTo>
                    <a:lnTo>
                      <a:pt x="8504120" y="1953326"/>
                    </a:lnTo>
                    <a:lnTo>
                      <a:pt x="8504120" y="1716697"/>
                    </a:lnTo>
                    <a:lnTo>
                      <a:pt x="8728209" y="1716697"/>
                    </a:lnTo>
                    <a:close/>
                    <a:moveTo>
                      <a:pt x="8497718" y="1953326"/>
                    </a:moveTo>
                    <a:lnTo>
                      <a:pt x="8273629" y="1953326"/>
                    </a:lnTo>
                    <a:lnTo>
                      <a:pt x="8273629" y="1716697"/>
                    </a:lnTo>
                    <a:lnTo>
                      <a:pt x="8497718" y="1716697"/>
                    </a:lnTo>
                    <a:close/>
                    <a:moveTo>
                      <a:pt x="8267227" y="1953326"/>
                    </a:moveTo>
                    <a:lnTo>
                      <a:pt x="8044420" y="1953326"/>
                    </a:lnTo>
                    <a:lnTo>
                      <a:pt x="8044420" y="1716697"/>
                    </a:lnTo>
                    <a:lnTo>
                      <a:pt x="8267227" y="1716697"/>
                    </a:lnTo>
                    <a:close/>
                    <a:moveTo>
                      <a:pt x="8038274" y="1953326"/>
                    </a:moveTo>
                    <a:lnTo>
                      <a:pt x="7814186" y="1953326"/>
                    </a:lnTo>
                    <a:lnTo>
                      <a:pt x="7814186" y="1716697"/>
                    </a:lnTo>
                    <a:lnTo>
                      <a:pt x="8038274" y="1716697"/>
                    </a:lnTo>
                    <a:close/>
                    <a:moveTo>
                      <a:pt x="7807783" y="1953326"/>
                    </a:moveTo>
                    <a:lnTo>
                      <a:pt x="7583695" y="1953326"/>
                    </a:lnTo>
                    <a:lnTo>
                      <a:pt x="7583695" y="1716697"/>
                    </a:lnTo>
                    <a:lnTo>
                      <a:pt x="7807783" y="1716697"/>
                    </a:lnTo>
                    <a:close/>
                    <a:moveTo>
                      <a:pt x="7577292" y="1953326"/>
                    </a:moveTo>
                    <a:lnTo>
                      <a:pt x="7353204" y="1953326"/>
                    </a:lnTo>
                    <a:lnTo>
                      <a:pt x="7353204" y="1716697"/>
                    </a:lnTo>
                    <a:lnTo>
                      <a:pt x="7577292" y="1716697"/>
                    </a:lnTo>
                    <a:close/>
                    <a:moveTo>
                      <a:pt x="7346801" y="1953326"/>
                    </a:moveTo>
                    <a:lnTo>
                      <a:pt x="7124247" y="1953326"/>
                    </a:lnTo>
                    <a:lnTo>
                      <a:pt x="7124247" y="1716697"/>
                    </a:lnTo>
                    <a:lnTo>
                      <a:pt x="7346801" y="1716697"/>
                    </a:lnTo>
                    <a:close/>
                    <a:moveTo>
                      <a:pt x="7117845" y="1953326"/>
                    </a:moveTo>
                    <a:lnTo>
                      <a:pt x="6893756" y="1953326"/>
                    </a:lnTo>
                    <a:lnTo>
                      <a:pt x="6893756" y="1716697"/>
                    </a:lnTo>
                    <a:lnTo>
                      <a:pt x="7117845" y="1716697"/>
                    </a:lnTo>
                    <a:close/>
                    <a:moveTo>
                      <a:pt x="6887354" y="1953326"/>
                    </a:moveTo>
                    <a:lnTo>
                      <a:pt x="6663265" y="1953326"/>
                    </a:lnTo>
                    <a:lnTo>
                      <a:pt x="6663265" y="1716697"/>
                    </a:lnTo>
                    <a:lnTo>
                      <a:pt x="6887354" y="1716697"/>
                    </a:lnTo>
                    <a:close/>
                    <a:moveTo>
                      <a:pt x="6656863" y="1953326"/>
                    </a:moveTo>
                    <a:lnTo>
                      <a:pt x="6446349" y="1953326"/>
                    </a:lnTo>
                    <a:lnTo>
                      <a:pt x="6446349" y="1716697"/>
                    </a:lnTo>
                    <a:lnTo>
                      <a:pt x="6656863" y="1716697"/>
                    </a:lnTo>
                    <a:close/>
                    <a:moveTo>
                      <a:pt x="6439946" y="1953326"/>
                    </a:moveTo>
                    <a:lnTo>
                      <a:pt x="6217136" y="1953326"/>
                    </a:lnTo>
                    <a:lnTo>
                      <a:pt x="6217136" y="1716697"/>
                    </a:lnTo>
                    <a:lnTo>
                      <a:pt x="6439690" y="1716697"/>
                    </a:lnTo>
                    <a:close/>
                    <a:moveTo>
                      <a:pt x="6210990" y="1953326"/>
                    </a:moveTo>
                    <a:lnTo>
                      <a:pt x="5986902" y="1953326"/>
                    </a:lnTo>
                    <a:lnTo>
                      <a:pt x="5986902" y="1716697"/>
                    </a:lnTo>
                    <a:lnTo>
                      <a:pt x="6210990" y="1716697"/>
                    </a:lnTo>
                    <a:close/>
                    <a:moveTo>
                      <a:pt x="5980499" y="1953326"/>
                    </a:moveTo>
                    <a:lnTo>
                      <a:pt x="5756411" y="1953326"/>
                    </a:lnTo>
                    <a:lnTo>
                      <a:pt x="5756411" y="1716697"/>
                    </a:lnTo>
                    <a:lnTo>
                      <a:pt x="5980499" y="1716697"/>
                    </a:lnTo>
                    <a:close/>
                    <a:moveTo>
                      <a:pt x="5750008" y="1953326"/>
                    </a:moveTo>
                    <a:lnTo>
                      <a:pt x="5526945" y="1953326"/>
                    </a:lnTo>
                    <a:lnTo>
                      <a:pt x="5526945" y="1716697"/>
                    </a:lnTo>
                    <a:lnTo>
                      <a:pt x="5749495" y="1716697"/>
                    </a:lnTo>
                    <a:close/>
                    <a:moveTo>
                      <a:pt x="5521055" y="1953326"/>
                    </a:moveTo>
                    <a:lnTo>
                      <a:pt x="5296454" y="1953326"/>
                    </a:lnTo>
                    <a:lnTo>
                      <a:pt x="5296454" y="1716697"/>
                    </a:lnTo>
                    <a:lnTo>
                      <a:pt x="5520542" y="1716697"/>
                    </a:lnTo>
                    <a:close/>
                    <a:moveTo>
                      <a:pt x="5290564" y="1953326"/>
                    </a:moveTo>
                    <a:lnTo>
                      <a:pt x="5065963" y="1953326"/>
                    </a:lnTo>
                    <a:lnTo>
                      <a:pt x="5065963" y="1716697"/>
                    </a:lnTo>
                    <a:lnTo>
                      <a:pt x="5290051" y="1716697"/>
                    </a:lnTo>
                    <a:close/>
                    <a:moveTo>
                      <a:pt x="5060073" y="1953326"/>
                    </a:moveTo>
                    <a:lnTo>
                      <a:pt x="4835472" y="1953326"/>
                    </a:lnTo>
                    <a:lnTo>
                      <a:pt x="4835472" y="1716697"/>
                    </a:lnTo>
                    <a:lnTo>
                      <a:pt x="5059560" y="1716697"/>
                    </a:lnTo>
                    <a:close/>
                    <a:moveTo>
                      <a:pt x="4829582" y="1953326"/>
                    </a:moveTo>
                    <a:lnTo>
                      <a:pt x="4607029" y="1953326"/>
                    </a:lnTo>
                    <a:lnTo>
                      <a:pt x="4607029" y="1716697"/>
                    </a:lnTo>
                    <a:lnTo>
                      <a:pt x="4829582" y="1716697"/>
                    </a:lnTo>
                    <a:close/>
                    <a:moveTo>
                      <a:pt x="4600626" y="1953326"/>
                    </a:moveTo>
                    <a:lnTo>
                      <a:pt x="4376538" y="1953326"/>
                    </a:lnTo>
                    <a:lnTo>
                      <a:pt x="4376538" y="1716697"/>
                    </a:lnTo>
                    <a:lnTo>
                      <a:pt x="4600626" y="1716697"/>
                    </a:lnTo>
                    <a:close/>
                    <a:moveTo>
                      <a:pt x="4370135" y="1953326"/>
                    </a:moveTo>
                    <a:lnTo>
                      <a:pt x="4146047" y="1953326"/>
                    </a:lnTo>
                    <a:lnTo>
                      <a:pt x="4146047" y="1716697"/>
                    </a:lnTo>
                    <a:lnTo>
                      <a:pt x="4370135" y="1716697"/>
                    </a:lnTo>
                    <a:close/>
                    <a:moveTo>
                      <a:pt x="4139644" y="1953326"/>
                    </a:moveTo>
                    <a:lnTo>
                      <a:pt x="3917094" y="1953326"/>
                    </a:lnTo>
                    <a:lnTo>
                      <a:pt x="3917094" y="1716697"/>
                    </a:lnTo>
                    <a:lnTo>
                      <a:pt x="4139644" y="1716697"/>
                    </a:lnTo>
                    <a:close/>
                    <a:moveTo>
                      <a:pt x="3910691" y="1953326"/>
                    </a:moveTo>
                    <a:lnTo>
                      <a:pt x="3686603" y="1953326"/>
                    </a:lnTo>
                    <a:lnTo>
                      <a:pt x="3686603" y="1716697"/>
                    </a:lnTo>
                    <a:lnTo>
                      <a:pt x="3910691" y="1716697"/>
                    </a:lnTo>
                    <a:close/>
                    <a:moveTo>
                      <a:pt x="3680200" y="1953326"/>
                    </a:moveTo>
                    <a:lnTo>
                      <a:pt x="3456112" y="1953326"/>
                    </a:lnTo>
                    <a:lnTo>
                      <a:pt x="3456112" y="1716697"/>
                    </a:lnTo>
                    <a:lnTo>
                      <a:pt x="3680200" y="1716697"/>
                    </a:lnTo>
                    <a:close/>
                    <a:moveTo>
                      <a:pt x="3449709" y="1953326"/>
                    </a:moveTo>
                    <a:lnTo>
                      <a:pt x="3225621" y="1953326"/>
                    </a:lnTo>
                    <a:lnTo>
                      <a:pt x="3225621" y="1716697"/>
                    </a:lnTo>
                    <a:lnTo>
                      <a:pt x="3449709" y="1716697"/>
                    </a:lnTo>
                    <a:close/>
                    <a:moveTo>
                      <a:pt x="3219218" y="1953326"/>
                    </a:moveTo>
                    <a:lnTo>
                      <a:pt x="2996666" y="1953326"/>
                    </a:lnTo>
                    <a:lnTo>
                      <a:pt x="2996666" y="1716697"/>
                    </a:lnTo>
                    <a:lnTo>
                      <a:pt x="3219218" y="1716697"/>
                    </a:lnTo>
                    <a:close/>
                    <a:moveTo>
                      <a:pt x="2990264" y="1953326"/>
                    </a:moveTo>
                    <a:lnTo>
                      <a:pt x="2766175" y="1953326"/>
                    </a:lnTo>
                    <a:lnTo>
                      <a:pt x="2766175" y="1716697"/>
                    </a:lnTo>
                    <a:lnTo>
                      <a:pt x="2990264" y="1716697"/>
                    </a:lnTo>
                    <a:close/>
                    <a:moveTo>
                      <a:pt x="2759773" y="1953326"/>
                    </a:moveTo>
                    <a:lnTo>
                      <a:pt x="2535684" y="1953326"/>
                    </a:lnTo>
                    <a:lnTo>
                      <a:pt x="2535684" y="1716697"/>
                    </a:lnTo>
                    <a:lnTo>
                      <a:pt x="2759773" y="1716697"/>
                    </a:lnTo>
                    <a:close/>
                    <a:moveTo>
                      <a:pt x="2529282" y="1953326"/>
                    </a:moveTo>
                    <a:lnTo>
                      <a:pt x="2305193" y="1953326"/>
                    </a:lnTo>
                    <a:lnTo>
                      <a:pt x="2305193" y="1716697"/>
                    </a:lnTo>
                    <a:lnTo>
                      <a:pt x="2529282" y="1716697"/>
                    </a:lnTo>
                    <a:close/>
                    <a:moveTo>
                      <a:pt x="2298791" y="1953326"/>
                    </a:moveTo>
                    <a:lnTo>
                      <a:pt x="2075982" y="1953326"/>
                    </a:lnTo>
                    <a:lnTo>
                      <a:pt x="2075982" y="1716697"/>
                    </a:lnTo>
                    <a:lnTo>
                      <a:pt x="2298534" y="1716697"/>
                    </a:lnTo>
                    <a:close/>
                    <a:moveTo>
                      <a:pt x="2069836" y="1953326"/>
                    </a:moveTo>
                    <a:lnTo>
                      <a:pt x="1845748" y="1953326"/>
                    </a:lnTo>
                    <a:lnTo>
                      <a:pt x="1845748" y="1716697"/>
                    </a:lnTo>
                    <a:lnTo>
                      <a:pt x="2069580" y="1716697"/>
                    </a:lnTo>
                    <a:close/>
                    <a:moveTo>
                      <a:pt x="1839345" y="1953326"/>
                    </a:moveTo>
                    <a:lnTo>
                      <a:pt x="1615257" y="1953326"/>
                    </a:lnTo>
                    <a:lnTo>
                      <a:pt x="1615257" y="1716697"/>
                    </a:lnTo>
                    <a:lnTo>
                      <a:pt x="1839089" y="1716697"/>
                    </a:lnTo>
                    <a:close/>
                    <a:moveTo>
                      <a:pt x="1839345" y="1960129"/>
                    </a:moveTo>
                    <a:lnTo>
                      <a:pt x="1839345" y="2198254"/>
                    </a:lnTo>
                    <a:lnTo>
                      <a:pt x="1615257" y="2198254"/>
                    </a:lnTo>
                    <a:lnTo>
                      <a:pt x="1615257" y="1960129"/>
                    </a:lnTo>
                    <a:close/>
                    <a:moveTo>
                      <a:pt x="1839345" y="2205058"/>
                    </a:moveTo>
                    <a:lnTo>
                      <a:pt x="1839345" y="2443183"/>
                    </a:lnTo>
                    <a:lnTo>
                      <a:pt x="1615257" y="2443183"/>
                    </a:lnTo>
                    <a:lnTo>
                      <a:pt x="1615257" y="2205058"/>
                    </a:lnTo>
                    <a:close/>
                    <a:moveTo>
                      <a:pt x="1839345" y="2449986"/>
                    </a:moveTo>
                    <a:lnTo>
                      <a:pt x="1839345" y="2686479"/>
                    </a:lnTo>
                    <a:lnTo>
                      <a:pt x="1615257" y="2686479"/>
                    </a:lnTo>
                    <a:lnTo>
                      <a:pt x="1615257" y="2449986"/>
                    </a:lnTo>
                    <a:close/>
                    <a:moveTo>
                      <a:pt x="1839345" y="2693282"/>
                    </a:moveTo>
                    <a:lnTo>
                      <a:pt x="1839345" y="2931407"/>
                    </a:lnTo>
                    <a:lnTo>
                      <a:pt x="1615257" y="2931407"/>
                    </a:lnTo>
                    <a:lnTo>
                      <a:pt x="1615257" y="2693282"/>
                    </a:lnTo>
                    <a:close/>
                    <a:moveTo>
                      <a:pt x="1839345" y="2938211"/>
                    </a:moveTo>
                    <a:lnTo>
                      <a:pt x="1839345" y="3176336"/>
                    </a:lnTo>
                    <a:lnTo>
                      <a:pt x="1615257" y="3176336"/>
                    </a:lnTo>
                    <a:lnTo>
                      <a:pt x="1615257" y="2938211"/>
                    </a:lnTo>
                    <a:close/>
                    <a:moveTo>
                      <a:pt x="1839345" y="3183139"/>
                    </a:moveTo>
                    <a:lnTo>
                      <a:pt x="1839345" y="3421264"/>
                    </a:lnTo>
                    <a:lnTo>
                      <a:pt x="1615257" y="3421264"/>
                    </a:lnTo>
                    <a:lnTo>
                      <a:pt x="1615257" y="3183139"/>
                    </a:lnTo>
                    <a:close/>
                    <a:moveTo>
                      <a:pt x="1839345" y="3428068"/>
                    </a:moveTo>
                    <a:lnTo>
                      <a:pt x="1839345" y="3664560"/>
                    </a:lnTo>
                    <a:lnTo>
                      <a:pt x="1615257" y="3664560"/>
                    </a:lnTo>
                    <a:lnTo>
                      <a:pt x="1615257" y="3428068"/>
                    </a:lnTo>
                    <a:close/>
                    <a:moveTo>
                      <a:pt x="1839345" y="3671364"/>
                    </a:moveTo>
                    <a:lnTo>
                      <a:pt x="1839345" y="3909489"/>
                    </a:lnTo>
                    <a:lnTo>
                      <a:pt x="1615257" y="3909489"/>
                    </a:lnTo>
                    <a:lnTo>
                      <a:pt x="1615257" y="3671364"/>
                    </a:lnTo>
                    <a:close/>
                    <a:moveTo>
                      <a:pt x="1839345" y="3916292"/>
                    </a:moveTo>
                    <a:lnTo>
                      <a:pt x="1839345" y="4154417"/>
                    </a:lnTo>
                    <a:lnTo>
                      <a:pt x="1615257" y="4154417"/>
                    </a:lnTo>
                    <a:lnTo>
                      <a:pt x="1615257" y="3916292"/>
                    </a:lnTo>
                    <a:close/>
                    <a:moveTo>
                      <a:pt x="1839345" y="4161221"/>
                    </a:moveTo>
                    <a:lnTo>
                      <a:pt x="1839345" y="4399346"/>
                    </a:lnTo>
                    <a:lnTo>
                      <a:pt x="1615257" y="4399346"/>
                    </a:lnTo>
                    <a:lnTo>
                      <a:pt x="1615257" y="4161221"/>
                    </a:lnTo>
                    <a:close/>
                    <a:moveTo>
                      <a:pt x="1839345" y="4406149"/>
                    </a:moveTo>
                    <a:lnTo>
                      <a:pt x="1839345" y="4642233"/>
                    </a:lnTo>
                    <a:lnTo>
                      <a:pt x="1615257" y="4642233"/>
                    </a:lnTo>
                    <a:lnTo>
                      <a:pt x="1615257" y="4405741"/>
                    </a:lnTo>
                    <a:close/>
                    <a:moveTo>
                      <a:pt x="1839345" y="4649445"/>
                    </a:moveTo>
                    <a:lnTo>
                      <a:pt x="1839345" y="4887162"/>
                    </a:lnTo>
                    <a:lnTo>
                      <a:pt x="1615257" y="4887162"/>
                    </a:lnTo>
                    <a:lnTo>
                      <a:pt x="1615257" y="4649037"/>
                    </a:lnTo>
                    <a:close/>
                    <a:moveTo>
                      <a:pt x="1839345" y="4894374"/>
                    </a:moveTo>
                    <a:lnTo>
                      <a:pt x="1839345" y="5132090"/>
                    </a:lnTo>
                    <a:lnTo>
                      <a:pt x="1615257" y="5132090"/>
                    </a:lnTo>
                    <a:lnTo>
                      <a:pt x="1615257" y="4893965"/>
                    </a:lnTo>
                    <a:close/>
                    <a:moveTo>
                      <a:pt x="1845748" y="4894374"/>
                    </a:moveTo>
                    <a:lnTo>
                      <a:pt x="2069580" y="4894374"/>
                    </a:lnTo>
                    <a:lnTo>
                      <a:pt x="2069580" y="5132090"/>
                    </a:lnTo>
                    <a:lnTo>
                      <a:pt x="1845491" y="5132090"/>
                    </a:lnTo>
                    <a:close/>
                    <a:moveTo>
                      <a:pt x="2076239" y="4894374"/>
                    </a:moveTo>
                    <a:lnTo>
                      <a:pt x="2298791" y="4894374"/>
                    </a:lnTo>
                    <a:lnTo>
                      <a:pt x="2298791" y="5132090"/>
                    </a:lnTo>
                    <a:lnTo>
                      <a:pt x="2075982" y="5132090"/>
                    </a:lnTo>
                    <a:close/>
                    <a:moveTo>
                      <a:pt x="2305193" y="4894374"/>
                    </a:moveTo>
                    <a:lnTo>
                      <a:pt x="2529282" y="4894374"/>
                    </a:lnTo>
                    <a:lnTo>
                      <a:pt x="2529282" y="5132090"/>
                    </a:lnTo>
                    <a:lnTo>
                      <a:pt x="2305193" y="5132090"/>
                    </a:lnTo>
                    <a:close/>
                    <a:moveTo>
                      <a:pt x="2535684" y="4894374"/>
                    </a:moveTo>
                    <a:lnTo>
                      <a:pt x="2759773" y="4894374"/>
                    </a:lnTo>
                    <a:lnTo>
                      <a:pt x="2759773" y="5132090"/>
                    </a:lnTo>
                    <a:lnTo>
                      <a:pt x="2535684" y="5132090"/>
                    </a:lnTo>
                    <a:close/>
                    <a:moveTo>
                      <a:pt x="2766175" y="4894374"/>
                    </a:moveTo>
                    <a:lnTo>
                      <a:pt x="2990264" y="4894374"/>
                    </a:lnTo>
                    <a:lnTo>
                      <a:pt x="2990264" y="5132090"/>
                    </a:lnTo>
                    <a:lnTo>
                      <a:pt x="2766175" y="5132090"/>
                    </a:lnTo>
                    <a:close/>
                    <a:moveTo>
                      <a:pt x="2996666" y="4894374"/>
                    </a:moveTo>
                    <a:lnTo>
                      <a:pt x="3219218" y="4894374"/>
                    </a:lnTo>
                    <a:lnTo>
                      <a:pt x="3219218" y="5132090"/>
                    </a:lnTo>
                    <a:lnTo>
                      <a:pt x="2996666" y="5132090"/>
                    </a:lnTo>
                    <a:close/>
                    <a:moveTo>
                      <a:pt x="3225621" y="4894374"/>
                    </a:moveTo>
                    <a:lnTo>
                      <a:pt x="3449709" y="4894374"/>
                    </a:lnTo>
                    <a:lnTo>
                      <a:pt x="3449709" y="5132090"/>
                    </a:lnTo>
                    <a:lnTo>
                      <a:pt x="3225621" y="5132090"/>
                    </a:lnTo>
                    <a:close/>
                    <a:moveTo>
                      <a:pt x="3456112" y="4894374"/>
                    </a:moveTo>
                    <a:lnTo>
                      <a:pt x="3680200" y="4894374"/>
                    </a:lnTo>
                    <a:lnTo>
                      <a:pt x="3680200" y="5132090"/>
                    </a:lnTo>
                    <a:lnTo>
                      <a:pt x="3456112" y="5132090"/>
                    </a:lnTo>
                    <a:close/>
                    <a:moveTo>
                      <a:pt x="3686603" y="4894374"/>
                    </a:moveTo>
                    <a:lnTo>
                      <a:pt x="3910691" y="4894374"/>
                    </a:lnTo>
                    <a:lnTo>
                      <a:pt x="3910691" y="5132090"/>
                    </a:lnTo>
                    <a:lnTo>
                      <a:pt x="3686603" y="5132090"/>
                    </a:lnTo>
                    <a:close/>
                    <a:moveTo>
                      <a:pt x="3917094" y="4894374"/>
                    </a:moveTo>
                    <a:lnTo>
                      <a:pt x="4139644" y="4894374"/>
                    </a:lnTo>
                    <a:lnTo>
                      <a:pt x="4139644" y="5132090"/>
                    </a:lnTo>
                    <a:lnTo>
                      <a:pt x="3917094" y="5132090"/>
                    </a:lnTo>
                    <a:close/>
                    <a:moveTo>
                      <a:pt x="4146047" y="4894374"/>
                    </a:moveTo>
                    <a:lnTo>
                      <a:pt x="4370135" y="4894374"/>
                    </a:lnTo>
                    <a:lnTo>
                      <a:pt x="4370135" y="5132090"/>
                    </a:lnTo>
                    <a:lnTo>
                      <a:pt x="4146047" y="5132090"/>
                    </a:lnTo>
                    <a:close/>
                    <a:moveTo>
                      <a:pt x="4376538" y="4894374"/>
                    </a:moveTo>
                    <a:lnTo>
                      <a:pt x="4600626" y="4894374"/>
                    </a:lnTo>
                    <a:lnTo>
                      <a:pt x="4600626" y="5132090"/>
                    </a:lnTo>
                    <a:lnTo>
                      <a:pt x="4376538" y="5132090"/>
                    </a:lnTo>
                    <a:close/>
                    <a:moveTo>
                      <a:pt x="4607029" y="4894374"/>
                    </a:moveTo>
                    <a:lnTo>
                      <a:pt x="4829582" y="4894374"/>
                    </a:lnTo>
                    <a:lnTo>
                      <a:pt x="4829582" y="5132090"/>
                    </a:lnTo>
                    <a:lnTo>
                      <a:pt x="4607029" y="5132090"/>
                    </a:lnTo>
                    <a:close/>
                    <a:moveTo>
                      <a:pt x="4835985" y="4894374"/>
                    </a:moveTo>
                    <a:lnTo>
                      <a:pt x="5060073" y="4894374"/>
                    </a:lnTo>
                    <a:lnTo>
                      <a:pt x="5060073" y="5132090"/>
                    </a:lnTo>
                    <a:lnTo>
                      <a:pt x="4835472" y="5132090"/>
                    </a:lnTo>
                    <a:close/>
                    <a:moveTo>
                      <a:pt x="5066476" y="4894374"/>
                    </a:moveTo>
                    <a:lnTo>
                      <a:pt x="5290564" y="4894374"/>
                    </a:lnTo>
                    <a:lnTo>
                      <a:pt x="5290564" y="5132090"/>
                    </a:lnTo>
                    <a:lnTo>
                      <a:pt x="5065963" y="5132090"/>
                    </a:lnTo>
                    <a:close/>
                    <a:moveTo>
                      <a:pt x="5296967" y="4894374"/>
                    </a:moveTo>
                    <a:lnTo>
                      <a:pt x="5521055" y="4894374"/>
                    </a:lnTo>
                    <a:lnTo>
                      <a:pt x="5521055" y="5132090"/>
                    </a:lnTo>
                    <a:lnTo>
                      <a:pt x="5296454" y="5132090"/>
                    </a:lnTo>
                    <a:close/>
                    <a:moveTo>
                      <a:pt x="5527458" y="4894374"/>
                    </a:moveTo>
                    <a:lnTo>
                      <a:pt x="5750008" y="4894374"/>
                    </a:lnTo>
                    <a:lnTo>
                      <a:pt x="5750008" y="5132090"/>
                    </a:lnTo>
                    <a:lnTo>
                      <a:pt x="5526945" y="5132090"/>
                    </a:lnTo>
                    <a:close/>
                    <a:moveTo>
                      <a:pt x="5756411" y="4894374"/>
                    </a:moveTo>
                    <a:lnTo>
                      <a:pt x="5980499" y="4894374"/>
                    </a:lnTo>
                    <a:lnTo>
                      <a:pt x="5980499" y="5132090"/>
                    </a:lnTo>
                    <a:lnTo>
                      <a:pt x="5756411" y="5132090"/>
                    </a:lnTo>
                    <a:close/>
                    <a:moveTo>
                      <a:pt x="5986902" y="4894374"/>
                    </a:moveTo>
                    <a:lnTo>
                      <a:pt x="6210990" y="4894374"/>
                    </a:lnTo>
                    <a:lnTo>
                      <a:pt x="6210990" y="5132090"/>
                    </a:lnTo>
                    <a:lnTo>
                      <a:pt x="5986902" y="5132090"/>
                    </a:lnTo>
                    <a:close/>
                    <a:moveTo>
                      <a:pt x="6217393" y="4894374"/>
                    </a:moveTo>
                    <a:lnTo>
                      <a:pt x="6439946" y="4894374"/>
                    </a:lnTo>
                    <a:lnTo>
                      <a:pt x="6439946" y="5132090"/>
                    </a:lnTo>
                    <a:lnTo>
                      <a:pt x="6217136" y="5132090"/>
                    </a:lnTo>
                    <a:close/>
                    <a:moveTo>
                      <a:pt x="6446349" y="4894374"/>
                    </a:moveTo>
                    <a:lnTo>
                      <a:pt x="6656863" y="4894374"/>
                    </a:lnTo>
                    <a:lnTo>
                      <a:pt x="6656863" y="5132090"/>
                    </a:lnTo>
                    <a:lnTo>
                      <a:pt x="6446349" y="5132090"/>
                    </a:lnTo>
                    <a:close/>
                    <a:moveTo>
                      <a:pt x="6663265" y="4894374"/>
                    </a:moveTo>
                    <a:lnTo>
                      <a:pt x="6887354" y="4894374"/>
                    </a:lnTo>
                    <a:lnTo>
                      <a:pt x="6887354" y="5132090"/>
                    </a:lnTo>
                    <a:lnTo>
                      <a:pt x="6663265" y="5132090"/>
                    </a:lnTo>
                    <a:close/>
                    <a:moveTo>
                      <a:pt x="6893756" y="4894374"/>
                    </a:moveTo>
                    <a:lnTo>
                      <a:pt x="7117845" y="4894374"/>
                    </a:lnTo>
                    <a:lnTo>
                      <a:pt x="7117845" y="5132090"/>
                    </a:lnTo>
                    <a:lnTo>
                      <a:pt x="6893756" y="5132090"/>
                    </a:lnTo>
                    <a:close/>
                    <a:moveTo>
                      <a:pt x="7124247" y="4894374"/>
                    </a:moveTo>
                    <a:lnTo>
                      <a:pt x="7346801" y="4894374"/>
                    </a:lnTo>
                    <a:lnTo>
                      <a:pt x="7346801" y="5132090"/>
                    </a:lnTo>
                    <a:lnTo>
                      <a:pt x="7124247" y="5132090"/>
                    </a:lnTo>
                    <a:close/>
                    <a:moveTo>
                      <a:pt x="7353204" y="4894374"/>
                    </a:moveTo>
                    <a:lnTo>
                      <a:pt x="7577292" y="4894374"/>
                    </a:lnTo>
                    <a:lnTo>
                      <a:pt x="7577292" y="5132090"/>
                    </a:lnTo>
                    <a:lnTo>
                      <a:pt x="7353204" y="5132090"/>
                    </a:lnTo>
                    <a:close/>
                    <a:moveTo>
                      <a:pt x="7583695" y="4894374"/>
                    </a:moveTo>
                    <a:lnTo>
                      <a:pt x="7807783" y="4894374"/>
                    </a:lnTo>
                    <a:lnTo>
                      <a:pt x="7807783" y="5132090"/>
                    </a:lnTo>
                    <a:lnTo>
                      <a:pt x="7583695" y="5132090"/>
                    </a:lnTo>
                    <a:close/>
                    <a:moveTo>
                      <a:pt x="7814186" y="4894374"/>
                    </a:moveTo>
                    <a:lnTo>
                      <a:pt x="8038274" y="4894374"/>
                    </a:lnTo>
                    <a:lnTo>
                      <a:pt x="8038274" y="5132090"/>
                    </a:lnTo>
                    <a:lnTo>
                      <a:pt x="7814186" y="5132090"/>
                    </a:lnTo>
                    <a:close/>
                    <a:moveTo>
                      <a:pt x="8044677" y="4894374"/>
                    </a:moveTo>
                    <a:lnTo>
                      <a:pt x="8267227" y="4894374"/>
                    </a:lnTo>
                    <a:lnTo>
                      <a:pt x="8267227" y="5132090"/>
                    </a:lnTo>
                    <a:lnTo>
                      <a:pt x="8044420" y="5132090"/>
                    </a:lnTo>
                    <a:close/>
                    <a:moveTo>
                      <a:pt x="8273629" y="4894374"/>
                    </a:moveTo>
                    <a:lnTo>
                      <a:pt x="8497718" y="4894374"/>
                    </a:lnTo>
                    <a:lnTo>
                      <a:pt x="8497718" y="5132090"/>
                    </a:lnTo>
                    <a:lnTo>
                      <a:pt x="8273629" y="5132090"/>
                    </a:lnTo>
                    <a:close/>
                    <a:moveTo>
                      <a:pt x="8504120" y="4894374"/>
                    </a:moveTo>
                    <a:lnTo>
                      <a:pt x="8728209" y="4894374"/>
                    </a:lnTo>
                    <a:lnTo>
                      <a:pt x="8728209" y="5132090"/>
                    </a:lnTo>
                    <a:lnTo>
                      <a:pt x="8504120" y="5132090"/>
                    </a:lnTo>
                    <a:close/>
                    <a:moveTo>
                      <a:pt x="8734611" y="4894374"/>
                    </a:moveTo>
                    <a:lnTo>
                      <a:pt x="8957162" y="4894374"/>
                    </a:lnTo>
                    <a:lnTo>
                      <a:pt x="8957162" y="5132090"/>
                    </a:lnTo>
                    <a:lnTo>
                      <a:pt x="8734611" y="5132090"/>
                    </a:lnTo>
                    <a:close/>
                    <a:moveTo>
                      <a:pt x="8963564" y="4894374"/>
                    </a:moveTo>
                    <a:lnTo>
                      <a:pt x="9187653" y="4894374"/>
                    </a:lnTo>
                    <a:lnTo>
                      <a:pt x="9187653" y="5132090"/>
                    </a:lnTo>
                    <a:lnTo>
                      <a:pt x="8963564" y="5132090"/>
                    </a:lnTo>
                    <a:close/>
                    <a:moveTo>
                      <a:pt x="9194055" y="4894374"/>
                    </a:moveTo>
                    <a:lnTo>
                      <a:pt x="9418144" y="4894374"/>
                    </a:lnTo>
                    <a:lnTo>
                      <a:pt x="9418144" y="5132090"/>
                    </a:lnTo>
                    <a:lnTo>
                      <a:pt x="9194055" y="5132090"/>
                    </a:lnTo>
                    <a:close/>
                    <a:moveTo>
                      <a:pt x="9424546" y="4894374"/>
                    </a:moveTo>
                    <a:lnTo>
                      <a:pt x="9648635" y="4894374"/>
                    </a:lnTo>
                    <a:lnTo>
                      <a:pt x="9648635" y="5132090"/>
                    </a:lnTo>
                    <a:lnTo>
                      <a:pt x="9424546" y="5132090"/>
                    </a:lnTo>
                    <a:close/>
                    <a:moveTo>
                      <a:pt x="9655037" y="4894374"/>
                    </a:moveTo>
                    <a:lnTo>
                      <a:pt x="9877591" y="4894374"/>
                    </a:lnTo>
                    <a:lnTo>
                      <a:pt x="9877591" y="5132090"/>
                    </a:lnTo>
                    <a:lnTo>
                      <a:pt x="9655037" y="5132090"/>
                    </a:lnTo>
                    <a:close/>
                    <a:moveTo>
                      <a:pt x="9883993" y="4894374"/>
                    </a:moveTo>
                    <a:lnTo>
                      <a:pt x="10108082" y="4894374"/>
                    </a:lnTo>
                    <a:lnTo>
                      <a:pt x="10108082" y="5132090"/>
                    </a:lnTo>
                    <a:lnTo>
                      <a:pt x="9883993" y="5132090"/>
                    </a:lnTo>
                    <a:close/>
                    <a:moveTo>
                      <a:pt x="10114484" y="4894374"/>
                    </a:moveTo>
                    <a:lnTo>
                      <a:pt x="10338573" y="4894374"/>
                    </a:lnTo>
                    <a:lnTo>
                      <a:pt x="10338573" y="5132090"/>
                    </a:lnTo>
                    <a:lnTo>
                      <a:pt x="10114484" y="5132090"/>
                    </a:lnTo>
                    <a:close/>
                    <a:moveTo>
                      <a:pt x="10344975" y="4894374"/>
                    </a:moveTo>
                    <a:lnTo>
                      <a:pt x="10569064" y="4894374"/>
                    </a:lnTo>
                    <a:lnTo>
                      <a:pt x="10569064" y="5132090"/>
                    </a:lnTo>
                    <a:lnTo>
                      <a:pt x="10344975" y="5132090"/>
                    </a:lnTo>
                    <a:close/>
                    <a:moveTo>
                      <a:pt x="10344975" y="4887570"/>
                    </a:moveTo>
                    <a:lnTo>
                      <a:pt x="10344975" y="4649445"/>
                    </a:lnTo>
                    <a:lnTo>
                      <a:pt x="10569064" y="4649445"/>
                    </a:lnTo>
                    <a:lnTo>
                      <a:pt x="10569064" y="4887162"/>
                    </a:lnTo>
                    <a:close/>
                    <a:moveTo>
                      <a:pt x="10344975" y="4642642"/>
                    </a:moveTo>
                    <a:lnTo>
                      <a:pt x="10344975" y="4406149"/>
                    </a:lnTo>
                    <a:lnTo>
                      <a:pt x="10569064" y="4406149"/>
                    </a:lnTo>
                    <a:lnTo>
                      <a:pt x="10569064" y="4642233"/>
                    </a:lnTo>
                    <a:close/>
                    <a:moveTo>
                      <a:pt x="10344975" y="4399346"/>
                    </a:moveTo>
                    <a:lnTo>
                      <a:pt x="10344975" y="4161221"/>
                    </a:lnTo>
                    <a:lnTo>
                      <a:pt x="10569064" y="4161221"/>
                    </a:lnTo>
                    <a:lnTo>
                      <a:pt x="10569064" y="4399346"/>
                    </a:lnTo>
                    <a:close/>
                    <a:moveTo>
                      <a:pt x="10344975" y="4154417"/>
                    </a:moveTo>
                    <a:lnTo>
                      <a:pt x="10344975" y="3916292"/>
                    </a:lnTo>
                    <a:lnTo>
                      <a:pt x="10569064" y="3916292"/>
                    </a:lnTo>
                    <a:lnTo>
                      <a:pt x="10569064" y="4154417"/>
                    </a:lnTo>
                    <a:close/>
                    <a:moveTo>
                      <a:pt x="10344975" y="3909489"/>
                    </a:moveTo>
                    <a:lnTo>
                      <a:pt x="10344975" y="3671364"/>
                    </a:lnTo>
                    <a:lnTo>
                      <a:pt x="10569064" y="3671364"/>
                    </a:lnTo>
                    <a:lnTo>
                      <a:pt x="10569064" y="3909489"/>
                    </a:lnTo>
                    <a:close/>
                    <a:moveTo>
                      <a:pt x="10344975" y="3664560"/>
                    </a:moveTo>
                    <a:lnTo>
                      <a:pt x="10344975" y="3428068"/>
                    </a:lnTo>
                    <a:lnTo>
                      <a:pt x="10569064" y="3428068"/>
                    </a:lnTo>
                    <a:lnTo>
                      <a:pt x="10569064" y="3664560"/>
                    </a:lnTo>
                    <a:close/>
                    <a:moveTo>
                      <a:pt x="10344975" y="3421264"/>
                    </a:moveTo>
                    <a:lnTo>
                      <a:pt x="10344975" y="3183139"/>
                    </a:lnTo>
                    <a:lnTo>
                      <a:pt x="10569064" y="3183139"/>
                    </a:lnTo>
                    <a:lnTo>
                      <a:pt x="10569064" y="3421264"/>
                    </a:lnTo>
                    <a:close/>
                    <a:moveTo>
                      <a:pt x="10344975" y="3176336"/>
                    </a:moveTo>
                    <a:lnTo>
                      <a:pt x="10344975" y="2938211"/>
                    </a:lnTo>
                    <a:lnTo>
                      <a:pt x="10569064" y="2938211"/>
                    </a:lnTo>
                    <a:lnTo>
                      <a:pt x="10569064" y="3176336"/>
                    </a:lnTo>
                    <a:close/>
                    <a:moveTo>
                      <a:pt x="10344975" y="2931407"/>
                    </a:moveTo>
                    <a:lnTo>
                      <a:pt x="10344975" y="2693282"/>
                    </a:lnTo>
                    <a:lnTo>
                      <a:pt x="10569064" y="2693282"/>
                    </a:lnTo>
                    <a:lnTo>
                      <a:pt x="10569064" y="2931407"/>
                    </a:lnTo>
                    <a:close/>
                    <a:moveTo>
                      <a:pt x="10344975" y="2686479"/>
                    </a:moveTo>
                    <a:lnTo>
                      <a:pt x="10344975" y="2449986"/>
                    </a:lnTo>
                    <a:lnTo>
                      <a:pt x="10569064" y="2449986"/>
                    </a:lnTo>
                    <a:lnTo>
                      <a:pt x="10569064" y="2686479"/>
                    </a:lnTo>
                    <a:close/>
                    <a:moveTo>
                      <a:pt x="10344975" y="2443183"/>
                    </a:moveTo>
                    <a:lnTo>
                      <a:pt x="10344975" y="2205058"/>
                    </a:lnTo>
                    <a:lnTo>
                      <a:pt x="10569064" y="2205058"/>
                    </a:lnTo>
                    <a:lnTo>
                      <a:pt x="10569064" y="2443183"/>
                    </a:lnTo>
                    <a:close/>
                    <a:moveTo>
                      <a:pt x="10344975" y="2198254"/>
                    </a:moveTo>
                    <a:lnTo>
                      <a:pt x="10344975" y="1960129"/>
                    </a:lnTo>
                    <a:lnTo>
                      <a:pt x="10569064" y="1960129"/>
                    </a:lnTo>
                    <a:lnTo>
                      <a:pt x="10569064" y="2198254"/>
                    </a:lnTo>
                    <a:close/>
                    <a:moveTo>
                      <a:pt x="10344975" y="1953326"/>
                    </a:moveTo>
                    <a:lnTo>
                      <a:pt x="10344975" y="1716697"/>
                    </a:lnTo>
                    <a:lnTo>
                      <a:pt x="10569064" y="1716697"/>
                    </a:lnTo>
                    <a:lnTo>
                      <a:pt x="10569064" y="1953189"/>
                    </a:lnTo>
                    <a:close/>
                    <a:moveTo>
                      <a:pt x="10344975" y="1710030"/>
                    </a:moveTo>
                    <a:lnTo>
                      <a:pt x="10344975" y="1471769"/>
                    </a:lnTo>
                    <a:lnTo>
                      <a:pt x="10569064" y="1471769"/>
                    </a:lnTo>
                    <a:lnTo>
                      <a:pt x="10569064" y="1709894"/>
                    </a:lnTo>
                    <a:close/>
                    <a:moveTo>
                      <a:pt x="10338573" y="1710030"/>
                    </a:moveTo>
                    <a:lnTo>
                      <a:pt x="10114484" y="1710030"/>
                    </a:lnTo>
                    <a:lnTo>
                      <a:pt x="10114484" y="1471769"/>
                    </a:lnTo>
                    <a:lnTo>
                      <a:pt x="10338573" y="1471769"/>
                    </a:lnTo>
                    <a:close/>
                    <a:moveTo>
                      <a:pt x="10108082" y="1710030"/>
                    </a:moveTo>
                    <a:lnTo>
                      <a:pt x="9883993" y="1710030"/>
                    </a:lnTo>
                    <a:lnTo>
                      <a:pt x="9883993" y="1471769"/>
                    </a:lnTo>
                    <a:lnTo>
                      <a:pt x="10108082" y="1471769"/>
                    </a:lnTo>
                    <a:close/>
                    <a:moveTo>
                      <a:pt x="9877591" y="1710030"/>
                    </a:moveTo>
                    <a:lnTo>
                      <a:pt x="9655037" y="1710030"/>
                    </a:lnTo>
                    <a:lnTo>
                      <a:pt x="9655037" y="1471769"/>
                    </a:lnTo>
                    <a:lnTo>
                      <a:pt x="9877591" y="1471769"/>
                    </a:lnTo>
                    <a:close/>
                    <a:moveTo>
                      <a:pt x="9648635" y="1710030"/>
                    </a:moveTo>
                    <a:lnTo>
                      <a:pt x="9424546" y="1710030"/>
                    </a:lnTo>
                    <a:lnTo>
                      <a:pt x="9424546" y="1471769"/>
                    </a:lnTo>
                    <a:lnTo>
                      <a:pt x="9648635" y="1471769"/>
                    </a:lnTo>
                    <a:close/>
                    <a:moveTo>
                      <a:pt x="9418144" y="1710030"/>
                    </a:moveTo>
                    <a:lnTo>
                      <a:pt x="9194055" y="1710030"/>
                    </a:lnTo>
                    <a:lnTo>
                      <a:pt x="9194055" y="1471769"/>
                    </a:lnTo>
                    <a:lnTo>
                      <a:pt x="9418144" y="1471769"/>
                    </a:lnTo>
                    <a:close/>
                    <a:moveTo>
                      <a:pt x="9187653" y="1710030"/>
                    </a:moveTo>
                    <a:lnTo>
                      <a:pt x="8963564" y="1710030"/>
                    </a:lnTo>
                    <a:lnTo>
                      <a:pt x="8963564" y="1471769"/>
                    </a:lnTo>
                    <a:lnTo>
                      <a:pt x="9187653" y="1471769"/>
                    </a:lnTo>
                    <a:close/>
                    <a:moveTo>
                      <a:pt x="8957162" y="1710030"/>
                    </a:moveTo>
                    <a:lnTo>
                      <a:pt x="8734611" y="1710030"/>
                    </a:lnTo>
                    <a:lnTo>
                      <a:pt x="8734611" y="1471769"/>
                    </a:lnTo>
                    <a:lnTo>
                      <a:pt x="8957162" y="1471769"/>
                    </a:lnTo>
                    <a:close/>
                    <a:moveTo>
                      <a:pt x="8728209" y="1710030"/>
                    </a:moveTo>
                    <a:lnTo>
                      <a:pt x="8504120" y="1710030"/>
                    </a:lnTo>
                    <a:lnTo>
                      <a:pt x="8504120" y="1471769"/>
                    </a:lnTo>
                    <a:lnTo>
                      <a:pt x="8728209" y="1471769"/>
                    </a:lnTo>
                    <a:close/>
                    <a:moveTo>
                      <a:pt x="8497718" y="1710030"/>
                    </a:moveTo>
                    <a:lnTo>
                      <a:pt x="8273629" y="1710030"/>
                    </a:lnTo>
                    <a:lnTo>
                      <a:pt x="8273629" y="1471769"/>
                    </a:lnTo>
                    <a:lnTo>
                      <a:pt x="8497718" y="1471769"/>
                    </a:lnTo>
                    <a:close/>
                    <a:moveTo>
                      <a:pt x="8267227" y="1710030"/>
                    </a:moveTo>
                    <a:lnTo>
                      <a:pt x="8044420" y="1710030"/>
                    </a:lnTo>
                    <a:lnTo>
                      <a:pt x="8044420" y="1471769"/>
                    </a:lnTo>
                    <a:lnTo>
                      <a:pt x="8267227" y="1471769"/>
                    </a:lnTo>
                    <a:close/>
                    <a:moveTo>
                      <a:pt x="8038274" y="1710030"/>
                    </a:moveTo>
                    <a:lnTo>
                      <a:pt x="7814186" y="1710030"/>
                    </a:lnTo>
                    <a:lnTo>
                      <a:pt x="7814186" y="1471769"/>
                    </a:lnTo>
                    <a:lnTo>
                      <a:pt x="8038274" y="1471769"/>
                    </a:lnTo>
                    <a:close/>
                    <a:moveTo>
                      <a:pt x="7807783" y="1710030"/>
                    </a:moveTo>
                    <a:lnTo>
                      <a:pt x="7583695" y="1710030"/>
                    </a:lnTo>
                    <a:lnTo>
                      <a:pt x="7583695" y="1471769"/>
                    </a:lnTo>
                    <a:lnTo>
                      <a:pt x="7807783" y="1471769"/>
                    </a:lnTo>
                    <a:close/>
                    <a:moveTo>
                      <a:pt x="7577292" y="1710030"/>
                    </a:moveTo>
                    <a:lnTo>
                      <a:pt x="7353204" y="1710030"/>
                    </a:lnTo>
                    <a:lnTo>
                      <a:pt x="7353204" y="1471769"/>
                    </a:lnTo>
                    <a:lnTo>
                      <a:pt x="7577292" y="1471769"/>
                    </a:lnTo>
                    <a:close/>
                    <a:moveTo>
                      <a:pt x="7346801" y="1710030"/>
                    </a:moveTo>
                    <a:lnTo>
                      <a:pt x="7124247" y="1710030"/>
                    </a:lnTo>
                    <a:lnTo>
                      <a:pt x="7124247" y="1471769"/>
                    </a:lnTo>
                    <a:lnTo>
                      <a:pt x="7346801" y="1471769"/>
                    </a:lnTo>
                    <a:close/>
                    <a:moveTo>
                      <a:pt x="7117845" y="1710030"/>
                    </a:moveTo>
                    <a:lnTo>
                      <a:pt x="6893756" y="1710030"/>
                    </a:lnTo>
                    <a:lnTo>
                      <a:pt x="6893756" y="1471769"/>
                    </a:lnTo>
                    <a:lnTo>
                      <a:pt x="7117845" y="1471769"/>
                    </a:lnTo>
                    <a:close/>
                    <a:moveTo>
                      <a:pt x="6887354" y="1710030"/>
                    </a:moveTo>
                    <a:lnTo>
                      <a:pt x="6663265" y="1710030"/>
                    </a:lnTo>
                    <a:lnTo>
                      <a:pt x="6663265" y="1471769"/>
                    </a:lnTo>
                    <a:lnTo>
                      <a:pt x="6887354" y="1471769"/>
                    </a:lnTo>
                    <a:close/>
                    <a:moveTo>
                      <a:pt x="6656863" y="1710030"/>
                    </a:moveTo>
                    <a:lnTo>
                      <a:pt x="6446349" y="1710030"/>
                    </a:lnTo>
                    <a:lnTo>
                      <a:pt x="6446349" y="1471769"/>
                    </a:lnTo>
                    <a:lnTo>
                      <a:pt x="6656863" y="1471769"/>
                    </a:lnTo>
                    <a:close/>
                    <a:moveTo>
                      <a:pt x="6439946" y="1710030"/>
                    </a:moveTo>
                    <a:lnTo>
                      <a:pt x="6217136" y="1710030"/>
                    </a:lnTo>
                    <a:lnTo>
                      <a:pt x="6217136" y="1471769"/>
                    </a:lnTo>
                    <a:lnTo>
                      <a:pt x="6439690" y="1471769"/>
                    </a:lnTo>
                    <a:close/>
                    <a:moveTo>
                      <a:pt x="6210990" y="1710030"/>
                    </a:moveTo>
                    <a:lnTo>
                      <a:pt x="5986902" y="1710030"/>
                    </a:lnTo>
                    <a:lnTo>
                      <a:pt x="5986902" y="1471769"/>
                    </a:lnTo>
                    <a:lnTo>
                      <a:pt x="6210990" y="1471769"/>
                    </a:lnTo>
                    <a:close/>
                    <a:moveTo>
                      <a:pt x="5980499" y="1710030"/>
                    </a:moveTo>
                    <a:lnTo>
                      <a:pt x="5756411" y="1710030"/>
                    </a:lnTo>
                    <a:lnTo>
                      <a:pt x="5756411" y="1471769"/>
                    </a:lnTo>
                    <a:lnTo>
                      <a:pt x="5980499" y="1471769"/>
                    </a:lnTo>
                    <a:close/>
                    <a:moveTo>
                      <a:pt x="5750008" y="1710030"/>
                    </a:moveTo>
                    <a:lnTo>
                      <a:pt x="5526945" y="1710030"/>
                    </a:lnTo>
                    <a:lnTo>
                      <a:pt x="5526945" y="1471769"/>
                    </a:lnTo>
                    <a:lnTo>
                      <a:pt x="5749495" y="1471769"/>
                    </a:lnTo>
                    <a:close/>
                    <a:moveTo>
                      <a:pt x="5521055" y="1710030"/>
                    </a:moveTo>
                    <a:lnTo>
                      <a:pt x="5296454" y="1710030"/>
                    </a:lnTo>
                    <a:lnTo>
                      <a:pt x="5296454" y="1471769"/>
                    </a:lnTo>
                    <a:lnTo>
                      <a:pt x="5520542" y="1471769"/>
                    </a:lnTo>
                    <a:close/>
                    <a:moveTo>
                      <a:pt x="5290564" y="1710030"/>
                    </a:moveTo>
                    <a:lnTo>
                      <a:pt x="5065963" y="1710030"/>
                    </a:lnTo>
                    <a:lnTo>
                      <a:pt x="5065963" y="1471769"/>
                    </a:lnTo>
                    <a:lnTo>
                      <a:pt x="5290051" y="1471769"/>
                    </a:lnTo>
                    <a:close/>
                    <a:moveTo>
                      <a:pt x="5060073" y="1710030"/>
                    </a:moveTo>
                    <a:lnTo>
                      <a:pt x="4835472" y="1710030"/>
                    </a:lnTo>
                    <a:lnTo>
                      <a:pt x="4835472" y="1471769"/>
                    </a:lnTo>
                    <a:lnTo>
                      <a:pt x="5059560" y="1471769"/>
                    </a:lnTo>
                    <a:close/>
                    <a:moveTo>
                      <a:pt x="4829582" y="1710030"/>
                    </a:moveTo>
                    <a:lnTo>
                      <a:pt x="4607029" y="1710030"/>
                    </a:lnTo>
                    <a:lnTo>
                      <a:pt x="4607029" y="1471769"/>
                    </a:lnTo>
                    <a:lnTo>
                      <a:pt x="4829582" y="1471769"/>
                    </a:lnTo>
                    <a:close/>
                    <a:moveTo>
                      <a:pt x="4600626" y="1710030"/>
                    </a:moveTo>
                    <a:lnTo>
                      <a:pt x="4376538" y="1710030"/>
                    </a:lnTo>
                    <a:lnTo>
                      <a:pt x="4376538" y="1471769"/>
                    </a:lnTo>
                    <a:lnTo>
                      <a:pt x="4600626" y="1471769"/>
                    </a:lnTo>
                    <a:close/>
                    <a:moveTo>
                      <a:pt x="4370135" y="1710030"/>
                    </a:moveTo>
                    <a:lnTo>
                      <a:pt x="4146047" y="1710030"/>
                    </a:lnTo>
                    <a:lnTo>
                      <a:pt x="4146047" y="1471769"/>
                    </a:lnTo>
                    <a:lnTo>
                      <a:pt x="4370135" y="1471769"/>
                    </a:lnTo>
                    <a:close/>
                    <a:moveTo>
                      <a:pt x="4139644" y="1710030"/>
                    </a:moveTo>
                    <a:lnTo>
                      <a:pt x="3917094" y="1710030"/>
                    </a:lnTo>
                    <a:lnTo>
                      <a:pt x="3917094" y="1471769"/>
                    </a:lnTo>
                    <a:lnTo>
                      <a:pt x="4139644" y="1471769"/>
                    </a:lnTo>
                    <a:close/>
                    <a:moveTo>
                      <a:pt x="3910691" y="1710030"/>
                    </a:moveTo>
                    <a:lnTo>
                      <a:pt x="3686603" y="1710030"/>
                    </a:lnTo>
                    <a:lnTo>
                      <a:pt x="3686603" y="1471769"/>
                    </a:lnTo>
                    <a:lnTo>
                      <a:pt x="3910691" y="1471769"/>
                    </a:lnTo>
                    <a:close/>
                    <a:moveTo>
                      <a:pt x="3680200" y="1710030"/>
                    </a:moveTo>
                    <a:lnTo>
                      <a:pt x="3456112" y="1710030"/>
                    </a:lnTo>
                    <a:lnTo>
                      <a:pt x="3456112" y="1471769"/>
                    </a:lnTo>
                    <a:lnTo>
                      <a:pt x="3680200" y="1471769"/>
                    </a:lnTo>
                    <a:close/>
                    <a:moveTo>
                      <a:pt x="3449709" y="1710030"/>
                    </a:moveTo>
                    <a:lnTo>
                      <a:pt x="3225621" y="1710030"/>
                    </a:lnTo>
                    <a:lnTo>
                      <a:pt x="3225621" y="1471769"/>
                    </a:lnTo>
                    <a:lnTo>
                      <a:pt x="3449709" y="1471769"/>
                    </a:lnTo>
                    <a:close/>
                    <a:moveTo>
                      <a:pt x="3219218" y="1710030"/>
                    </a:moveTo>
                    <a:lnTo>
                      <a:pt x="2996666" y="1710030"/>
                    </a:lnTo>
                    <a:lnTo>
                      <a:pt x="2996666" y="1471769"/>
                    </a:lnTo>
                    <a:lnTo>
                      <a:pt x="3219218" y="1471769"/>
                    </a:lnTo>
                    <a:close/>
                    <a:moveTo>
                      <a:pt x="2990264" y="1710030"/>
                    </a:moveTo>
                    <a:lnTo>
                      <a:pt x="2766175" y="1710030"/>
                    </a:lnTo>
                    <a:lnTo>
                      <a:pt x="2766175" y="1471769"/>
                    </a:lnTo>
                    <a:lnTo>
                      <a:pt x="2990264" y="1471769"/>
                    </a:lnTo>
                    <a:close/>
                    <a:moveTo>
                      <a:pt x="2759773" y="1710030"/>
                    </a:moveTo>
                    <a:lnTo>
                      <a:pt x="2535684" y="1710030"/>
                    </a:lnTo>
                    <a:lnTo>
                      <a:pt x="2535684" y="1471769"/>
                    </a:lnTo>
                    <a:lnTo>
                      <a:pt x="2759773" y="1471769"/>
                    </a:lnTo>
                    <a:close/>
                    <a:moveTo>
                      <a:pt x="2529282" y="1710030"/>
                    </a:moveTo>
                    <a:lnTo>
                      <a:pt x="2305193" y="1710030"/>
                    </a:lnTo>
                    <a:lnTo>
                      <a:pt x="2305193" y="1471769"/>
                    </a:lnTo>
                    <a:lnTo>
                      <a:pt x="2529282" y="1471769"/>
                    </a:lnTo>
                    <a:close/>
                    <a:moveTo>
                      <a:pt x="2298791" y="1710030"/>
                    </a:moveTo>
                    <a:lnTo>
                      <a:pt x="2075982" y="1710030"/>
                    </a:lnTo>
                    <a:lnTo>
                      <a:pt x="2075982" y="1471769"/>
                    </a:lnTo>
                    <a:lnTo>
                      <a:pt x="2298534" y="1471769"/>
                    </a:lnTo>
                    <a:close/>
                    <a:moveTo>
                      <a:pt x="2069836" y="1710030"/>
                    </a:moveTo>
                    <a:lnTo>
                      <a:pt x="1845748" y="1710030"/>
                    </a:lnTo>
                    <a:lnTo>
                      <a:pt x="1845748" y="1471769"/>
                    </a:lnTo>
                    <a:lnTo>
                      <a:pt x="2069580" y="1471769"/>
                    </a:lnTo>
                    <a:close/>
                    <a:moveTo>
                      <a:pt x="1839345" y="1710030"/>
                    </a:moveTo>
                    <a:lnTo>
                      <a:pt x="1615257" y="1710030"/>
                    </a:lnTo>
                    <a:lnTo>
                      <a:pt x="1615257" y="1471769"/>
                    </a:lnTo>
                    <a:lnTo>
                      <a:pt x="1839089" y="1471769"/>
                    </a:lnTo>
                    <a:close/>
                    <a:moveTo>
                      <a:pt x="1608854" y="1710030"/>
                    </a:moveTo>
                    <a:lnTo>
                      <a:pt x="1386302" y="1710030"/>
                    </a:lnTo>
                    <a:lnTo>
                      <a:pt x="1386302" y="1471769"/>
                    </a:lnTo>
                    <a:lnTo>
                      <a:pt x="1608598" y="1471769"/>
                    </a:lnTo>
                    <a:close/>
                    <a:moveTo>
                      <a:pt x="1608854" y="1716833"/>
                    </a:moveTo>
                    <a:lnTo>
                      <a:pt x="1608854" y="1953326"/>
                    </a:lnTo>
                    <a:lnTo>
                      <a:pt x="1386302" y="1953326"/>
                    </a:lnTo>
                    <a:lnTo>
                      <a:pt x="1386302" y="1716697"/>
                    </a:lnTo>
                    <a:close/>
                    <a:moveTo>
                      <a:pt x="1608854" y="1960129"/>
                    </a:moveTo>
                    <a:lnTo>
                      <a:pt x="1608854" y="2198254"/>
                    </a:lnTo>
                    <a:lnTo>
                      <a:pt x="1386302" y="2198254"/>
                    </a:lnTo>
                    <a:lnTo>
                      <a:pt x="1386302" y="1960129"/>
                    </a:lnTo>
                    <a:close/>
                    <a:moveTo>
                      <a:pt x="1608854" y="2205058"/>
                    </a:moveTo>
                    <a:lnTo>
                      <a:pt x="1608854" y="2443183"/>
                    </a:lnTo>
                    <a:lnTo>
                      <a:pt x="1386302" y="2443183"/>
                    </a:lnTo>
                    <a:lnTo>
                      <a:pt x="1386302" y="2205058"/>
                    </a:lnTo>
                    <a:close/>
                    <a:moveTo>
                      <a:pt x="1608854" y="2449986"/>
                    </a:moveTo>
                    <a:lnTo>
                      <a:pt x="1608854" y="2686479"/>
                    </a:lnTo>
                    <a:lnTo>
                      <a:pt x="1386302" y="2686479"/>
                    </a:lnTo>
                    <a:lnTo>
                      <a:pt x="1386302" y="2449986"/>
                    </a:lnTo>
                    <a:close/>
                    <a:moveTo>
                      <a:pt x="1608854" y="2693282"/>
                    </a:moveTo>
                    <a:lnTo>
                      <a:pt x="1608854" y="2931407"/>
                    </a:lnTo>
                    <a:lnTo>
                      <a:pt x="1386302" y="2931407"/>
                    </a:lnTo>
                    <a:lnTo>
                      <a:pt x="1386302" y="2693282"/>
                    </a:lnTo>
                    <a:close/>
                    <a:moveTo>
                      <a:pt x="1608854" y="2938211"/>
                    </a:moveTo>
                    <a:lnTo>
                      <a:pt x="1608854" y="3176336"/>
                    </a:lnTo>
                    <a:lnTo>
                      <a:pt x="1386302" y="3176336"/>
                    </a:lnTo>
                    <a:lnTo>
                      <a:pt x="1386302" y="2938211"/>
                    </a:lnTo>
                    <a:close/>
                    <a:moveTo>
                      <a:pt x="1608854" y="3183139"/>
                    </a:moveTo>
                    <a:lnTo>
                      <a:pt x="1608854" y="3421264"/>
                    </a:lnTo>
                    <a:lnTo>
                      <a:pt x="1386302" y="3421264"/>
                    </a:lnTo>
                    <a:lnTo>
                      <a:pt x="1386302" y="3183139"/>
                    </a:lnTo>
                    <a:close/>
                    <a:moveTo>
                      <a:pt x="1608854" y="3428068"/>
                    </a:moveTo>
                    <a:lnTo>
                      <a:pt x="1608854" y="3664560"/>
                    </a:lnTo>
                    <a:lnTo>
                      <a:pt x="1386302" y="3664560"/>
                    </a:lnTo>
                    <a:lnTo>
                      <a:pt x="1386302" y="3428068"/>
                    </a:lnTo>
                    <a:close/>
                    <a:moveTo>
                      <a:pt x="1608854" y="3671364"/>
                    </a:moveTo>
                    <a:lnTo>
                      <a:pt x="1608854" y="3909489"/>
                    </a:lnTo>
                    <a:lnTo>
                      <a:pt x="1386302" y="3909489"/>
                    </a:lnTo>
                    <a:lnTo>
                      <a:pt x="1386302" y="3671364"/>
                    </a:lnTo>
                    <a:close/>
                    <a:moveTo>
                      <a:pt x="1608854" y="3916292"/>
                    </a:moveTo>
                    <a:lnTo>
                      <a:pt x="1608854" y="4154417"/>
                    </a:lnTo>
                    <a:lnTo>
                      <a:pt x="1386302" y="4154417"/>
                    </a:lnTo>
                    <a:lnTo>
                      <a:pt x="1386302" y="3916292"/>
                    </a:lnTo>
                    <a:close/>
                    <a:moveTo>
                      <a:pt x="1608854" y="4161221"/>
                    </a:moveTo>
                    <a:lnTo>
                      <a:pt x="1608854" y="4399346"/>
                    </a:lnTo>
                    <a:lnTo>
                      <a:pt x="1386302" y="4399346"/>
                    </a:lnTo>
                    <a:lnTo>
                      <a:pt x="1386302" y="4161221"/>
                    </a:lnTo>
                    <a:close/>
                    <a:moveTo>
                      <a:pt x="1608854" y="4406149"/>
                    </a:moveTo>
                    <a:lnTo>
                      <a:pt x="1608854" y="4642233"/>
                    </a:lnTo>
                    <a:lnTo>
                      <a:pt x="1386302" y="4642233"/>
                    </a:lnTo>
                    <a:lnTo>
                      <a:pt x="1386302" y="4405741"/>
                    </a:lnTo>
                    <a:close/>
                    <a:moveTo>
                      <a:pt x="1608854" y="4649445"/>
                    </a:moveTo>
                    <a:lnTo>
                      <a:pt x="1608854" y="4887162"/>
                    </a:lnTo>
                    <a:lnTo>
                      <a:pt x="1386302" y="4887162"/>
                    </a:lnTo>
                    <a:lnTo>
                      <a:pt x="1386302" y="4649037"/>
                    </a:lnTo>
                    <a:close/>
                    <a:moveTo>
                      <a:pt x="1608854" y="4894374"/>
                    </a:moveTo>
                    <a:lnTo>
                      <a:pt x="1608854" y="5132090"/>
                    </a:lnTo>
                    <a:lnTo>
                      <a:pt x="1386302" y="5132090"/>
                    </a:lnTo>
                    <a:lnTo>
                      <a:pt x="1386302" y="4893965"/>
                    </a:lnTo>
                    <a:close/>
                    <a:moveTo>
                      <a:pt x="1608854" y="5139302"/>
                    </a:moveTo>
                    <a:lnTo>
                      <a:pt x="1608854" y="5375795"/>
                    </a:lnTo>
                    <a:lnTo>
                      <a:pt x="1386302" y="5375795"/>
                    </a:lnTo>
                    <a:lnTo>
                      <a:pt x="1386302" y="5139302"/>
                    </a:lnTo>
                    <a:close/>
                    <a:moveTo>
                      <a:pt x="1615257" y="5139302"/>
                    </a:moveTo>
                    <a:lnTo>
                      <a:pt x="1839089" y="5139302"/>
                    </a:lnTo>
                    <a:lnTo>
                      <a:pt x="1839089" y="5375795"/>
                    </a:lnTo>
                    <a:lnTo>
                      <a:pt x="1615000" y="5375795"/>
                    </a:lnTo>
                    <a:close/>
                    <a:moveTo>
                      <a:pt x="1845748" y="5139302"/>
                    </a:moveTo>
                    <a:lnTo>
                      <a:pt x="2069580" y="5139302"/>
                    </a:lnTo>
                    <a:lnTo>
                      <a:pt x="2069580" y="5375795"/>
                    </a:lnTo>
                    <a:lnTo>
                      <a:pt x="1845491" y="5375795"/>
                    </a:lnTo>
                    <a:close/>
                    <a:moveTo>
                      <a:pt x="2076239" y="5139302"/>
                    </a:moveTo>
                    <a:lnTo>
                      <a:pt x="2298791" y="5139302"/>
                    </a:lnTo>
                    <a:lnTo>
                      <a:pt x="2298791" y="5375795"/>
                    </a:lnTo>
                    <a:lnTo>
                      <a:pt x="2075982" y="5375795"/>
                    </a:lnTo>
                    <a:close/>
                    <a:moveTo>
                      <a:pt x="2305193" y="5139302"/>
                    </a:moveTo>
                    <a:lnTo>
                      <a:pt x="2529282" y="5139302"/>
                    </a:lnTo>
                    <a:lnTo>
                      <a:pt x="2529282" y="5375795"/>
                    </a:lnTo>
                    <a:lnTo>
                      <a:pt x="2305193" y="5375795"/>
                    </a:lnTo>
                    <a:close/>
                    <a:moveTo>
                      <a:pt x="2535684" y="5139302"/>
                    </a:moveTo>
                    <a:lnTo>
                      <a:pt x="2759773" y="5139302"/>
                    </a:lnTo>
                    <a:lnTo>
                      <a:pt x="2759773" y="5375795"/>
                    </a:lnTo>
                    <a:lnTo>
                      <a:pt x="2535684" y="5375795"/>
                    </a:lnTo>
                    <a:close/>
                    <a:moveTo>
                      <a:pt x="2766175" y="5139302"/>
                    </a:moveTo>
                    <a:lnTo>
                      <a:pt x="2990264" y="5139302"/>
                    </a:lnTo>
                    <a:lnTo>
                      <a:pt x="2990264" y="5375795"/>
                    </a:lnTo>
                    <a:lnTo>
                      <a:pt x="2766175" y="5375795"/>
                    </a:lnTo>
                    <a:close/>
                    <a:moveTo>
                      <a:pt x="2996666" y="5139302"/>
                    </a:moveTo>
                    <a:lnTo>
                      <a:pt x="3219218" y="5139302"/>
                    </a:lnTo>
                    <a:lnTo>
                      <a:pt x="3219218" y="5375795"/>
                    </a:lnTo>
                    <a:lnTo>
                      <a:pt x="2996666" y="5375795"/>
                    </a:lnTo>
                    <a:close/>
                    <a:moveTo>
                      <a:pt x="3225621" y="5139302"/>
                    </a:moveTo>
                    <a:lnTo>
                      <a:pt x="3449709" y="5139302"/>
                    </a:lnTo>
                    <a:lnTo>
                      <a:pt x="3449709" y="5375795"/>
                    </a:lnTo>
                    <a:lnTo>
                      <a:pt x="3225621" y="5375795"/>
                    </a:lnTo>
                    <a:close/>
                    <a:moveTo>
                      <a:pt x="3456112" y="5139302"/>
                    </a:moveTo>
                    <a:lnTo>
                      <a:pt x="3680200" y="5139302"/>
                    </a:lnTo>
                    <a:lnTo>
                      <a:pt x="3680200" y="5375795"/>
                    </a:lnTo>
                    <a:lnTo>
                      <a:pt x="3456112" y="5375795"/>
                    </a:lnTo>
                    <a:close/>
                    <a:moveTo>
                      <a:pt x="3686603" y="5139302"/>
                    </a:moveTo>
                    <a:lnTo>
                      <a:pt x="3910691" y="5139302"/>
                    </a:lnTo>
                    <a:lnTo>
                      <a:pt x="3910691" y="5375795"/>
                    </a:lnTo>
                    <a:lnTo>
                      <a:pt x="3686603" y="5375795"/>
                    </a:lnTo>
                    <a:close/>
                    <a:moveTo>
                      <a:pt x="3917094" y="5139302"/>
                    </a:moveTo>
                    <a:lnTo>
                      <a:pt x="4139644" y="5139302"/>
                    </a:lnTo>
                    <a:lnTo>
                      <a:pt x="4139644" y="5375795"/>
                    </a:lnTo>
                    <a:lnTo>
                      <a:pt x="3917094" y="5375795"/>
                    </a:lnTo>
                    <a:close/>
                    <a:moveTo>
                      <a:pt x="4146047" y="5139302"/>
                    </a:moveTo>
                    <a:lnTo>
                      <a:pt x="4370135" y="5139302"/>
                    </a:lnTo>
                    <a:lnTo>
                      <a:pt x="4370135" y="5375795"/>
                    </a:lnTo>
                    <a:lnTo>
                      <a:pt x="4146047" y="5375795"/>
                    </a:lnTo>
                    <a:close/>
                    <a:moveTo>
                      <a:pt x="4376538" y="5139302"/>
                    </a:moveTo>
                    <a:lnTo>
                      <a:pt x="4600626" y="5139302"/>
                    </a:lnTo>
                    <a:lnTo>
                      <a:pt x="4600626" y="5375795"/>
                    </a:lnTo>
                    <a:lnTo>
                      <a:pt x="4376538" y="5375795"/>
                    </a:lnTo>
                    <a:close/>
                    <a:moveTo>
                      <a:pt x="4607029" y="5139302"/>
                    </a:moveTo>
                    <a:lnTo>
                      <a:pt x="4829582" y="5139302"/>
                    </a:lnTo>
                    <a:lnTo>
                      <a:pt x="4829582" y="5375795"/>
                    </a:lnTo>
                    <a:lnTo>
                      <a:pt x="4607029" y="5375795"/>
                    </a:lnTo>
                    <a:close/>
                    <a:moveTo>
                      <a:pt x="4835985" y="5139302"/>
                    </a:moveTo>
                    <a:lnTo>
                      <a:pt x="5060073" y="5139302"/>
                    </a:lnTo>
                    <a:lnTo>
                      <a:pt x="5060073" y="5375795"/>
                    </a:lnTo>
                    <a:lnTo>
                      <a:pt x="4835472" y="5375795"/>
                    </a:lnTo>
                    <a:close/>
                    <a:moveTo>
                      <a:pt x="5066476" y="5139302"/>
                    </a:moveTo>
                    <a:lnTo>
                      <a:pt x="5290564" y="5139302"/>
                    </a:lnTo>
                    <a:lnTo>
                      <a:pt x="5290564" y="5375795"/>
                    </a:lnTo>
                    <a:lnTo>
                      <a:pt x="5065963" y="5375795"/>
                    </a:lnTo>
                    <a:close/>
                    <a:moveTo>
                      <a:pt x="5296967" y="5139302"/>
                    </a:moveTo>
                    <a:lnTo>
                      <a:pt x="5521055" y="5139302"/>
                    </a:lnTo>
                    <a:lnTo>
                      <a:pt x="5521055" y="5375795"/>
                    </a:lnTo>
                    <a:lnTo>
                      <a:pt x="5296454" y="5375795"/>
                    </a:lnTo>
                    <a:close/>
                    <a:moveTo>
                      <a:pt x="5527458" y="5139302"/>
                    </a:moveTo>
                    <a:lnTo>
                      <a:pt x="5750008" y="5139302"/>
                    </a:lnTo>
                    <a:lnTo>
                      <a:pt x="5750008" y="5375795"/>
                    </a:lnTo>
                    <a:lnTo>
                      <a:pt x="5526945" y="5375795"/>
                    </a:lnTo>
                    <a:close/>
                    <a:moveTo>
                      <a:pt x="5756411" y="5139302"/>
                    </a:moveTo>
                    <a:lnTo>
                      <a:pt x="5980499" y="5139302"/>
                    </a:lnTo>
                    <a:lnTo>
                      <a:pt x="5980499" y="5375795"/>
                    </a:lnTo>
                    <a:lnTo>
                      <a:pt x="5756411" y="5375795"/>
                    </a:lnTo>
                    <a:close/>
                    <a:moveTo>
                      <a:pt x="5986902" y="5139302"/>
                    </a:moveTo>
                    <a:lnTo>
                      <a:pt x="6210990" y="5139302"/>
                    </a:lnTo>
                    <a:lnTo>
                      <a:pt x="6210990" y="5375795"/>
                    </a:lnTo>
                    <a:lnTo>
                      <a:pt x="5986902" y="5375795"/>
                    </a:lnTo>
                    <a:close/>
                    <a:moveTo>
                      <a:pt x="6217393" y="5139302"/>
                    </a:moveTo>
                    <a:lnTo>
                      <a:pt x="6439946" y="5139302"/>
                    </a:lnTo>
                    <a:lnTo>
                      <a:pt x="6439946" y="5375795"/>
                    </a:lnTo>
                    <a:lnTo>
                      <a:pt x="6217136" y="5375795"/>
                    </a:lnTo>
                    <a:close/>
                    <a:moveTo>
                      <a:pt x="6446349" y="5139302"/>
                    </a:moveTo>
                    <a:lnTo>
                      <a:pt x="6656863" y="5139302"/>
                    </a:lnTo>
                    <a:lnTo>
                      <a:pt x="6656863" y="5375795"/>
                    </a:lnTo>
                    <a:lnTo>
                      <a:pt x="6446349" y="5375795"/>
                    </a:lnTo>
                    <a:close/>
                    <a:moveTo>
                      <a:pt x="6663265" y="5139302"/>
                    </a:moveTo>
                    <a:lnTo>
                      <a:pt x="6887354" y="5139302"/>
                    </a:lnTo>
                    <a:lnTo>
                      <a:pt x="6887354" y="5375795"/>
                    </a:lnTo>
                    <a:lnTo>
                      <a:pt x="6663265" y="5375795"/>
                    </a:lnTo>
                    <a:close/>
                    <a:moveTo>
                      <a:pt x="6893756" y="5139302"/>
                    </a:moveTo>
                    <a:lnTo>
                      <a:pt x="7117845" y="5139302"/>
                    </a:lnTo>
                    <a:lnTo>
                      <a:pt x="7117845" y="5375795"/>
                    </a:lnTo>
                    <a:lnTo>
                      <a:pt x="6893756" y="5375795"/>
                    </a:lnTo>
                    <a:close/>
                    <a:moveTo>
                      <a:pt x="7124247" y="5139302"/>
                    </a:moveTo>
                    <a:lnTo>
                      <a:pt x="7346801" y="5139302"/>
                    </a:lnTo>
                    <a:lnTo>
                      <a:pt x="7346801" y="5375795"/>
                    </a:lnTo>
                    <a:lnTo>
                      <a:pt x="7124247" y="5375795"/>
                    </a:lnTo>
                    <a:close/>
                    <a:moveTo>
                      <a:pt x="7353204" y="5139302"/>
                    </a:moveTo>
                    <a:lnTo>
                      <a:pt x="7577292" y="5139302"/>
                    </a:lnTo>
                    <a:lnTo>
                      <a:pt x="7577292" y="5375795"/>
                    </a:lnTo>
                    <a:lnTo>
                      <a:pt x="7353204" y="5375795"/>
                    </a:lnTo>
                    <a:close/>
                    <a:moveTo>
                      <a:pt x="7583695" y="5139302"/>
                    </a:moveTo>
                    <a:lnTo>
                      <a:pt x="7807783" y="5139302"/>
                    </a:lnTo>
                    <a:lnTo>
                      <a:pt x="7807783" y="5375795"/>
                    </a:lnTo>
                    <a:lnTo>
                      <a:pt x="7583695" y="5375795"/>
                    </a:lnTo>
                    <a:close/>
                    <a:moveTo>
                      <a:pt x="7814186" y="5139302"/>
                    </a:moveTo>
                    <a:lnTo>
                      <a:pt x="8038274" y="5139302"/>
                    </a:lnTo>
                    <a:lnTo>
                      <a:pt x="8038274" y="5375795"/>
                    </a:lnTo>
                    <a:lnTo>
                      <a:pt x="7814186" y="5375795"/>
                    </a:lnTo>
                    <a:close/>
                    <a:moveTo>
                      <a:pt x="8044677" y="5139302"/>
                    </a:moveTo>
                    <a:lnTo>
                      <a:pt x="8267227" y="5139302"/>
                    </a:lnTo>
                    <a:lnTo>
                      <a:pt x="8267227" y="5375795"/>
                    </a:lnTo>
                    <a:lnTo>
                      <a:pt x="8044420" y="5375795"/>
                    </a:lnTo>
                    <a:close/>
                    <a:moveTo>
                      <a:pt x="8273629" y="5139302"/>
                    </a:moveTo>
                    <a:lnTo>
                      <a:pt x="8497718" y="5139302"/>
                    </a:lnTo>
                    <a:lnTo>
                      <a:pt x="8497718" y="5375795"/>
                    </a:lnTo>
                    <a:lnTo>
                      <a:pt x="8273629" y="5375795"/>
                    </a:lnTo>
                    <a:close/>
                    <a:moveTo>
                      <a:pt x="8504120" y="5139302"/>
                    </a:moveTo>
                    <a:lnTo>
                      <a:pt x="8728209" y="5139302"/>
                    </a:lnTo>
                    <a:lnTo>
                      <a:pt x="8728209" y="5375795"/>
                    </a:lnTo>
                    <a:lnTo>
                      <a:pt x="8504120" y="5375795"/>
                    </a:lnTo>
                    <a:close/>
                    <a:moveTo>
                      <a:pt x="8734611" y="5139302"/>
                    </a:moveTo>
                    <a:lnTo>
                      <a:pt x="8957162" y="5139302"/>
                    </a:lnTo>
                    <a:lnTo>
                      <a:pt x="8957162" y="5375795"/>
                    </a:lnTo>
                    <a:lnTo>
                      <a:pt x="8734611" y="5375795"/>
                    </a:lnTo>
                    <a:close/>
                    <a:moveTo>
                      <a:pt x="8963564" y="5139302"/>
                    </a:moveTo>
                    <a:lnTo>
                      <a:pt x="9187653" y="5139302"/>
                    </a:lnTo>
                    <a:lnTo>
                      <a:pt x="9187653" y="5375795"/>
                    </a:lnTo>
                    <a:lnTo>
                      <a:pt x="8963564" y="5375795"/>
                    </a:lnTo>
                    <a:close/>
                    <a:moveTo>
                      <a:pt x="9194055" y="5139302"/>
                    </a:moveTo>
                    <a:lnTo>
                      <a:pt x="9418144" y="5139302"/>
                    </a:lnTo>
                    <a:lnTo>
                      <a:pt x="9418144" y="5375795"/>
                    </a:lnTo>
                    <a:lnTo>
                      <a:pt x="9194055" y="5375795"/>
                    </a:lnTo>
                    <a:close/>
                    <a:moveTo>
                      <a:pt x="9424546" y="5139302"/>
                    </a:moveTo>
                    <a:lnTo>
                      <a:pt x="9648635" y="5139302"/>
                    </a:lnTo>
                    <a:lnTo>
                      <a:pt x="9648635" y="5375795"/>
                    </a:lnTo>
                    <a:lnTo>
                      <a:pt x="9424546" y="5375795"/>
                    </a:lnTo>
                    <a:close/>
                    <a:moveTo>
                      <a:pt x="9655037" y="5139302"/>
                    </a:moveTo>
                    <a:lnTo>
                      <a:pt x="9877591" y="5139302"/>
                    </a:lnTo>
                    <a:lnTo>
                      <a:pt x="9877591" y="5375795"/>
                    </a:lnTo>
                    <a:lnTo>
                      <a:pt x="9655037" y="5375795"/>
                    </a:lnTo>
                    <a:close/>
                    <a:moveTo>
                      <a:pt x="9883993" y="5139302"/>
                    </a:moveTo>
                    <a:lnTo>
                      <a:pt x="10108082" y="5139302"/>
                    </a:lnTo>
                    <a:lnTo>
                      <a:pt x="10108082" y="5375795"/>
                    </a:lnTo>
                    <a:lnTo>
                      <a:pt x="9883993" y="5375795"/>
                    </a:lnTo>
                    <a:close/>
                    <a:moveTo>
                      <a:pt x="10114484" y="5139302"/>
                    </a:moveTo>
                    <a:lnTo>
                      <a:pt x="10338573" y="5139302"/>
                    </a:lnTo>
                    <a:lnTo>
                      <a:pt x="10338573" y="5375795"/>
                    </a:lnTo>
                    <a:lnTo>
                      <a:pt x="10114484" y="5375795"/>
                    </a:lnTo>
                    <a:close/>
                    <a:moveTo>
                      <a:pt x="10344975" y="5139302"/>
                    </a:moveTo>
                    <a:lnTo>
                      <a:pt x="10569064" y="5139302"/>
                    </a:lnTo>
                    <a:lnTo>
                      <a:pt x="10569064" y="5375795"/>
                    </a:lnTo>
                    <a:lnTo>
                      <a:pt x="10344975" y="5375795"/>
                    </a:lnTo>
                    <a:close/>
                    <a:moveTo>
                      <a:pt x="10575466" y="5139302"/>
                    </a:moveTo>
                    <a:lnTo>
                      <a:pt x="10798016" y="5139302"/>
                    </a:lnTo>
                    <a:lnTo>
                      <a:pt x="10798016" y="5375795"/>
                    </a:lnTo>
                    <a:lnTo>
                      <a:pt x="10575466" y="5375795"/>
                    </a:lnTo>
                    <a:close/>
                    <a:moveTo>
                      <a:pt x="10575466" y="5132499"/>
                    </a:moveTo>
                    <a:lnTo>
                      <a:pt x="10575466" y="4894374"/>
                    </a:lnTo>
                    <a:lnTo>
                      <a:pt x="10798016" y="4894374"/>
                    </a:lnTo>
                    <a:lnTo>
                      <a:pt x="10798016" y="5132090"/>
                    </a:lnTo>
                    <a:close/>
                    <a:moveTo>
                      <a:pt x="10575466" y="4887570"/>
                    </a:moveTo>
                    <a:lnTo>
                      <a:pt x="10575466" y="4649445"/>
                    </a:lnTo>
                    <a:lnTo>
                      <a:pt x="10798016" y="4649445"/>
                    </a:lnTo>
                    <a:lnTo>
                      <a:pt x="10798016" y="4887162"/>
                    </a:lnTo>
                    <a:close/>
                    <a:moveTo>
                      <a:pt x="10575466" y="4642642"/>
                    </a:moveTo>
                    <a:lnTo>
                      <a:pt x="10575466" y="4406149"/>
                    </a:lnTo>
                    <a:lnTo>
                      <a:pt x="10798016" y="4406149"/>
                    </a:lnTo>
                    <a:lnTo>
                      <a:pt x="10798016" y="4642233"/>
                    </a:lnTo>
                    <a:close/>
                    <a:moveTo>
                      <a:pt x="10575466" y="4399346"/>
                    </a:moveTo>
                    <a:lnTo>
                      <a:pt x="10575466" y="4161221"/>
                    </a:lnTo>
                    <a:lnTo>
                      <a:pt x="10798016" y="4161221"/>
                    </a:lnTo>
                    <a:lnTo>
                      <a:pt x="10798016" y="4399346"/>
                    </a:lnTo>
                    <a:close/>
                    <a:moveTo>
                      <a:pt x="10575466" y="4154417"/>
                    </a:moveTo>
                    <a:lnTo>
                      <a:pt x="10575466" y="3916292"/>
                    </a:lnTo>
                    <a:lnTo>
                      <a:pt x="10798016" y="3916292"/>
                    </a:lnTo>
                    <a:lnTo>
                      <a:pt x="10798016" y="4154417"/>
                    </a:lnTo>
                    <a:close/>
                    <a:moveTo>
                      <a:pt x="10575466" y="3909489"/>
                    </a:moveTo>
                    <a:lnTo>
                      <a:pt x="10575466" y="3671364"/>
                    </a:lnTo>
                    <a:lnTo>
                      <a:pt x="10798016" y="3671364"/>
                    </a:lnTo>
                    <a:lnTo>
                      <a:pt x="10798016" y="3909489"/>
                    </a:lnTo>
                    <a:close/>
                    <a:moveTo>
                      <a:pt x="10575466" y="3664560"/>
                    </a:moveTo>
                    <a:lnTo>
                      <a:pt x="10575466" y="3428068"/>
                    </a:lnTo>
                    <a:lnTo>
                      <a:pt x="10798016" y="3428068"/>
                    </a:lnTo>
                    <a:lnTo>
                      <a:pt x="10798016" y="3664560"/>
                    </a:lnTo>
                    <a:close/>
                    <a:moveTo>
                      <a:pt x="10575466" y="3421264"/>
                    </a:moveTo>
                    <a:lnTo>
                      <a:pt x="10575466" y="3183139"/>
                    </a:lnTo>
                    <a:lnTo>
                      <a:pt x="10798016" y="3183139"/>
                    </a:lnTo>
                    <a:lnTo>
                      <a:pt x="10798016" y="3421264"/>
                    </a:lnTo>
                    <a:close/>
                    <a:moveTo>
                      <a:pt x="10575466" y="3176336"/>
                    </a:moveTo>
                    <a:lnTo>
                      <a:pt x="10575466" y="2938211"/>
                    </a:lnTo>
                    <a:lnTo>
                      <a:pt x="10798016" y="2938211"/>
                    </a:lnTo>
                    <a:lnTo>
                      <a:pt x="10798016" y="3176336"/>
                    </a:lnTo>
                    <a:close/>
                    <a:moveTo>
                      <a:pt x="10575466" y="2931407"/>
                    </a:moveTo>
                    <a:lnTo>
                      <a:pt x="10575466" y="2693282"/>
                    </a:lnTo>
                    <a:lnTo>
                      <a:pt x="10798016" y="2693282"/>
                    </a:lnTo>
                    <a:lnTo>
                      <a:pt x="10798016" y="2931407"/>
                    </a:lnTo>
                    <a:close/>
                    <a:moveTo>
                      <a:pt x="10575466" y="2686479"/>
                    </a:moveTo>
                    <a:lnTo>
                      <a:pt x="10575466" y="2449986"/>
                    </a:lnTo>
                    <a:lnTo>
                      <a:pt x="10798016" y="2449986"/>
                    </a:lnTo>
                    <a:lnTo>
                      <a:pt x="10798016" y="2686479"/>
                    </a:lnTo>
                    <a:close/>
                    <a:moveTo>
                      <a:pt x="10575466" y="2443183"/>
                    </a:moveTo>
                    <a:lnTo>
                      <a:pt x="10575466" y="2205058"/>
                    </a:lnTo>
                    <a:lnTo>
                      <a:pt x="10798016" y="2205058"/>
                    </a:lnTo>
                    <a:lnTo>
                      <a:pt x="10798016" y="2443183"/>
                    </a:lnTo>
                    <a:close/>
                    <a:moveTo>
                      <a:pt x="10575466" y="2198254"/>
                    </a:moveTo>
                    <a:lnTo>
                      <a:pt x="10575466" y="1960129"/>
                    </a:lnTo>
                    <a:lnTo>
                      <a:pt x="10798016" y="1960129"/>
                    </a:lnTo>
                    <a:lnTo>
                      <a:pt x="10798016" y="2198254"/>
                    </a:lnTo>
                    <a:close/>
                    <a:moveTo>
                      <a:pt x="10575466" y="1953326"/>
                    </a:moveTo>
                    <a:lnTo>
                      <a:pt x="10575466" y="1716697"/>
                    </a:lnTo>
                    <a:lnTo>
                      <a:pt x="10798016" y="1716697"/>
                    </a:lnTo>
                    <a:lnTo>
                      <a:pt x="10798016" y="1953189"/>
                    </a:lnTo>
                    <a:close/>
                    <a:moveTo>
                      <a:pt x="10575466" y="1710030"/>
                    </a:moveTo>
                    <a:lnTo>
                      <a:pt x="10575466" y="1471769"/>
                    </a:lnTo>
                    <a:lnTo>
                      <a:pt x="10798016" y="1471769"/>
                    </a:lnTo>
                    <a:lnTo>
                      <a:pt x="10798016" y="1709894"/>
                    </a:lnTo>
                    <a:close/>
                    <a:moveTo>
                      <a:pt x="10575466" y="1465101"/>
                    </a:moveTo>
                    <a:lnTo>
                      <a:pt x="10575466" y="1226840"/>
                    </a:lnTo>
                    <a:lnTo>
                      <a:pt x="10798016" y="1226840"/>
                    </a:lnTo>
                    <a:lnTo>
                      <a:pt x="10798016" y="1464965"/>
                    </a:lnTo>
                    <a:close/>
                    <a:moveTo>
                      <a:pt x="10569064" y="1465101"/>
                    </a:moveTo>
                    <a:lnTo>
                      <a:pt x="10344975" y="1465101"/>
                    </a:lnTo>
                    <a:lnTo>
                      <a:pt x="10344975" y="1226840"/>
                    </a:lnTo>
                    <a:lnTo>
                      <a:pt x="10569064" y="1226840"/>
                    </a:lnTo>
                    <a:close/>
                    <a:moveTo>
                      <a:pt x="10338573" y="1465101"/>
                    </a:moveTo>
                    <a:lnTo>
                      <a:pt x="10114484" y="1465101"/>
                    </a:lnTo>
                    <a:lnTo>
                      <a:pt x="10114484" y="1226840"/>
                    </a:lnTo>
                    <a:lnTo>
                      <a:pt x="10338573" y="1226840"/>
                    </a:lnTo>
                    <a:close/>
                    <a:moveTo>
                      <a:pt x="10108082" y="1465101"/>
                    </a:moveTo>
                    <a:lnTo>
                      <a:pt x="9883993" y="1465101"/>
                    </a:lnTo>
                    <a:lnTo>
                      <a:pt x="9883993" y="1226840"/>
                    </a:lnTo>
                    <a:lnTo>
                      <a:pt x="10108082" y="1226840"/>
                    </a:lnTo>
                    <a:close/>
                    <a:moveTo>
                      <a:pt x="9877591" y="1465101"/>
                    </a:moveTo>
                    <a:lnTo>
                      <a:pt x="9655037" y="1465101"/>
                    </a:lnTo>
                    <a:lnTo>
                      <a:pt x="9655037" y="1226840"/>
                    </a:lnTo>
                    <a:lnTo>
                      <a:pt x="9877591" y="1226840"/>
                    </a:lnTo>
                    <a:close/>
                    <a:moveTo>
                      <a:pt x="9648635" y="1465101"/>
                    </a:moveTo>
                    <a:lnTo>
                      <a:pt x="9424546" y="1465101"/>
                    </a:lnTo>
                    <a:lnTo>
                      <a:pt x="9424546" y="1226840"/>
                    </a:lnTo>
                    <a:lnTo>
                      <a:pt x="9648635" y="1226840"/>
                    </a:lnTo>
                    <a:close/>
                    <a:moveTo>
                      <a:pt x="9418144" y="1465101"/>
                    </a:moveTo>
                    <a:lnTo>
                      <a:pt x="9194055" y="1465101"/>
                    </a:lnTo>
                    <a:lnTo>
                      <a:pt x="9194055" y="1226840"/>
                    </a:lnTo>
                    <a:lnTo>
                      <a:pt x="9418144" y="1226840"/>
                    </a:lnTo>
                    <a:close/>
                    <a:moveTo>
                      <a:pt x="9187653" y="1465101"/>
                    </a:moveTo>
                    <a:lnTo>
                      <a:pt x="8963564" y="1465101"/>
                    </a:lnTo>
                    <a:lnTo>
                      <a:pt x="8963564" y="1226840"/>
                    </a:lnTo>
                    <a:lnTo>
                      <a:pt x="9187653" y="1226840"/>
                    </a:lnTo>
                    <a:close/>
                    <a:moveTo>
                      <a:pt x="8957162" y="1465101"/>
                    </a:moveTo>
                    <a:lnTo>
                      <a:pt x="8734611" y="1465101"/>
                    </a:lnTo>
                    <a:lnTo>
                      <a:pt x="8734611" y="1226840"/>
                    </a:lnTo>
                    <a:lnTo>
                      <a:pt x="8957162" y="1226840"/>
                    </a:lnTo>
                    <a:close/>
                    <a:moveTo>
                      <a:pt x="8728209" y="1465101"/>
                    </a:moveTo>
                    <a:lnTo>
                      <a:pt x="8504120" y="1465101"/>
                    </a:lnTo>
                    <a:lnTo>
                      <a:pt x="8504120" y="1226840"/>
                    </a:lnTo>
                    <a:lnTo>
                      <a:pt x="8728209" y="1226840"/>
                    </a:lnTo>
                    <a:close/>
                    <a:moveTo>
                      <a:pt x="8497718" y="1465101"/>
                    </a:moveTo>
                    <a:lnTo>
                      <a:pt x="8273629" y="1465101"/>
                    </a:lnTo>
                    <a:lnTo>
                      <a:pt x="8273629" y="1226840"/>
                    </a:lnTo>
                    <a:lnTo>
                      <a:pt x="8497718" y="1226840"/>
                    </a:lnTo>
                    <a:close/>
                    <a:moveTo>
                      <a:pt x="8267227" y="1465101"/>
                    </a:moveTo>
                    <a:lnTo>
                      <a:pt x="8044420" y="1465101"/>
                    </a:lnTo>
                    <a:lnTo>
                      <a:pt x="8044420" y="1226840"/>
                    </a:lnTo>
                    <a:lnTo>
                      <a:pt x="8267227" y="1226840"/>
                    </a:lnTo>
                    <a:close/>
                    <a:moveTo>
                      <a:pt x="8038274" y="1465101"/>
                    </a:moveTo>
                    <a:lnTo>
                      <a:pt x="7814186" y="1465101"/>
                    </a:lnTo>
                    <a:lnTo>
                      <a:pt x="7814186" y="1226840"/>
                    </a:lnTo>
                    <a:lnTo>
                      <a:pt x="8038274" y="1226840"/>
                    </a:lnTo>
                    <a:close/>
                    <a:moveTo>
                      <a:pt x="7807783" y="1465101"/>
                    </a:moveTo>
                    <a:lnTo>
                      <a:pt x="7583695" y="1465101"/>
                    </a:lnTo>
                    <a:lnTo>
                      <a:pt x="7583695" y="1226840"/>
                    </a:lnTo>
                    <a:lnTo>
                      <a:pt x="7807783" y="1226840"/>
                    </a:lnTo>
                    <a:close/>
                    <a:moveTo>
                      <a:pt x="7577292" y="1465101"/>
                    </a:moveTo>
                    <a:lnTo>
                      <a:pt x="7353204" y="1465101"/>
                    </a:lnTo>
                    <a:lnTo>
                      <a:pt x="7353204" y="1226840"/>
                    </a:lnTo>
                    <a:lnTo>
                      <a:pt x="7577292" y="1226840"/>
                    </a:lnTo>
                    <a:close/>
                    <a:moveTo>
                      <a:pt x="7346801" y="1465101"/>
                    </a:moveTo>
                    <a:lnTo>
                      <a:pt x="7124247" y="1465101"/>
                    </a:lnTo>
                    <a:lnTo>
                      <a:pt x="7124247" y="1226840"/>
                    </a:lnTo>
                    <a:lnTo>
                      <a:pt x="7346801" y="1226840"/>
                    </a:lnTo>
                    <a:close/>
                    <a:moveTo>
                      <a:pt x="7117845" y="1465101"/>
                    </a:moveTo>
                    <a:lnTo>
                      <a:pt x="6893756" y="1465101"/>
                    </a:lnTo>
                    <a:lnTo>
                      <a:pt x="6893756" y="1226840"/>
                    </a:lnTo>
                    <a:lnTo>
                      <a:pt x="7117845" y="1226840"/>
                    </a:lnTo>
                    <a:close/>
                    <a:moveTo>
                      <a:pt x="6887354" y="1465101"/>
                    </a:moveTo>
                    <a:lnTo>
                      <a:pt x="6663265" y="1465101"/>
                    </a:lnTo>
                    <a:lnTo>
                      <a:pt x="6663265" y="1226840"/>
                    </a:lnTo>
                    <a:lnTo>
                      <a:pt x="6887354" y="1226840"/>
                    </a:lnTo>
                    <a:close/>
                    <a:moveTo>
                      <a:pt x="6656863" y="1465101"/>
                    </a:moveTo>
                    <a:lnTo>
                      <a:pt x="6446349" y="1465101"/>
                    </a:lnTo>
                    <a:lnTo>
                      <a:pt x="6446349" y="1226840"/>
                    </a:lnTo>
                    <a:lnTo>
                      <a:pt x="6656863" y="1226840"/>
                    </a:lnTo>
                    <a:close/>
                    <a:moveTo>
                      <a:pt x="6439946" y="1465101"/>
                    </a:moveTo>
                    <a:lnTo>
                      <a:pt x="6217136" y="1465101"/>
                    </a:lnTo>
                    <a:lnTo>
                      <a:pt x="6217136" y="1226840"/>
                    </a:lnTo>
                    <a:lnTo>
                      <a:pt x="6439690" y="1226840"/>
                    </a:lnTo>
                    <a:close/>
                    <a:moveTo>
                      <a:pt x="6210990" y="1465101"/>
                    </a:moveTo>
                    <a:lnTo>
                      <a:pt x="5986902" y="1465101"/>
                    </a:lnTo>
                    <a:lnTo>
                      <a:pt x="5986902" y="1226840"/>
                    </a:lnTo>
                    <a:lnTo>
                      <a:pt x="6210990" y="1226840"/>
                    </a:lnTo>
                    <a:close/>
                    <a:moveTo>
                      <a:pt x="5980499" y="1465101"/>
                    </a:moveTo>
                    <a:lnTo>
                      <a:pt x="5756411" y="1465101"/>
                    </a:lnTo>
                    <a:lnTo>
                      <a:pt x="5756411" y="1226840"/>
                    </a:lnTo>
                    <a:lnTo>
                      <a:pt x="5980499" y="1226840"/>
                    </a:lnTo>
                    <a:close/>
                    <a:moveTo>
                      <a:pt x="5750008" y="1465101"/>
                    </a:moveTo>
                    <a:lnTo>
                      <a:pt x="5526945" y="1465101"/>
                    </a:lnTo>
                    <a:lnTo>
                      <a:pt x="5526945" y="1226840"/>
                    </a:lnTo>
                    <a:lnTo>
                      <a:pt x="5749495" y="1226840"/>
                    </a:lnTo>
                    <a:close/>
                    <a:moveTo>
                      <a:pt x="5521055" y="1465101"/>
                    </a:moveTo>
                    <a:lnTo>
                      <a:pt x="5296454" y="1465101"/>
                    </a:lnTo>
                    <a:lnTo>
                      <a:pt x="5296454" y="1226840"/>
                    </a:lnTo>
                    <a:lnTo>
                      <a:pt x="5520542" y="1226840"/>
                    </a:lnTo>
                    <a:close/>
                    <a:moveTo>
                      <a:pt x="5290564" y="1465101"/>
                    </a:moveTo>
                    <a:lnTo>
                      <a:pt x="5065963" y="1465101"/>
                    </a:lnTo>
                    <a:lnTo>
                      <a:pt x="5065963" y="1226840"/>
                    </a:lnTo>
                    <a:lnTo>
                      <a:pt x="5290051" y="1226840"/>
                    </a:lnTo>
                    <a:close/>
                    <a:moveTo>
                      <a:pt x="5060073" y="1465101"/>
                    </a:moveTo>
                    <a:lnTo>
                      <a:pt x="4835472" y="1465101"/>
                    </a:lnTo>
                    <a:lnTo>
                      <a:pt x="4835472" y="1226840"/>
                    </a:lnTo>
                    <a:lnTo>
                      <a:pt x="5059560" y="1226840"/>
                    </a:lnTo>
                    <a:close/>
                    <a:moveTo>
                      <a:pt x="4829582" y="1465101"/>
                    </a:moveTo>
                    <a:lnTo>
                      <a:pt x="4607029" y="1465101"/>
                    </a:lnTo>
                    <a:lnTo>
                      <a:pt x="4607029" y="1226840"/>
                    </a:lnTo>
                    <a:lnTo>
                      <a:pt x="4829582" y="1226840"/>
                    </a:lnTo>
                    <a:close/>
                    <a:moveTo>
                      <a:pt x="4600626" y="1465101"/>
                    </a:moveTo>
                    <a:lnTo>
                      <a:pt x="4376538" y="1465101"/>
                    </a:lnTo>
                    <a:lnTo>
                      <a:pt x="4376538" y="1226840"/>
                    </a:lnTo>
                    <a:lnTo>
                      <a:pt x="4600626" y="1226840"/>
                    </a:lnTo>
                    <a:close/>
                    <a:moveTo>
                      <a:pt x="4370135" y="1465101"/>
                    </a:moveTo>
                    <a:lnTo>
                      <a:pt x="4146047" y="1465101"/>
                    </a:lnTo>
                    <a:lnTo>
                      <a:pt x="4146047" y="1226840"/>
                    </a:lnTo>
                    <a:lnTo>
                      <a:pt x="4370135" y="1226840"/>
                    </a:lnTo>
                    <a:close/>
                    <a:moveTo>
                      <a:pt x="4139644" y="1465101"/>
                    </a:moveTo>
                    <a:lnTo>
                      <a:pt x="3917094" y="1465101"/>
                    </a:lnTo>
                    <a:lnTo>
                      <a:pt x="3917094" y="1226840"/>
                    </a:lnTo>
                    <a:lnTo>
                      <a:pt x="4139644" y="1226840"/>
                    </a:lnTo>
                    <a:close/>
                    <a:moveTo>
                      <a:pt x="3910691" y="1465101"/>
                    </a:moveTo>
                    <a:lnTo>
                      <a:pt x="3686603" y="1465101"/>
                    </a:lnTo>
                    <a:lnTo>
                      <a:pt x="3686603" y="1226840"/>
                    </a:lnTo>
                    <a:lnTo>
                      <a:pt x="3910691" y="1226840"/>
                    </a:lnTo>
                    <a:close/>
                    <a:moveTo>
                      <a:pt x="3680200" y="1465101"/>
                    </a:moveTo>
                    <a:lnTo>
                      <a:pt x="3456112" y="1465101"/>
                    </a:lnTo>
                    <a:lnTo>
                      <a:pt x="3456112" y="1226840"/>
                    </a:lnTo>
                    <a:lnTo>
                      <a:pt x="3680200" y="1226840"/>
                    </a:lnTo>
                    <a:close/>
                    <a:moveTo>
                      <a:pt x="3449709" y="1465101"/>
                    </a:moveTo>
                    <a:lnTo>
                      <a:pt x="3225621" y="1465101"/>
                    </a:lnTo>
                    <a:lnTo>
                      <a:pt x="3225621" y="1226840"/>
                    </a:lnTo>
                    <a:lnTo>
                      <a:pt x="3449709" y="1226840"/>
                    </a:lnTo>
                    <a:close/>
                    <a:moveTo>
                      <a:pt x="3219218" y="1465101"/>
                    </a:moveTo>
                    <a:lnTo>
                      <a:pt x="2996666" y="1465101"/>
                    </a:lnTo>
                    <a:lnTo>
                      <a:pt x="2996666" y="1226840"/>
                    </a:lnTo>
                    <a:lnTo>
                      <a:pt x="3219218" y="1226840"/>
                    </a:lnTo>
                    <a:close/>
                    <a:moveTo>
                      <a:pt x="2990264" y="1465101"/>
                    </a:moveTo>
                    <a:lnTo>
                      <a:pt x="2766175" y="1465101"/>
                    </a:lnTo>
                    <a:lnTo>
                      <a:pt x="2766175" y="1226840"/>
                    </a:lnTo>
                    <a:lnTo>
                      <a:pt x="2990264" y="1226840"/>
                    </a:lnTo>
                    <a:close/>
                    <a:moveTo>
                      <a:pt x="2759773" y="1465101"/>
                    </a:moveTo>
                    <a:lnTo>
                      <a:pt x="2535684" y="1465101"/>
                    </a:lnTo>
                    <a:lnTo>
                      <a:pt x="2535684" y="1226840"/>
                    </a:lnTo>
                    <a:lnTo>
                      <a:pt x="2759773" y="1226840"/>
                    </a:lnTo>
                    <a:close/>
                    <a:moveTo>
                      <a:pt x="2529282" y="1465101"/>
                    </a:moveTo>
                    <a:lnTo>
                      <a:pt x="2305193" y="1465101"/>
                    </a:lnTo>
                    <a:lnTo>
                      <a:pt x="2305193" y="1226840"/>
                    </a:lnTo>
                    <a:lnTo>
                      <a:pt x="2529282" y="1226840"/>
                    </a:lnTo>
                    <a:close/>
                    <a:moveTo>
                      <a:pt x="2298791" y="1465101"/>
                    </a:moveTo>
                    <a:lnTo>
                      <a:pt x="2075982" y="1465101"/>
                    </a:lnTo>
                    <a:lnTo>
                      <a:pt x="2075982" y="1226840"/>
                    </a:lnTo>
                    <a:lnTo>
                      <a:pt x="2298534" y="1226840"/>
                    </a:lnTo>
                    <a:close/>
                    <a:moveTo>
                      <a:pt x="2069836" y="1465101"/>
                    </a:moveTo>
                    <a:lnTo>
                      <a:pt x="1845748" y="1465101"/>
                    </a:lnTo>
                    <a:lnTo>
                      <a:pt x="1845748" y="1226840"/>
                    </a:lnTo>
                    <a:lnTo>
                      <a:pt x="2069580" y="1226840"/>
                    </a:lnTo>
                    <a:close/>
                    <a:moveTo>
                      <a:pt x="1839345" y="1465101"/>
                    </a:moveTo>
                    <a:lnTo>
                      <a:pt x="1615257" y="1465101"/>
                    </a:lnTo>
                    <a:lnTo>
                      <a:pt x="1615257" y="1226840"/>
                    </a:lnTo>
                    <a:lnTo>
                      <a:pt x="1839089" y="1226840"/>
                    </a:lnTo>
                    <a:close/>
                    <a:moveTo>
                      <a:pt x="1608854" y="1465101"/>
                    </a:moveTo>
                    <a:lnTo>
                      <a:pt x="1386302" y="1465101"/>
                    </a:lnTo>
                    <a:lnTo>
                      <a:pt x="1386302" y="1226840"/>
                    </a:lnTo>
                    <a:lnTo>
                      <a:pt x="1608598" y="1226840"/>
                    </a:lnTo>
                    <a:close/>
                    <a:moveTo>
                      <a:pt x="1379900" y="1465101"/>
                    </a:moveTo>
                    <a:lnTo>
                      <a:pt x="1155811" y="1465101"/>
                    </a:lnTo>
                    <a:lnTo>
                      <a:pt x="1155811" y="1226840"/>
                    </a:lnTo>
                    <a:lnTo>
                      <a:pt x="1379900" y="1226840"/>
                    </a:lnTo>
                    <a:close/>
                    <a:moveTo>
                      <a:pt x="1379900" y="1471905"/>
                    </a:moveTo>
                    <a:lnTo>
                      <a:pt x="1379900" y="1710030"/>
                    </a:lnTo>
                    <a:lnTo>
                      <a:pt x="1155811" y="1710030"/>
                    </a:lnTo>
                    <a:lnTo>
                      <a:pt x="1155811" y="1471769"/>
                    </a:lnTo>
                    <a:close/>
                    <a:moveTo>
                      <a:pt x="1379900" y="1716833"/>
                    </a:moveTo>
                    <a:lnTo>
                      <a:pt x="1379900" y="1953326"/>
                    </a:lnTo>
                    <a:lnTo>
                      <a:pt x="1155811" y="1953326"/>
                    </a:lnTo>
                    <a:lnTo>
                      <a:pt x="1155811" y="1716697"/>
                    </a:lnTo>
                    <a:close/>
                    <a:moveTo>
                      <a:pt x="1379900" y="1960129"/>
                    </a:moveTo>
                    <a:lnTo>
                      <a:pt x="1379900" y="2198254"/>
                    </a:lnTo>
                    <a:lnTo>
                      <a:pt x="1155811" y="2198254"/>
                    </a:lnTo>
                    <a:lnTo>
                      <a:pt x="1155811" y="1960129"/>
                    </a:lnTo>
                    <a:close/>
                    <a:moveTo>
                      <a:pt x="1379900" y="2205058"/>
                    </a:moveTo>
                    <a:lnTo>
                      <a:pt x="1379900" y="2443183"/>
                    </a:lnTo>
                    <a:lnTo>
                      <a:pt x="1155811" y="2443183"/>
                    </a:lnTo>
                    <a:lnTo>
                      <a:pt x="1155811" y="2205058"/>
                    </a:lnTo>
                    <a:close/>
                    <a:moveTo>
                      <a:pt x="1379900" y="2449986"/>
                    </a:moveTo>
                    <a:lnTo>
                      <a:pt x="1379900" y="2686479"/>
                    </a:lnTo>
                    <a:lnTo>
                      <a:pt x="1155811" y="2686479"/>
                    </a:lnTo>
                    <a:lnTo>
                      <a:pt x="1155811" y="2449986"/>
                    </a:lnTo>
                    <a:close/>
                    <a:moveTo>
                      <a:pt x="1379900" y="2693282"/>
                    </a:moveTo>
                    <a:lnTo>
                      <a:pt x="1379900" y="2931407"/>
                    </a:lnTo>
                    <a:lnTo>
                      <a:pt x="1155811" y="2931407"/>
                    </a:lnTo>
                    <a:lnTo>
                      <a:pt x="1155811" y="2693282"/>
                    </a:lnTo>
                    <a:close/>
                    <a:moveTo>
                      <a:pt x="1379900" y="2938211"/>
                    </a:moveTo>
                    <a:lnTo>
                      <a:pt x="1379900" y="3176336"/>
                    </a:lnTo>
                    <a:lnTo>
                      <a:pt x="1155811" y="3176336"/>
                    </a:lnTo>
                    <a:lnTo>
                      <a:pt x="1155811" y="2938211"/>
                    </a:lnTo>
                    <a:close/>
                    <a:moveTo>
                      <a:pt x="1379900" y="3183139"/>
                    </a:moveTo>
                    <a:lnTo>
                      <a:pt x="1379900" y="3421264"/>
                    </a:lnTo>
                    <a:lnTo>
                      <a:pt x="1155811" y="3421264"/>
                    </a:lnTo>
                    <a:lnTo>
                      <a:pt x="1155811" y="3183139"/>
                    </a:lnTo>
                    <a:close/>
                    <a:moveTo>
                      <a:pt x="1379900" y="3428068"/>
                    </a:moveTo>
                    <a:lnTo>
                      <a:pt x="1379900" y="3664560"/>
                    </a:lnTo>
                    <a:lnTo>
                      <a:pt x="1155811" y="3664560"/>
                    </a:lnTo>
                    <a:lnTo>
                      <a:pt x="1155811" y="3428068"/>
                    </a:lnTo>
                    <a:close/>
                    <a:moveTo>
                      <a:pt x="1379900" y="3671364"/>
                    </a:moveTo>
                    <a:lnTo>
                      <a:pt x="1379900" y="3909489"/>
                    </a:lnTo>
                    <a:lnTo>
                      <a:pt x="1155811" y="3909489"/>
                    </a:lnTo>
                    <a:lnTo>
                      <a:pt x="1155811" y="3671364"/>
                    </a:lnTo>
                    <a:close/>
                    <a:moveTo>
                      <a:pt x="1379900" y="3916292"/>
                    </a:moveTo>
                    <a:lnTo>
                      <a:pt x="1379900" y="4154417"/>
                    </a:lnTo>
                    <a:lnTo>
                      <a:pt x="1155811" y="4154417"/>
                    </a:lnTo>
                    <a:lnTo>
                      <a:pt x="1155811" y="3916292"/>
                    </a:lnTo>
                    <a:close/>
                    <a:moveTo>
                      <a:pt x="1379900" y="4161221"/>
                    </a:moveTo>
                    <a:lnTo>
                      <a:pt x="1379900" y="4399346"/>
                    </a:lnTo>
                    <a:lnTo>
                      <a:pt x="1155811" y="4399346"/>
                    </a:lnTo>
                    <a:lnTo>
                      <a:pt x="1155811" y="4161221"/>
                    </a:lnTo>
                    <a:close/>
                    <a:moveTo>
                      <a:pt x="1379900" y="4406149"/>
                    </a:moveTo>
                    <a:lnTo>
                      <a:pt x="1379900" y="4642233"/>
                    </a:lnTo>
                    <a:lnTo>
                      <a:pt x="1155811" y="4642233"/>
                    </a:lnTo>
                    <a:lnTo>
                      <a:pt x="1155811" y="4405741"/>
                    </a:lnTo>
                    <a:close/>
                    <a:moveTo>
                      <a:pt x="1379900" y="4649445"/>
                    </a:moveTo>
                    <a:lnTo>
                      <a:pt x="1379900" y="4887162"/>
                    </a:lnTo>
                    <a:lnTo>
                      <a:pt x="1155811" y="4887162"/>
                    </a:lnTo>
                    <a:lnTo>
                      <a:pt x="1155811" y="4649037"/>
                    </a:lnTo>
                    <a:close/>
                    <a:moveTo>
                      <a:pt x="1379900" y="4894374"/>
                    </a:moveTo>
                    <a:lnTo>
                      <a:pt x="1379900" y="5132090"/>
                    </a:lnTo>
                    <a:lnTo>
                      <a:pt x="1155811" y="5132090"/>
                    </a:lnTo>
                    <a:lnTo>
                      <a:pt x="1155811" y="4893965"/>
                    </a:lnTo>
                    <a:close/>
                    <a:moveTo>
                      <a:pt x="1379900" y="5139302"/>
                    </a:moveTo>
                    <a:lnTo>
                      <a:pt x="1379900" y="5375795"/>
                    </a:lnTo>
                    <a:lnTo>
                      <a:pt x="1155811" y="5375795"/>
                    </a:lnTo>
                    <a:lnTo>
                      <a:pt x="1155811" y="5139302"/>
                    </a:lnTo>
                    <a:close/>
                    <a:moveTo>
                      <a:pt x="1379900" y="5382598"/>
                    </a:moveTo>
                    <a:lnTo>
                      <a:pt x="1379900" y="5620723"/>
                    </a:lnTo>
                    <a:lnTo>
                      <a:pt x="1155811" y="5620723"/>
                    </a:lnTo>
                    <a:lnTo>
                      <a:pt x="1155811" y="5382598"/>
                    </a:lnTo>
                    <a:close/>
                    <a:moveTo>
                      <a:pt x="1386302" y="5382598"/>
                    </a:moveTo>
                    <a:lnTo>
                      <a:pt x="1608598" y="5382598"/>
                    </a:lnTo>
                    <a:lnTo>
                      <a:pt x="1608598" y="5620723"/>
                    </a:lnTo>
                    <a:lnTo>
                      <a:pt x="1386046" y="5620723"/>
                    </a:lnTo>
                    <a:close/>
                    <a:moveTo>
                      <a:pt x="1615257" y="5382598"/>
                    </a:moveTo>
                    <a:lnTo>
                      <a:pt x="1839089" y="5382598"/>
                    </a:lnTo>
                    <a:lnTo>
                      <a:pt x="1839089" y="5620723"/>
                    </a:lnTo>
                    <a:lnTo>
                      <a:pt x="1615000" y="5620723"/>
                    </a:lnTo>
                    <a:close/>
                    <a:moveTo>
                      <a:pt x="1845748" y="5382598"/>
                    </a:moveTo>
                    <a:lnTo>
                      <a:pt x="2069580" y="5382598"/>
                    </a:lnTo>
                    <a:lnTo>
                      <a:pt x="2069580" y="5620723"/>
                    </a:lnTo>
                    <a:lnTo>
                      <a:pt x="1845491" y="5620723"/>
                    </a:lnTo>
                    <a:close/>
                    <a:moveTo>
                      <a:pt x="2076239" y="5382598"/>
                    </a:moveTo>
                    <a:lnTo>
                      <a:pt x="2298791" y="5382598"/>
                    </a:lnTo>
                    <a:lnTo>
                      <a:pt x="2298791" y="5620723"/>
                    </a:lnTo>
                    <a:lnTo>
                      <a:pt x="2075982" y="5620723"/>
                    </a:lnTo>
                    <a:close/>
                    <a:moveTo>
                      <a:pt x="2305193" y="5382598"/>
                    </a:moveTo>
                    <a:lnTo>
                      <a:pt x="2529282" y="5382598"/>
                    </a:lnTo>
                    <a:lnTo>
                      <a:pt x="2529282" y="5620723"/>
                    </a:lnTo>
                    <a:lnTo>
                      <a:pt x="2305193" y="5620723"/>
                    </a:lnTo>
                    <a:close/>
                    <a:moveTo>
                      <a:pt x="2535684" y="5382598"/>
                    </a:moveTo>
                    <a:lnTo>
                      <a:pt x="2759773" y="5382598"/>
                    </a:lnTo>
                    <a:lnTo>
                      <a:pt x="2759773" y="5620723"/>
                    </a:lnTo>
                    <a:lnTo>
                      <a:pt x="2535684" y="5620723"/>
                    </a:lnTo>
                    <a:close/>
                    <a:moveTo>
                      <a:pt x="2766175" y="5382598"/>
                    </a:moveTo>
                    <a:lnTo>
                      <a:pt x="2990264" y="5382598"/>
                    </a:lnTo>
                    <a:lnTo>
                      <a:pt x="2990264" y="5620723"/>
                    </a:lnTo>
                    <a:lnTo>
                      <a:pt x="2766175" y="5620723"/>
                    </a:lnTo>
                    <a:close/>
                    <a:moveTo>
                      <a:pt x="2996666" y="5382598"/>
                    </a:moveTo>
                    <a:lnTo>
                      <a:pt x="3219218" y="5382598"/>
                    </a:lnTo>
                    <a:lnTo>
                      <a:pt x="3219218" y="5620723"/>
                    </a:lnTo>
                    <a:lnTo>
                      <a:pt x="2996666" y="5620723"/>
                    </a:lnTo>
                    <a:close/>
                    <a:moveTo>
                      <a:pt x="3225621" y="5382598"/>
                    </a:moveTo>
                    <a:lnTo>
                      <a:pt x="3449709" y="5382598"/>
                    </a:lnTo>
                    <a:lnTo>
                      <a:pt x="3449709" y="5620723"/>
                    </a:lnTo>
                    <a:lnTo>
                      <a:pt x="3225621" y="5620723"/>
                    </a:lnTo>
                    <a:close/>
                    <a:moveTo>
                      <a:pt x="3456112" y="5382598"/>
                    </a:moveTo>
                    <a:lnTo>
                      <a:pt x="3680200" y="5382598"/>
                    </a:lnTo>
                    <a:lnTo>
                      <a:pt x="3680200" y="5620723"/>
                    </a:lnTo>
                    <a:lnTo>
                      <a:pt x="3456112" y="5620723"/>
                    </a:lnTo>
                    <a:close/>
                    <a:moveTo>
                      <a:pt x="3686603" y="5382598"/>
                    </a:moveTo>
                    <a:lnTo>
                      <a:pt x="3910691" y="5382598"/>
                    </a:lnTo>
                    <a:lnTo>
                      <a:pt x="3910691" y="5620723"/>
                    </a:lnTo>
                    <a:lnTo>
                      <a:pt x="3686603" y="5620723"/>
                    </a:lnTo>
                    <a:close/>
                    <a:moveTo>
                      <a:pt x="3917094" y="5382598"/>
                    </a:moveTo>
                    <a:lnTo>
                      <a:pt x="4139644" y="5382598"/>
                    </a:lnTo>
                    <a:lnTo>
                      <a:pt x="4139644" y="5620723"/>
                    </a:lnTo>
                    <a:lnTo>
                      <a:pt x="3917094" y="5620723"/>
                    </a:lnTo>
                    <a:close/>
                    <a:moveTo>
                      <a:pt x="4146047" y="5382598"/>
                    </a:moveTo>
                    <a:lnTo>
                      <a:pt x="4370135" y="5382598"/>
                    </a:lnTo>
                    <a:lnTo>
                      <a:pt x="4370135" y="5620723"/>
                    </a:lnTo>
                    <a:lnTo>
                      <a:pt x="4146047" y="5620723"/>
                    </a:lnTo>
                    <a:close/>
                    <a:moveTo>
                      <a:pt x="4376538" y="5382598"/>
                    </a:moveTo>
                    <a:lnTo>
                      <a:pt x="4600626" y="5382598"/>
                    </a:lnTo>
                    <a:lnTo>
                      <a:pt x="4600626" y="5620723"/>
                    </a:lnTo>
                    <a:lnTo>
                      <a:pt x="4376538" y="5620723"/>
                    </a:lnTo>
                    <a:close/>
                    <a:moveTo>
                      <a:pt x="4607029" y="5382598"/>
                    </a:moveTo>
                    <a:lnTo>
                      <a:pt x="4829582" y="5382598"/>
                    </a:lnTo>
                    <a:lnTo>
                      <a:pt x="4829582" y="5620723"/>
                    </a:lnTo>
                    <a:lnTo>
                      <a:pt x="4607029" y="5620723"/>
                    </a:lnTo>
                    <a:close/>
                    <a:moveTo>
                      <a:pt x="4835985" y="5382598"/>
                    </a:moveTo>
                    <a:lnTo>
                      <a:pt x="5060073" y="5382598"/>
                    </a:lnTo>
                    <a:lnTo>
                      <a:pt x="5060073" y="5620723"/>
                    </a:lnTo>
                    <a:lnTo>
                      <a:pt x="4835472" y="5620723"/>
                    </a:lnTo>
                    <a:close/>
                    <a:moveTo>
                      <a:pt x="5066476" y="5382598"/>
                    </a:moveTo>
                    <a:lnTo>
                      <a:pt x="5290564" y="5382598"/>
                    </a:lnTo>
                    <a:lnTo>
                      <a:pt x="5290564" y="5620723"/>
                    </a:lnTo>
                    <a:lnTo>
                      <a:pt x="5065963" y="5620723"/>
                    </a:lnTo>
                    <a:close/>
                    <a:moveTo>
                      <a:pt x="5296967" y="5382598"/>
                    </a:moveTo>
                    <a:lnTo>
                      <a:pt x="5521055" y="5382598"/>
                    </a:lnTo>
                    <a:lnTo>
                      <a:pt x="5521055" y="5620723"/>
                    </a:lnTo>
                    <a:lnTo>
                      <a:pt x="5296454" y="5620723"/>
                    </a:lnTo>
                    <a:close/>
                    <a:moveTo>
                      <a:pt x="5527458" y="5382598"/>
                    </a:moveTo>
                    <a:lnTo>
                      <a:pt x="5750008" y="5382598"/>
                    </a:lnTo>
                    <a:lnTo>
                      <a:pt x="5750008" y="5620723"/>
                    </a:lnTo>
                    <a:lnTo>
                      <a:pt x="5526945" y="5620723"/>
                    </a:lnTo>
                    <a:close/>
                    <a:moveTo>
                      <a:pt x="5756411" y="5382598"/>
                    </a:moveTo>
                    <a:lnTo>
                      <a:pt x="5980499" y="5382598"/>
                    </a:lnTo>
                    <a:lnTo>
                      <a:pt x="5980499" y="5620723"/>
                    </a:lnTo>
                    <a:lnTo>
                      <a:pt x="5756411" y="5620723"/>
                    </a:lnTo>
                    <a:close/>
                    <a:moveTo>
                      <a:pt x="5986902" y="5382598"/>
                    </a:moveTo>
                    <a:lnTo>
                      <a:pt x="6210990" y="5382598"/>
                    </a:lnTo>
                    <a:lnTo>
                      <a:pt x="6210990" y="5620723"/>
                    </a:lnTo>
                    <a:lnTo>
                      <a:pt x="5986902" y="5620723"/>
                    </a:lnTo>
                    <a:close/>
                    <a:moveTo>
                      <a:pt x="6217393" y="5382598"/>
                    </a:moveTo>
                    <a:lnTo>
                      <a:pt x="6439946" y="5382598"/>
                    </a:lnTo>
                    <a:lnTo>
                      <a:pt x="6439946" y="5620723"/>
                    </a:lnTo>
                    <a:lnTo>
                      <a:pt x="6217136" y="5620723"/>
                    </a:lnTo>
                    <a:close/>
                    <a:moveTo>
                      <a:pt x="6446349" y="5382598"/>
                    </a:moveTo>
                    <a:lnTo>
                      <a:pt x="6656863" y="5382598"/>
                    </a:lnTo>
                    <a:lnTo>
                      <a:pt x="6656863" y="5620723"/>
                    </a:lnTo>
                    <a:lnTo>
                      <a:pt x="6446349" y="5620723"/>
                    </a:lnTo>
                    <a:close/>
                    <a:moveTo>
                      <a:pt x="6663265" y="5382598"/>
                    </a:moveTo>
                    <a:lnTo>
                      <a:pt x="6887354" y="5382598"/>
                    </a:lnTo>
                    <a:lnTo>
                      <a:pt x="6887354" y="5620723"/>
                    </a:lnTo>
                    <a:lnTo>
                      <a:pt x="6663265" y="5620723"/>
                    </a:lnTo>
                    <a:close/>
                    <a:moveTo>
                      <a:pt x="6893756" y="5382598"/>
                    </a:moveTo>
                    <a:lnTo>
                      <a:pt x="7117845" y="5382598"/>
                    </a:lnTo>
                    <a:lnTo>
                      <a:pt x="7117845" y="5620723"/>
                    </a:lnTo>
                    <a:lnTo>
                      <a:pt x="6893756" y="5620723"/>
                    </a:lnTo>
                    <a:close/>
                    <a:moveTo>
                      <a:pt x="7124247" y="5382598"/>
                    </a:moveTo>
                    <a:lnTo>
                      <a:pt x="7346801" y="5382598"/>
                    </a:lnTo>
                    <a:lnTo>
                      <a:pt x="7346801" y="5620723"/>
                    </a:lnTo>
                    <a:lnTo>
                      <a:pt x="7124247" y="5620723"/>
                    </a:lnTo>
                    <a:close/>
                    <a:moveTo>
                      <a:pt x="7353204" y="5382598"/>
                    </a:moveTo>
                    <a:lnTo>
                      <a:pt x="7577292" y="5382598"/>
                    </a:lnTo>
                    <a:lnTo>
                      <a:pt x="7577292" y="5620723"/>
                    </a:lnTo>
                    <a:lnTo>
                      <a:pt x="7353204" y="5620723"/>
                    </a:lnTo>
                    <a:close/>
                    <a:moveTo>
                      <a:pt x="7583695" y="5382598"/>
                    </a:moveTo>
                    <a:lnTo>
                      <a:pt x="7807783" y="5382598"/>
                    </a:lnTo>
                    <a:lnTo>
                      <a:pt x="7807783" y="5620723"/>
                    </a:lnTo>
                    <a:lnTo>
                      <a:pt x="7583695" y="5620723"/>
                    </a:lnTo>
                    <a:close/>
                    <a:moveTo>
                      <a:pt x="7814186" y="5382598"/>
                    </a:moveTo>
                    <a:lnTo>
                      <a:pt x="8038274" y="5382598"/>
                    </a:lnTo>
                    <a:lnTo>
                      <a:pt x="8038274" y="5620723"/>
                    </a:lnTo>
                    <a:lnTo>
                      <a:pt x="7814186" y="5620723"/>
                    </a:lnTo>
                    <a:close/>
                    <a:moveTo>
                      <a:pt x="8044677" y="5382598"/>
                    </a:moveTo>
                    <a:lnTo>
                      <a:pt x="8267227" y="5382598"/>
                    </a:lnTo>
                    <a:lnTo>
                      <a:pt x="8267227" y="5620723"/>
                    </a:lnTo>
                    <a:lnTo>
                      <a:pt x="8044420" y="5620723"/>
                    </a:lnTo>
                    <a:close/>
                    <a:moveTo>
                      <a:pt x="8273629" y="5382598"/>
                    </a:moveTo>
                    <a:lnTo>
                      <a:pt x="8497718" y="5382598"/>
                    </a:lnTo>
                    <a:lnTo>
                      <a:pt x="8497718" y="5620723"/>
                    </a:lnTo>
                    <a:lnTo>
                      <a:pt x="8273629" y="5620723"/>
                    </a:lnTo>
                    <a:close/>
                    <a:moveTo>
                      <a:pt x="8504120" y="5382598"/>
                    </a:moveTo>
                    <a:lnTo>
                      <a:pt x="8728209" y="5382598"/>
                    </a:lnTo>
                    <a:lnTo>
                      <a:pt x="8728209" y="5620723"/>
                    </a:lnTo>
                    <a:lnTo>
                      <a:pt x="8504120" y="5620723"/>
                    </a:lnTo>
                    <a:close/>
                    <a:moveTo>
                      <a:pt x="8734611" y="5382598"/>
                    </a:moveTo>
                    <a:lnTo>
                      <a:pt x="8957162" y="5382598"/>
                    </a:lnTo>
                    <a:lnTo>
                      <a:pt x="8957162" y="5620723"/>
                    </a:lnTo>
                    <a:lnTo>
                      <a:pt x="8734611" y="5620723"/>
                    </a:lnTo>
                    <a:close/>
                    <a:moveTo>
                      <a:pt x="8963564" y="5382598"/>
                    </a:moveTo>
                    <a:lnTo>
                      <a:pt x="9187653" y="5382598"/>
                    </a:lnTo>
                    <a:lnTo>
                      <a:pt x="9187653" y="5620723"/>
                    </a:lnTo>
                    <a:lnTo>
                      <a:pt x="8963564" y="5620723"/>
                    </a:lnTo>
                    <a:close/>
                    <a:moveTo>
                      <a:pt x="9194055" y="5382598"/>
                    </a:moveTo>
                    <a:lnTo>
                      <a:pt x="9418144" y="5382598"/>
                    </a:lnTo>
                    <a:lnTo>
                      <a:pt x="9418144" y="5620723"/>
                    </a:lnTo>
                    <a:lnTo>
                      <a:pt x="9194055" y="5620723"/>
                    </a:lnTo>
                    <a:close/>
                    <a:moveTo>
                      <a:pt x="9424546" y="5382598"/>
                    </a:moveTo>
                    <a:lnTo>
                      <a:pt x="9648635" y="5382598"/>
                    </a:lnTo>
                    <a:lnTo>
                      <a:pt x="9648635" y="5620723"/>
                    </a:lnTo>
                    <a:lnTo>
                      <a:pt x="9424546" y="5620723"/>
                    </a:lnTo>
                    <a:close/>
                    <a:moveTo>
                      <a:pt x="9655037" y="5382598"/>
                    </a:moveTo>
                    <a:lnTo>
                      <a:pt x="9877591" y="5382598"/>
                    </a:lnTo>
                    <a:lnTo>
                      <a:pt x="9877591" y="5620723"/>
                    </a:lnTo>
                    <a:lnTo>
                      <a:pt x="9655037" y="5620723"/>
                    </a:lnTo>
                    <a:close/>
                    <a:moveTo>
                      <a:pt x="9883993" y="5382598"/>
                    </a:moveTo>
                    <a:lnTo>
                      <a:pt x="10108082" y="5382598"/>
                    </a:lnTo>
                    <a:lnTo>
                      <a:pt x="10108082" y="5620723"/>
                    </a:lnTo>
                    <a:lnTo>
                      <a:pt x="9883993" y="5620723"/>
                    </a:lnTo>
                    <a:close/>
                    <a:moveTo>
                      <a:pt x="10114484" y="5382598"/>
                    </a:moveTo>
                    <a:lnTo>
                      <a:pt x="10338573" y="5382598"/>
                    </a:lnTo>
                    <a:lnTo>
                      <a:pt x="10338573" y="5620723"/>
                    </a:lnTo>
                    <a:lnTo>
                      <a:pt x="10114484" y="5620723"/>
                    </a:lnTo>
                    <a:close/>
                    <a:moveTo>
                      <a:pt x="10344975" y="5382598"/>
                    </a:moveTo>
                    <a:lnTo>
                      <a:pt x="10569064" y="5382598"/>
                    </a:lnTo>
                    <a:lnTo>
                      <a:pt x="10569064" y="5620723"/>
                    </a:lnTo>
                    <a:lnTo>
                      <a:pt x="10344975" y="5620723"/>
                    </a:lnTo>
                    <a:close/>
                    <a:moveTo>
                      <a:pt x="10575466" y="5382598"/>
                    </a:moveTo>
                    <a:lnTo>
                      <a:pt x="10798016" y="5382598"/>
                    </a:lnTo>
                    <a:lnTo>
                      <a:pt x="10798016" y="5620723"/>
                    </a:lnTo>
                    <a:lnTo>
                      <a:pt x="10575466" y="5620723"/>
                    </a:lnTo>
                    <a:close/>
                    <a:moveTo>
                      <a:pt x="10804419" y="5382598"/>
                    </a:moveTo>
                    <a:lnTo>
                      <a:pt x="11028507" y="5382598"/>
                    </a:lnTo>
                    <a:lnTo>
                      <a:pt x="11028507" y="5620723"/>
                    </a:lnTo>
                    <a:lnTo>
                      <a:pt x="10804419" y="5620723"/>
                    </a:lnTo>
                    <a:close/>
                    <a:moveTo>
                      <a:pt x="10804419" y="5375795"/>
                    </a:moveTo>
                    <a:lnTo>
                      <a:pt x="10804419" y="5139302"/>
                    </a:lnTo>
                    <a:lnTo>
                      <a:pt x="11028507" y="5139302"/>
                    </a:lnTo>
                    <a:lnTo>
                      <a:pt x="11028507" y="5375795"/>
                    </a:lnTo>
                    <a:close/>
                    <a:moveTo>
                      <a:pt x="10804419" y="5132499"/>
                    </a:moveTo>
                    <a:lnTo>
                      <a:pt x="10804419" y="4894374"/>
                    </a:lnTo>
                    <a:lnTo>
                      <a:pt x="11028507" y="4894374"/>
                    </a:lnTo>
                    <a:lnTo>
                      <a:pt x="11028507" y="5132090"/>
                    </a:lnTo>
                    <a:close/>
                    <a:moveTo>
                      <a:pt x="10804419" y="4887570"/>
                    </a:moveTo>
                    <a:lnTo>
                      <a:pt x="10804419" y="4649445"/>
                    </a:lnTo>
                    <a:lnTo>
                      <a:pt x="11028507" y="4649445"/>
                    </a:lnTo>
                    <a:lnTo>
                      <a:pt x="11028507" y="4887162"/>
                    </a:lnTo>
                    <a:close/>
                    <a:moveTo>
                      <a:pt x="10804419" y="4642642"/>
                    </a:moveTo>
                    <a:lnTo>
                      <a:pt x="10804419" y="4406149"/>
                    </a:lnTo>
                    <a:lnTo>
                      <a:pt x="11028507" y="4406149"/>
                    </a:lnTo>
                    <a:lnTo>
                      <a:pt x="11028507" y="4642233"/>
                    </a:lnTo>
                    <a:close/>
                    <a:moveTo>
                      <a:pt x="10804419" y="4399346"/>
                    </a:moveTo>
                    <a:lnTo>
                      <a:pt x="10804419" y="4161221"/>
                    </a:lnTo>
                    <a:lnTo>
                      <a:pt x="11028507" y="4161221"/>
                    </a:lnTo>
                    <a:lnTo>
                      <a:pt x="11028507" y="4399346"/>
                    </a:lnTo>
                    <a:close/>
                    <a:moveTo>
                      <a:pt x="10804419" y="4154417"/>
                    </a:moveTo>
                    <a:lnTo>
                      <a:pt x="10804419" y="3916292"/>
                    </a:lnTo>
                    <a:lnTo>
                      <a:pt x="11028507" y="3916292"/>
                    </a:lnTo>
                    <a:lnTo>
                      <a:pt x="11028507" y="4154417"/>
                    </a:lnTo>
                    <a:close/>
                    <a:moveTo>
                      <a:pt x="10804419" y="3909489"/>
                    </a:moveTo>
                    <a:lnTo>
                      <a:pt x="10804419" y="3671364"/>
                    </a:lnTo>
                    <a:lnTo>
                      <a:pt x="11028507" y="3671364"/>
                    </a:lnTo>
                    <a:lnTo>
                      <a:pt x="11028507" y="3909489"/>
                    </a:lnTo>
                    <a:close/>
                    <a:moveTo>
                      <a:pt x="10804419" y="3664560"/>
                    </a:moveTo>
                    <a:lnTo>
                      <a:pt x="10804419" y="3428068"/>
                    </a:lnTo>
                    <a:lnTo>
                      <a:pt x="11028507" y="3428068"/>
                    </a:lnTo>
                    <a:lnTo>
                      <a:pt x="11028507" y="3664560"/>
                    </a:lnTo>
                    <a:close/>
                    <a:moveTo>
                      <a:pt x="10804419" y="3421264"/>
                    </a:moveTo>
                    <a:lnTo>
                      <a:pt x="10804419" y="3183139"/>
                    </a:lnTo>
                    <a:lnTo>
                      <a:pt x="11028507" y="3183139"/>
                    </a:lnTo>
                    <a:lnTo>
                      <a:pt x="11028507" y="3421264"/>
                    </a:lnTo>
                    <a:close/>
                    <a:moveTo>
                      <a:pt x="10804419" y="3176336"/>
                    </a:moveTo>
                    <a:lnTo>
                      <a:pt x="10804419" y="2938211"/>
                    </a:lnTo>
                    <a:lnTo>
                      <a:pt x="11028507" y="2938211"/>
                    </a:lnTo>
                    <a:lnTo>
                      <a:pt x="11028507" y="3176336"/>
                    </a:lnTo>
                    <a:close/>
                    <a:moveTo>
                      <a:pt x="10804419" y="2931407"/>
                    </a:moveTo>
                    <a:lnTo>
                      <a:pt x="10804419" y="2693282"/>
                    </a:lnTo>
                    <a:lnTo>
                      <a:pt x="11028507" y="2693282"/>
                    </a:lnTo>
                    <a:lnTo>
                      <a:pt x="11028507" y="2931407"/>
                    </a:lnTo>
                    <a:close/>
                    <a:moveTo>
                      <a:pt x="10804419" y="2686479"/>
                    </a:moveTo>
                    <a:lnTo>
                      <a:pt x="10804419" y="2449986"/>
                    </a:lnTo>
                    <a:lnTo>
                      <a:pt x="11028507" y="2449986"/>
                    </a:lnTo>
                    <a:lnTo>
                      <a:pt x="11028507" y="2686479"/>
                    </a:lnTo>
                    <a:close/>
                    <a:moveTo>
                      <a:pt x="10804419" y="2443183"/>
                    </a:moveTo>
                    <a:lnTo>
                      <a:pt x="10804419" y="2205058"/>
                    </a:lnTo>
                    <a:lnTo>
                      <a:pt x="11028507" y="2205058"/>
                    </a:lnTo>
                    <a:lnTo>
                      <a:pt x="11028507" y="2443183"/>
                    </a:lnTo>
                    <a:close/>
                    <a:moveTo>
                      <a:pt x="10804419" y="2198254"/>
                    </a:moveTo>
                    <a:lnTo>
                      <a:pt x="10804419" y="1960129"/>
                    </a:lnTo>
                    <a:lnTo>
                      <a:pt x="11028507" y="1960129"/>
                    </a:lnTo>
                    <a:lnTo>
                      <a:pt x="11028507" y="2198254"/>
                    </a:lnTo>
                    <a:close/>
                    <a:moveTo>
                      <a:pt x="10804419" y="1953326"/>
                    </a:moveTo>
                    <a:lnTo>
                      <a:pt x="10804419" y="1716697"/>
                    </a:lnTo>
                    <a:lnTo>
                      <a:pt x="11028507" y="1716697"/>
                    </a:lnTo>
                    <a:lnTo>
                      <a:pt x="11028507" y="1953189"/>
                    </a:lnTo>
                    <a:close/>
                    <a:moveTo>
                      <a:pt x="10804419" y="1710030"/>
                    </a:moveTo>
                    <a:lnTo>
                      <a:pt x="10804419" y="1471769"/>
                    </a:lnTo>
                    <a:lnTo>
                      <a:pt x="11028507" y="1471769"/>
                    </a:lnTo>
                    <a:lnTo>
                      <a:pt x="11028507" y="1709894"/>
                    </a:lnTo>
                    <a:close/>
                    <a:moveTo>
                      <a:pt x="10804419" y="1465101"/>
                    </a:moveTo>
                    <a:lnTo>
                      <a:pt x="10804419" y="1226840"/>
                    </a:lnTo>
                    <a:lnTo>
                      <a:pt x="11028507" y="1226840"/>
                    </a:lnTo>
                    <a:lnTo>
                      <a:pt x="11028507" y="1464965"/>
                    </a:lnTo>
                    <a:close/>
                    <a:moveTo>
                      <a:pt x="10804419" y="1220173"/>
                    </a:moveTo>
                    <a:lnTo>
                      <a:pt x="10804419" y="981911"/>
                    </a:lnTo>
                    <a:lnTo>
                      <a:pt x="11028507" y="981911"/>
                    </a:lnTo>
                    <a:lnTo>
                      <a:pt x="11028507" y="1220036"/>
                    </a:lnTo>
                    <a:close/>
                    <a:moveTo>
                      <a:pt x="10798016" y="1220173"/>
                    </a:moveTo>
                    <a:lnTo>
                      <a:pt x="10575466" y="1220173"/>
                    </a:lnTo>
                    <a:lnTo>
                      <a:pt x="10575466" y="981911"/>
                    </a:lnTo>
                    <a:lnTo>
                      <a:pt x="10798016" y="981911"/>
                    </a:lnTo>
                    <a:close/>
                    <a:moveTo>
                      <a:pt x="10569064" y="1220173"/>
                    </a:moveTo>
                    <a:lnTo>
                      <a:pt x="10344975" y="1220173"/>
                    </a:lnTo>
                    <a:lnTo>
                      <a:pt x="10344975" y="981911"/>
                    </a:lnTo>
                    <a:lnTo>
                      <a:pt x="10569064" y="981911"/>
                    </a:lnTo>
                    <a:close/>
                    <a:moveTo>
                      <a:pt x="10338573" y="1220173"/>
                    </a:moveTo>
                    <a:lnTo>
                      <a:pt x="10114484" y="1220173"/>
                    </a:lnTo>
                    <a:lnTo>
                      <a:pt x="10114484" y="981911"/>
                    </a:lnTo>
                    <a:lnTo>
                      <a:pt x="10338573" y="981911"/>
                    </a:lnTo>
                    <a:close/>
                    <a:moveTo>
                      <a:pt x="10108082" y="1220173"/>
                    </a:moveTo>
                    <a:lnTo>
                      <a:pt x="9883993" y="1220173"/>
                    </a:lnTo>
                    <a:lnTo>
                      <a:pt x="9883993" y="981911"/>
                    </a:lnTo>
                    <a:lnTo>
                      <a:pt x="10108082" y="981911"/>
                    </a:lnTo>
                    <a:close/>
                    <a:moveTo>
                      <a:pt x="9877591" y="1220173"/>
                    </a:moveTo>
                    <a:lnTo>
                      <a:pt x="9655037" y="1220173"/>
                    </a:lnTo>
                    <a:lnTo>
                      <a:pt x="9655037" y="981911"/>
                    </a:lnTo>
                    <a:lnTo>
                      <a:pt x="9877591" y="981911"/>
                    </a:lnTo>
                    <a:close/>
                    <a:moveTo>
                      <a:pt x="9648635" y="1220173"/>
                    </a:moveTo>
                    <a:lnTo>
                      <a:pt x="9424546" y="1220173"/>
                    </a:lnTo>
                    <a:lnTo>
                      <a:pt x="9424546" y="981911"/>
                    </a:lnTo>
                    <a:lnTo>
                      <a:pt x="9648635" y="981911"/>
                    </a:lnTo>
                    <a:close/>
                    <a:moveTo>
                      <a:pt x="9418144" y="1220173"/>
                    </a:moveTo>
                    <a:lnTo>
                      <a:pt x="9194055" y="1220173"/>
                    </a:lnTo>
                    <a:lnTo>
                      <a:pt x="9194055" y="981911"/>
                    </a:lnTo>
                    <a:lnTo>
                      <a:pt x="9418144" y="981911"/>
                    </a:lnTo>
                    <a:close/>
                    <a:moveTo>
                      <a:pt x="9187653" y="1220173"/>
                    </a:moveTo>
                    <a:lnTo>
                      <a:pt x="8963564" y="1220173"/>
                    </a:lnTo>
                    <a:lnTo>
                      <a:pt x="8963564" y="981911"/>
                    </a:lnTo>
                    <a:lnTo>
                      <a:pt x="9187653" y="981911"/>
                    </a:lnTo>
                    <a:close/>
                    <a:moveTo>
                      <a:pt x="8957162" y="1220173"/>
                    </a:moveTo>
                    <a:lnTo>
                      <a:pt x="8734611" y="1220173"/>
                    </a:lnTo>
                    <a:lnTo>
                      <a:pt x="8734611" y="981911"/>
                    </a:lnTo>
                    <a:lnTo>
                      <a:pt x="8957162" y="981911"/>
                    </a:lnTo>
                    <a:close/>
                    <a:moveTo>
                      <a:pt x="8728209" y="1220173"/>
                    </a:moveTo>
                    <a:lnTo>
                      <a:pt x="8504120" y="1220173"/>
                    </a:lnTo>
                    <a:lnTo>
                      <a:pt x="8504120" y="981911"/>
                    </a:lnTo>
                    <a:lnTo>
                      <a:pt x="8728209" y="981911"/>
                    </a:lnTo>
                    <a:close/>
                    <a:moveTo>
                      <a:pt x="8497718" y="1220173"/>
                    </a:moveTo>
                    <a:lnTo>
                      <a:pt x="8273629" y="1220173"/>
                    </a:lnTo>
                    <a:lnTo>
                      <a:pt x="8273629" y="981911"/>
                    </a:lnTo>
                    <a:lnTo>
                      <a:pt x="8497718" y="981911"/>
                    </a:lnTo>
                    <a:close/>
                    <a:moveTo>
                      <a:pt x="8267227" y="1220173"/>
                    </a:moveTo>
                    <a:lnTo>
                      <a:pt x="8044420" y="1220173"/>
                    </a:lnTo>
                    <a:lnTo>
                      <a:pt x="8044420" y="981911"/>
                    </a:lnTo>
                    <a:lnTo>
                      <a:pt x="8267227" y="981911"/>
                    </a:lnTo>
                    <a:close/>
                    <a:moveTo>
                      <a:pt x="8038274" y="1220173"/>
                    </a:moveTo>
                    <a:lnTo>
                      <a:pt x="7814186" y="1220173"/>
                    </a:lnTo>
                    <a:lnTo>
                      <a:pt x="7814186" y="981911"/>
                    </a:lnTo>
                    <a:lnTo>
                      <a:pt x="8038274" y="981911"/>
                    </a:lnTo>
                    <a:close/>
                    <a:moveTo>
                      <a:pt x="7807783" y="1220173"/>
                    </a:moveTo>
                    <a:lnTo>
                      <a:pt x="7583695" y="1220173"/>
                    </a:lnTo>
                    <a:lnTo>
                      <a:pt x="7583695" y="981911"/>
                    </a:lnTo>
                    <a:lnTo>
                      <a:pt x="7807783" y="981911"/>
                    </a:lnTo>
                    <a:close/>
                    <a:moveTo>
                      <a:pt x="7577292" y="1220173"/>
                    </a:moveTo>
                    <a:lnTo>
                      <a:pt x="7353204" y="1220173"/>
                    </a:lnTo>
                    <a:lnTo>
                      <a:pt x="7353204" y="981911"/>
                    </a:lnTo>
                    <a:lnTo>
                      <a:pt x="7577292" y="981911"/>
                    </a:lnTo>
                    <a:close/>
                    <a:moveTo>
                      <a:pt x="7346801" y="1220173"/>
                    </a:moveTo>
                    <a:lnTo>
                      <a:pt x="7124247" y="1220173"/>
                    </a:lnTo>
                    <a:lnTo>
                      <a:pt x="7124247" y="981911"/>
                    </a:lnTo>
                    <a:lnTo>
                      <a:pt x="7346801" y="981911"/>
                    </a:lnTo>
                    <a:close/>
                    <a:moveTo>
                      <a:pt x="7117845" y="1220173"/>
                    </a:moveTo>
                    <a:lnTo>
                      <a:pt x="6893756" y="1220173"/>
                    </a:lnTo>
                    <a:lnTo>
                      <a:pt x="6893756" y="981911"/>
                    </a:lnTo>
                    <a:lnTo>
                      <a:pt x="7117845" y="981911"/>
                    </a:lnTo>
                    <a:close/>
                    <a:moveTo>
                      <a:pt x="6887354" y="1220173"/>
                    </a:moveTo>
                    <a:lnTo>
                      <a:pt x="6663265" y="1220173"/>
                    </a:lnTo>
                    <a:lnTo>
                      <a:pt x="6663265" y="981911"/>
                    </a:lnTo>
                    <a:lnTo>
                      <a:pt x="6887354" y="981911"/>
                    </a:lnTo>
                    <a:close/>
                    <a:moveTo>
                      <a:pt x="6656863" y="1220173"/>
                    </a:moveTo>
                    <a:lnTo>
                      <a:pt x="6446349" y="1220173"/>
                    </a:lnTo>
                    <a:lnTo>
                      <a:pt x="6446349" y="981911"/>
                    </a:lnTo>
                    <a:lnTo>
                      <a:pt x="6656863" y="981911"/>
                    </a:lnTo>
                    <a:close/>
                    <a:moveTo>
                      <a:pt x="6439946" y="1220173"/>
                    </a:moveTo>
                    <a:lnTo>
                      <a:pt x="6217136" y="1220173"/>
                    </a:lnTo>
                    <a:lnTo>
                      <a:pt x="6217136" y="981911"/>
                    </a:lnTo>
                    <a:lnTo>
                      <a:pt x="6439690" y="981911"/>
                    </a:lnTo>
                    <a:close/>
                    <a:moveTo>
                      <a:pt x="6210990" y="1220173"/>
                    </a:moveTo>
                    <a:lnTo>
                      <a:pt x="5986902" y="1220173"/>
                    </a:lnTo>
                    <a:lnTo>
                      <a:pt x="5986902" y="981911"/>
                    </a:lnTo>
                    <a:lnTo>
                      <a:pt x="6210990" y="981911"/>
                    </a:lnTo>
                    <a:close/>
                    <a:moveTo>
                      <a:pt x="5980499" y="1220173"/>
                    </a:moveTo>
                    <a:lnTo>
                      <a:pt x="5756411" y="1220173"/>
                    </a:lnTo>
                    <a:lnTo>
                      <a:pt x="5756411" y="981911"/>
                    </a:lnTo>
                    <a:lnTo>
                      <a:pt x="5980499" y="981911"/>
                    </a:lnTo>
                    <a:close/>
                    <a:moveTo>
                      <a:pt x="5750008" y="1220173"/>
                    </a:moveTo>
                    <a:lnTo>
                      <a:pt x="5526945" y="1220173"/>
                    </a:lnTo>
                    <a:lnTo>
                      <a:pt x="5526945" y="981911"/>
                    </a:lnTo>
                    <a:lnTo>
                      <a:pt x="5749495" y="981911"/>
                    </a:lnTo>
                    <a:close/>
                    <a:moveTo>
                      <a:pt x="5521055" y="1220173"/>
                    </a:moveTo>
                    <a:lnTo>
                      <a:pt x="5296454" y="1220173"/>
                    </a:lnTo>
                    <a:lnTo>
                      <a:pt x="5296454" y="981911"/>
                    </a:lnTo>
                    <a:lnTo>
                      <a:pt x="5520542" y="981911"/>
                    </a:lnTo>
                    <a:close/>
                    <a:moveTo>
                      <a:pt x="5290564" y="1220173"/>
                    </a:moveTo>
                    <a:lnTo>
                      <a:pt x="5065963" y="1220173"/>
                    </a:lnTo>
                    <a:lnTo>
                      <a:pt x="5065963" y="981911"/>
                    </a:lnTo>
                    <a:lnTo>
                      <a:pt x="5290051" y="981911"/>
                    </a:lnTo>
                    <a:close/>
                    <a:moveTo>
                      <a:pt x="5060073" y="1220173"/>
                    </a:moveTo>
                    <a:lnTo>
                      <a:pt x="4835472" y="1220173"/>
                    </a:lnTo>
                    <a:lnTo>
                      <a:pt x="4835472" y="981911"/>
                    </a:lnTo>
                    <a:lnTo>
                      <a:pt x="5059560" y="981911"/>
                    </a:lnTo>
                    <a:close/>
                    <a:moveTo>
                      <a:pt x="4829582" y="1220173"/>
                    </a:moveTo>
                    <a:lnTo>
                      <a:pt x="4607029" y="1220173"/>
                    </a:lnTo>
                    <a:lnTo>
                      <a:pt x="4607029" y="981911"/>
                    </a:lnTo>
                    <a:lnTo>
                      <a:pt x="4829582" y="981911"/>
                    </a:lnTo>
                    <a:close/>
                    <a:moveTo>
                      <a:pt x="4600626" y="1220173"/>
                    </a:moveTo>
                    <a:lnTo>
                      <a:pt x="4376538" y="1220173"/>
                    </a:lnTo>
                    <a:lnTo>
                      <a:pt x="4376538" y="981911"/>
                    </a:lnTo>
                    <a:lnTo>
                      <a:pt x="4600626" y="981911"/>
                    </a:lnTo>
                    <a:close/>
                    <a:moveTo>
                      <a:pt x="4370135" y="1220173"/>
                    </a:moveTo>
                    <a:lnTo>
                      <a:pt x="4146047" y="1220173"/>
                    </a:lnTo>
                    <a:lnTo>
                      <a:pt x="4146047" y="981911"/>
                    </a:lnTo>
                    <a:lnTo>
                      <a:pt x="4370135" y="981911"/>
                    </a:lnTo>
                    <a:close/>
                    <a:moveTo>
                      <a:pt x="4139644" y="1220173"/>
                    </a:moveTo>
                    <a:lnTo>
                      <a:pt x="3917094" y="1220173"/>
                    </a:lnTo>
                    <a:lnTo>
                      <a:pt x="3917094" y="981911"/>
                    </a:lnTo>
                    <a:lnTo>
                      <a:pt x="4139644" y="981911"/>
                    </a:lnTo>
                    <a:close/>
                    <a:moveTo>
                      <a:pt x="3910691" y="1220173"/>
                    </a:moveTo>
                    <a:lnTo>
                      <a:pt x="3686603" y="1220173"/>
                    </a:lnTo>
                    <a:lnTo>
                      <a:pt x="3686603" y="981911"/>
                    </a:lnTo>
                    <a:lnTo>
                      <a:pt x="3910691" y="981911"/>
                    </a:lnTo>
                    <a:close/>
                    <a:moveTo>
                      <a:pt x="3680200" y="1220173"/>
                    </a:moveTo>
                    <a:lnTo>
                      <a:pt x="3456112" y="1220173"/>
                    </a:lnTo>
                    <a:lnTo>
                      <a:pt x="3456112" y="981911"/>
                    </a:lnTo>
                    <a:lnTo>
                      <a:pt x="3680200" y="981911"/>
                    </a:lnTo>
                    <a:close/>
                    <a:moveTo>
                      <a:pt x="3449709" y="1220173"/>
                    </a:moveTo>
                    <a:lnTo>
                      <a:pt x="3225621" y="1220173"/>
                    </a:lnTo>
                    <a:lnTo>
                      <a:pt x="3225621" y="981911"/>
                    </a:lnTo>
                    <a:lnTo>
                      <a:pt x="3449709" y="981911"/>
                    </a:lnTo>
                    <a:close/>
                    <a:moveTo>
                      <a:pt x="3219218" y="1220173"/>
                    </a:moveTo>
                    <a:lnTo>
                      <a:pt x="2996666" y="1220173"/>
                    </a:lnTo>
                    <a:lnTo>
                      <a:pt x="2996666" y="981911"/>
                    </a:lnTo>
                    <a:lnTo>
                      <a:pt x="3219218" y="981911"/>
                    </a:lnTo>
                    <a:close/>
                    <a:moveTo>
                      <a:pt x="2990264" y="1220173"/>
                    </a:moveTo>
                    <a:lnTo>
                      <a:pt x="2766175" y="1220173"/>
                    </a:lnTo>
                    <a:lnTo>
                      <a:pt x="2766175" y="981911"/>
                    </a:lnTo>
                    <a:lnTo>
                      <a:pt x="2990264" y="981911"/>
                    </a:lnTo>
                    <a:close/>
                    <a:moveTo>
                      <a:pt x="2759773" y="1220173"/>
                    </a:moveTo>
                    <a:lnTo>
                      <a:pt x="2535684" y="1220173"/>
                    </a:lnTo>
                    <a:lnTo>
                      <a:pt x="2535684" y="981911"/>
                    </a:lnTo>
                    <a:lnTo>
                      <a:pt x="2759773" y="981911"/>
                    </a:lnTo>
                    <a:close/>
                    <a:moveTo>
                      <a:pt x="2529282" y="1220173"/>
                    </a:moveTo>
                    <a:lnTo>
                      <a:pt x="2305193" y="1220173"/>
                    </a:lnTo>
                    <a:lnTo>
                      <a:pt x="2305193" y="981911"/>
                    </a:lnTo>
                    <a:lnTo>
                      <a:pt x="2529282" y="981911"/>
                    </a:lnTo>
                    <a:close/>
                    <a:moveTo>
                      <a:pt x="2298791" y="1220173"/>
                    </a:moveTo>
                    <a:lnTo>
                      <a:pt x="2075982" y="1220173"/>
                    </a:lnTo>
                    <a:lnTo>
                      <a:pt x="2075982" y="981911"/>
                    </a:lnTo>
                    <a:lnTo>
                      <a:pt x="2298534" y="981911"/>
                    </a:lnTo>
                    <a:close/>
                    <a:moveTo>
                      <a:pt x="2069836" y="1220173"/>
                    </a:moveTo>
                    <a:lnTo>
                      <a:pt x="1845748" y="1220173"/>
                    </a:lnTo>
                    <a:lnTo>
                      <a:pt x="1845748" y="981911"/>
                    </a:lnTo>
                    <a:lnTo>
                      <a:pt x="2069580" y="981911"/>
                    </a:lnTo>
                    <a:close/>
                    <a:moveTo>
                      <a:pt x="1839345" y="1220173"/>
                    </a:moveTo>
                    <a:lnTo>
                      <a:pt x="1615257" y="1220173"/>
                    </a:lnTo>
                    <a:lnTo>
                      <a:pt x="1615257" y="981911"/>
                    </a:lnTo>
                    <a:lnTo>
                      <a:pt x="1839089" y="981911"/>
                    </a:lnTo>
                    <a:close/>
                    <a:moveTo>
                      <a:pt x="1608854" y="1220173"/>
                    </a:moveTo>
                    <a:lnTo>
                      <a:pt x="1386302" y="1220173"/>
                    </a:lnTo>
                    <a:lnTo>
                      <a:pt x="1386302" y="981911"/>
                    </a:lnTo>
                    <a:lnTo>
                      <a:pt x="1608598" y="981911"/>
                    </a:lnTo>
                    <a:close/>
                    <a:moveTo>
                      <a:pt x="1379900" y="1220173"/>
                    </a:moveTo>
                    <a:lnTo>
                      <a:pt x="1155811" y="1220173"/>
                    </a:lnTo>
                    <a:lnTo>
                      <a:pt x="1155811" y="981911"/>
                    </a:lnTo>
                    <a:lnTo>
                      <a:pt x="1379900" y="981911"/>
                    </a:lnTo>
                    <a:close/>
                    <a:moveTo>
                      <a:pt x="1149409" y="1220173"/>
                    </a:moveTo>
                    <a:lnTo>
                      <a:pt x="925320" y="1220173"/>
                    </a:lnTo>
                    <a:lnTo>
                      <a:pt x="925320" y="981911"/>
                    </a:lnTo>
                    <a:lnTo>
                      <a:pt x="1149409" y="981911"/>
                    </a:lnTo>
                    <a:close/>
                    <a:moveTo>
                      <a:pt x="1149409" y="1226976"/>
                    </a:moveTo>
                    <a:lnTo>
                      <a:pt x="1149409" y="1465101"/>
                    </a:lnTo>
                    <a:lnTo>
                      <a:pt x="925320" y="1465101"/>
                    </a:lnTo>
                    <a:lnTo>
                      <a:pt x="925320" y="1226840"/>
                    </a:lnTo>
                    <a:close/>
                    <a:moveTo>
                      <a:pt x="1149409" y="1471905"/>
                    </a:moveTo>
                    <a:lnTo>
                      <a:pt x="1149409" y="1710030"/>
                    </a:lnTo>
                    <a:lnTo>
                      <a:pt x="925320" y="1710030"/>
                    </a:lnTo>
                    <a:lnTo>
                      <a:pt x="925320" y="1471769"/>
                    </a:lnTo>
                    <a:close/>
                    <a:moveTo>
                      <a:pt x="1149409" y="1716833"/>
                    </a:moveTo>
                    <a:lnTo>
                      <a:pt x="1149409" y="1953326"/>
                    </a:lnTo>
                    <a:lnTo>
                      <a:pt x="925320" y="1953326"/>
                    </a:lnTo>
                    <a:lnTo>
                      <a:pt x="925320" y="1716697"/>
                    </a:lnTo>
                    <a:close/>
                    <a:moveTo>
                      <a:pt x="1149409" y="1960129"/>
                    </a:moveTo>
                    <a:lnTo>
                      <a:pt x="1149409" y="2198254"/>
                    </a:lnTo>
                    <a:lnTo>
                      <a:pt x="925320" y="2198254"/>
                    </a:lnTo>
                    <a:lnTo>
                      <a:pt x="925320" y="1960129"/>
                    </a:lnTo>
                    <a:close/>
                    <a:moveTo>
                      <a:pt x="1149409" y="2205058"/>
                    </a:moveTo>
                    <a:lnTo>
                      <a:pt x="1149409" y="2443183"/>
                    </a:lnTo>
                    <a:lnTo>
                      <a:pt x="925320" y="2443183"/>
                    </a:lnTo>
                    <a:lnTo>
                      <a:pt x="925320" y="2205058"/>
                    </a:lnTo>
                    <a:close/>
                    <a:moveTo>
                      <a:pt x="1149409" y="2449986"/>
                    </a:moveTo>
                    <a:lnTo>
                      <a:pt x="1149409" y="2686479"/>
                    </a:lnTo>
                    <a:lnTo>
                      <a:pt x="925320" y="2686479"/>
                    </a:lnTo>
                    <a:lnTo>
                      <a:pt x="925320" y="2449986"/>
                    </a:lnTo>
                    <a:close/>
                    <a:moveTo>
                      <a:pt x="1149409" y="2693282"/>
                    </a:moveTo>
                    <a:lnTo>
                      <a:pt x="1149409" y="2931407"/>
                    </a:lnTo>
                    <a:lnTo>
                      <a:pt x="925320" y="2931407"/>
                    </a:lnTo>
                    <a:lnTo>
                      <a:pt x="925320" y="2693282"/>
                    </a:lnTo>
                    <a:close/>
                    <a:moveTo>
                      <a:pt x="1149409" y="2938211"/>
                    </a:moveTo>
                    <a:lnTo>
                      <a:pt x="1149409" y="3176336"/>
                    </a:lnTo>
                    <a:lnTo>
                      <a:pt x="925320" y="3176336"/>
                    </a:lnTo>
                    <a:lnTo>
                      <a:pt x="925320" y="2938211"/>
                    </a:lnTo>
                    <a:close/>
                    <a:moveTo>
                      <a:pt x="1149409" y="3183139"/>
                    </a:moveTo>
                    <a:lnTo>
                      <a:pt x="1149409" y="3421264"/>
                    </a:lnTo>
                    <a:lnTo>
                      <a:pt x="925320" y="3421264"/>
                    </a:lnTo>
                    <a:lnTo>
                      <a:pt x="925320" y="3183139"/>
                    </a:lnTo>
                    <a:close/>
                    <a:moveTo>
                      <a:pt x="1149409" y="3428068"/>
                    </a:moveTo>
                    <a:lnTo>
                      <a:pt x="1149409" y="3664560"/>
                    </a:lnTo>
                    <a:lnTo>
                      <a:pt x="925320" y="3664560"/>
                    </a:lnTo>
                    <a:lnTo>
                      <a:pt x="925320" y="3428068"/>
                    </a:lnTo>
                    <a:close/>
                    <a:moveTo>
                      <a:pt x="1149409" y="3671364"/>
                    </a:moveTo>
                    <a:lnTo>
                      <a:pt x="1149409" y="3909489"/>
                    </a:lnTo>
                    <a:lnTo>
                      <a:pt x="925320" y="3909489"/>
                    </a:lnTo>
                    <a:lnTo>
                      <a:pt x="925320" y="3671364"/>
                    </a:lnTo>
                    <a:close/>
                    <a:moveTo>
                      <a:pt x="1149409" y="3916292"/>
                    </a:moveTo>
                    <a:lnTo>
                      <a:pt x="1149409" y="4154417"/>
                    </a:lnTo>
                    <a:lnTo>
                      <a:pt x="925320" y="4154417"/>
                    </a:lnTo>
                    <a:lnTo>
                      <a:pt x="925320" y="3916292"/>
                    </a:lnTo>
                    <a:close/>
                    <a:moveTo>
                      <a:pt x="1149409" y="4161221"/>
                    </a:moveTo>
                    <a:lnTo>
                      <a:pt x="1149409" y="4399346"/>
                    </a:lnTo>
                    <a:lnTo>
                      <a:pt x="925320" y="4399346"/>
                    </a:lnTo>
                    <a:lnTo>
                      <a:pt x="925320" y="4161221"/>
                    </a:lnTo>
                    <a:close/>
                    <a:moveTo>
                      <a:pt x="1149409" y="4406149"/>
                    </a:moveTo>
                    <a:lnTo>
                      <a:pt x="1149409" y="4642233"/>
                    </a:lnTo>
                    <a:lnTo>
                      <a:pt x="925320" y="4642233"/>
                    </a:lnTo>
                    <a:lnTo>
                      <a:pt x="925320" y="4405741"/>
                    </a:lnTo>
                    <a:close/>
                    <a:moveTo>
                      <a:pt x="1149409" y="4649445"/>
                    </a:moveTo>
                    <a:lnTo>
                      <a:pt x="1149409" y="4887162"/>
                    </a:lnTo>
                    <a:lnTo>
                      <a:pt x="925320" y="4887162"/>
                    </a:lnTo>
                    <a:lnTo>
                      <a:pt x="925320" y="4649037"/>
                    </a:lnTo>
                    <a:close/>
                    <a:moveTo>
                      <a:pt x="1149409" y="4894374"/>
                    </a:moveTo>
                    <a:lnTo>
                      <a:pt x="1149409" y="5132090"/>
                    </a:lnTo>
                    <a:lnTo>
                      <a:pt x="925320" y="5132090"/>
                    </a:lnTo>
                    <a:lnTo>
                      <a:pt x="925320" y="4893965"/>
                    </a:lnTo>
                    <a:close/>
                    <a:moveTo>
                      <a:pt x="1149409" y="5139302"/>
                    </a:moveTo>
                    <a:lnTo>
                      <a:pt x="1149409" y="5375795"/>
                    </a:lnTo>
                    <a:lnTo>
                      <a:pt x="925320" y="5375795"/>
                    </a:lnTo>
                    <a:lnTo>
                      <a:pt x="925320" y="5139302"/>
                    </a:lnTo>
                    <a:close/>
                    <a:moveTo>
                      <a:pt x="1149409" y="5382598"/>
                    </a:moveTo>
                    <a:lnTo>
                      <a:pt x="1149409" y="5620723"/>
                    </a:lnTo>
                    <a:lnTo>
                      <a:pt x="925320" y="5620723"/>
                    </a:lnTo>
                    <a:lnTo>
                      <a:pt x="925320" y="5382598"/>
                    </a:lnTo>
                    <a:close/>
                    <a:moveTo>
                      <a:pt x="1149409" y="5627527"/>
                    </a:moveTo>
                    <a:lnTo>
                      <a:pt x="1149409" y="5865652"/>
                    </a:lnTo>
                    <a:lnTo>
                      <a:pt x="925320" y="5865652"/>
                    </a:lnTo>
                    <a:lnTo>
                      <a:pt x="925320" y="5627527"/>
                    </a:lnTo>
                    <a:close/>
                    <a:moveTo>
                      <a:pt x="1155811" y="5627527"/>
                    </a:moveTo>
                    <a:lnTo>
                      <a:pt x="1379900" y="5627527"/>
                    </a:lnTo>
                    <a:lnTo>
                      <a:pt x="1379900" y="5865652"/>
                    </a:lnTo>
                    <a:lnTo>
                      <a:pt x="1155811" y="5865652"/>
                    </a:lnTo>
                    <a:close/>
                    <a:moveTo>
                      <a:pt x="1386302" y="5627527"/>
                    </a:moveTo>
                    <a:lnTo>
                      <a:pt x="1608598" y="5627527"/>
                    </a:lnTo>
                    <a:lnTo>
                      <a:pt x="1608598" y="5865652"/>
                    </a:lnTo>
                    <a:lnTo>
                      <a:pt x="1386046" y="5865652"/>
                    </a:lnTo>
                    <a:close/>
                    <a:moveTo>
                      <a:pt x="1615257" y="5627527"/>
                    </a:moveTo>
                    <a:lnTo>
                      <a:pt x="1839089" y="5627527"/>
                    </a:lnTo>
                    <a:lnTo>
                      <a:pt x="1839089" y="5865652"/>
                    </a:lnTo>
                    <a:lnTo>
                      <a:pt x="1615000" y="5865652"/>
                    </a:lnTo>
                    <a:close/>
                    <a:moveTo>
                      <a:pt x="1845748" y="5627527"/>
                    </a:moveTo>
                    <a:lnTo>
                      <a:pt x="2069580" y="5627527"/>
                    </a:lnTo>
                    <a:lnTo>
                      <a:pt x="2069580" y="5865652"/>
                    </a:lnTo>
                    <a:lnTo>
                      <a:pt x="1845491" y="5865652"/>
                    </a:lnTo>
                    <a:close/>
                    <a:moveTo>
                      <a:pt x="2076239" y="5627527"/>
                    </a:moveTo>
                    <a:lnTo>
                      <a:pt x="2298791" y="5627527"/>
                    </a:lnTo>
                    <a:lnTo>
                      <a:pt x="2298791" y="5865652"/>
                    </a:lnTo>
                    <a:lnTo>
                      <a:pt x="2075982" y="5865652"/>
                    </a:lnTo>
                    <a:close/>
                    <a:moveTo>
                      <a:pt x="2305193" y="5627527"/>
                    </a:moveTo>
                    <a:lnTo>
                      <a:pt x="2529282" y="5627527"/>
                    </a:lnTo>
                    <a:lnTo>
                      <a:pt x="2529282" y="5865652"/>
                    </a:lnTo>
                    <a:lnTo>
                      <a:pt x="2305193" y="5865652"/>
                    </a:lnTo>
                    <a:close/>
                    <a:moveTo>
                      <a:pt x="2535684" y="5627527"/>
                    </a:moveTo>
                    <a:lnTo>
                      <a:pt x="2759773" y="5627527"/>
                    </a:lnTo>
                    <a:lnTo>
                      <a:pt x="2759773" y="5865652"/>
                    </a:lnTo>
                    <a:lnTo>
                      <a:pt x="2535684" y="5865652"/>
                    </a:lnTo>
                    <a:close/>
                    <a:moveTo>
                      <a:pt x="2766175" y="5627527"/>
                    </a:moveTo>
                    <a:lnTo>
                      <a:pt x="2990264" y="5627527"/>
                    </a:lnTo>
                    <a:lnTo>
                      <a:pt x="2990264" y="5865652"/>
                    </a:lnTo>
                    <a:lnTo>
                      <a:pt x="2766175" y="5865652"/>
                    </a:lnTo>
                    <a:close/>
                    <a:moveTo>
                      <a:pt x="2996666" y="5627527"/>
                    </a:moveTo>
                    <a:lnTo>
                      <a:pt x="3219218" y="5627527"/>
                    </a:lnTo>
                    <a:lnTo>
                      <a:pt x="3219218" y="5865652"/>
                    </a:lnTo>
                    <a:lnTo>
                      <a:pt x="2996666" y="5865652"/>
                    </a:lnTo>
                    <a:close/>
                    <a:moveTo>
                      <a:pt x="3225621" y="5627527"/>
                    </a:moveTo>
                    <a:lnTo>
                      <a:pt x="3449709" y="5627527"/>
                    </a:lnTo>
                    <a:lnTo>
                      <a:pt x="3449709" y="5865652"/>
                    </a:lnTo>
                    <a:lnTo>
                      <a:pt x="3225621" y="5865652"/>
                    </a:lnTo>
                    <a:close/>
                    <a:moveTo>
                      <a:pt x="3456112" y="5627527"/>
                    </a:moveTo>
                    <a:lnTo>
                      <a:pt x="3680200" y="5627527"/>
                    </a:lnTo>
                    <a:lnTo>
                      <a:pt x="3680200" y="5865652"/>
                    </a:lnTo>
                    <a:lnTo>
                      <a:pt x="3456112" y="5865652"/>
                    </a:lnTo>
                    <a:close/>
                    <a:moveTo>
                      <a:pt x="3686603" y="5627527"/>
                    </a:moveTo>
                    <a:lnTo>
                      <a:pt x="3910691" y="5627527"/>
                    </a:lnTo>
                    <a:lnTo>
                      <a:pt x="3910691" y="5865652"/>
                    </a:lnTo>
                    <a:lnTo>
                      <a:pt x="3686603" y="5865652"/>
                    </a:lnTo>
                    <a:close/>
                    <a:moveTo>
                      <a:pt x="3917094" y="5627527"/>
                    </a:moveTo>
                    <a:lnTo>
                      <a:pt x="4139644" y="5627527"/>
                    </a:lnTo>
                    <a:lnTo>
                      <a:pt x="4139644" y="5865652"/>
                    </a:lnTo>
                    <a:lnTo>
                      <a:pt x="3917094" y="5865652"/>
                    </a:lnTo>
                    <a:close/>
                    <a:moveTo>
                      <a:pt x="4146047" y="5627527"/>
                    </a:moveTo>
                    <a:lnTo>
                      <a:pt x="4370135" y="5627527"/>
                    </a:lnTo>
                    <a:lnTo>
                      <a:pt x="4370135" y="5865652"/>
                    </a:lnTo>
                    <a:lnTo>
                      <a:pt x="4146047" y="5865652"/>
                    </a:lnTo>
                    <a:close/>
                    <a:moveTo>
                      <a:pt x="4376538" y="5627527"/>
                    </a:moveTo>
                    <a:lnTo>
                      <a:pt x="4600626" y="5627527"/>
                    </a:lnTo>
                    <a:lnTo>
                      <a:pt x="4600626" y="5865652"/>
                    </a:lnTo>
                    <a:lnTo>
                      <a:pt x="4376538" y="5865652"/>
                    </a:lnTo>
                    <a:close/>
                    <a:moveTo>
                      <a:pt x="4607029" y="5627527"/>
                    </a:moveTo>
                    <a:lnTo>
                      <a:pt x="4829582" y="5627527"/>
                    </a:lnTo>
                    <a:lnTo>
                      <a:pt x="4829582" y="5865652"/>
                    </a:lnTo>
                    <a:lnTo>
                      <a:pt x="4607029" y="5865652"/>
                    </a:lnTo>
                    <a:close/>
                    <a:moveTo>
                      <a:pt x="4835985" y="5627527"/>
                    </a:moveTo>
                    <a:lnTo>
                      <a:pt x="5060073" y="5627527"/>
                    </a:lnTo>
                    <a:lnTo>
                      <a:pt x="5060073" y="5865652"/>
                    </a:lnTo>
                    <a:lnTo>
                      <a:pt x="4835472" y="5865652"/>
                    </a:lnTo>
                    <a:close/>
                    <a:moveTo>
                      <a:pt x="5066476" y="5627527"/>
                    </a:moveTo>
                    <a:lnTo>
                      <a:pt x="5290564" y="5627527"/>
                    </a:lnTo>
                    <a:lnTo>
                      <a:pt x="5290564" y="5865652"/>
                    </a:lnTo>
                    <a:lnTo>
                      <a:pt x="5065963" y="5865652"/>
                    </a:lnTo>
                    <a:close/>
                    <a:moveTo>
                      <a:pt x="5296967" y="5627527"/>
                    </a:moveTo>
                    <a:lnTo>
                      <a:pt x="5521055" y="5627527"/>
                    </a:lnTo>
                    <a:lnTo>
                      <a:pt x="5521055" y="5865652"/>
                    </a:lnTo>
                    <a:lnTo>
                      <a:pt x="5296454" y="5865652"/>
                    </a:lnTo>
                    <a:close/>
                    <a:moveTo>
                      <a:pt x="5527458" y="5627527"/>
                    </a:moveTo>
                    <a:lnTo>
                      <a:pt x="5750008" y="5627527"/>
                    </a:lnTo>
                    <a:lnTo>
                      <a:pt x="5750008" y="5865652"/>
                    </a:lnTo>
                    <a:lnTo>
                      <a:pt x="5526945" y="5865652"/>
                    </a:lnTo>
                    <a:close/>
                    <a:moveTo>
                      <a:pt x="5756411" y="5627527"/>
                    </a:moveTo>
                    <a:lnTo>
                      <a:pt x="5980499" y="5627527"/>
                    </a:lnTo>
                    <a:lnTo>
                      <a:pt x="5980499" y="5865652"/>
                    </a:lnTo>
                    <a:lnTo>
                      <a:pt x="5756411" y="5865652"/>
                    </a:lnTo>
                    <a:close/>
                    <a:moveTo>
                      <a:pt x="5986902" y="5627527"/>
                    </a:moveTo>
                    <a:lnTo>
                      <a:pt x="6210990" y="5627527"/>
                    </a:lnTo>
                    <a:lnTo>
                      <a:pt x="6210990" y="5865652"/>
                    </a:lnTo>
                    <a:lnTo>
                      <a:pt x="5986902" y="5865652"/>
                    </a:lnTo>
                    <a:close/>
                    <a:moveTo>
                      <a:pt x="6217393" y="5627527"/>
                    </a:moveTo>
                    <a:lnTo>
                      <a:pt x="6439946" y="5627527"/>
                    </a:lnTo>
                    <a:lnTo>
                      <a:pt x="6439946" y="5865652"/>
                    </a:lnTo>
                    <a:lnTo>
                      <a:pt x="6217136" y="5865652"/>
                    </a:lnTo>
                    <a:close/>
                    <a:moveTo>
                      <a:pt x="6446349" y="5627527"/>
                    </a:moveTo>
                    <a:lnTo>
                      <a:pt x="6656863" y="5627527"/>
                    </a:lnTo>
                    <a:lnTo>
                      <a:pt x="6656863" y="5865652"/>
                    </a:lnTo>
                    <a:lnTo>
                      <a:pt x="6446349" y="5865652"/>
                    </a:lnTo>
                    <a:close/>
                    <a:moveTo>
                      <a:pt x="6663265" y="5627527"/>
                    </a:moveTo>
                    <a:lnTo>
                      <a:pt x="6887354" y="5627527"/>
                    </a:lnTo>
                    <a:lnTo>
                      <a:pt x="6887354" y="5865652"/>
                    </a:lnTo>
                    <a:lnTo>
                      <a:pt x="6663265" y="5865652"/>
                    </a:lnTo>
                    <a:close/>
                    <a:moveTo>
                      <a:pt x="6893756" y="5627527"/>
                    </a:moveTo>
                    <a:lnTo>
                      <a:pt x="7117845" y="5627527"/>
                    </a:lnTo>
                    <a:lnTo>
                      <a:pt x="7117845" y="5865652"/>
                    </a:lnTo>
                    <a:lnTo>
                      <a:pt x="6893756" y="5865652"/>
                    </a:lnTo>
                    <a:close/>
                    <a:moveTo>
                      <a:pt x="7124247" y="5627527"/>
                    </a:moveTo>
                    <a:lnTo>
                      <a:pt x="7346801" y="5627527"/>
                    </a:lnTo>
                    <a:lnTo>
                      <a:pt x="7346801" y="5865652"/>
                    </a:lnTo>
                    <a:lnTo>
                      <a:pt x="7124247" y="5865652"/>
                    </a:lnTo>
                    <a:close/>
                    <a:moveTo>
                      <a:pt x="7353204" y="5627527"/>
                    </a:moveTo>
                    <a:lnTo>
                      <a:pt x="7577292" y="5627527"/>
                    </a:lnTo>
                    <a:lnTo>
                      <a:pt x="7577292" y="5865652"/>
                    </a:lnTo>
                    <a:lnTo>
                      <a:pt x="7353204" y="5865652"/>
                    </a:lnTo>
                    <a:close/>
                    <a:moveTo>
                      <a:pt x="7583695" y="5627527"/>
                    </a:moveTo>
                    <a:lnTo>
                      <a:pt x="7807783" y="5627527"/>
                    </a:lnTo>
                    <a:lnTo>
                      <a:pt x="7807783" y="5865652"/>
                    </a:lnTo>
                    <a:lnTo>
                      <a:pt x="7583695" y="5865652"/>
                    </a:lnTo>
                    <a:close/>
                    <a:moveTo>
                      <a:pt x="7814186" y="5627527"/>
                    </a:moveTo>
                    <a:lnTo>
                      <a:pt x="8038274" y="5627527"/>
                    </a:lnTo>
                    <a:lnTo>
                      <a:pt x="8038274" y="5865652"/>
                    </a:lnTo>
                    <a:lnTo>
                      <a:pt x="7814186" y="5865652"/>
                    </a:lnTo>
                    <a:close/>
                    <a:moveTo>
                      <a:pt x="8044677" y="5627527"/>
                    </a:moveTo>
                    <a:lnTo>
                      <a:pt x="8267227" y="5627527"/>
                    </a:lnTo>
                    <a:lnTo>
                      <a:pt x="8267227" y="5865652"/>
                    </a:lnTo>
                    <a:lnTo>
                      <a:pt x="8044420" y="5865652"/>
                    </a:lnTo>
                    <a:close/>
                    <a:moveTo>
                      <a:pt x="8273629" y="5627527"/>
                    </a:moveTo>
                    <a:lnTo>
                      <a:pt x="8497718" y="5627527"/>
                    </a:lnTo>
                    <a:lnTo>
                      <a:pt x="8497718" y="5865652"/>
                    </a:lnTo>
                    <a:lnTo>
                      <a:pt x="8273629" y="5865652"/>
                    </a:lnTo>
                    <a:close/>
                    <a:moveTo>
                      <a:pt x="8504120" y="5627527"/>
                    </a:moveTo>
                    <a:lnTo>
                      <a:pt x="8728209" y="5627527"/>
                    </a:lnTo>
                    <a:lnTo>
                      <a:pt x="8728209" y="5865652"/>
                    </a:lnTo>
                    <a:lnTo>
                      <a:pt x="8504120" y="5865652"/>
                    </a:lnTo>
                    <a:close/>
                    <a:moveTo>
                      <a:pt x="8734611" y="5627527"/>
                    </a:moveTo>
                    <a:lnTo>
                      <a:pt x="8957162" y="5627527"/>
                    </a:lnTo>
                    <a:lnTo>
                      <a:pt x="8957162" y="5865652"/>
                    </a:lnTo>
                    <a:lnTo>
                      <a:pt x="8734611" y="5865652"/>
                    </a:lnTo>
                    <a:close/>
                    <a:moveTo>
                      <a:pt x="8963564" y="5627527"/>
                    </a:moveTo>
                    <a:lnTo>
                      <a:pt x="9187653" y="5627527"/>
                    </a:lnTo>
                    <a:lnTo>
                      <a:pt x="9187653" y="5865652"/>
                    </a:lnTo>
                    <a:lnTo>
                      <a:pt x="8963564" y="5865652"/>
                    </a:lnTo>
                    <a:close/>
                    <a:moveTo>
                      <a:pt x="9194055" y="5627527"/>
                    </a:moveTo>
                    <a:lnTo>
                      <a:pt x="9418144" y="5627527"/>
                    </a:lnTo>
                    <a:lnTo>
                      <a:pt x="9418144" y="5865652"/>
                    </a:lnTo>
                    <a:lnTo>
                      <a:pt x="9194055" y="5865652"/>
                    </a:lnTo>
                    <a:close/>
                    <a:moveTo>
                      <a:pt x="9424546" y="5627527"/>
                    </a:moveTo>
                    <a:lnTo>
                      <a:pt x="9648635" y="5627527"/>
                    </a:lnTo>
                    <a:lnTo>
                      <a:pt x="9648635" y="5865652"/>
                    </a:lnTo>
                    <a:lnTo>
                      <a:pt x="9424546" y="5865652"/>
                    </a:lnTo>
                    <a:close/>
                    <a:moveTo>
                      <a:pt x="9655037" y="5627527"/>
                    </a:moveTo>
                    <a:lnTo>
                      <a:pt x="9877591" y="5627527"/>
                    </a:lnTo>
                    <a:lnTo>
                      <a:pt x="9877591" y="5865652"/>
                    </a:lnTo>
                    <a:lnTo>
                      <a:pt x="9655037" y="5865652"/>
                    </a:lnTo>
                    <a:close/>
                    <a:moveTo>
                      <a:pt x="9883993" y="5627527"/>
                    </a:moveTo>
                    <a:lnTo>
                      <a:pt x="10108082" y="5627527"/>
                    </a:lnTo>
                    <a:lnTo>
                      <a:pt x="10108082" y="5865652"/>
                    </a:lnTo>
                    <a:lnTo>
                      <a:pt x="9883993" y="5865652"/>
                    </a:lnTo>
                    <a:close/>
                    <a:moveTo>
                      <a:pt x="10114484" y="5627527"/>
                    </a:moveTo>
                    <a:lnTo>
                      <a:pt x="10338573" y="5627527"/>
                    </a:lnTo>
                    <a:lnTo>
                      <a:pt x="10338573" y="5865652"/>
                    </a:lnTo>
                    <a:lnTo>
                      <a:pt x="10114484" y="5865652"/>
                    </a:lnTo>
                    <a:close/>
                    <a:moveTo>
                      <a:pt x="10344975" y="5627527"/>
                    </a:moveTo>
                    <a:lnTo>
                      <a:pt x="10569064" y="5627527"/>
                    </a:lnTo>
                    <a:lnTo>
                      <a:pt x="10569064" y="5865652"/>
                    </a:lnTo>
                    <a:lnTo>
                      <a:pt x="10344975" y="5865652"/>
                    </a:lnTo>
                    <a:close/>
                    <a:moveTo>
                      <a:pt x="10575466" y="5627527"/>
                    </a:moveTo>
                    <a:lnTo>
                      <a:pt x="10798016" y="5627527"/>
                    </a:lnTo>
                    <a:lnTo>
                      <a:pt x="10798016" y="5865652"/>
                    </a:lnTo>
                    <a:lnTo>
                      <a:pt x="10575466" y="5865652"/>
                    </a:lnTo>
                    <a:close/>
                    <a:moveTo>
                      <a:pt x="10804419" y="5627527"/>
                    </a:moveTo>
                    <a:lnTo>
                      <a:pt x="11028507" y="5627527"/>
                    </a:lnTo>
                    <a:lnTo>
                      <a:pt x="11028507" y="5865652"/>
                    </a:lnTo>
                    <a:lnTo>
                      <a:pt x="10804419" y="5865652"/>
                    </a:lnTo>
                    <a:close/>
                    <a:moveTo>
                      <a:pt x="11034910" y="5627527"/>
                    </a:moveTo>
                    <a:lnTo>
                      <a:pt x="11258998" y="5627527"/>
                    </a:lnTo>
                    <a:lnTo>
                      <a:pt x="11258998" y="5865652"/>
                    </a:lnTo>
                    <a:lnTo>
                      <a:pt x="11034910" y="5865652"/>
                    </a:lnTo>
                    <a:close/>
                    <a:moveTo>
                      <a:pt x="11034910" y="5620723"/>
                    </a:moveTo>
                    <a:lnTo>
                      <a:pt x="11034910" y="5382598"/>
                    </a:lnTo>
                    <a:lnTo>
                      <a:pt x="11258998" y="5382598"/>
                    </a:lnTo>
                    <a:lnTo>
                      <a:pt x="11258998" y="5620723"/>
                    </a:lnTo>
                    <a:close/>
                    <a:moveTo>
                      <a:pt x="11034910" y="5375795"/>
                    </a:moveTo>
                    <a:lnTo>
                      <a:pt x="11034910" y="5139302"/>
                    </a:lnTo>
                    <a:lnTo>
                      <a:pt x="11258998" y="5139302"/>
                    </a:lnTo>
                    <a:lnTo>
                      <a:pt x="11258998" y="5375795"/>
                    </a:lnTo>
                    <a:close/>
                    <a:moveTo>
                      <a:pt x="11034910" y="5132499"/>
                    </a:moveTo>
                    <a:lnTo>
                      <a:pt x="11034910" y="4894374"/>
                    </a:lnTo>
                    <a:lnTo>
                      <a:pt x="11258998" y="4894374"/>
                    </a:lnTo>
                    <a:lnTo>
                      <a:pt x="11258998" y="5132090"/>
                    </a:lnTo>
                    <a:close/>
                    <a:moveTo>
                      <a:pt x="11034910" y="4887570"/>
                    </a:moveTo>
                    <a:lnTo>
                      <a:pt x="11034910" y="4649445"/>
                    </a:lnTo>
                    <a:lnTo>
                      <a:pt x="11258998" y="4649445"/>
                    </a:lnTo>
                    <a:lnTo>
                      <a:pt x="11258998" y="4887162"/>
                    </a:lnTo>
                    <a:close/>
                    <a:moveTo>
                      <a:pt x="11034910" y="4642642"/>
                    </a:moveTo>
                    <a:lnTo>
                      <a:pt x="11034910" y="4406149"/>
                    </a:lnTo>
                    <a:lnTo>
                      <a:pt x="11258998" y="4406149"/>
                    </a:lnTo>
                    <a:lnTo>
                      <a:pt x="11258998" y="4642233"/>
                    </a:lnTo>
                    <a:close/>
                    <a:moveTo>
                      <a:pt x="11034910" y="4399346"/>
                    </a:moveTo>
                    <a:lnTo>
                      <a:pt x="11034910" y="4161221"/>
                    </a:lnTo>
                    <a:lnTo>
                      <a:pt x="11258998" y="4161221"/>
                    </a:lnTo>
                    <a:lnTo>
                      <a:pt x="11258998" y="4399346"/>
                    </a:lnTo>
                    <a:close/>
                    <a:moveTo>
                      <a:pt x="11034910" y="4154417"/>
                    </a:moveTo>
                    <a:lnTo>
                      <a:pt x="11034910" y="3916292"/>
                    </a:lnTo>
                    <a:lnTo>
                      <a:pt x="11258998" y="3916292"/>
                    </a:lnTo>
                    <a:lnTo>
                      <a:pt x="11258998" y="4154417"/>
                    </a:lnTo>
                    <a:close/>
                    <a:moveTo>
                      <a:pt x="11034910" y="3909489"/>
                    </a:moveTo>
                    <a:lnTo>
                      <a:pt x="11034910" y="3671364"/>
                    </a:lnTo>
                    <a:lnTo>
                      <a:pt x="11258998" y="3671364"/>
                    </a:lnTo>
                    <a:lnTo>
                      <a:pt x="11258998" y="3909489"/>
                    </a:lnTo>
                    <a:close/>
                    <a:moveTo>
                      <a:pt x="11034910" y="3664560"/>
                    </a:moveTo>
                    <a:lnTo>
                      <a:pt x="11034910" y="3428068"/>
                    </a:lnTo>
                    <a:lnTo>
                      <a:pt x="11258998" y="3428068"/>
                    </a:lnTo>
                    <a:lnTo>
                      <a:pt x="11258998" y="3664560"/>
                    </a:lnTo>
                    <a:close/>
                    <a:moveTo>
                      <a:pt x="11034910" y="3421264"/>
                    </a:moveTo>
                    <a:lnTo>
                      <a:pt x="11034910" y="3183139"/>
                    </a:lnTo>
                    <a:lnTo>
                      <a:pt x="11258998" y="3183139"/>
                    </a:lnTo>
                    <a:lnTo>
                      <a:pt x="11258998" y="3421264"/>
                    </a:lnTo>
                    <a:close/>
                    <a:moveTo>
                      <a:pt x="11034910" y="3176336"/>
                    </a:moveTo>
                    <a:lnTo>
                      <a:pt x="11034910" y="2938211"/>
                    </a:lnTo>
                    <a:lnTo>
                      <a:pt x="11258998" y="2938211"/>
                    </a:lnTo>
                    <a:lnTo>
                      <a:pt x="11258998" y="3176336"/>
                    </a:lnTo>
                    <a:close/>
                    <a:moveTo>
                      <a:pt x="11034910" y="2931407"/>
                    </a:moveTo>
                    <a:lnTo>
                      <a:pt x="11034910" y="2693282"/>
                    </a:lnTo>
                    <a:lnTo>
                      <a:pt x="11258998" y="2693282"/>
                    </a:lnTo>
                    <a:lnTo>
                      <a:pt x="11258998" y="2931407"/>
                    </a:lnTo>
                    <a:close/>
                    <a:moveTo>
                      <a:pt x="11034910" y="2686479"/>
                    </a:moveTo>
                    <a:lnTo>
                      <a:pt x="11034910" y="2449986"/>
                    </a:lnTo>
                    <a:lnTo>
                      <a:pt x="11258998" y="2449986"/>
                    </a:lnTo>
                    <a:lnTo>
                      <a:pt x="11258998" y="2686479"/>
                    </a:lnTo>
                    <a:close/>
                    <a:moveTo>
                      <a:pt x="11034910" y="2443183"/>
                    </a:moveTo>
                    <a:lnTo>
                      <a:pt x="11034910" y="2205058"/>
                    </a:lnTo>
                    <a:lnTo>
                      <a:pt x="11258998" y="2205058"/>
                    </a:lnTo>
                    <a:lnTo>
                      <a:pt x="11258998" y="2443183"/>
                    </a:lnTo>
                    <a:close/>
                    <a:moveTo>
                      <a:pt x="11034910" y="2198254"/>
                    </a:moveTo>
                    <a:lnTo>
                      <a:pt x="11034910" y="1960129"/>
                    </a:lnTo>
                    <a:lnTo>
                      <a:pt x="11258998" y="1960129"/>
                    </a:lnTo>
                    <a:lnTo>
                      <a:pt x="11258998" y="2198254"/>
                    </a:lnTo>
                    <a:close/>
                    <a:moveTo>
                      <a:pt x="11034910" y="1953326"/>
                    </a:moveTo>
                    <a:lnTo>
                      <a:pt x="11034910" y="1716697"/>
                    </a:lnTo>
                    <a:lnTo>
                      <a:pt x="11258998" y="1716697"/>
                    </a:lnTo>
                    <a:lnTo>
                      <a:pt x="11258998" y="1953189"/>
                    </a:lnTo>
                    <a:close/>
                    <a:moveTo>
                      <a:pt x="11034910" y="1710030"/>
                    </a:moveTo>
                    <a:lnTo>
                      <a:pt x="11034910" y="1471769"/>
                    </a:lnTo>
                    <a:lnTo>
                      <a:pt x="11258998" y="1471769"/>
                    </a:lnTo>
                    <a:lnTo>
                      <a:pt x="11258998" y="1709894"/>
                    </a:lnTo>
                    <a:close/>
                    <a:moveTo>
                      <a:pt x="11034910" y="1465101"/>
                    </a:moveTo>
                    <a:lnTo>
                      <a:pt x="11034910" y="1226840"/>
                    </a:lnTo>
                    <a:lnTo>
                      <a:pt x="11258998" y="1226840"/>
                    </a:lnTo>
                    <a:lnTo>
                      <a:pt x="11258998" y="1464965"/>
                    </a:lnTo>
                    <a:close/>
                    <a:moveTo>
                      <a:pt x="11034910" y="1220173"/>
                    </a:moveTo>
                    <a:lnTo>
                      <a:pt x="11034910" y="981911"/>
                    </a:lnTo>
                    <a:lnTo>
                      <a:pt x="11258998" y="981911"/>
                    </a:lnTo>
                    <a:lnTo>
                      <a:pt x="11258998" y="1220036"/>
                    </a:lnTo>
                    <a:close/>
                    <a:moveTo>
                      <a:pt x="11034910" y="975244"/>
                    </a:moveTo>
                    <a:lnTo>
                      <a:pt x="11034910" y="738752"/>
                    </a:lnTo>
                    <a:lnTo>
                      <a:pt x="11258998" y="738752"/>
                    </a:lnTo>
                    <a:lnTo>
                      <a:pt x="11258998" y="975244"/>
                    </a:lnTo>
                    <a:close/>
                    <a:moveTo>
                      <a:pt x="11028507" y="975244"/>
                    </a:moveTo>
                    <a:lnTo>
                      <a:pt x="10804419" y="975244"/>
                    </a:lnTo>
                    <a:lnTo>
                      <a:pt x="10804419" y="738752"/>
                    </a:lnTo>
                    <a:lnTo>
                      <a:pt x="11028507" y="738752"/>
                    </a:lnTo>
                    <a:close/>
                    <a:moveTo>
                      <a:pt x="10798016" y="975244"/>
                    </a:moveTo>
                    <a:lnTo>
                      <a:pt x="10575466" y="975244"/>
                    </a:lnTo>
                    <a:lnTo>
                      <a:pt x="10575466" y="738752"/>
                    </a:lnTo>
                    <a:lnTo>
                      <a:pt x="10798016" y="738752"/>
                    </a:lnTo>
                    <a:close/>
                    <a:moveTo>
                      <a:pt x="10569064" y="975244"/>
                    </a:moveTo>
                    <a:lnTo>
                      <a:pt x="10344975" y="975244"/>
                    </a:lnTo>
                    <a:lnTo>
                      <a:pt x="10344975" y="738752"/>
                    </a:lnTo>
                    <a:lnTo>
                      <a:pt x="10569064" y="738752"/>
                    </a:lnTo>
                    <a:close/>
                    <a:moveTo>
                      <a:pt x="10338573" y="975244"/>
                    </a:moveTo>
                    <a:lnTo>
                      <a:pt x="10114484" y="975244"/>
                    </a:lnTo>
                    <a:lnTo>
                      <a:pt x="10114484" y="738752"/>
                    </a:lnTo>
                    <a:lnTo>
                      <a:pt x="10338573" y="738752"/>
                    </a:lnTo>
                    <a:close/>
                    <a:moveTo>
                      <a:pt x="10108082" y="975244"/>
                    </a:moveTo>
                    <a:lnTo>
                      <a:pt x="9883993" y="975244"/>
                    </a:lnTo>
                    <a:lnTo>
                      <a:pt x="9883993" y="738752"/>
                    </a:lnTo>
                    <a:lnTo>
                      <a:pt x="10108082" y="738752"/>
                    </a:lnTo>
                    <a:close/>
                    <a:moveTo>
                      <a:pt x="9877591" y="975244"/>
                    </a:moveTo>
                    <a:lnTo>
                      <a:pt x="9655037" y="975244"/>
                    </a:lnTo>
                    <a:lnTo>
                      <a:pt x="9655037" y="738752"/>
                    </a:lnTo>
                    <a:lnTo>
                      <a:pt x="9877591" y="738752"/>
                    </a:lnTo>
                    <a:close/>
                    <a:moveTo>
                      <a:pt x="9648635" y="975244"/>
                    </a:moveTo>
                    <a:lnTo>
                      <a:pt x="9424546" y="975244"/>
                    </a:lnTo>
                    <a:lnTo>
                      <a:pt x="9424546" y="738752"/>
                    </a:lnTo>
                    <a:lnTo>
                      <a:pt x="9648635" y="738752"/>
                    </a:lnTo>
                    <a:close/>
                    <a:moveTo>
                      <a:pt x="9418144" y="975244"/>
                    </a:moveTo>
                    <a:lnTo>
                      <a:pt x="9194055" y="975244"/>
                    </a:lnTo>
                    <a:lnTo>
                      <a:pt x="9194055" y="738752"/>
                    </a:lnTo>
                    <a:lnTo>
                      <a:pt x="9418144" y="738752"/>
                    </a:lnTo>
                    <a:close/>
                    <a:moveTo>
                      <a:pt x="9187653" y="975244"/>
                    </a:moveTo>
                    <a:lnTo>
                      <a:pt x="8963564" y="975244"/>
                    </a:lnTo>
                    <a:lnTo>
                      <a:pt x="8963564" y="738752"/>
                    </a:lnTo>
                    <a:lnTo>
                      <a:pt x="9187653" y="738752"/>
                    </a:lnTo>
                    <a:close/>
                    <a:moveTo>
                      <a:pt x="8957162" y="975244"/>
                    </a:moveTo>
                    <a:lnTo>
                      <a:pt x="8734611" y="975244"/>
                    </a:lnTo>
                    <a:lnTo>
                      <a:pt x="8734611" y="738752"/>
                    </a:lnTo>
                    <a:lnTo>
                      <a:pt x="8957162" y="738752"/>
                    </a:lnTo>
                    <a:close/>
                    <a:moveTo>
                      <a:pt x="8728209" y="975244"/>
                    </a:moveTo>
                    <a:lnTo>
                      <a:pt x="8504120" y="975244"/>
                    </a:lnTo>
                    <a:lnTo>
                      <a:pt x="8504120" y="738752"/>
                    </a:lnTo>
                    <a:lnTo>
                      <a:pt x="8728209" y="738752"/>
                    </a:lnTo>
                    <a:close/>
                    <a:moveTo>
                      <a:pt x="8497718" y="975244"/>
                    </a:moveTo>
                    <a:lnTo>
                      <a:pt x="8273629" y="975244"/>
                    </a:lnTo>
                    <a:lnTo>
                      <a:pt x="8273629" y="738752"/>
                    </a:lnTo>
                    <a:lnTo>
                      <a:pt x="8497718" y="738752"/>
                    </a:lnTo>
                    <a:close/>
                    <a:moveTo>
                      <a:pt x="8267227" y="975244"/>
                    </a:moveTo>
                    <a:lnTo>
                      <a:pt x="8044420" y="975244"/>
                    </a:lnTo>
                    <a:lnTo>
                      <a:pt x="8044420" y="738752"/>
                    </a:lnTo>
                    <a:lnTo>
                      <a:pt x="8267227" y="738752"/>
                    </a:lnTo>
                    <a:close/>
                    <a:moveTo>
                      <a:pt x="8038274" y="975244"/>
                    </a:moveTo>
                    <a:lnTo>
                      <a:pt x="7814186" y="975244"/>
                    </a:lnTo>
                    <a:lnTo>
                      <a:pt x="7814186" y="738752"/>
                    </a:lnTo>
                    <a:lnTo>
                      <a:pt x="8038274" y="738752"/>
                    </a:lnTo>
                    <a:close/>
                    <a:moveTo>
                      <a:pt x="7807783" y="975244"/>
                    </a:moveTo>
                    <a:lnTo>
                      <a:pt x="7583695" y="975244"/>
                    </a:lnTo>
                    <a:lnTo>
                      <a:pt x="7583695" y="738752"/>
                    </a:lnTo>
                    <a:lnTo>
                      <a:pt x="7807783" y="738752"/>
                    </a:lnTo>
                    <a:close/>
                    <a:moveTo>
                      <a:pt x="7577292" y="975244"/>
                    </a:moveTo>
                    <a:lnTo>
                      <a:pt x="7353204" y="975244"/>
                    </a:lnTo>
                    <a:lnTo>
                      <a:pt x="7353204" y="738752"/>
                    </a:lnTo>
                    <a:lnTo>
                      <a:pt x="7577292" y="738752"/>
                    </a:lnTo>
                    <a:close/>
                    <a:moveTo>
                      <a:pt x="7346801" y="975244"/>
                    </a:moveTo>
                    <a:lnTo>
                      <a:pt x="7124247" y="975244"/>
                    </a:lnTo>
                    <a:lnTo>
                      <a:pt x="7124247" y="738752"/>
                    </a:lnTo>
                    <a:lnTo>
                      <a:pt x="7346801" y="738752"/>
                    </a:lnTo>
                    <a:close/>
                    <a:moveTo>
                      <a:pt x="7117845" y="975244"/>
                    </a:moveTo>
                    <a:lnTo>
                      <a:pt x="6893756" y="975244"/>
                    </a:lnTo>
                    <a:lnTo>
                      <a:pt x="6893756" y="738752"/>
                    </a:lnTo>
                    <a:lnTo>
                      <a:pt x="7117845" y="738752"/>
                    </a:lnTo>
                    <a:close/>
                    <a:moveTo>
                      <a:pt x="6887354" y="975244"/>
                    </a:moveTo>
                    <a:lnTo>
                      <a:pt x="6663265" y="975244"/>
                    </a:lnTo>
                    <a:lnTo>
                      <a:pt x="6663265" y="738752"/>
                    </a:lnTo>
                    <a:lnTo>
                      <a:pt x="6887354" y="738752"/>
                    </a:lnTo>
                    <a:close/>
                    <a:moveTo>
                      <a:pt x="6656863" y="975244"/>
                    </a:moveTo>
                    <a:lnTo>
                      <a:pt x="6446349" y="975244"/>
                    </a:lnTo>
                    <a:lnTo>
                      <a:pt x="6446349" y="738752"/>
                    </a:lnTo>
                    <a:lnTo>
                      <a:pt x="6656863" y="738752"/>
                    </a:lnTo>
                    <a:close/>
                    <a:moveTo>
                      <a:pt x="6439946" y="975244"/>
                    </a:moveTo>
                    <a:lnTo>
                      <a:pt x="6217136" y="975244"/>
                    </a:lnTo>
                    <a:lnTo>
                      <a:pt x="6217136" y="738752"/>
                    </a:lnTo>
                    <a:lnTo>
                      <a:pt x="6439690" y="738752"/>
                    </a:lnTo>
                    <a:close/>
                    <a:moveTo>
                      <a:pt x="6210990" y="975244"/>
                    </a:moveTo>
                    <a:lnTo>
                      <a:pt x="5986902" y="975244"/>
                    </a:lnTo>
                    <a:lnTo>
                      <a:pt x="5986902" y="738752"/>
                    </a:lnTo>
                    <a:lnTo>
                      <a:pt x="6210990" y="738752"/>
                    </a:lnTo>
                    <a:close/>
                    <a:moveTo>
                      <a:pt x="5980499" y="975244"/>
                    </a:moveTo>
                    <a:lnTo>
                      <a:pt x="5756411" y="975244"/>
                    </a:lnTo>
                    <a:lnTo>
                      <a:pt x="5756411" y="738752"/>
                    </a:lnTo>
                    <a:lnTo>
                      <a:pt x="5980499" y="738752"/>
                    </a:lnTo>
                    <a:close/>
                    <a:moveTo>
                      <a:pt x="5750008" y="975244"/>
                    </a:moveTo>
                    <a:lnTo>
                      <a:pt x="5526945" y="975244"/>
                    </a:lnTo>
                    <a:lnTo>
                      <a:pt x="5526945" y="738752"/>
                    </a:lnTo>
                    <a:lnTo>
                      <a:pt x="5749495" y="738752"/>
                    </a:lnTo>
                    <a:close/>
                    <a:moveTo>
                      <a:pt x="5521055" y="975244"/>
                    </a:moveTo>
                    <a:lnTo>
                      <a:pt x="5296454" y="975244"/>
                    </a:lnTo>
                    <a:lnTo>
                      <a:pt x="5296454" y="738752"/>
                    </a:lnTo>
                    <a:lnTo>
                      <a:pt x="5520542" y="738752"/>
                    </a:lnTo>
                    <a:close/>
                    <a:moveTo>
                      <a:pt x="5290564" y="975244"/>
                    </a:moveTo>
                    <a:lnTo>
                      <a:pt x="5065963" y="975244"/>
                    </a:lnTo>
                    <a:lnTo>
                      <a:pt x="5065963" y="738752"/>
                    </a:lnTo>
                    <a:lnTo>
                      <a:pt x="5290051" y="738752"/>
                    </a:lnTo>
                    <a:close/>
                    <a:moveTo>
                      <a:pt x="5060073" y="975244"/>
                    </a:moveTo>
                    <a:lnTo>
                      <a:pt x="4835472" y="975244"/>
                    </a:lnTo>
                    <a:lnTo>
                      <a:pt x="4835472" y="738752"/>
                    </a:lnTo>
                    <a:lnTo>
                      <a:pt x="5059560" y="738752"/>
                    </a:lnTo>
                    <a:close/>
                    <a:moveTo>
                      <a:pt x="4829582" y="975244"/>
                    </a:moveTo>
                    <a:lnTo>
                      <a:pt x="4607029" y="975244"/>
                    </a:lnTo>
                    <a:lnTo>
                      <a:pt x="4607029" y="738752"/>
                    </a:lnTo>
                    <a:lnTo>
                      <a:pt x="4829582" y="738752"/>
                    </a:lnTo>
                    <a:close/>
                    <a:moveTo>
                      <a:pt x="4600626" y="975244"/>
                    </a:moveTo>
                    <a:lnTo>
                      <a:pt x="4376538" y="975244"/>
                    </a:lnTo>
                    <a:lnTo>
                      <a:pt x="4376538" y="738752"/>
                    </a:lnTo>
                    <a:lnTo>
                      <a:pt x="4600626" y="738752"/>
                    </a:lnTo>
                    <a:close/>
                    <a:moveTo>
                      <a:pt x="4370135" y="975244"/>
                    </a:moveTo>
                    <a:lnTo>
                      <a:pt x="4146047" y="975244"/>
                    </a:lnTo>
                    <a:lnTo>
                      <a:pt x="4146047" y="738752"/>
                    </a:lnTo>
                    <a:lnTo>
                      <a:pt x="4370135" y="738752"/>
                    </a:lnTo>
                    <a:close/>
                    <a:moveTo>
                      <a:pt x="4139644" y="975244"/>
                    </a:moveTo>
                    <a:lnTo>
                      <a:pt x="3917094" y="975244"/>
                    </a:lnTo>
                    <a:lnTo>
                      <a:pt x="3917094" y="738752"/>
                    </a:lnTo>
                    <a:lnTo>
                      <a:pt x="4139644" y="738752"/>
                    </a:lnTo>
                    <a:close/>
                    <a:moveTo>
                      <a:pt x="3910691" y="975244"/>
                    </a:moveTo>
                    <a:lnTo>
                      <a:pt x="3686603" y="975244"/>
                    </a:lnTo>
                    <a:lnTo>
                      <a:pt x="3686603" y="738752"/>
                    </a:lnTo>
                    <a:lnTo>
                      <a:pt x="3910691" y="738752"/>
                    </a:lnTo>
                    <a:close/>
                    <a:moveTo>
                      <a:pt x="3680200" y="975244"/>
                    </a:moveTo>
                    <a:lnTo>
                      <a:pt x="3456112" y="975244"/>
                    </a:lnTo>
                    <a:lnTo>
                      <a:pt x="3456112" y="738752"/>
                    </a:lnTo>
                    <a:lnTo>
                      <a:pt x="3680200" y="738752"/>
                    </a:lnTo>
                    <a:close/>
                    <a:moveTo>
                      <a:pt x="3449709" y="975244"/>
                    </a:moveTo>
                    <a:lnTo>
                      <a:pt x="3225621" y="975244"/>
                    </a:lnTo>
                    <a:lnTo>
                      <a:pt x="3225621" y="738752"/>
                    </a:lnTo>
                    <a:lnTo>
                      <a:pt x="3449709" y="738752"/>
                    </a:lnTo>
                    <a:close/>
                    <a:moveTo>
                      <a:pt x="3219218" y="975244"/>
                    </a:moveTo>
                    <a:lnTo>
                      <a:pt x="2996666" y="975244"/>
                    </a:lnTo>
                    <a:lnTo>
                      <a:pt x="2996666" y="738752"/>
                    </a:lnTo>
                    <a:lnTo>
                      <a:pt x="3219218" y="738752"/>
                    </a:lnTo>
                    <a:close/>
                    <a:moveTo>
                      <a:pt x="2990264" y="975244"/>
                    </a:moveTo>
                    <a:lnTo>
                      <a:pt x="2766175" y="975244"/>
                    </a:lnTo>
                    <a:lnTo>
                      <a:pt x="2766175" y="738752"/>
                    </a:lnTo>
                    <a:lnTo>
                      <a:pt x="2990264" y="738752"/>
                    </a:lnTo>
                    <a:close/>
                    <a:moveTo>
                      <a:pt x="2759773" y="975244"/>
                    </a:moveTo>
                    <a:lnTo>
                      <a:pt x="2535684" y="975244"/>
                    </a:lnTo>
                    <a:lnTo>
                      <a:pt x="2535684" y="738752"/>
                    </a:lnTo>
                    <a:lnTo>
                      <a:pt x="2759773" y="738752"/>
                    </a:lnTo>
                    <a:close/>
                    <a:moveTo>
                      <a:pt x="2529282" y="975244"/>
                    </a:moveTo>
                    <a:lnTo>
                      <a:pt x="2305193" y="975244"/>
                    </a:lnTo>
                    <a:lnTo>
                      <a:pt x="2305193" y="738752"/>
                    </a:lnTo>
                    <a:lnTo>
                      <a:pt x="2529282" y="738752"/>
                    </a:lnTo>
                    <a:close/>
                    <a:moveTo>
                      <a:pt x="2298791" y="975244"/>
                    </a:moveTo>
                    <a:lnTo>
                      <a:pt x="2075982" y="975244"/>
                    </a:lnTo>
                    <a:lnTo>
                      <a:pt x="2075982" y="738752"/>
                    </a:lnTo>
                    <a:lnTo>
                      <a:pt x="2298534" y="738752"/>
                    </a:lnTo>
                    <a:close/>
                    <a:moveTo>
                      <a:pt x="2069836" y="975244"/>
                    </a:moveTo>
                    <a:lnTo>
                      <a:pt x="1845748" y="975244"/>
                    </a:lnTo>
                    <a:lnTo>
                      <a:pt x="1845748" y="738752"/>
                    </a:lnTo>
                    <a:lnTo>
                      <a:pt x="2069580" y="738752"/>
                    </a:lnTo>
                    <a:close/>
                    <a:moveTo>
                      <a:pt x="1839345" y="975244"/>
                    </a:moveTo>
                    <a:lnTo>
                      <a:pt x="1615257" y="975244"/>
                    </a:lnTo>
                    <a:lnTo>
                      <a:pt x="1615257" y="738752"/>
                    </a:lnTo>
                    <a:lnTo>
                      <a:pt x="1839089" y="738752"/>
                    </a:lnTo>
                    <a:close/>
                    <a:moveTo>
                      <a:pt x="1608854" y="975244"/>
                    </a:moveTo>
                    <a:lnTo>
                      <a:pt x="1386302" y="975244"/>
                    </a:lnTo>
                    <a:lnTo>
                      <a:pt x="1386302" y="738752"/>
                    </a:lnTo>
                    <a:lnTo>
                      <a:pt x="1608598" y="738752"/>
                    </a:lnTo>
                    <a:close/>
                    <a:moveTo>
                      <a:pt x="1379900" y="975244"/>
                    </a:moveTo>
                    <a:lnTo>
                      <a:pt x="1155811" y="975244"/>
                    </a:lnTo>
                    <a:lnTo>
                      <a:pt x="1155811" y="738752"/>
                    </a:lnTo>
                    <a:lnTo>
                      <a:pt x="1379900" y="738752"/>
                    </a:lnTo>
                    <a:close/>
                    <a:moveTo>
                      <a:pt x="1149409" y="975244"/>
                    </a:moveTo>
                    <a:lnTo>
                      <a:pt x="925320" y="975244"/>
                    </a:lnTo>
                    <a:lnTo>
                      <a:pt x="925320" y="738752"/>
                    </a:lnTo>
                    <a:lnTo>
                      <a:pt x="1149409" y="738752"/>
                    </a:lnTo>
                    <a:close/>
                    <a:moveTo>
                      <a:pt x="918918" y="975244"/>
                    </a:moveTo>
                    <a:lnTo>
                      <a:pt x="694829" y="975244"/>
                    </a:lnTo>
                    <a:lnTo>
                      <a:pt x="694829" y="738752"/>
                    </a:lnTo>
                    <a:lnTo>
                      <a:pt x="918918" y="738752"/>
                    </a:lnTo>
                    <a:close/>
                    <a:moveTo>
                      <a:pt x="918918" y="982048"/>
                    </a:moveTo>
                    <a:lnTo>
                      <a:pt x="918918" y="1220173"/>
                    </a:lnTo>
                    <a:lnTo>
                      <a:pt x="694829" y="1220173"/>
                    </a:lnTo>
                    <a:lnTo>
                      <a:pt x="694829" y="981911"/>
                    </a:lnTo>
                    <a:close/>
                    <a:moveTo>
                      <a:pt x="918918" y="1226976"/>
                    </a:moveTo>
                    <a:lnTo>
                      <a:pt x="918918" y="1465101"/>
                    </a:lnTo>
                    <a:lnTo>
                      <a:pt x="694829" y="1465101"/>
                    </a:lnTo>
                    <a:lnTo>
                      <a:pt x="694829" y="1226840"/>
                    </a:lnTo>
                    <a:close/>
                    <a:moveTo>
                      <a:pt x="918918" y="1471905"/>
                    </a:moveTo>
                    <a:lnTo>
                      <a:pt x="918918" y="1710030"/>
                    </a:lnTo>
                    <a:lnTo>
                      <a:pt x="694829" y="1710030"/>
                    </a:lnTo>
                    <a:lnTo>
                      <a:pt x="694829" y="1471769"/>
                    </a:lnTo>
                    <a:close/>
                    <a:moveTo>
                      <a:pt x="918918" y="1716833"/>
                    </a:moveTo>
                    <a:lnTo>
                      <a:pt x="918918" y="1953326"/>
                    </a:lnTo>
                    <a:lnTo>
                      <a:pt x="694829" y="1953326"/>
                    </a:lnTo>
                    <a:lnTo>
                      <a:pt x="694829" y="1716697"/>
                    </a:lnTo>
                    <a:close/>
                    <a:moveTo>
                      <a:pt x="918918" y="1960129"/>
                    </a:moveTo>
                    <a:lnTo>
                      <a:pt x="918918" y="2198254"/>
                    </a:lnTo>
                    <a:lnTo>
                      <a:pt x="694829" y="2198254"/>
                    </a:lnTo>
                    <a:lnTo>
                      <a:pt x="694829" y="1960129"/>
                    </a:lnTo>
                    <a:close/>
                    <a:moveTo>
                      <a:pt x="918918" y="2205058"/>
                    </a:moveTo>
                    <a:lnTo>
                      <a:pt x="918918" y="2443183"/>
                    </a:lnTo>
                    <a:lnTo>
                      <a:pt x="694829" y="2443183"/>
                    </a:lnTo>
                    <a:lnTo>
                      <a:pt x="694829" y="2205058"/>
                    </a:lnTo>
                    <a:close/>
                    <a:moveTo>
                      <a:pt x="918918" y="2449986"/>
                    </a:moveTo>
                    <a:lnTo>
                      <a:pt x="918918" y="2686479"/>
                    </a:lnTo>
                    <a:lnTo>
                      <a:pt x="694829" y="2686479"/>
                    </a:lnTo>
                    <a:lnTo>
                      <a:pt x="694829" y="2449986"/>
                    </a:lnTo>
                    <a:close/>
                    <a:moveTo>
                      <a:pt x="918918" y="2693282"/>
                    </a:moveTo>
                    <a:lnTo>
                      <a:pt x="918918" y="2931407"/>
                    </a:lnTo>
                    <a:lnTo>
                      <a:pt x="694829" y="2931407"/>
                    </a:lnTo>
                    <a:lnTo>
                      <a:pt x="694829" y="2693282"/>
                    </a:lnTo>
                    <a:close/>
                    <a:moveTo>
                      <a:pt x="918918" y="2938211"/>
                    </a:moveTo>
                    <a:lnTo>
                      <a:pt x="918918" y="3176336"/>
                    </a:lnTo>
                    <a:lnTo>
                      <a:pt x="694829" y="3176336"/>
                    </a:lnTo>
                    <a:lnTo>
                      <a:pt x="694829" y="2938211"/>
                    </a:lnTo>
                    <a:close/>
                    <a:moveTo>
                      <a:pt x="918918" y="3183139"/>
                    </a:moveTo>
                    <a:lnTo>
                      <a:pt x="918918" y="3421264"/>
                    </a:lnTo>
                    <a:lnTo>
                      <a:pt x="694829" y="3421264"/>
                    </a:lnTo>
                    <a:lnTo>
                      <a:pt x="694829" y="3183139"/>
                    </a:lnTo>
                    <a:close/>
                    <a:moveTo>
                      <a:pt x="918918" y="3428068"/>
                    </a:moveTo>
                    <a:lnTo>
                      <a:pt x="918918" y="3664560"/>
                    </a:lnTo>
                    <a:lnTo>
                      <a:pt x="694829" y="3664560"/>
                    </a:lnTo>
                    <a:lnTo>
                      <a:pt x="694829" y="3428068"/>
                    </a:lnTo>
                    <a:close/>
                    <a:moveTo>
                      <a:pt x="918918" y="3671364"/>
                    </a:moveTo>
                    <a:lnTo>
                      <a:pt x="918918" y="3909489"/>
                    </a:lnTo>
                    <a:lnTo>
                      <a:pt x="694829" y="3909489"/>
                    </a:lnTo>
                    <a:lnTo>
                      <a:pt x="694829" y="3671364"/>
                    </a:lnTo>
                    <a:close/>
                    <a:moveTo>
                      <a:pt x="918918" y="3916292"/>
                    </a:moveTo>
                    <a:lnTo>
                      <a:pt x="918918" y="4154417"/>
                    </a:lnTo>
                    <a:lnTo>
                      <a:pt x="694829" y="4154417"/>
                    </a:lnTo>
                    <a:lnTo>
                      <a:pt x="694829" y="3916292"/>
                    </a:lnTo>
                    <a:close/>
                    <a:moveTo>
                      <a:pt x="918918" y="4161221"/>
                    </a:moveTo>
                    <a:lnTo>
                      <a:pt x="918918" y="4399346"/>
                    </a:lnTo>
                    <a:lnTo>
                      <a:pt x="694829" y="4399346"/>
                    </a:lnTo>
                    <a:lnTo>
                      <a:pt x="694829" y="4161221"/>
                    </a:lnTo>
                    <a:close/>
                    <a:moveTo>
                      <a:pt x="918918" y="4406149"/>
                    </a:moveTo>
                    <a:lnTo>
                      <a:pt x="918918" y="4642233"/>
                    </a:lnTo>
                    <a:lnTo>
                      <a:pt x="694829" y="4642233"/>
                    </a:lnTo>
                    <a:lnTo>
                      <a:pt x="694829" y="4405741"/>
                    </a:lnTo>
                    <a:close/>
                    <a:moveTo>
                      <a:pt x="918918" y="4649445"/>
                    </a:moveTo>
                    <a:lnTo>
                      <a:pt x="918918" y="4887162"/>
                    </a:lnTo>
                    <a:lnTo>
                      <a:pt x="694829" y="4887162"/>
                    </a:lnTo>
                    <a:lnTo>
                      <a:pt x="694829" y="4649037"/>
                    </a:lnTo>
                    <a:close/>
                    <a:moveTo>
                      <a:pt x="918918" y="4894374"/>
                    </a:moveTo>
                    <a:lnTo>
                      <a:pt x="918918" y="5132090"/>
                    </a:lnTo>
                    <a:lnTo>
                      <a:pt x="694829" y="5132090"/>
                    </a:lnTo>
                    <a:lnTo>
                      <a:pt x="694829" y="4893965"/>
                    </a:lnTo>
                    <a:close/>
                    <a:moveTo>
                      <a:pt x="918918" y="5139302"/>
                    </a:moveTo>
                    <a:lnTo>
                      <a:pt x="918918" y="5375795"/>
                    </a:lnTo>
                    <a:lnTo>
                      <a:pt x="694829" y="5375795"/>
                    </a:lnTo>
                    <a:lnTo>
                      <a:pt x="694829" y="5139302"/>
                    </a:lnTo>
                    <a:close/>
                    <a:moveTo>
                      <a:pt x="918918" y="5382598"/>
                    </a:moveTo>
                    <a:lnTo>
                      <a:pt x="918918" y="5620723"/>
                    </a:lnTo>
                    <a:lnTo>
                      <a:pt x="694829" y="5620723"/>
                    </a:lnTo>
                    <a:lnTo>
                      <a:pt x="694829" y="5382598"/>
                    </a:lnTo>
                    <a:close/>
                    <a:moveTo>
                      <a:pt x="918918" y="5627527"/>
                    </a:moveTo>
                    <a:lnTo>
                      <a:pt x="918918" y="5865652"/>
                    </a:lnTo>
                    <a:lnTo>
                      <a:pt x="694829" y="5865652"/>
                    </a:lnTo>
                    <a:lnTo>
                      <a:pt x="694829" y="5627527"/>
                    </a:lnTo>
                    <a:close/>
                    <a:moveTo>
                      <a:pt x="918918" y="5872455"/>
                    </a:moveTo>
                    <a:lnTo>
                      <a:pt x="918918" y="6110580"/>
                    </a:lnTo>
                    <a:lnTo>
                      <a:pt x="694829" y="6110580"/>
                    </a:lnTo>
                    <a:lnTo>
                      <a:pt x="694829" y="5872455"/>
                    </a:lnTo>
                    <a:close/>
                    <a:moveTo>
                      <a:pt x="925320" y="5872455"/>
                    </a:moveTo>
                    <a:lnTo>
                      <a:pt x="1149409" y="5872455"/>
                    </a:lnTo>
                    <a:lnTo>
                      <a:pt x="1149409" y="6110580"/>
                    </a:lnTo>
                    <a:lnTo>
                      <a:pt x="925320" y="6110580"/>
                    </a:lnTo>
                    <a:close/>
                    <a:moveTo>
                      <a:pt x="1155811" y="5872455"/>
                    </a:moveTo>
                    <a:lnTo>
                      <a:pt x="1379900" y="5872455"/>
                    </a:lnTo>
                    <a:lnTo>
                      <a:pt x="1379900" y="6110580"/>
                    </a:lnTo>
                    <a:lnTo>
                      <a:pt x="1155811" y="6110580"/>
                    </a:lnTo>
                    <a:close/>
                    <a:moveTo>
                      <a:pt x="1386302" y="5872455"/>
                    </a:moveTo>
                    <a:lnTo>
                      <a:pt x="1608598" y="5872455"/>
                    </a:lnTo>
                    <a:lnTo>
                      <a:pt x="1608598" y="6110580"/>
                    </a:lnTo>
                    <a:lnTo>
                      <a:pt x="1386046" y="6110580"/>
                    </a:lnTo>
                    <a:close/>
                    <a:moveTo>
                      <a:pt x="1615257" y="5872455"/>
                    </a:moveTo>
                    <a:lnTo>
                      <a:pt x="1839089" y="5872455"/>
                    </a:lnTo>
                    <a:lnTo>
                      <a:pt x="1839089" y="6110580"/>
                    </a:lnTo>
                    <a:lnTo>
                      <a:pt x="1615000" y="6110580"/>
                    </a:lnTo>
                    <a:close/>
                    <a:moveTo>
                      <a:pt x="1845748" y="5872455"/>
                    </a:moveTo>
                    <a:lnTo>
                      <a:pt x="2069580" y="5872455"/>
                    </a:lnTo>
                    <a:lnTo>
                      <a:pt x="2069580" y="6110580"/>
                    </a:lnTo>
                    <a:lnTo>
                      <a:pt x="1845491" y="6110580"/>
                    </a:lnTo>
                    <a:close/>
                    <a:moveTo>
                      <a:pt x="2076239" y="5872455"/>
                    </a:moveTo>
                    <a:lnTo>
                      <a:pt x="2298791" y="5872455"/>
                    </a:lnTo>
                    <a:lnTo>
                      <a:pt x="2298791" y="6110580"/>
                    </a:lnTo>
                    <a:lnTo>
                      <a:pt x="2075982" y="6110580"/>
                    </a:lnTo>
                    <a:close/>
                    <a:moveTo>
                      <a:pt x="2305193" y="5872455"/>
                    </a:moveTo>
                    <a:lnTo>
                      <a:pt x="2529282" y="5872455"/>
                    </a:lnTo>
                    <a:lnTo>
                      <a:pt x="2529282" y="6110580"/>
                    </a:lnTo>
                    <a:lnTo>
                      <a:pt x="2305193" y="6110580"/>
                    </a:lnTo>
                    <a:close/>
                    <a:moveTo>
                      <a:pt x="2535684" y="5872455"/>
                    </a:moveTo>
                    <a:lnTo>
                      <a:pt x="2759773" y="5872455"/>
                    </a:lnTo>
                    <a:lnTo>
                      <a:pt x="2759773" y="6110580"/>
                    </a:lnTo>
                    <a:lnTo>
                      <a:pt x="2535684" y="6110580"/>
                    </a:lnTo>
                    <a:close/>
                    <a:moveTo>
                      <a:pt x="2766175" y="5872455"/>
                    </a:moveTo>
                    <a:lnTo>
                      <a:pt x="2990264" y="5872455"/>
                    </a:lnTo>
                    <a:lnTo>
                      <a:pt x="2990264" y="6110580"/>
                    </a:lnTo>
                    <a:lnTo>
                      <a:pt x="2766175" y="6110580"/>
                    </a:lnTo>
                    <a:close/>
                    <a:moveTo>
                      <a:pt x="2996666" y="5872455"/>
                    </a:moveTo>
                    <a:lnTo>
                      <a:pt x="3219218" y="5872455"/>
                    </a:lnTo>
                    <a:lnTo>
                      <a:pt x="3219218" y="6110580"/>
                    </a:lnTo>
                    <a:lnTo>
                      <a:pt x="2996666" y="6110580"/>
                    </a:lnTo>
                    <a:close/>
                    <a:moveTo>
                      <a:pt x="3225621" y="5872455"/>
                    </a:moveTo>
                    <a:lnTo>
                      <a:pt x="3449709" y="5872455"/>
                    </a:lnTo>
                    <a:lnTo>
                      <a:pt x="3449709" y="6110580"/>
                    </a:lnTo>
                    <a:lnTo>
                      <a:pt x="3225621" y="6110580"/>
                    </a:lnTo>
                    <a:close/>
                    <a:moveTo>
                      <a:pt x="3456112" y="5872455"/>
                    </a:moveTo>
                    <a:lnTo>
                      <a:pt x="3680200" y="5872455"/>
                    </a:lnTo>
                    <a:lnTo>
                      <a:pt x="3680200" y="6110580"/>
                    </a:lnTo>
                    <a:lnTo>
                      <a:pt x="3456112" y="6110580"/>
                    </a:lnTo>
                    <a:close/>
                    <a:moveTo>
                      <a:pt x="3686603" y="5872455"/>
                    </a:moveTo>
                    <a:lnTo>
                      <a:pt x="3910691" y="5872455"/>
                    </a:lnTo>
                    <a:lnTo>
                      <a:pt x="3910691" y="6110580"/>
                    </a:lnTo>
                    <a:lnTo>
                      <a:pt x="3686603" y="6110580"/>
                    </a:lnTo>
                    <a:close/>
                    <a:moveTo>
                      <a:pt x="3917094" y="5872455"/>
                    </a:moveTo>
                    <a:lnTo>
                      <a:pt x="4139644" y="5872455"/>
                    </a:lnTo>
                    <a:lnTo>
                      <a:pt x="4139644" y="6110580"/>
                    </a:lnTo>
                    <a:lnTo>
                      <a:pt x="3917094" y="6110580"/>
                    </a:lnTo>
                    <a:close/>
                    <a:moveTo>
                      <a:pt x="4146047" y="5872455"/>
                    </a:moveTo>
                    <a:lnTo>
                      <a:pt x="4370135" y="5872455"/>
                    </a:lnTo>
                    <a:lnTo>
                      <a:pt x="4370135" y="6110580"/>
                    </a:lnTo>
                    <a:lnTo>
                      <a:pt x="4146047" y="6110580"/>
                    </a:lnTo>
                    <a:close/>
                    <a:moveTo>
                      <a:pt x="4376538" y="5872455"/>
                    </a:moveTo>
                    <a:lnTo>
                      <a:pt x="4600626" y="5872455"/>
                    </a:lnTo>
                    <a:lnTo>
                      <a:pt x="4600626" y="6110580"/>
                    </a:lnTo>
                    <a:lnTo>
                      <a:pt x="4376538" y="6110580"/>
                    </a:lnTo>
                    <a:close/>
                    <a:moveTo>
                      <a:pt x="4607029" y="5872455"/>
                    </a:moveTo>
                    <a:lnTo>
                      <a:pt x="4829582" y="5872455"/>
                    </a:lnTo>
                    <a:lnTo>
                      <a:pt x="4829582" y="6110580"/>
                    </a:lnTo>
                    <a:lnTo>
                      <a:pt x="4607029" y="6110580"/>
                    </a:lnTo>
                    <a:close/>
                    <a:moveTo>
                      <a:pt x="4835985" y="5872455"/>
                    </a:moveTo>
                    <a:lnTo>
                      <a:pt x="5060073" y="5872455"/>
                    </a:lnTo>
                    <a:lnTo>
                      <a:pt x="5060073" y="6110580"/>
                    </a:lnTo>
                    <a:lnTo>
                      <a:pt x="4835472" y="6110580"/>
                    </a:lnTo>
                    <a:close/>
                    <a:moveTo>
                      <a:pt x="5066476" y="5872455"/>
                    </a:moveTo>
                    <a:lnTo>
                      <a:pt x="5290564" y="5872455"/>
                    </a:lnTo>
                    <a:lnTo>
                      <a:pt x="5290564" y="6110580"/>
                    </a:lnTo>
                    <a:lnTo>
                      <a:pt x="5065963" y="6110580"/>
                    </a:lnTo>
                    <a:close/>
                    <a:moveTo>
                      <a:pt x="5296967" y="5872455"/>
                    </a:moveTo>
                    <a:lnTo>
                      <a:pt x="5521055" y="5872455"/>
                    </a:lnTo>
                    <a:lnTo>
                      <a:pt x="5521055" y="6110580"/>
                    </a:lnTo>
                    <a:lnTo>
                      <a:pt x="5296454" y="6110580"/>
                    </a:lnTo>
                    <a:close/>
                    <a:moveTo>
                      <a:pt x="5527458" y="5872455"/>
                    </a:moveTo>
                    <a:lnTo>
                      <a:pt x="5750008" y="5872455"/>
                    </a:lnTo>
                    <a:lnTo>
                      <a:pt x="5750008" y="6110580"/>
                    </a:lnTo>
                    <a:lnTo>
                      <a:pt x="5526945" y="6110580"/>
                    </a:lnTo>
                    <a:close/>
                    <a:moveTo>
                      <a:pt x="5756411" y="5872455"/>
                    </a:moveTo>
                    <a:lnTo>
                      <a:pt x="5980499" y="5872455"/>
                    </a:lnTo>
                    <a:lnTo>
                      <a:pt x="5980499" y="6110580"/>
                    </a:lnTo>
                    <a:lnTo>
                      <a:pt x="5756411" y="6110580"/>
                    </a:lnTo>
                    <a:close/>
                    <a:moveTo>
                      <a:pt x="5986902" y="5872455"/>
                    </a:moveTo>
                    <a:lnTo>
                      <a:pt x="6210990" y="5872455"/>
                    </a:lnTo>
                    <a:lnTo>
                      <a:pt x="6210990" y="6110580"/>
                    </a:lnTo>
                    <a:lnTo>
                      <a:pt x="5986902" y="6110580"/>
                    </a:lnTo>
                    <a:close/>
                    <a:moveTo>
                      <a:pt x="6217393" y="5872455"/>
                    </a:moveTo>
                    <a:lnTo>
                      <a:pt x="6439946" y="5872455"/>
                    </a:lnTo>
                    <a:lnTo>
                      <a:pt x="6439946" y="6110580"/>
                    </a:lnTo>
                    <a:lnTo>
                      <a:pt x="6217136" y="6110580"/>
                    </a:lnTo>
                    <a:close/>
                    <a:moveTo>
                      <a:pt x="6446349" y="5872455"/>
                    </a:moveTo>
                    <a:lnTo>
                      <a:pt x="6656863" y="5872455"/>
                    </a:lnTo>
                    <a:lnTo>
                      <a:pt x="6656863" y="6110580"/>
                    </a:lnTo>
                    <a:lnTo>
                      <a:pt x="6446349" y="6110580"/>
                    </a:lnTo>
                    <a:close/>
                    <a:moveTo>
                      <a:pt x="6663265" y="5872455"/>
                    </a:moveTo>
                    <a:lnTo>
                      <a:pt x="6887354" y="5872455"/>
                    </a:lnTo>
                    <a:lnTo>
                      <a:pt x="6887354" y="6110580"/>
                    </a:lnTo>
                    <a:lnTo>
                      <a:pt x="6663265" y="6110580"/>
                    </a:lnTo>
                    <a:close/>
                    <a:moveTo>
                      <a:pt x="6893756" y="5872455"/>
                    </a:moveTo>
                    <a:lnTo>
                      <a:pt x="7117845" y="5872455"/>
                    </a:lnTo>
                    <a:lnTo>
                      <a:pt x="7117845" y="6110580"/>
                    </a:lnTo>
                    <a:lnTo>
                      <a:pt x="6893756" y="6110580"/>
                    </a:lnTo>
                    <a:close/>
                    <a:moveTo>
                      <a:pt x="7124247" y="5872455"/>
                    </a:moveTo>
                    <a:lnTo>
                      <a:pt x="7346801" y="5872455"/>
                    </a:lnTo>
                    <a:lnTo>
                      <a:pt x="7346801" y="6110580"/>
                    </a:lnTo>
                    <a:lnTo>
                      <a:pt x="7124247" y="6110580"/>
                    </a:lnTo>
                    <a:close/>
                    <a:moveTo>
                      <a:pt x="7353204" y="5872455"/>
                    </a:moveTo>
                    <a:lnTo>
                      <a:pt x="7577292" y="5872455"/>
                    </a:lnTo>
                    <a:lnTo>
                      <a:pt x="7577292" y="6110580"/>
                    </a:lnTo>
                    <a:lnTo>
                      <a:pt x="7353204" y="6110580"/>
                    </a:lnTo>
                    <a:close/>
                    <a:moveTo>
                      <a:pt x="7583695" y="5872455"/>
                    </a:moveTo>
                    <a:lnTo>
                      <a:pt x="7807783" y="5872455"/>
                    </a:lnTo>
                    <a:lnTo>
                      <a:pt x="7807783" y="6110580"/>
                    </a:lnTo>
                    <a:lnTo>
                      <a:pt x="7583695" y="6110580"/>
                    </a:lnTo>
                    <a:close/>
                    <a:moveTo>
                      <a:pt x="7814186" y="5872455"/>
                    </a:moveTo>
                    <a:lnTo>
                      <a:pt x="8038274" y="5872455"/>
                    </a:lnTo>
                    <a:lnTo>
                      <a:pt x="8038274" y="6110580"/>
                    </a:lnTo>
                    <a:lnTo>
                      <a:pt x="7814186" y="6110580"/>
                    </a:lnTo>
                    <a:close/>
                    <a:moveTo>
                      <a:pt x="8044677" y="5872455"/>
                    </a:moveTo>
                    <a:lnTo>
                      <a:pt x="8267227" y="5872455"/>
                    </a:lnTo>
                    <a:lnTo>
                      <a:pt x="8267227" y="6110580"/>
                    </a:lnTo>
                    <a:lnTo>
                      <a:pt x="8044420" y="6110580"/>
                    </a:lnTo>
                    <a:close/>
                    <a:moveTo>
                      <a:pt x="8273629" y="5872455"/>
                    </a:moveTo>
                    <a:lnTo>
                      <a:pt x="8497718" y="5872455"/>
                    </a:lnTo>
                    <a:lnTo>
                      <a:pt x="8497718" y="6110580"/>
                    </a:lnTo>
                    <a:lnTo>
                      <a:pt x="8273629" y="6110580"/>
                    </a:lnTo>
                    <a:close/>
                    <a:moveTo>
                      <a:pt x="8504120" y="5872455"/>
                    </a:moveTo>
                    <a:lnTo>
                      <a:pt x="8728209" y="5872455"/>
                    </a:lnTo>
                    <a:lnTo>
                      <a:pt x="8728209" y="6110580"/>
                    </a:lnTo>
                    <a:lnTo>
                      <a:pt x="8504120" y="6110580"/>
                    </a:lnTo>
                    <a:close/>
                    <a:moveTo>
                      <a:pt x="8734611" y="5872455"/>
                    </a:moveTo>
                    <a:lnTo>
                      <a:pt x="8957162" y="5872455"/>
                    </a:lnTo>
                    <a:lnTo>
                      <a:pt x="8957162" y="6110580"/>
                    </a:lnTo>
                    <a:lnTo>
                      <a:pt x="8734611" y="6110580"/>
                    </a:lnTo>
                    <a:close/>
                    <a:moveTo>
                      <a:pt x="8963564" y="5872455"/>
                    </a:moveTo>
                    <a:lnTo>
                      <a:pt x="9187653" y="5872455"/>
                    </a:lnTo>
                    <a:lnTo>
                      <a:pt x="9187653" y="6110580"/>
                    </a:lnTo>
                    <a:lnTo>
                      <a:pt x="8963564" y="6110580"/>
                    </a:lnTo>
                    <a:close/>
                    <a:moveTo>
                      <a:pt x="9194055" y="5872455"/>
                    </a:moveTo>
                    <a:lnTo>
                      <a:pt x="9418144" y="5872455"/>
                    </a:lnTo>
                    <a:lnTo>
                      <a:pt x="9418144" y="6110580"/>
                    </a:lnTo>
                    <a:lnTo>
                      <a:pt x="9194055" y="6110580"/>
                    </a:lnTo>
                    <a:close/>
                    <a:moveTo>
                      <a:pt x="9424546" y="5872455"/>
                    </a:moveTo>
                    <a:lnTo>
                      <a:pt x="9648635" y="5872455"/>
                    </a:lnTo>
                    <a:lnTo>
                      <a:pt x="9648635" y="6110580"/>
                    </a:lnTo>
                    <a:lnTo>
                      <a:pt x="9424546" y="6110580"/>
                    </a:lnTo>
                    <a:close/>
                    <a:moveTo>
                      <a:pt x="9655037" y="5872455"/>
                    </a:moveTo>
                    <a:lnTo>
                      <a:pt x="9877591" y="5872455"/>
                    </a:lnTo>
                    <a:lnTo>
                      <a:pt x="9877591" y="6110580"/>
                    </a:lnTo>
                    <a:lnTo>
                      <a:pt x="9655037" y="6110580"/>
                    </a:lnTo>
                    <a:close/>
                    <a:moveTo>
                      <a:pt x="9883993" y="5872455"/>
                    </a:moveTo>
                    <a:lnTo>
                      <a:pt x="10108082" y="5872455"/>
                    </a:lnTo>
                    <a:lnTo>
                      <a:pt x="10108082" y="6110580"/>
                    </a:lnTo>
                    <a:lnTo>
                      <a:pt x="9883993" y="6110580"/>
                    </a:lnTo>
                    <a:close/>
                    <a:moveTo>
                      <a:pt x="10114484" y="5872455"/>
                    </a:moveTo>
                    <a:lnTo>
                      <a:pt x="10338573" y="5872455"/>
                    </a:lnTo>
                    <a:lnTo>
                      <a:pt x="10338573" y="6110580"/>
                    </a:lnTo>
                    <a:lnTo>
                      <a:pt x="10114484" y="6110580"/>
                    </a:lnTo>
                    <a:close/>
                    <a:moveTo>
                      <a:pt x="10344975" y="5872455"/>
                    </a:moveTo>
                    <a:lnTo>
                      <a:pt x="10569064" y="5872455"/>
                    </a:lnTo>
                    <a:lnTo>
                      <a:pt x="10569064" y="6110580"/>
                    </a:lnTo>
                    <a:lnTo>
                      <a:pt x="10344975" y="6110580"/>
                    </a:lnTo>
                    <a:close/>
                    <a:moveTo>
                      <a:pt x="10575466" y="5872455"/>
                    </a:moveTo>
                    <a:lnTo>
                      <a:pt x="10798016" y="5872455"/>
                    </a:lnTo>
                    <a:lnTo>
                      <a:pt x="10798016" y="6110580"/>
                    </a:lnTo>
                    <a:lnTo>
                      <a:pt x="10575466" y="6110580"/>
                    </a:lnTo>
                    <a:close/>
                    <a:moveTo>
                      <a:pt x="10804419" y="5872455"/>
                    </a:moveTo>
                    <a:lnTo>
                      <a:pt x="11028507" y="5872455"/>
                    </a:lnTo>
                    <a:lnTo>
                      <a:pt x="11028507" y="6110580"/>
                    </a:lnTo>
                    <a:lnTo>
                      <a:pt x="10804419" y="6110580"/>
                    </a:lnTo>
                    <a:close/>
                    <a:moveTo>
                      <a:pt x="11034910" y="5872455"/>
                    </a:moveTo>
                    <a:lnTo>
                      <a:pt x="11258998" y="5872455"/>
                    </a:lnTo>
                    <a:lnTo>
                      <a:pt x="11258998" y="6110580"/>
                    </a:lnTo>
                    <a:lnTo>
                      <a:pt x="11034910" y="6110580"/>
                    </a:lnTo>
                    <a:close/>
                    <a:moveTo>
                      <a:pt x="11265401" y="5872455"/>
                    </a:moveTo>
                    <a:lnTo>
                      <a:pt x="11487954" y="5872455"/>
                    </a:lnTo>
                    <a:lnTo>
                      <a:pt x="11487954" y="6110580"/>
                    </a:lnTo>
                    <a:lnTo>
                      <a:pt x="11265401" y="6110580"/>
                    </a:lnTo>
                    <a:close/>
                    <a:moveTo>
                      <a:pt x="11265401" y="5865652"/>
                    </a:moveTo>
                    <a:lnTo>
                      <a:pt x="11265401" y="5627527"/>
                    </a:lnTo>
                    <a:lnTo>
                      <a:pt x="11487954" y="5627527"/>
                    </a:lnTo>
                    <a:lnTo>
                      <a:pt x="11487954" y="5865652"/>
                    </a:lnTo>
                    <a:close/>
                    <a:moveTo>
                      <a:pt x="11265401" y="5620723"/>
                    </a:moveTo>
                    <a:lnTo>
                      <a:pt x="11265401" y="5382598"/>
                    </a:lnTo>
                    <a:lnTo>
                      <a:pt x="11487954" y="5382598"/>
                    </a:lnTo>
                    <a:lnTo>
                      <a:pt x="11487954" y="5620723"/>
                    </a:lnTo>
                    <a:close/>
                    <a:moveTo>
                      <a:pt x="11265401" y="5375795"/>
                    </a:moveTo>
                    <a:lnTo>
                      <a:pt x="11265401" y="5139302"/>
                    </a:lnTo>
                    <a:lnTo>
                      <a:pt x="11487954" y="5139302"/>
                    </a:lnTo>
                    <a:lnTo>
                      <a:pt x="11487954" y="5375795"/>
                    </a:lnTo>
                    <a:close/>
                    <a:moveTo>
                      <a:pt x="11265401" y="5132499"/>
                    </a:moveTo>
                    <a:lnTo>
                      <a:pt x="11265401" y="4894374"/>
                    </a:lnTo>
                    <a:lnTo>
                      <a:pt x="11487954" y="4894374"/>
                    </a:lnTo>
                    <a:lnTo>
                      <a:pt x="11487954" y="5132090"/>
                    </a:lnTo>
                    <a:close/>
                    <a:moveTo>
                      <a:pt x="11265401" y="4887570"/>
                    </a:moveTo>
                    <a:lnTo>
                      <a:pt x="11265401" y="4649445"/>
                    </a:lnTo>
                    <a:lnTo>
                      <a:pt x="11487954" y="4649445"/>
                    </a:lnTo>
                    <a:lnTo>
                      <a:pt x="11487954" y="4887162"/>
                    </a:lnTo>
                    <a:close/>
                    <a:moveTo>
                      <a:pt x="11265401" y="4642642"/>
                    </a:moveTo>
                    <a:lnTo>
                      <a:pt x="11265401" y="4406149"/>
                    </a:lnTo>
                    <a:lnTo>
                      <a:pt x="11487954" y="4406149"/>
                    </a:lnTo>
                    <a:lnTo>
                      <a:pt x="11487954" y="4642233"/>
                    </a:lnTo>
                    <a:close/>
                    <a:moveTo>
                      <a:pt x="11265401" y="4399346"/>
                    </a:moveTo>
                    <a:lnTo>
                      <a:pt x="11265401" y="4161221"/>
                    </a:lnTo>
                    <a:lnTo>
                      <a:pt x="11487954" y="4161221"/>
                    </a:lnTo>
                    <a:lnTo>
                      <a:pt x="11487954" y="4399346"/>
                    </a:lnTo>
                    <a:close/>
                    <a:moveTo>
                      <a:pt x="11265401" y="4154417"/>
                    </a:moveTo>
                    <a:lnTo>
                      <a:pt x="11265401" y="3916292"/>
                    </a:lnTo>
                    <a:lnTo>
                      <a:pt x="11487954" y="3916292"/>
                    </a:lnTo>
                    <a:lnTo>
                      <a:pt x="11487954" y="4154417"/>
                    </a:lnTo>
                    <a:close/>
                    <a:moveTo>
                      <a:pt x="11265401" y="3909489"/>
                    </a:moveTo>
                    <a:lnTo>
                      <a:pt x="11265401" y="3671364"/>
                    </a:lnTo>
                    <a:lnTo>
                      <a:pt x="11487954" y="3671364"/>
                    </a:lnTo>
                    <a:lnTo>
                      <a:pt x="11487954" y="3909489"/>
                    </a:lnTo>
                    <a:close/>
                    <a:moveTo>
                      <a:pt x="11265401" y="3664560"/>
                    </a:moveTo>
                    <a:lnTo>
                      <a:pt x="11265401" y="3428068"/>
                    </a:lnTo>
                    <a:lnTo>
                      <a:pt x="11487954" y="3428068"/>
                    </a:lnTo>
                    <a:lnTo>
                      <a:pt x="11487954" y="3664560"/>
                    </a:lnTo>
                    <a:close/>
                    <a:moveTo>
                      <a:pt x="11265401" y="3421264"/>
                    </a:moveTo>
                    <a:lnTo>
                      <a:pt x="11265401" y="3183139"/>
                    </a:lnTo>
                    <a:lnTo>
                      <a:pt x="11487954" y="3183139"/>
                    </a:lnTo>
                    <a:lnTo>
                      <a:pt x="11487954" y="3421264"/>
                    </a:lnTo>
                    <a:close/>
                    <a:moveTo>
                      <a:pt x="11265401" y="3176336"/>
                    </a:moveTo>
                    <a:lnTo>
                      <a:pt x="11265401" y="2938211"/>
                    </a:lnTo>
                    <a:lnTo>
                      <a:pt x="11487954" y="2938211"/>
                    </a:lnTo>
                    <a:lnTo>
                      <a:pt x="11487954" y="3176336"/>
                    </a:lnTo>
                    <a:close/>
                    <a:moveTo>
                      <a:pt x="11265401" y="2931407"/>
                    </a:moveTo>
                    <a:lnTo>
                      <a:pt x="11265401" y="2693282"/>
                    </a:lnTo>
                    <a:lnTo>
                      <a:pt x="11487954" y="2693282"/>
                    </a:lnTo>
                    <a:lnTo>
                      <a:pt x="11487954" y="2931407"/>
                    </a:lnTo>
                    <a:close/>
                    <a:moveTo>
                      <a:pt x="11265401" y="2686479"/>
                    </a:moveTo>
                    <a:lnTo>
                      <a:pt x="11265401" y="2449986"/>
                    </a:lnTo>
                    <a:lnTo>
                      <a:pt x="11487954" y="2449986"/>
                    </a:lnTo>
                    <a:lnTo>
                      <a:pt x="11487954" y="2686479"/>
                    </a:lnTo>
                    <a:close/>
                    <a:moveTo>
                      <a:pt x="11265401" y="2443183"/>
                    </a:moveTo>
                    <a:lnTo>
                      <a:pt x="11265401" y="2205058"/>
                    </a:lnTo>
                    <a:lnTo>
                      <a:pt x="11487954" y="2205058"/>
                    </a:lnTo>
                    <a:lnTo>
                      <a:pt x="11487954" y="2443183"/>
                    </a:lnTo>
                    <a:close/>
                    <a:moveTo>
                      <a:pt x="11265401" y="2198254"/>
                    </a:moveTo>
                    <a:lnTo>
                      <a:pt x="11265401" y="1960129"/>
                    </a:lnTo>
                    <a:lnTo>
                      <a:pt x="11487954" y="1960129"/>
                    </a:lnTo>
                    <a:lnTo>
                      <a:pt x="11487954" y="2198254"/>
                    </a:lnTo>
                    <a:close/>
                    <a:moveTo>
                      <a:pt x="11265401" y="1953326"/>
                    </a:moveTo>
                    <a:lnTo>
                      <a:pt x="11265401" y="1716697"/>
                    </a:lnTo>
                    <a:lnTo>
                      <a:pt x="11487954" y="1716697"/>
                    </a:lnTo>
                    <a:lnTo>
                      <a:pt x="11487954" y="1953189"/>
                    </a:lnTo>
                    <a:close/>
                    <a:moveTo>
                      <a:pt x="11265401" y="1710030"/>
                    </a:moveTo>
                    <a:lnTo>
                      <a:pt x="11265401" y="1471769"/>
                    </a:lnTo>
                    <a:lnTo>
                      <a:pt x="11487954" y="1471769"/>
                    </a:lnTo>
                    <a:lnTo>
                      <a:pt x="11487954" y="1709894"/>
                    </a:lnTo>
                    <a:close/>
                    <a:moveTo>
                      <a:pt x="11265401" y="1465101"/>
                    </a:moveTo>
                    <a:lnTo>
                      <a:pt x="11265401" y="1226840"/>
                    </a:lnTo>
                    <a:lnTo>
                      <a:pt x="11487954" y="1226840"/>
                    </a:lnTo>
                    <a:lnTo>
                      <a:pt x="11487954" y="1464965"/>
                    </a:lnTo>
                    <a:close/>
                    <a:moveTo>
                      <a:pt x="11265401" y="1220173"/>
                    </a:moveTo>
                    <a:lnTo>
                      <a:pt x="11265401" y="981911"/>
                    </a:lnTo>
                    <a:lnTo>
                      <a:pt x="11487954" y="981911"/>
                    </a:lnTo>
                    <a:lnTo>
                      <a:pt x="11487954" y="1220036"/>
                    </a:lnTo>
                    <a:close/>
                    <a:moveTo>
                      <a:pt x="11265401" y="975244"/>
                    </a:moveTo>
                    <a:lnTo>
                      <a:pt x="11265401" y="738752"/>
                    </a:lnTo>
                    <a:lnTo>
                      <a:pt x="11487954" y="738752"/>
                    </a:lnTo>
                    <a:lnTo>
                      <a:pt x="11487954" y="975244"/>
                    </a:lnTo>
                    <a:close/>
                    <a:moveTo>
                      <a:pt x="11265401" y="731948"/>
                    </a:moveTo>
                    <a:lnTo>
                      <a:pt x="11265401" y="493823"/>
                    </a:lnTo>
                    <a:lnTo>
                      <a:pt x="11487954" y="493823"/>
                    </a:lnTo>
                    <a:lnTo>
                      <a:pt x="11487954" y="731948"/>
                    </a:lnTo>
                    <a:close/>
                    <a:moveTo>
                      <a:pt x="11258998" y="731948"/>
                    </a:moveTo>
                    <a:lnTo>
                      <a:pt x="11034910" y="731948"/>
                    </a:lnTo>
                    <a:lnTo>
                      <a:pt x="11034910" y="493823"/>
                    </a:lnTo>
                    <a:lnTo>
                      <a:pt x="11258998" y="493823"/>
                    </a:lnTo>
                    <a:close/>
                    <a:moveTo>
                      <a:pt x="11028507" y="731948"/>
                    </a:moveTo>
                    <a:lnTo>
                      <a:pt x="10804419" y="731948"/>
                    </a:lnTo>
                    <a:lnTo>
                      <a:pt x="10804419" y="493823"/>
                    </a:lnTo>
                    <a:lnTo>
                      <a:pt x="11028507" y="493823"/>
                    </a:lnTo>
                    <a:close/>
                    <a:moveTo>
                      <a:pt x="10798016" y="731948"/>
                    </a:moveTo>
                    <a:lnTo>
                      <a:pt x="10575466" y="731948"/>
                    </a:lnTo>
                    <a:lnTo>
                      <a:pt x="10575466" y="493823"/>
                    </a:lnTo>
                    <a:lnTo>
                      <a:pt x="10798016" y="493823"/>
                    </a:lnTo>
                    <a:close/>
                    <a:moveTo>
                      <a:pt x="10569064" y="731948"/>
                    </a:moveTo>
                    <a:lnTo>
                      <a:pt x="10344975" y="731948"/>
                    </a:lnTo>
                    <a:lnTo>
                      <a:pt x="10344975" y="493823"/>
                    </a:lnTo>
                    <a:lnTo>
                      <a:pt x="10569064" y="493823"/>
                    </a:lnTo>
                    <a:close/>
                    <a:moveTo>
                      <a:pt x="10338573" y="731948"/>
                    </a:moveTo>
                    <a:lnTo>
                      <a:pt x="10114484" y="731948"/>
                    </a:lnTo>
                    <a:lnTo>
                      <a:pt x="10114484" y="493823"/>
                    </a:lnTo>
                    <a:lnTo>
                      <a:pt x="10338573" y="493823"/>
                    </a:lnTo>
                    <a:close/>
                    <a:moveTo>
                      <a:pt x="10108082" y="731948"/>
                    </a:moveTo>
                    <a:lnTo>
                      <a:pt x="9883993" y="731948"/>
                    </a:lnTo>
                    <a:lnTo>
                      <a:pt x="9883993" y="493823"/>
                    </a:lnTo>
                    <a:lnTo>
                      <a:pt x="10108082" y="493823"/>
                    </a:lnTo>
                    <a:close/>
                    <a:moveTo>
                      <a:pt x="9877591" y="731948"/>
                    </a:moveTo>
                    <a:lnTo>
                      <a:pt x="9655037" y="731948"/>
                    </a:lnTo>
                    <a:lnTo>
                      <a:pt x="9655037" y="493823"/>
                    </a:lnTo>
                    <a:lnTo>
                      <a:pt x="9877591" y="493823"/>
                    </a:lnTo>
                    <a:close/>
                    <a:moveTo>
                      <a:pt x="9648635" y="731948"/>
                    </a:moveTo>
                    <a:lnTo>
                      <a:pt x="9424546" y="731948"/>
                    </a:lnTo>
                    <a:lnTo>
                      <a:pt x="9424546" y="493823"/>
                    </a:lnTo>
                    <a:lnTo>
                      <a:pt x="9648635" y="493823"/>
                    </a:lnTo>
                    <a:close/>
                    <a:moveTo>
                      <a:pt x="9418144" y="731948"/>
                    </a:moveTo>
                    <a:lnTo>
                      <a:pt x="9194055" y="731948"/>
                    </a:lnTo>
                    <a:lnTo>
                      <a:pt x="9194055" y="493823"/>
                    </a:lnTo>
                    <a:lnTo>
                      <a:pt x="9418144" y="493823"/>
                    </a:lnTo>
                    <a:close/>
                    <a:moveTo>
                      <a:pt x="9187653" y="731948"/>
                    </a:moveTo>
                    <a:lnTo>
                      <a:pt x="8963564" y="731948"/>
                    </a:lnTo>
                    <a:lnTo>
                      <a:pt x="8963564" y="493823"/>
                    </a:lnTo>
                    <a:lnTo>
                      <a:pt x="9187653" y="493823"/>
                    </a:lnTo>
                    <a:close/>
                    <a:moveTo>
                      <a:pt x="8957162" y="731948"/>
                    </a:moveTo>
                    <a:lnTo>
                      <a:pt x="8734611" y="731948"/>
                    </a:lnTo>
                    <a:lnTo>
                      <a:pt x="8734611" y="493823"/>
                    </a:lnTo>
                    <a:lnTo>
                      <a:pt x="8957162" y="493823"/>
                    </a:lnTo>
                    <a:close/>
                    <a:moveTo>
                      <a:pt x="8728209" y="731948"/>
                    </a:moveTo>
                    <a:lnTo>
                      <a:pt x="8504120" y="731948"/>
                    </a:lnTo>
                    <a:lnTo>
                      <a:pt x="8504120" y="493823"/>
                    </a:lnTo>
                    <a:lnTo>
                      <a:pt x="8728209" y="493823"/>
                    </a:lnTo>
                    <a:close/>
                    <a:moveTo>
                      <a:pt x="8497718" y="731948"/>
                    </a:moveTo>
                    <a:lnTo>
                      <a:pt x="8273629" y="731948"/>
                    </a:lnTo>
                    <a:lnTo>
                      <a:pt x="8273629" y="493823"/>
                    </a:lnTo>
                    <a:lnTo>
                      <a:pt x="8497718" y="493823"/>
                    </a:lnTo>
                    <a:close/>
                    <a:moveTo>
                      <a:pt x="8267227" y="731948"/>
                    </a:moveTo>
                    <a:lnTo>
                      <a:pt x="8044420" y="731948"/>
                    </a:lnTo>
                    <a:lnTo>
                      <a:pt x="8044420" y="493823"/>
                    </a:lnTo>
                    <a:lnTo>
                      <a:pt x="8267227" y="493823"/>
                    </a:lnTo>
                    <a:close/>
                    <a:moveTo>
                      <a:pt x="8038274" y="731948"/>
                    </a:moveTo>
                    <a:lnTo>
                      <a:pt x="7814186" y="731948"/>
                    </a:lnTo>
                    <a:lnTo>
                      <a:pt x="7814186" y="493823"/>
                    </a:lnTo>
                    <a:lnTo>
                      <a:pt x="8038274" y="493823"/>
                    </a:lnTo>
                    <a:close/>
                    <a:moveTo>
                      <a:pt x="7807783" y="731948"/>
                    </a:moveTo>
                    <a:lnTo>
                      <a:pt x="7583695" y="731948"/>
                    </a:lnTo>
                    <a:lnTo>
                      <a:pt x="7583695" y="493823"/>
                    </a:lnTo>
                    <a:lnTo>
                      <a:pt x="7807783" y="493823"/>
                    </a:lnTo>
                    <a:close/>
                    <a:moveTo>
                      <a:pt x="7577292" y="731948"/>
                    </a:moveTo>
                    <a:lnTo>
                      <a:pt x="7353204" y="731948"/>
                    </a:lnTo>
                    <a:lnTo>
                      <a:pt x="7353204" y="493823"/>
                    </a:lnTo>
                    <a:lnTo>
                      <a:pt x="7577292" y="493823"/>
                    </a:lnTo>
                    <a:close/>
                    <a:moveTo>
                      <a:pt x="7346801" y="731948"/>
                    </a:moveTo>
                    <a:lnTo>
                      <a:pt x="7124247" y="731948"/>
                    </a:lnTo>
                    <a:lnTo>
                      <a:pt x="7124247" y="493823"/>
                    </a:lnTo>
                    <a:lnTo>
                      <a:pt x="7346801" y="493823"/>
                    </a:lnTo>
                    <a:close/>
                    <a:moveTo>
                      <a:pt x="7117845" y="731948"/>
                    </a:moveTo>
                    <a:lnTo>
                      <a:pt x="6893756" y="731948"/>
                    </a:lnTo>
                    <a:lnTo>
                      <a:pt x="6893756" y="493823"/>
                    </a:lnTo>
                    <a:lnTo>
                      <a:pt x="7117845" y="493823"/>
                    </a:lnTo>
                    <a:close/>
                    <a:moveTo>
                      <a:pt x="6887354" y="731948"/>
                    </a:moveTo>
                    <a:lnTo>
                      <a:pt x="6663265" y="731948"/>
                    </a:lnTo>
                    <a:lnTo>
                      <a:pt x="6663265" y="493823"/>
                    </a:lnTo>
                    <a:lnTo>
                      <a:pt x="6887354" y="493823"/>
                    </a:lnTo>
                    <a:close/>
                    <a:moveTo>
                      <a:pt x="6656863" y="731948"/>
                    </a:moveTo>
                    <a:lnTo>
                      <a:pt x="6446349" y="731948"/>
                    </a:lnTo>
                    <a:lnTo>
                      <a:pt x="6446349" y="493823"/>
                    </a:lnTo>
                    <a:lnTo>
                      <a:pt x="6656863" y="493823"/>
                    </a:lnTo>
                    <a:close/>
                    <a:moveTo>
                      <a:pt x="6439946" y="731948"/>
                    </a:moveTo>
                    <a:lnTo>
                      <a:pt x="6217136" y="731948"/>
                    </a:lnTo>
                    <a:lnTo>
                      <a:pt x="6217136" y="493823"/>
                    </a:lnTo>
                    <a:lnTo>
                      <a:pt x="6439690" y="493823"/>
                    </a:lnTo>
                    <a:close/>
                    <a:moveTo>
                      <a:pt x="6210990" y="731948"/>
                    </a:moveTo>
                    <a:lnTo>
                      <a:pt x="5986902" y="731948"/>
                    </a:lnTo>
                    <a:lnTo>
                      <a:pt x="5986902" y="493823"/>
                    </a:lnTo>
                    <a:lnTo>
                      <a:pt x="6210990" y="493823"/>
                    </a:lnTo>
                    <a:close/>
                    <a:moveTo>
                      <a:pt x="5980499" y="731948"/>
                    </a:moveTo>
                    <a:lnTo>
                      <a:pt x="5756411" y="731948"/>
                    </a:lnTo>
                    <a:lnTo>
                      <a:pt x="5756411" y="493823"/>
                    </a:lnTo>
                    <a:lnTo>
                      <a:pt x="5980499" y="493823"/>
                    </a:lnTo>
                    <a:close/>
                    <a:moveTo>
                      <a:pt x="5750008" y="731948"/>
                    </a:moveTo>
                    <a:lnTo>
                      <a:pt x="5526945" y="731948"/>
                    </a:lnTo>
                    <a:lnTo>
                      <a:pt x="5526945" y="493823"/>
                    </a:lnTo>
                    <a:lnTo>
                      <a:pt x="5749495" y="493823"/>
                    </a:lnTo>
                    <a:close/>
                    <a:moveTo>
                      <a:pt x="5521055" y="731948"/>
                    </a:moveTo>
                    <a:lnTo>
                      <a:pt x="5296454" y="731948"/>
                    </a:lnTo>
                    <a:lnTo>
                      <a:pt x="5296454" y="493823"/>
                    </a:lnTo>
                    <a:lnTo>
                      <a:pt x="5520542" y="493823"/>
                    </a:lnTo>
                    <a:close/>
                    <a:moveTo>
                      <a:pt x="5290564" y="731948"/>
                    </a:moveTo>
                    <a:lnTo>
                      <a:pt x="5065963" y="731948"/>
                    </a:lnTo>
                    <a:lnTo>
                      <a:pt x="5065963" y="493823"/>
                    </a:lnTo>
                    <a:lnTo>
                      <a:pt x="5290051" y="493823"/>
                    </a:lnTo>
                    <a:close/>
                    <a:moveTo>
                      <a:pt x="5060073" y="731948"/>
                    </a:moveTo>
                    <a:lnTo>
                      <a:pt x="4835472" y="731948"/>
                    </a:lnTo>
                    <a:lnTo>
                      <a:pt x="4835472" y="493823"/>
                    </a:lnTo>
                    <a:lnTo>
                      <a:pt x="5059560" y="493823"/>
                    </a:lnTo>
                    <a:close/>
                    <a:moveTo>
                      <a:pt x="4829582" y="731948"/>
                    </a:moveTo>
                    <a:lnTo>
                      <a:pt x="4607029" y="731948"/>
                    </a:lnTo>
                    <a:lnTo>
                      <a:pt x="4607029" y="493823"/>
                    </a:lnTo>
                    <a:lnTo>
                      <a:pt x="4829582" y="493823"/>
                    </a:lnTo>
                    <a:close/>
                    <a:moveTo>
                      <a:pt x="4600626" y="731948"/>
                    </a:moveTo>
                    <a:lnTo>
                      <a:pt x="4376538" y="731948"/>
                    </a:lnTo>
                    <a:lnTo>
                      <a:pt x="4376538" y="493823"/>
                    </a:lnTo>
                    <a:lnTo>
                      <a:pt x="4600626" y="493823"/>
                    </a:lnTo>
                    <a:close/>
                    <a:moveTo>
                      <a:pt x="4370135" y="731948"/>
                    </a:moveTo>
                    <a:lnTo>
                      <a:pt x="4146047" y="731948"/>
                    </a:lnTo>
                    <a:lnTo>
                      <a:pt x="4146047" y="493823"/>
                    </a:lnTo>
                    <a:lnTo>
                      <a:pt x="4370135" y="493823"/>
                    </a:lnTo>
                    <a:close/>
                    <a:moveTo>
                      <a:pt x="4139644" y="731948"/>
                    </a:moveTo>
                    <a:lnTo>
                      <a:pt x="3917094" y="731948"/>
                    </a:lnTo>
                    <a:lnTo>
                      <a:pt x="3917094" y="493823"/>
                    </a:lnTo>
                    <a:lnTo>
                      <a:pt x="4139644" y="493823"/>
                    </a:lnTo>
                    <a:close/>
                    <a:moveTo>
                      <a:pt x="3910691" y="731948"/>
                    </a:moveTo>
                    <a:lnTo>
                      <a:pt x="3686603" y="731948"/>
                    </a:lnTo>
                    <a:lnTo>
                      <a:pt x="3686603" y="493823"/>
                    </a:lnTo>
                    <a:lnTo>
                      <a:pt x="3910691" y="493823"/>
                    </a:lnTo>
                    <a:close/>
                    <a:moveTo>
                      <a:pt x="3680200" y="731948"/>
                    </a:moveTo>
                    <a:lnTo>
                      <a:pt x="3456112" y="731948"/>
                    </a:lnTo>
                    <a:lnTo>
                      <a:pt x="3456112" y="493823"/>
                    </a:lnTo>
                    <a:lnTo>
                      <a:pt x="3680200" y="493823"/>
                    </a:lnTo>
                    <a:close/>
                    <a:moveTo>
                      <a:pt x="3449709" y="731948"/>
                    </a:moveTo>
                    <a:lnTo>
                      <a:pt x="3225621" y="731948"/>
                    </a:lnTo>
                    <a:lnTo>
                      <a:pt x="3225621" y="493823"/>
                    </a:lnTo>
                    <a:lnTo>
                      <a:pt x="3449709" y="493823"/>
                    </a:lnTo>
                    <a:close/>
                    <a:moveTo>
                      <a:pt x="3219218" y="731948"/>
                    </a:moveTo>
                    <a:lnTo>
                      <a:pt x="2996666" y="731948"/>
                    </a:lnTo>
                    <a:lnTo>
                      <a:pt x="2996666" y="493823"/>
                    </a:lnTo>
                    <a:lnTo>
                      <a:pt x="3219218" y="493823"/>
                    </a:lnTo>
                    <a:close/>
                    <a:moveTo>
                      <a:pt x="2990264" y="731948"/>
                    </a:moveTo>
                    <a:lnTo>
                      <a:pt x="2766175" y="731948"/>
                    </a:lnTo>
                    <a:lnTo>
                      <a:pt x="2766175" y="493823"/>
                    </a:lnTo>
                    <a:lnTo>
                      <a:pt x="2990264" y="493823"/>
                    </a:lnTo>
                    <a:close/>
                    <a:moveTo>
                      <a:pt x="2759773" y="731948"/>
                    </a:moveTo>
                    <a:lnTo>
                      <a:pt x="2535684" y="731948"/>
                    </a:lnTo>
                    <a:lnTo>
                      <a:pt x="2535684" y="493823"/>
                    </a:lnTo>
                    <a:lnTo>
                      <a:pt x="2759773" y="493823"/>
                    </a:lnTo>
                    <a:close/>
                    <a:moveTo>
                      <a:pt x="2529282" y="731948"/>
                    </a:moveTo>
                    <a:lnTo>
                      <a:pt x="2305193" y="731948"/>
                    </a:lnTo>
                    <a:lnTo>
                      <a:pt x="2305193" y="493823"/>
                    </a:lnTo>
                    <a:lnTo>
                      <a:pt x="2529282" y="493823"/>
                    </a:lnTo>
                    <a:close/>
                    <a:moveTo>
                      <a:pt x="2298791" y="731948"/>
                    </a:moveTo>
                    <a:lnTo>
                      <a:pt x="2075982" y="731948"/>
                    </a:lnTo>
                    <a:lnTo>
                      <a:pt x="2075982" y="493823"/>
                    </a:lnTo>
                    <a:lnTo>
                      <a:pt x="2298534" y="493823"/>
                    </a:lnTo>
                    <a:close/>
                    <a:moveTo>
                      <a:pt x="2069836" y="731948"/>
                    </a:moveTo>
                    <a:lnTo>
                      <a:pt x="1845748" y="731948"/>
                    </a:lnTo>
                    <a:lnTo>
                      <a:pt x="1845748" y="493823"/>
                    </a:lnTo>
                    <a:lnTo>
                      <a:pt x="2069580" y="493823"/>
                    </a:lnTo>
                    <a:close/>
                    <a:moveTo>
                      <a:pt x="1839345" y="731948"/>
                    </a:moveTo>
                    <a:lnTo>
                      <a:pt x="1615257" y="731948"/>
                    </a:lnTo>
                    <a:lnTo>
                      <a:pt x="1615257" y="493823"/>
                    </a:lnTo>
                    <a:lnTo>
                      <a:pt x="1839089" y="493823"/>
                    </a:lnTo>
                    <a:close/>
                    <a:moveTo>
                      <a:pt x="1608854" y="731948"/>
                    </a:moveTo>
                    <a:lnTo>
                      <a:pt x="1386302" y="731948"/>
                    </a:lnTo>
                    <a:lnTo>
                      <a:pt x="1386302" y="493823"/>
                    </a:lnTo>
                    <a:lnTo>
                      <a:pt x="1608598" y="493823"/>
                    </a:lnTo>
                    <a:close/>
                    <a:moveTo>
                      <a:pt x="1379900" y="731948"/>
                    </a:moveTo>
                    <a:lnTo>
                      <a:pt x="1155811" y="731948"/>
                    </a:lnTo>
                    <a:lnTo>
                      <a:pt x="1155811" y="493823"/>
                    </a:lnTo>
                    <a:lnTo>
                      <a:pt x="1379900" y="493823"/>
                    </a:lnTo>
                    <a:close/>
                    <a:moveTo>
                      <a:pt x="1149409" y="731948"/>
                    </a:moveTo>
                    <a:lnTo>
                      <a:pt x="925320" y="731948"/>
                    </a:lnTo>
                    <a:lnTo>
                      <a:pt x="925320" y="493823"/>
                    </a:lnTo>
                    <a:lnTo>
                      <a:pt x="1149409" y="493823"/>
                    </a:lnTo>
                    <a:close/>
                    <a:moveTo>
                      <a:pt x="918918" y="731948"/>
                    </a:moveTo>
                    <a:lnTo>
                      <a:pt x="694829" y="731948"/>
                    </a:lnTo>
                    <a:lnTo>
                      <a:pt x="694829" y="493823"/>
                    </a:lnTo>
                    <a:lnTo>
                      <a:pt x="918918" y="493823"/>
                    </a:lnTo>
                    <a:close/>
                    <a:moveTo>
                      <a:pt x="688427" y="731948"/>
                    </a:moveTo>
                    <a:lnTo>
                      <a:pt x="465875" y="731948"/>
                    </a:lnTo>
                    <a:lnTo>
                      <a:pt x="465875" y="493823"/>
                    </a:lnTo>
                    <a:lnTo>
                      <a:pt x="688427" y="493823"/>
                    </a:lnTo>
                    <a:close/>
                    <a:moveTo>
                      <a:pt x="688427" y="738752"/>
                    </a:moveTo>
                    <a:lnTo>
                      <a:pt x="688427" y="975244"/>
                    </a:lnTo>
                    <a:lnTo>
                      <a:pt x="465875" y="975244"/>
                    </a:lnTo>
                    <a:lnTo>
                      <a:pt x="465875" y="738752"/>
                    </a:lnTo>
                    <a:close/>
                    <a:moveTo>
                      <a:pt x="688427" y="982048"/>
                    </a:moveTo>
                    <a:lnTo>
                      <a:pt x="688427" y="1220173"/>
                    </a:lnTo>
                    <a:lnTo>
                      <a:pt x="465875" y="1220173"/>
                    </a:lnTo>
                    <a:lnTo>
                      <a:pt x="465875" y="981911"/>
                    </a:lnTo>
                    <a:close/>
                    <a:moveTo>
                      <a:pt x="688427" y="1226976"/>
                    </a:moveTo>
                    <a:lnTo>
                      <a:pt x="688427" y="1465101"/>
                    </a:lnTo>
                    <a:lnTo>
                      <a:pt x="465875" y="1465101"/>
                    </a:lnTo>
                    <a:lnTo>
                      <a:pt x="465875" y="1226840"/>
                    </a:lnTo>
                    <a:close/>
                    <a:moveTo>
                      <a:pt x="688427" y="1471905"/>
                    </a:moveTo>
                    <a:lnTo>
                      <a:pt x="688427" y="1710030"/>
                    </a:lnTo>
                    <a:lnTo>
                      <a:pt x="465875" y="1710030"/>
                    </a:lnTo>
                    <a:lnTo>
                      <a:pt x="465875" y="1471769"/>
                    </a:lnTo>
                    <a:close/>
                    <a:moveTo>
                      <a:pt x="688427" y="1716833"/>
                    </a:moveTo>
                    <a:lnTo>
                      <a:pt x="688427" y="1953326"/>
                    </a:lnTo>
                    <a:lnTo>
                      <a:pt x="465875" y="1953326"/>
                    </a:lnTo>
                    <a:lnTo>
                      <a:pt x="465875" y="1716697"/>
                    </a:lnTo>
                    <a:close/>
                    <a:moveTo>
                      <a:pt x="688427" y="1960129"/>
                    </a:moveTo>
                    <a:lnTo>
                      <a:pt x="688427" y="2198254"/>
                    </a:lnTo>
                    <a:lnTo>
                      <a:pt x="465875" y="2198254"/>
                    </a:lnTo>
                    <a:lnTo>
                      <a:pt x="465875" y="1960129"/>
                    </a:lnTo>
                    <a:close/>
                    <a:moveTo>
                      <a:pt x="688427" y="2205058"/>
                    </a:moveTo>
                    <a:lnTo>
                      <a:pt x="688427" y="2443183"/>
                    </a:lnTo>
                    <a:lnTo>
                      <a:pt x="465875" y="2443183"/>
                    </a:lnTo>
                    <a:lnTo>
                      <a:pt x="465875" y="2205058"/>
                    </a:lnTo>
                    <a:close/>
                    <a:moveTo>
                      <a:pt x="688427" y="2449986"/>
                    </a:moveTo>
                    <a:lnTo>
                      <a:pt x="688427" y="2686479"/>
                    </a:lnTo>
                    <a:lnTo>
                      <a:pt x="465875" y="2686479"/>
                    </a:lnTo>
                    <a:lnTo>
                      <a:pt x="465875" y="2449986"/>
                    </a:lnTo>
                    <a:close/>
                    <a:moveTo>
                      <a:pt x="688427" y="2693282"/>
                    </a:moveTo>
                    <a:lnTo>
                      <a:pt x="688427" y="2931407"/>
                    </a:lnTo>
                    <a:lnTo>
                      <a:pt x="465875" y="2931407"/>
                    </a:lnTo>
                    <a:lnTo>
                      <a:pt x="465875" y="2693282"/>
                    </a:lnTo>
                    <a:close/>
                    <a:moveTo>
                      <a:pt x="688427" y="2938211"/>
                    </a:moveTo>
                    <a:lnTo>
                      <a:pt x="688427" y="3176336"/>
                    </a:lnTo>
                    <a:lnTo>
                      <a:pt x="465875" y="3176336"/>
                    </a:lnTo>
                    <a:lnTo>
                      <a:pt x="465875" y="2938211"/>
                    </a:lnTo>
                    <a:close/>
                    <a:moveTo>
                      <a:pt x="688427" y="3183139"/>
                    </a:moveTo>
                    <a:lnTo>
                      <a:pt x="688427" y="3421264"/>
                    </a:lnTo>
                    <a:lnTo>
                      <a:pt x="465875" y="3421264"/>
                    </a:lnTo>
                    <a:lnTo>
                      <a:pt x="465875" y="3183139"/>
                    </a:lnTo>
                    <a:close/>
                    <a:moveTo>
                      <a:pt x="688427" y="3428068"/>
                    </a:moveTo>
                    <a:lnTo>
                      <a:pt x="688427" y="3664560"/>
                    </a:lnTo>
                    <a:lnTo>
                      <a:pt x="465875" y="3664560"/>
                    </a:lnTo>
                    <a:lnTo>
                      <a:pt x="465875" y="3428068"/>
                    </a:lnTo>
                    <a:close/>
                    <a:moveTo>
                      <a:pt x="688427" y="3671364"/>
                    </a:moveTo>
                    <a:lnTo>
                      <a:pt x="688427" y="3909489"/>
                    </a:lnTo>
                    <a:lnTo>
                      <a:pt x="465875" y="3909489"/>
                    </a:lnTo>
                    <a:lnTo>
                      <a:pt x="465875" y="3671364"/>
                    </a:lnTo>
                    <a:close/>
                    <a:moveTo>
                      <a:pt x="688427" y="3916292"/>
                    </a:moveTo>
                    <a:lnTo>
                      <a:pt x="688427" y="4154417"/>
                    </a:lnTo>
                    <a:lnTo>
                      <a:pt x="465875" y="4154417"/>
                    </a:lnTo>
                    <a:lnTo>
                      <a:pt x="465875" y="3916292"/>
                    </a:lnTo>
                    <a:close/>
                    <a:moveTo>
                      <a:pt x="688427" y="4161221"/>
                    </a:moveTo>
                    <a:lnTo>
                      <a:pt x="688427" y="4399346"/>
                    </a:lnTo>
                    <a:lnTo>
                      <a:pt x="465875" y="4399346"/>
                    </a:lnTo>
                    <a:lnTo>
                      <a:pt x="465875" y="4161221"/>
                    </a:lnTo>
                    <a:close/>
                    <a:moveTo>
                      <a:pt x="688427" y="4406149"/>
                    </a:moveTo>
                    <a:lnTo>
                      <a:pt x="688427" y="4642233"/>
                    </a:lnTo>
                    <a:lnTo>
                      <a:pt x="465875" y="4642233"/>
                    </a:lnTo>
                    <a:lnTo>
                      <a:pt x="465875" y="4405741"/>
                    </a:lnTo>
                    <a:close/>
                    <a:moveTo>
                      <a:pt x="688427" y="4649445"/>
                    </a:moveTo>
                    <a:lnTo>
                      <a:pt x="688427" y="4887162"/>
                    </a:lnTo>
                    <a:lnTo>
                      <a:pt x="465875" y="4887162"/>
                    </a:lnTo>
                    <a:lnTo>
                      <a:pt x="465875" y="4649037"/>
                    </a:lnTo>
                    <a:close/>
                    <a:moveTo>
                      <a:pt x="688427" y="4894374"/>
                    </a:moveTo>
                    <a:lnTo>
                      <a:pt x="688427" y="5132090"/>
                    </a:lnTo>
                    <a:lnTo>
                      <a:pt x="465875" y="5132090"/>
                    </a:lnTo>
                    <a:lnTo>
                      <a:pt x="465875" y="4893965"/>
                    </a:lnTo>
                    <a:close/>
                    <a:moveTo>
                      <a:pt x="688427" y="5139302"/>
                    </a:moveTo>
                    <a:lnTo>
                      <a:pt x="688427" y="5375795"/>
                    </a:lnTo>
                    <a:lnTo>
                      <a:pt x="465875" y="5375795"/>
                    </a:lnTo>
                    <a:lnTo>
                      <a:pt x="465875" y="5139302"/>
                    </a:lnTo>
                    <a:close/>
                    <a:moveTo>
                      <a:pt x="688427" y="5382598"/>
                    </a:moveTo>
                    <a:lnTo>
                      <a:pt x="688427" y="5620723"/>
                    </a:lnTo>
                    <a:lnTo>
                      <a:pt x="465875" y="5620723"/>
                    </a:lnTo>
                    <a:lnTo>
                      <a:pt x="465875" y="5382598"/>
                    </a:lnTo>
                    <a:close/>
                    <a:moveTo>
                      <a:pt x="688427" y="5627527"/>
                    </a:moveTo>
                    <a:lnTo>
                      <a:pt x="688427" y="5865652"/>
                    </a:lnTo>
                    <a:lnTo>
                      <a:pt x="465875" y="5865652"/>
                    </a:lnTo>
                    <a:lnTo>
                      <a:pt x="465875" y="5627527"/>
                    </a:lnTo>
                    <a:close/>
                    <a:moveTo>
                      <a:pt x="688427" y="5872455"/>
                    </a:moveTo>
                    <a:lnTo>
                      <a:pt x="688427" y="6110580"/>
                    </a:lnTo>
                    <a:lnTo>
                      <a:pt x="465875" y="6110580"/>
                    </a:lnTo>
                    <a:lnTo>
                      <a:pt x="465875" y="5872455"/>
                    </a:lnTo>
                    <a:close/>
                    <a:moveTo>
                      <a:pt x="688427" y="6117384"/>
                    </a:moveTo>
                    <a:lnTo>
                      <a:pt x="688427" y="6353876"/>
                    </a:lnTo>
                    <a:lnTo>
                      <a:pt x="465875" y="6353876"/>
                    </a:lnTo>
                    <a:lnTo>
                      <a:pt x="465875" y="6117384"/>
                    </a:lnTo>
                    <a:close/>
                    <a:moveTo>
                      <a:pt x="694829" y="6117384"/>
                    </a:moveTo>
                    <a:lnTo>
                      <a:pt x="918918" y="6117384"/>
                    </a:lnTo>
                    <a:lnTo>
                      <a:pt x="918918" y="6353876"/>
                    </a:lnTo>
                    <a:lnTo>
                      <a:pt x="694829" y="6353876"/>
                    </a:lnTo>
                    <a:close/>
                    <a:moveTo>
                      <a:pt x="925320" y="6117384"/>
                    </a:moveTo>
                    <a:lnTo>
                      <a:pt x="1149409" y="6117384"/>
                    </a:lnTo>
                    <a:lnTo>
                      <a:pt x="1149409" y="6353876"/>
                    </a:lnTo>
                    <a:lnTo>
                      <a:pt x="925320" y="6353876"/>
                    </a:lnTo>
                    <a:close/>
                    <a:moveTo>
                      <a:pt x="1155811" y="6117384"/>
                    </a:moveTo>
                    <a:lnTo>
                      <a:pt x="1379900" y="6117384"/>
                    </a:lnTo>
                    <a:lnTo>
                      <a:pt x="1379900" y="6353876"/>
                    </a:lnTo>
                    <a:lnTo>
                      <a:pt x="1155811" y="6353876"/>
                    </a:lnTo>
                    <a:close/>
                    <a:moveTo>
                      <a:pt x="1386302" y="6117384"/>
                    </a:moveTo>
                    <a:lnTo>
                      <a:pt x="1608598" y="6117384"/>
                    </a:lnTo>
                    <a:lnTo>
                      <a:pt x="1608598" y="6353876"/>
                    </a:lnTo>
                    <a:lnTo>
                      <a:pt x="1386046" y="6353876"/>
                    </a:lnTo>
                    <a:close/>
                    <a:moveTo>
                      <a:pt x="1615257" y="6117384"/>
                    </a:moveTo>
                    <a:lnTo>
                      <a:pt x="1839089" y="6117384"/>
                    </a:lnTo>
                    <a:lnTo>
                      <a:pt x="1839089" y="6353876"/>
                    </a:lnTo>
                    <a:lnTo>
                      <a:pt x="1615000" y="6353876"/>
                    </a:lnTo>
                    <a:close/>
                    <a:moveTo>
                      <a:pt x="1845748" y="6117384"/>
                    </a:moveTo>
                    <a:lnTo>
                      <a:pt x="2069580" y="6117384"/>
                    </a:lnTo>
                    <a:lnTo>
                      <a:pt x="2069580" y="6353876"/>
                    </a:lnTo>
                    <a:lnTo>
                      <a:pt x="1845491" y="6353876"/>
                    </a:lnTo>
                    <a:close/>
                    <a:moveTo>
                      <a:pt x="2076239" y="6117384"/>
                    </a:moveTo>
                    <a:lnTo>
                      <a:pt x="2298791" y="6117384"/>
                    </a:lnTo>
                    <a:lnTo>
                      <a:pt x="2298791" y="6353876"/>
                    </a:lnTo>
                    <a:lnTo>
                      <a:pt x="2075982" y="6353876"/>
                    </a:lnTo>
                    <a:close/>
                    <a:moveTo>
                      <a:pt x="2305193" y="6117384"/>
                    </a:moveTo>
                    <a:lnTo>
                      <a:pt x="2529282" y="6117384"/>
                    </a:lnTo>
                    <a:lnTo>
                      <a:pt x="2529282" y="6353876"/>
                    </a:lnTo>
                    <a:lnTo>
                      <a:pt x="2305193" y="6353876"/>
                    </a:lnTo>
                    <a:close/>
                    <a:moveTo>
                      <a:pt x="2535684" y="6117384"/>
                    </a:moveTo>
                    <a:lnTo>
                      <a:pt x="2759773" y="6117384"/>
                    </a:lnTo>
                    <a:lnTo>
                      <a:pt x="2759773" y="6353876"/>
                    </a:lnTo>
                    <a:lnTo>
                      <a:pt x="2535684" y="6353876"/>
                    </a:lnTo>
                    <a:close/>
                    <a:moveTo>
                      <a:pt x="2766175" y="6117384"/>
                    </a:moveTo>
                    <a:lnTo>
                      <a:pt x="2990264" y="6117384"/>
                    </a:lnTo>
                    <a:lnTo>
                      <a:pt x="2990264" y="6353876"/>
                    </a:lnTo>
                    <a:lnTo>
                      <a:pt x="2766175" y="6353876"/>
                    </a:lnTo>
                    <a:close/>
                    <a:moveTo>
                      <a:pt x="2996666" y="6117384"/>
                    </a:moveTo>
                    <a:lnTo>
                      <a:pt x="3219218" y="6117384"/>
                    </a:lnTo>
                    <a:lnTo>
                      <a:pt x="3219218" y="6353876"/>
                    </a:lnTo>
                    <a:lnTo>
                      <a:pt x="2996666" y="6353876"/>
                    </a:lnTo>
                    <a:close/>
                    <a:moveTo>
                      <a:pt x="3225621" y="6117384"/>
                    </a:moveTo>
                    <a:lnTo>
                      <a:pt x="3449709" y="6117384"/>
                    </a:lnTo>
                    <a:lnTo>
                      <a:pt x="3449709" y="6353876"/>
                    </a:lnTo>
                    <a:lnTo>
                      <a:pt x="3225621" y="6353876"/>
                    </a:lnTo>
                    <a:close/>
                    <a:moveTo>
                      <a:pt x="3456112" y="6117384"/>
                    </a:moveTo>
                    <a:lnTo>
                      <a:pt x="3680200" y="6117384"/>
                    </a:lnTo>
                    <a:lnTo>
                      <a:pt x="3680200" y="6353876"/>
                    </a:lnTo>
                    <a:lnTo>
                      <a:pt x="3456112" y="6353876"/>
                    </a:lnTo>
                    <a:close/>
                    <a:moveTo>
                      <a:pt x="3686603" y="6117384"/>
                    </a:moveTo>
                    <a:lnTo>
                      <a:pt x="3910691" y="6117384"/>
                    </a:lnTo>
                    <a:lnTo>
                      <a:pt x="3910691" y="6353876"/>
                    </a:lnTo>
                    <a:lnTo>
                      <a:pt x="3686603" y="6353876"/>
                    </a:lnTo>
                    <a:close/>
                    <a:moveTo>
                      <a:pt x="3917094" y="6117384"/>
                    </a:moveTo>
                    <a:lnTo>
                      <a:pt x="4139644" y="6117384"/>
                    </a:lnTo>
                    <a:lnTo>
                      <a:pt x="4139644" y="6353876"/>
                    </a:lnTo>
                    <a:lnTo>
                      <a:pt x="3917094" y="6353876"/>
                    </a:lnTo>
                    <a:close/>
                    <a:moveTo>
                      <a:pt x="4146047" y="6117384"/>
                    </a:moveTo>
                    <a:lnTo>
                      <a:pt x="4370135" y="6117384"/>
                    </a:lnTo>
                    <a:lnTo>
                      <a:pt x="4370135" y="6353876"/>
                    </a:lnTo>
                    <a:lnTo>
                      <a:pt x="4146047" y="6353876"/>
                    </a:lnTo>
                    <a:close/>
                    <a:moveTo>
                      <a:pt x="4376538" y="6117384"/>
                    </a:moveTo>
                    <a:lnTo>
                      <a:pt x="4600626" y="6117384"/>
                    </a:lnTo>
                    <a:lnTo>
                      <a:pt x="4600626" y="6353876"/>
                    </a:lnTo>
                    <a:lnTo>
                      <a:pt x="4376538" y="6353876"/>
                    </a:lnTo>
                    <a:close/>
                    <a:moveTo>
                      <a:pt x="4607029" y="6117384"/>
                    </a:moveTo>
                    <a:lnTo>
                      <a:pt x="4829582" y="6117384"/>
                    </a:lnTo>
                    <a:lnTo>
                      <a:pt x="4829582" y="6353876"/>
                    </a:lnTo>
                    <a:lnTo>
                      <a:pt x="4607029" y="6353876"/>
                    </a:lnTo>
                    <a:close/>
                    <a:moveTo>
                      <a:pt x="4835985" y="6117384"/>
                    </a:moveTo>
                    <a:lnTo>
                      <a:pt x="5060073" y="6117384"/>
                    </a:lnTo>
                    <a:lnTo>
                      <a:pt x="5060073" y="6353876"/>
                    </a:lnTo>
                    <a:lnTo>
                      <a:pt x="4835472" y="6353876"/>
                    </a:lnTo>
                    <a:close/>
                    <a:moveTo>
                      <a:pt x="5066476" y="6117384"/>
                    </a:moveTo>
                    <a:lnTo>
                      <a:pt x="5290564" y="6117384"/>
                    </a:lnTo>
                    <a:lnTo>
                      <a:pt x="5290564" y="6353876"/>
                    </a:lnTo>
                    <a:lnTo>
                      <a:pt x="5065963" y="6353876"/>
                    </a:lnTo>
                    <a:close/>
                    <a:moveTo>
                      <a:pt x="5296967" y="6117384"/>
                    </a:moveTo>
                    <a:lnTo>
                      <a:pt x="5521055" y="6117384"/>
                    </a:lnTo>
                    <a:lnTo>
                      <a:pt x="5521055" y="6353876"/>
                    </a:lnTo>
                    <a:lnTo>
                      <a:pt x="5296454" y="6353876"/>
                    </a:lnTo>
                    <a:close/>
                    <a:moveTo>
                      <a:pt x="5527458" y="6117384"/>
                    </a:moveTo>
                    <a:lnTo>
                      <a:pt x="5750008" y="6117384"/>
                    </a:lnTo>
                    <a:lnTo>
                      <a:pt x="5750008" y="6353876"/>
                    </a:lnTo>
                    <a:lnTo>
                      <a:pt x="5526945" y="6353876"/>
                    </a:lnTo>
                    <a:close/>
                    <a:moveTo>
                      <a:pt x="5756411" y="6117384"/>
                    </a:moveTo>
                    <a:lnTo>
                      <a:pt x="5980499" y="6117384"/>
                    </a:lnTo>
                    <a:lnTo>
                      <a:pt x="5980499" y="6353876"/>
                    </a:lnTo>
                    <a:lnTo>
                      <a:pt x="5756411" y="6353876"/>
                    </a:lnTo>
                    <a:close/>
                    <a:moveTo>
                      <a:pt x="5986902" y="6117384"/>
                    </a:moveTo>
                    <a:lnTo>
                      <a:pt x="6210990" y="6117384"/>
                    </a:lnTo>
                    <a:lnTo>
                      <a:pt x="6210990" y="6353876"/>
                    </a:lnTo>
                    <a:lnTo>
                      <a:pt x="5986902" y="6353876"/>
                    </a:lnTo>
                    <a:close/>
                    <a:moveTo>
                      <a:pt x="6217393" y="6117384"/>
                    </a:moveTo>
                    <a:lnTo>
                      <a:pt x="6439946" y="6117384"/>
                    </a:lnTo>
                    <a:lnTo>
                      <a:pt x="6439946" y="6353876"/>
                    </a:lnTo>
                    <a:lnTo>
                      <a:pt x="6217136" y="6353876"/>
                    </a:lnTo>
                    <a:close/>
                    <a:moveTo>
                      <a:pt x="6446349" y="6117384"/>
                    </a:moveTo>
                    <a:lnTo>
                      <a:pt x="6656863" y="6117384"/>
                    </a:lnTo>
                    <a:lnTo>
                      <a:pt x="6656863" y="6353876"/>
                    </a:lnTo>
                    <a:lnTo>
                      <a:pt x="6446349" y="6353876"/>
                    </a:lnTo>
                    <a:close/>
                    <a:moveTo>
                      <a:pt x="6663265" y="6117384"/>
                    </a:moveTo>
                    <a:lnTo>
                      <a:pt x="6887354" y="6117384"/>
                    </a:lnTo>
                    <a:lnTo>
                      <a:pt x="6887354" y="6353876"/>
                    </a:lnTo>
                    <a:lnTo>
                      <a:pt x="6663265" y="6353876"/>
                    </a:lnTo>
                    <a:close/>
                    <a:moveTo>
                      <a:pt x="6893756" y="6117384"/>
                    </a:moveTo>
                    <a:lnTo>
                      <a:pt x="7117845" y="6117384"/>
                    </a:lnTo>
                    <a:lnTo>
                      <a:pt x="7117845" y="6353876"/>
                    </a:lnTo>
                    <a:lnTo>
                      <a:pt x="6893756" y="6353876"/>
                    </a:lnTo>
                    <a:close/>
                    <a:moveTo>
                      <a:pt x="7124247" y="6117384"/>
                    </a:moveTo>
                    <a:lnTo>
                      <a:pt x="7346801" y="6117384"/>
                    </a:lnTo>
                    <a:lnTo>
                      <a:pt x="7346801" y="6353876"/>
                    </a:lnTo>
                    <a:lnTo>
                      <a:pt x="7124247" y="6353876"/>
                    </a:lnTo>
                    <a:close/>
                    <a:moveTo>
                      <a:pt x="7353204" y="6117384"/>
                    </a:moveTo>
                    <a:lnTo>
                      <a:pt x="7577292" y="6117384"/>
                    </a:lnTo>
                    <a:lnTo>
                      <a:pt x="7577292" y="6353876"/>
                    </a:lnTo>
                    <a:lnTo>
                      <a:pt x="7353204" y="6353876"/>
                    </a:lnTo>
                    <a:close/>
                    <a:moveTo>
                      <a:pt x="7583695" y="6117384"/>
                    </a:moveTo>
                    <a:lnTo>
                      <a:pt x="7807783" y="6117384"/>
                    </a:lnTo>
                    <a:lnTo>
                      <a:pt x="7807783" y="6353876"/>
                    </a:lnTo>
                    <a:lnTo>
                      <a:pt x="7583695" y="6353876"/>
                    </a:lnTo>
                    <a:close/>
                    <a:moveTo>
                      <a:pt x="7814186" y="6117384"/>
                    </a:moveTo>
                    <a:lnTo>
                      <a:pt x="8038274" y="6117384"/>
                    </a:lnTo>
                    <a:lnTo>
                      <a:pt x="8038274" y="6353876"/>
                    </a:lnTo>
                    <a:lnTo>
                      <a:pt x="7814186" y="6353876"/>
                    </a:lnTo>
                    <a:close/>
                    <a:moveTo>
                      <a:pt x="8044677" y="6117384"/>
                    </a:moveTo>
                    <a:lnTo>
                      <a:pt x="8267227" y="6117384"/>
                    </a:lnTo>
                    <a:lnTo>
                      <a:pt x="8267227" y="6353876"/>
                    </a:lnTo>
                    <a:lnTo>
                      <a:pt x="8044420" y="6353876"/>
                    </a:lnTo>
                    <a:close/>
                    <a:moveTo>
                      <a:pt x="8273629" y="6117384"/>
                    </a:moveTo>
                    <a:lnTo>
                      <a:pt x="8497718" y="6117384"/>
                    </a:lnTo>
                    <a:lnTo>
                      <a:pt x="8497718" y="6353876"/>
                    </a:lnTo>
                    <a:lnTo>
                      <a:pt x="8273629" y="6353876"/>
                    </a:lnTo>
                    <a:close/>
                    <a:moveTo>
                      <a:pt x="8504120" y="6117384"/>
                    </a:moveTo>
                    <a:lnTo>
                      <a:pt x="8728209" y="6117384"/>
                    </a:lnTo>
                    <a:lnTo>
                      <a:pt x="8728209" y="6353876"/>
                    </a:lnTo>
                    <a:lnTo>
                      <a:pt x="8504120" y="6353876"/>
                    </a:lnTo>
                    <a:close/>
                    <a:moveTo>
                      <a:pt x="8734611" y="6117384"/>
                    </a:moveTo>
                    <a:lnTo>
                      <a:pt x="8957162" y="6117384"/>
                    </a:lnTo>
                    <a:lnTo>
                      <a:pt x="8957162" y="6353876"/>
                    </a:lnTo>
                    <a:lnTo>
                      <a:pt x="8734611" y="6353876"/>
                    </a:lnTo>
                    <a:close/>
                    <a:moveTo>
                      <a:pt x="8963564" y="6117384"/>
                    </a:moveTo>
                    <a:lnTo>
                      <a:pt x="9187653" y="6117384"/>
                    </a:lnTo>
                    <a:lnTo>
                      <a:pt x="9187653" y="6353876"/>
                    </a:lnTo>
                    <a:lnTo>
                      <a:pt x="8963564" y="6353876"/>
                    </a:lnTo>
                    <a:close/>
                    <a:moveTo>
                      <a:pt x="9194055" y="6117384"/>
                    </a:moveTo>
                    <a:lnTo>
                      <a:pt x="9418144" y="6117384"/>
                    </a:lnTo>
                    <a:lnTo>
                      <a:pt x="9418144" y="6353876"/>
                    </a:lnTo>
                    <a:lnTo>
                      <a:pt x="9194055" y="6353876"/>
                    </a:lnTo>
                    <a:close/>
                    <a:moveTo>
                      <a:pt x="9424546" y="6117384"/>
                    </a:moveTo>
                    <a:lnTo>
                      <a:pt x="9648635" y="6117384"/>
                    </a:lnTo>
                    <a:lnTo>
                      <a:pt x="9648635" y="6353876"/>
                    </a:lnTo>
                    <a:lnTo>
                      <a:pt x="9424546" y="6353876"/>
                    </a:lnTo>
                    <a:close/>
                    <a:moveTo>
                      <a:pt x="9655037" y="6117384"/>
                    </a:moveTo>
                    <a:lnTo>
                      <a:pt x="9877591" y="6117384"/>
                    </a:lnTo>
                    <a:lnTo>
                      <a:pt x="9877591" y="6353876"/>
                    </a:lnTo>
                    <a:lnTo>
                      <a:pt x="9655037" y="6353876"/>
                    </a:lnTo>
                    <a:close/>
                    <a:moveTo>
                      <a:pt x="9883993" y="6117384"/>
                    </a:moveTo>
                    <a:lnTo>
                      <a:pt x="10108082" y="6117384"/>
                    </a:lnTo>
                    <a:lnTo>
                      <a:pt x="10108082" y="6353876"/>
                    </a:lnTo>
                    <a:lnTo>
                      <a:pt x="9883993" y="6353876"/>
                    </a:lnTo>
                    <a:close/>
                    <a:moveTo>
                      <a:pt x="10114484" y="6117384"/>
                    </a:moveTo>
                    <a:lnTo>
                      <a:pt x="10338573" y="6117384"/>
                    </a:lnTo>
                    <a:lnTo>
                      <a:pt x="10338573" y="6353876"/>
                    </a:lnTo>
                    <a:lnTo>
                      <a:pt x="10114484" y="6353876"/>
                    </a:lnTo>
                    <a:close/>
                    <a:moveTo>
                      <a:pt x="10344975" y="6117384"/>
                    </a:moveTo>
                    <a:lnTo>
                      <a:pt x="10569064" y="6117384"/>
                    </a:lnTo>
                    <a:lnTo>
                      <a:pt x="10569064" y="6353876"/>
                    </a:lnTo>
                    <a:lnTo>
                      <a:pt x="10344975" y="6353876"/>
                    </a:lnTo>
                    <a:close/>
                    <a:moveTo>
                      <a:pt x="10575466" y="6117384"/>
                    </a:moveTo>
                    <a:lnTo>
                      <a:pt x="10798016" y="6117384"/>
                    </a:lnTo>
                    <a:lnTo>
                      <a:pt x="10798016" y="6353876"/>
                    </a:lnTo>
                    <a:lnTo>
                      <a:pt x="10575466" y="6353876"/>
                    </a:lnTo>
                    <a:close/>
                    <a:moveTo>
                      <a:pt x="10804419" y="6117384"/>
                    </a:moveTo>
                    <a:lnTo>
                      <a:pt x="11028507" y="6117384"/>
                    </a:lnTo>
                    <a:lnTo>
                      <a:pt x="11028507" y="6353876"/>
                    </a:lnTo>
                    <a:lnTo>
                      <a:pt x="10804419" y="6353876"/>
                    </a:lnTo>
                    <a:close/>
                    <a:moveTo>
                      <a:pt x="11034910" y="6117384"/>
                    </a:moveTo>
                    <a:lnTo>
                      <a:pt x="11258998" y="6117384"/>
                    </a:lnTo>
                    <a:lnTo>
                      <a:pt x="11258998" y="6353876"/>
                    </a:lnTo>
                    <a:lnTo>
                      <a:pt x="11034910" y="6353876"/>
                    </a:lnTo>
                    <a:close/>
                    <a:moveTo>
                      <a:pt x="11265401" y="6117384"/>
                    </a:moveTo>
                    <a:lnTo>
                      <a:pt x="11487954" y="6117384"/>
                    </a:lnTo>
                    <a:lnTo>
                      <a:pt x="11487954" y="6353876"/>
                    </a:lnTo>
                    <a:lnTo>
                      <a:pt x="11265401" y="6353876"/>
                    </a:lnTo>
                    <a:close/>
                    <a:moveTo>
                      <a:pt x="11494357" y="6117384"/>
                    </a:moveTo>
                    <a:lnTo>
                      <a:pt x="11718445" y="6117384"/>
                    </a:lnTo>
                    <a:lnTo>
                      <a:pt x="11718445" y="6353876"/>
                    </a:lnTo>
                    <a:lnTo>
                      <a:pt x="11494101" y="6353876"/>
                    </a:lnTo>
                    <a:close/>
                    <a:moveTo>
                      <a:pt x="11494357" y="6110580"/>
                    </a:moveTo>
                    <a:lnTo>
                      <a:pt x="11494357" y="5872455"/>
                    </a:lnTo>
                    <a:lnTo>
                      <a:pt x="11718445" y="5872455"/>
                    </a:lnTo>
                    <a:lnTo>
                      <a:pt x="11718445" y="6110580"/>
                    </a:lnTo>
                    <a:close/>
                    <a:moveTo>
                      <a:pt x="11494357" y="5865652"/>
                    </a:moveTo>
                    <a:lnTo>
                      <a:pt x="11494357" y="5627527"/>
                    </a:lnTo>
                    <a:lnTo>
                      <a:pt x="11718445" y="5627527"/>
                    </a:lnTo>
                    <a:lnTo>
                      <a:pt x="11718445" y="5865652"/>
                    </a:lnTo>
                    <a:close/>
                    <a:moveTo>
                      <a:pt x="11494357" y="5620723"/>
                    </a:moveTo>
                    <a:lnTo>
                      <a:pt x="11494357" y="5382598"/>
                    </a:lnTo>
                    <a:lnTo>
                      <a:pt x="11718445" y="5382598"/>
                    </a:lnTo>
                    <a:lnTo>
                      <a:pt x="11718445" y="5620723"/>
                    </a:lnTo>
                    <a:close/>
                    <a:moveTo>
                      <a:pt x="11494357" y="5375795"/>
                    </a:moveTo>
                    <a:lnTo>
                      <a:pt x="11494357" y="5139302"/>
                    </a:lnTo>
                    <a:lnTo>
                      <a:pt x="11718445" y="5139302"/>
                    </a:lnTo>
                    <a:lnTo>
                      <a:pt x="11718445" y="5375795"/>
                    </a:lnTo>
                    <a:close/>
                    <a:moveTo>
                      <a:pt x="11494357" y="5132499"/>
                    </a:moveTo>
                    <a:lnTo>
                      <a:pt x="11494357" y="4894374"/>
                    </a:lnTo>
                    <a:lnTo>
                      <a:pt x="11718445" y="4894374"/>
                    </a:lnTo>
                    <a:lnTo>
                      <a:pt x="11718445" y="5132090"/>
                    </a:lnTo>
                    <a:close/>
                    <a:moveTo>
                      <a:pt x="11494357" y="4887570"/>
                    </a:moveTo>
                    <a:lnTo>
                      <a:pt x="11494357" y="4649445"/>
                    </a:lnTo>
                    <a:lnTo>
                      <a:pt x="11718445" y="4649445"/>
                    </a:lnTo>
                    <a:lnTo>
                      <a:pt x="11718445" y="4887162"/>
                    </a:lnTo>
                    <a:close/>
                    <a:moveTo>
                      <a:pt x="11494357" y="4642642"/>
                    </a:moveTo>
                    <a:lnTo>
                      <a:pt x="11494357" y="4406149"/>
                    </a:lnTo>
                    <a:lnTo>
                      <a:pt x="11718445" y="4406149"/>
                    </a:lnTo>
                    <a:lnTo>
                      <a:pt x="11718445" y="4642233"/>
                    </a:lnTo>
                    <a:close/>
                    <a:moveTo>
                      <a:pt x="11494357" y="4399346"/>
                    </a:moveTo>
                    <a:lnTo>
                      <a:pt x="11494357" y="4161221"/>
                    </a:lnTo>
                    <a:lnTo>
                      <a:pt x="11718445" y="4161221"/>
                    </a:lnTo>
                    <a:lnTo>
                      <a:pt x="11718445" y="4399346"/>
                    </a:lnTo>
                    <a:close/>
                    <a:moveTo>
                      <a:pt x="11494357" y="4154417"/>
                    </a:moveTo>
                    <a:lnTo>
                      <a:pt x="11494357" y="3916292"/>
                    </a:lnTo>
                    <a:lnTo>
                      <a:pt x="11718445" y="3916292"/>
                    </a:lnTo>
                    <a:lnTo>
                      <a:pt x="11718445" y="4154417"/>
                    </a:lnTo>
                    <a:close/>
                    <a:moveTo>
                      <a:pt x="11494357" y="3909489"/>
                    </a:moveTo>
                    <a:lnTo>
                      <a:pt x="11494357" y="3671364"/>
                    </a:lnTo>
                    <a:lnTo>
                      <a:pt x="11718445" y="3671364"/>
                    </a:lnTo>
                    <a:lnTo>
                      <a:pt x="11718445" y="3909489"/>
                    </a:lnTo>
                    <a:close/>
                    <a:moveTo>
                      <a:pt x="11494357" y="3664560"/>
                    </a:moveTo>
                    <a:lnTo>
                      <a:pt x="11494357" y="3428068"/>
                    </a:lnTo>
                    <a:lnTo>
                      <a:pt x="11718445" y="3428068"/>
                    </a:lnTo>
                    <a:lnTo>
                      <a:pt x="11718445" y="3664560"/>
                    </a:lnTo>
                    <a:close/>
                    <a:moveTo>
                      <a:pt x="11494357" y="3421264"/>
                    </a:moveTo>
                    <a:lnTo>
                      <a:pt x="11494357" y="3183139"/>
                    </a:lnTo>
                    <a:lnTo>
                      <a:pt x="11718445" y="3183139"/>
                    </a:lnTo>
                    <a:lnTo>
                      <a:pt x="11718445" y="3421264"/>
                    </a:lnTo>
                    <a:close/>
                    <a:moveTo>
                      <a:pt x="11494357" y="3176336"/>
                    </a:moveTo>
                    <a:lnTo>
                      <a:pt x="11494357" y="2938211"/>
                    </a:lnTo>
                    <a:lnTo>
                      <a:pt x="11718445" y="2938211"/>
                    </a:lnTo>
                    <a:lnTo>
                      <a:pt x="11718445" y="3176336"/>
                    </a:lnTo>
                    <a:close/>
                    <a:moveTo>
                      <a:pt x="11494357" y="2931407"/>
                    </a:moveTo>
                    <a:lnTo>
                      <a:pt x="11494357" y="2693282"/>
                    </a:lnTo>
                    <a:lnTo>
                      <a:pt x="11718445" y="2693282"/>
                    </a:lnTo>
                    <a:lnTo>
                      <a:pt x="11718445" y="2931407"/>
                    </a:lnTo>
                    <a:close/>
                    <a:moveTo>
                      <a:pt x="11494357" y="2686479"/>
                    </a:moveTo>
                    <a:lnTo>
                      <a:pt x="11494357" y="2449986"/>
                    </a:lnTo>
                    <a:lnTo>
                      <a:pt x="11718445" y="2449986"/>
                    </a:lnTo>
                    <a:lnTo>
                      <a:pt x="11718445" y="2686479"/>
                    </a:lnTo>
                    <a:close/>
                    <a:moveTo>
                      <a:pt x="11494357" y="2443183"/>
                    </a:moveTo>
                    <a:lnTo>
                      <a:pt x="11494357" y="2205058"/>
                    </a:lnTo>
                    <a:lnTo>
                      <a:pt x="11718445" y="2205058"/>
                    </a:lnTo>
                    <a:lnTo>
                      <a:pt x="11718445" y="2443183"/>
                    </a:lnTo>
                    <a:close/>
                    <a:moveTo>
                      <a:pt x="11494357" y="2198254"/>
                    </a:moveTo>
                    <a:lnTo>
                      <a:pt x="11494357" y="1960129"/>
                    </a:lnTo>
                    <a:lnTo>
                      <a:pt x="11718445" y="1960129"/>
                    </a:lnTo>
                    <a:lnTo>
                      <a:pt x="11718445" y="2198254"/>
                    </a:lnTo>
                    <a:close/>
                    <a:moveTo>
                      <a:pt x="11494357" y="1953326"/>
                    </a:moveTo>
                    <a:lnTo>
                      <a:pt x="11494357" y="1716697"/>
                    </a:lnTo>
                    <a:lnTo>
                      <a:pt x="11718445" y="1716697"/>
                    </a:lnTo>
                    <a:lnTo>
                      <a:pt x="11718445" y="1953189"/>
                    </a:lnTo>
                    <a:close/>
                    <a:moveTo>
                      <a:pt x="11494357" y="1710030"/>
                    </a:moveTo>
                    <a:lnTo>
                      <a:pt x="11494357" y="1471769"/>
                    </a:lnTo>
                    <a:lnTo>
                      <a:pt x="11718445" y="1471769"/>
                    </a:lnTo>
                    <a:lnTo>
                      <a:pt x="11718445" y="1709894"/>
                    </a:lnTo>
                    <a:close/>
                    <a:moveTo>
                      <a:pt x="11494357" y="1465101"/>
                    </a:moveTo>
                    <a:lnTo>
                      <a:pt x="11494357" y="1226840"/>
                    </a:lnTo>
                    <a:lnTo>
                      <a:pt x="11718445" y="1226840"/>
                    </a:lnTo>
                    <a:lnTo>
                      <a:pt x="11718445" y="1464965"/>
                    </a:lnTo>
                    <a:close/>
                    <a:moveTo>
                      <a:pt x="11494357" y="1220173"/>
                    </a:moveTo>
                    <a:lnTo>
                      <a:pt x="11494357" y="981911"/>
                    </a:lnTo>
                    <a:lnTo>
                      <a:pt x="11718445" y="981911"/>
                    </a:lnTo>
                    <a:lnTo>
                      <a:pt x="11718445" y="1220036"/>
                    </a:lnTo>
                    <a:close/>
                    <a:moveTo>
                      <a:pt x="11494357" y="975244"/>
                    </a:moveTo>
                    <a:lnTo>
                      <a:pt x="11494357" y="738752"/>
                    </a:lnTo>
                    <a:lnTo>
                      <a:pt x="11718445" y="738752"/>
                    </a:lnTo>
                    <a:lnTo>
                      <a:pt x="11718445" y="975244"/>
                    </a:lnTo>
                    <a:close/>
                    <a:moveTo>
                      <a:pt x="11494357" y="731948"/>
                    </a:moveTo>
                    <a:lnTo>
                      <a:pt x="11494357" y="493823"/>
                    </a:lnTo>
                    <a:lnTo>
                      <a:pt x="11718445" y="493823"/>
                    </a:lnTo>
                    <a:lnTo>
                      <a:pt x="11718445" y="731948"/>
                    </a:lnTo>
                    <a:close/>
                    <a:moveTo>
                      <a:pt x="11494357" y="487020"/>
                    </a:moveTo>
                    <a:lnTo>
                      <a:pt x="11494357" y="248895"/>
                    </a:lnTo>
                    <a:lnTo>
                      <a:pt x="11718445" y="248895"/>
                    </a:lnTo>
                    <a:lnTo>
                      <a:pt x="11718445" y="487020"/>
                    </a:lnTo>
                    <a:close/>
                    <a:moveTo>
                      <a:pt x="11487954" y="487020"/>
                    </a:moveTo>
                    <a:lnTo>
                      <a:pt x="11265401" y="487020"/>
                    </a:lnTo>
                    <a:lnTo>
                      <a:pt x="11265401" y="248895"/>
                    </a:lnTo>
                    <a:lnTo>
                      <a:pt x="11487954" y="248895"/>
                    </a:lnTo>
                    <a:close/>
                    <a:moveTo>
                      <a:pt x="11258998" y="487020"/>
                    </a:moveTo>
                    <a:lnTo>
                      <a:pt x="11034910" y="487020"/>
                    </a:lnTo>
                    <a:lnTo>
                      <a:pt x="11034910" y="248895"/>
                    </a:lnTo>
                    <a:lnTo>
                      <a:pt x="11258998" y="248895"/>
                    </a:lnTo>
                    <a:close/>
                    <a:moveTo>
                      <a:pt x="11028507" y="487020"/>
                    </a:moveTo>
                    <a:lnTo>
                      <a:pt x="10804419" y="487020"/>
                    </a:lnTo>
                    <a:lnTo>
                      <a:pt x="10804419" y="248895"/>
                    </a:lnTo>
                    <a:lnTo>
                      <a:pt x="11028507" y="248895"/>
                    </a:lnTo>
                    <a:close/>
                    <a:moveTo>
                      <a:pt x="10798016" y="487020"/>
                    </a:moveTo>
                    <a:lnTo>
                      <a:pt x="10575466" y="487020"/>
                    </a:lnTo>
                    <a:lnTo>
                      <a:pt x="10575466" y="248895"/>
                    </a:lnTo>
                    <a:lnTo>
                      <a:pt x="10798016" y="248895"/>
                    </a:lnTo>
                    <a:close/>
                    <a:moveTo>
                      <a:pt x="10569064" y="487020"/>
                    </a:moveTo>
                    <a:lnTo>
                      <a:pt x="10344975" y="487020"/>
                    </a:lnTo>
                    <a:lnTo>
                      <a:pt x="10344975" y="248895"/>
                    </a:lnTo>
                    <a:lnTo>
                      <a:pt x="10569064" y="248895"/>
                    </a:lnTo>
                    <a:close/>
                    <a:moveTo>
                      <a:pt x="10338573" y="487020"/>
                    </a:moveTo>
                    <a:lnTo>
                      <a:pt x="10114484" y="487020"/>
                    </a:lnTo>
                    <a:lnTo>
                      <a:pt x="10114484" y="248895"/>
                    </a:lnTo>
                    <a:lnTo>
                      <a:pt x="10338573" y="248895"/>
                    </a:lnTo>
                    <a:close/>
                    <a:moveTo>
                      <a:pt x="10108082" y="487020"/>
                    </a:moveTo>
                    <a:lnTo>
                      <a:pt x="9883993" y="487020"/>
                    </a:lnTo>
                    <a:lnTo>
                      <a:pt x="9883993" y="248895"/>
                    </a:lnTo>
                    <a:lnTo>
                      <a:pt x="10108082" y="248895"/>
                    </a:lnTo>
                    <a:close/>
                    <a:moveTo>
                      <a:pt x="9877591" y="487020"/>
                    </a:moveTo>
                    <a:lnTo>
                      <a:pt x="9655037" y="487020"/>
                    </a:lnTo>
                    <a:lnTo>
                      <a:pt x="9655037" y="248895"/>
                    </a:lnTo>
                    <a:lnTo>
                      <a:pt x="9877591" y="248895"/>
                    </a:lnTo>
                    <a:close/>
                    <a:moveTo>
                      <a:pt x="9648635" y="487020"/>
                    </a:moveTo>
                    <a:lnTo>
                      <a:pt x="9424546" y="487020"/>
                    </a:lnTo>
                    <a:lnTo>
                      <a:pt x="9424546" y="248895"/>
                    </a:lnTo>
                    <a:lnTo>
                      <a:pt x="9648635" y="248895"/>
                    </a:lnTo>
                    <a:close/>
                    <a:moveTo>
                      <a:pt x="9418144" y="487020"/>
                    </a:moveTo>
                    <a:lnTo>
                      <a:pt x="9194055" y="487020"/>
                    </a:lnTo>
                    <a:lnTo>
                      <a:pt x="9194055" y="248895"/>
                    </a:lnTo>
                    <a:lnTo>
                      <a:pt x="9418144" y="248895"/>
                    </a:lnTo>
                    <a:close/>
                    <a:moveTo>
                      <a:pt x="9187653" y="487020"/>
                    </a:moveTo>
                    <a:lnTo>
                      <a:pt x="8963564" y="487020"/>
                    </a:lnTo>
                    <a:lnTo>
                      <a:pt x="8963564" y="248895"/>
                    </a:lnTo>
                    <a:lnTo>
                      <a:pt x="9187653" y="248895"/>
                    </a:lnTo>
                    <a:close/>
                    <a:moveTo>
                      <a:pt x="8957162" y="487020"/>
                    </a:moveTo>
                    <a:lnTo>
                      <a:pt x="8734611" y="487020"/>
                    </a:lnTo>
                    <a:lnTo>
                      <a:pt x="8734611" y="248895"/>
                    </a:lnTo>
                    <a:lnTo>
                      <a:pt x="8957162" y="248895"/>
                    </a:lnTo>
                    <a:close/>
                    <a:moveTo>
                      <a:pt x="8728209" y="487020"/>
                    </a:moveTo>
                    <a:lnTo>
                      <a:pt x="8504120" y="487020"/>
                    </a:lnTo>
                    <a:lnTo>
                      <a:pt x="8504120" y="248895"/>
                    </a:lnTo>
                    <a:lnTo>
                      <a:pt x="8728209" y="248895"/>
                    </a:lnTo>
                    <a:close/>
                    <a:moveTo>
                      <a:pt x="8497718" y="487020"/>
                    </a:moveTo>
                    <a:lnTo>
                      <a:pt x="8273629" y="487020"/>
                    </a:lnTo>
                    <a:lnTo>
                      <a:pt x="8273629" y="248895"/>
                    </a:lnTo>
                    <a:lnTo>
                      <a:pt x="8497718" y="248895"/>
                    </a:lnTo>
                    <a:close/>
                    <a:moveTo>
                      <a:pt x="8267227" y="487020"/>
                    </a:moveTo>
                    <a:lnTo>
                      <a:pt x="8044420" y="487020"/>
                    </a:lnTo>
                    <a:lnTo>
                      <a:pt x="8044420" y="248895"/>
                    </a:lnTo>
                    <a:lnTo>
                      <a:pt x="8267227" y="248895"/>
                    </a:lnTo>
                    <a:close/>
                    <a:moveTo>
                      <a:pt x="8038274" y="487020"/>
                    </a:moveTo>
                    <a:lnTo>
                      <a:pt x="7814186" y="487020"/>
                    </a:lnTo>
                    <a:lnTo>
                      <a:pt x="7814186" y="248895"/>
                    </a:lnTo>
                    <a:lnTo>
                      <a:pt x="8038274" y="248895"/>
                    </a:lnTo>
                    <a:close/>
                    <a:moveTo>
                      <a:pt x="7807783" y="487020"/>
                    </a:moveTo>
                    <a:lnTo>
                      <a:pt x="7583695" y="487020"/>
                    </a:lnTo>
                    <a:lnTo>
                      <a:pt x="7583695" y="248895"/>
                    </a:lnTo>
                    <a:lnTo>
                      <a:pt x="7807783" y="248895"/>
                    </a:lnTo>
                    <a:close/>
                    <a:moveTo>
                      <a:pt x="7577292" y="487020"/>
                    </a:moveTo>
                    <a:lnTo>
                      <a:pt x="7353204" y="487020"/>
                    </a:lnTo>
                    <a:lnTo>
                      <a:pt x="7353204" y="248895"/>
                    </a:lnTo>
                    <a:lnTo>
                      <a:pt x="7577292" y="248895"/>
                    </a:lnTo>
                    <a:close/>
                    <a:moveTo>
                      <a:pt x="7346801" y="487020"/>
                    </a:moveTo>
                    <a:lnTo>
                      <a:pt x="7124247" y="487020"/>
                    </a:lnTo>
                    <a:lnTo>
                      <a:pt x="7124247" y="248895"/>
                    </a:lnTo>
                    <a:lnTo>
                      <a:pt x="7346801" y="248895"/>
                    </a:lnTo>
                    <a:close/>
                    <a:moveTo>
                      <a:pt x="7117845" y="487020"/>
                    </a:moveTo>
                    <a:lnTo>
                      <a:pt x="6893756" y="487020"/>
                    </a:lnTo>
                    <a:lnTo>
                      <a:pt x="6893756" y="248895"/>
                    </a:lnTo>
                    <a:lnTo>
                      <a:pt x="7117845" y="248895"/>
                    </a:lnTo>
                    <a:close/>
                    <a:moveTo>
                      <a:pt x="6887354" y="487020"/>
                    </a:moveTo>
                    <a:lnTo>
                      <a:pt x="6663265" y="487020"/>
                    </a:lnTo>
                    <a:lnTo>
                      <a:pt x="6663265" y="248895"/>
                    </a:lnTo>
                    <a:lnTo>
                      <a:pt x="6887354" y="248895"/>
                    </a:lnTo>
                    <a:close/>
                    <a:moveTo>
                      <a:pt x="6656863" y="487020"/>
                    </a:moveTo>
                    <a:lnTo>
                      <a:pt x="6446349" y="487020"/>
                    </a:lnTo>
                    <a:lnTo>
                      <a:pt x="6446349" y="248895"/>
                    </a:lnTo>
                    <a:lnTo>
                      <a:pt x="6656863" y="248895"/>
                    </a:lnTo>
                    <a:close/>
                    <a:moveTo>
                      <a:pt x="6439946" y="487020"/>
                    </a:moveTo>
                    <a:lnTo>
                      <a:pt x="6217136" y="487020"/>
                    </a:lnTo>
                    <a:lnTo>
                      <a:pt x="6217136" y="248895"/>
                    </a:lnTo>
                    <a:lnTo>
                      <a:pt x="6439690" y="248895"/>
                    </a:lnTo>
                    <a:close/>
                    <a:moveTo>
                      <a:pt x="6210990" y="487020"/>
                    </a:moveTo>
                    <a:lnTo>
                      <a:pt x="5986902" y="487020"/>
                    </a:lnTo>
                    <a:lnTo>
                      <a:pt x="5986902" y="248895"/>
                    </a:lnTo>
                    <a:lnTo>
                      <a:pt x="6210990" y="248895"/>
                    </a:lnTo>
                    <a:close/>
                    <a:moveTo>
                      <a:pt x="5980499" y="487020"/>
                    </a:moveTo>
                    <a:lnTo>
                      <a:pt x="5756411" y="487020"/>
                    </a:lnTo>
                    <a:lnTo>
                      <a:pt x="5756411" y="248895"/>
                    </a:lnTo>
                    <a:lnTo>
                      <a:pt x="5980499" y="248895"/>
                    </a:lnTo>
                    <a:close/>
                    <a:moveTo>
                      <a:pt x="5750008" y="487020"/>
                    </a:moveTo>
                    <a:lnTo>
                      <a:pt x="5526945" y="487020"/>
                    </a:lnTo>
                    <a:lnTo>
                      <a:pt x="5526945" y="248895"/>
                    </a:lnTo>
                    <a:lnTo>
                      <a:pt x="5749495" y="248895"/>
                    </a:lnTo>
                    <a:close/>
                    <a:moveTo>
                      <a:pt x="5521055" y="487020"/>
                    </a:moveTo>
                    <a:lnTo>
                      <a:pt x="5296454" y="487020"/>
                    </a:lnTo>
                    <a:lnTo>
                      <a:pt x="5296454" y="248895"/>
                    </a:lnTo>
                    <a:lnTo>
                      <a:pt x="5520542" y="248895"/>
                    </a:lnTo>
                    <a:close/>
                    <a:moveTo>
                      <a:pt x="5290564" y="487020"/>
                    </a:moveTo>
                    <a:lnTo>
                      <a:pt x="5065963" y="487020"/>
                    </a:lnTo>
                    <a:lnTo>
                      <a:pt x="5065963" y="248895"/>
                    </a:lnTo>
                    <a:lnTo>
                      <a:pt x="5290051" y="248895"/>
                    </a:lnTo>
                    <a:close/>
                    <a:moveTo>
                      <a:pt x="5060073" y="487020"/>
                    </a:moveTo>
                    <a:lnTo>
                      <a:pt x="4835472" y="487020"/>
                    </a:lnTo>
                    <a:lnTo>
                      <a:pt x="4835472" y="248895"/>
                    </a:lnTo>
                    <a:lnTo>
                      <a:pt x="5059560" y="248895"/>
                    </a:lnTo>
                    <a:close/>
                    <a:moveTo>
                      <a:pt x="4829582" y="487020"/>
                    </a:moveTo>
                    <a:lnTo>
                      <a:pt x="4607029" y="487020"/>
                    </a:lnTo>
                    <a:lnTo>
                      <a:pt x="4607029" y="248895"/>
                    </a:lnTo>
                    <a:lnTo>
                      <a:pt x="4829582" y="248895"/>
                    </a:lnTo>
                    <a:close/>
                    <a:moveTo>
                      <a:pt x="4600626" y="487020"/>
                    </a:moveTo>
                    <a:lnTo>
                      <a:pt x="4376538" y="487020"/>
                    </a:lnTo>
                    <a:lnTo>
                      <a:pt x="4376538" y="248895"/>
                    </a:lnTo>
                    <a:lnTo>
                      <a:pt x="4600626" y="248895"/>
                    </a:lnTo>
                    <a:close/>
                    <a:moveTo>
                      <a:pt x="4370135" y="487020"/>
                    </a:moveTo>
                    <a:lnTo>
                      <a:pt x="4146047" y="487020"/>
                    </a:lnTo>
                    <a:lnTo>
                      <a:pt x="4146047" y="248895"/>
                    </a:lnTo>
                    <a:lnTo>
                      <a:pt x="4370135" y="248895"/>
                    </a:lnTo>
                    <a:close/>
                    <a:moveTo>
                      <a:pt x="4139644" y="487020"/>
                    </a:moveTo>
                    <a:lnTo>
                      <a:pt x="3917094" y="487020"/>
                    </a:lnTo>
                    <a:lnTo>
                      <a:pt x="3917094" y="248895"/>
                    </a:lnTo>
                    <a:lnTo>
                      <a:pt x="4139644" y="248895"/>
                    </a:lnTo>
                    <a:close/>
                    <a:moveTo>
                      <a:pt x="3910691" y="487020"/>
                    </a:moveTo>
                    <a:lnTo>
                      <a:pt x="3686603" y="487020"/>
                    </a:lnTo>
                    <a:lnTo>
                      <a:pt x="3686603" y="248895"/>
                    </a:lnTo>
                    <a:lnTo>
                      <a:pt x="3910691" y="248895"/>
                    </a:lnTo>
                    <a:close/>
                    <a:moveTo>
                      <a:pt x="3680200" y="487020"/>
                    </a:moveTo>
                    <a:lnTo>
                      <a:pt x="3456112" y="487020"/>
                    </a:lnTo>
                    <a:lnTo>
                      <a:pt x="3456112" y="248895"/>
                    </a:lnTo>
                    <a:lnTo>
                      <a:pt x="3680200" y="248895"/>
                    </a:lnTo>
                    <a:close/>
                    <a:moveTo>
                      <a:pt x="3449709" y="487020"/>
                    </a:moveTo>
                    <a:lnTo>
                      <a:pt x="3225621" y="487020"/>
                    </a:lnTo>
                    <a:lnTo>
                      <a:pt x="3225621" y="248895"/>
                    </a:lnTo>
                    <a:lnTo>
                      <a:pt x="3449709" y="248895"/>
                    </a:lnTo>
                    <a:close/>
                    <a:moveTo>
                      <a:pt x="3219218" y="487020"/>
                    </a:moveTo>
                    <a:lnTo>
                      <a:pt x="2996666" y="487020"/>
                    </a:lnTo>
                    <a:lnTo>
                      <a:pt x="2996666" y="248895"/>
                    </a:lnTo>
                    <a:lnTo>
                      <a:pt x="3219218" y="248895"/>
                    </a:lnTo>
                    <a:close/>
                    <a:moveTo>
                      <a:pt x="2990264" y="487020"/>
                    </a:moveTo>
                    <a:lnTo>
                      <a:pt x="2766175" y="487020"/>
                    </a:lnTo>
                    <a:lnTo>
                      <a:pt x="2766175" y="248895"/>
                    </a:lnTo>
                    <a:lnTo>
                      <a:pt x="2990264" y="248895"/>
                    </a:lnTo>
                    <a:close/>
                    <a:moveTo>
                      <a:pt x="2759773" y="487020"/>
                    </a:moveTo>
                    <a:lnTo>
                      <a:pt x="2535684" y="487020"/>
                    </a:lnTo>
                    <a:lnTo>
                      <a:pt x="2535684" y="248895"/>
                    </a:lnTo>
                    <a:lnTo>
                      <a:pt x="2759773" y="248895"/>
                    </a:lnTo>
                    <a:close/>
                    <a:moveTo>
                      <a:pt x="2529282" y="487020"/>
                    </a:moveTo>
                    <a:lnTo>
                      <a:pt x="2305193" y="487020"/>
                    </a:lnTo>
                    <a:lnTo>
                      <a:pt x="2305193" y="248895"/>
                    </a:lnTo>
                    <a:lnTo>
                      <a:pt x="2529282" y="248895"/>
                    </a:lnTo>
                    <a:close/>
                    <a:moveTo>
                      <a:pt x="2298791" y="487020"/>
                    </a:moveTo>
                    <a:lnTo>
                      <a:pt x="2075982" y="487020"/>
                    </a:lnTo>
                    <a:lnTo>
                      <a:pt x="2075982" y="248895"/>
                    </a:lnTo>
                    <a:lnTo>
                      <a:pt x="2298534" y="248895"/>
                    </a:lnTo>
                    <a:close/>
                    <a:moveTo>
                      <a:pt x="2069836" y="487020"/>
                    </a:moveTo>
                    <a:lnTo>
                      <a:pt x="1845748" y="487020"/>
                    </a:lnTo>
                    <a:lnTo>
                      <a:pt x="1845748" y="248895"/>
                    </a:lnTo>
                    <a:lnTo>
                      <a:pt x="2069580" y="248895"/>
                    </a:lnTo>
                    <a:close/>
                    <a:moveTo>
                      <a:pt x="1839345" y="487020"/>
                    </a:moveTo>
                    <a:lnTo>
                      <a:pt x="1615257" y="487020"/>
                    </a:lnTo>
                    <a:lnTo>
                      <a:pt x="1615257" y="248895"/>
                    </a:lnTo>
                    <a:lnTo>
                      <a:pt x="1839089" y="248895"/>
                    </a:lnTo>
                    <a:close/>
                    <a:moveTo>
                      <a:pt x="1608854" y="487020"/>
                    </a:moveTo>
                    <a:lnTo>
                      <a:pt x="1386302" y="487020"/>
                    </a:lnTo>
                    <a:lnTo>
                      <a:pt x="1386302" y="248895"/>
                    </a:lnTo>
                    <a:lnTo>
                      <a:pt x="1608598" y="248895"/>
                    </a:lnTo>
                    <a:close/>
                    <a:moveTo>
                      <a:pt x="1379900" y="487020"/>
                    </a:moveTo>
                    <a:lnTo>
                      <a:pt x="1155811" y="487020"/>
                    </a:lnTo>
                    <a:lnTo>
                      <a:pt x="1155811" y="248895"/>
                    </a:lnTo>
                    <a:lnTo>
                      <a:pt x="1379900" y="248895"/>
                    </a:lnTo>
                    <a:close/>
                    <a:moveTo>
                      <a:pt x="1149409" y="487020"/>
                    </a:moveTo>
                    <a:lnTo>
                      <a:pt x="925320" y="487020"/>
                    </a:lnTo>
                    <a:lnTo>
                      <a:pt x="925320" y="248895"/>
                    </a:lnTo>
                    <a:lnTo>
                      <a:pt x="1149409" y="248895"/>
                    </a:lnTo>
                    <a:close/>
                    <a:moveTo>
                      <a:pt x="918918" y="487020"/>
                    </a:moveTo>
                    <a:lnTo>
                      <a:pt x="694829" y="487020"/>
                    </a:lnTo>
                    <a:lnTo>
                      <a:pt x="694829" y="248895"/>
                    </a:lnTo>
                    <a:lnTo>
                      <a:pt x="918918" y="248895"/>
                    </a:lnTo>
                    <a:close/>
                    <a:moveTo>
                      <a:pt x="688427" y="487020"/>
                    </a:moveTo>
                    <a:lnTo>
                      <a:pt x="465875" y="487020"/>
                    </a:lnTo>
                    <a:lnTo>
                      <a:pt x="465875" y="248895"/>
                    </a:lnTo>
                    <a:lnTo>
                      <a:pt x="688427" y="248895"/>
                    </a:lnTo>
                    <a:close/>
                    <a:moveTo>
                      <a:pt x="459472" y="487020"/>
                    </a:moveTo>
                    <a:lnTo>
                      <a:pt x="235384" y="487020"/>
                    </a:lnTo>
                    <a:lnTo>
                      <a:pt x="235384" y="248895"/>
                    </a:lnTo>
                    <a:lnTo>
                      <a:pt x="459472" y="248895"/>
                    </a:lnTo>
                    <a:close/>
                    <a:moveTo>
                      <a:pt x="459472" y="493823"/>
                    </a:moveTo>
                    <a:lnTo>
                      <a:pt x="459472" y="731948"/>
                    </a:lnTo>
                    <a:lnTo>
                      <a:pt x="235384" y="731948"/>
                    </a:lnTo>
                    <a:lnTo>
                      <a:pt x="235384" y="493823"/>
                    </a:lnTo>
                    <a:close/>
                    <a:moveTo>
                      <a:pt x="459472" y="738752"/>
                    </a:moveTo>
                    <a:lnTo>
                      <a:pt x="459472" y="975244"/>
                    </a:lnTo>
                    <a:lnTo>
                      <a:pt x="235384" y="975244"/>
                    </a:lnTo>
                    <a:lnTo>
                      <a:pt x="235384" y="738752"/>
                    </a:lnTo>
                    <a:close/>
                    <a:moveTo>
                      <a:pt x="459472" y="982048"/>
                    </a:moveTo>
                    <a:lnTo>
                      <a:pt x="459472" y="1220173"/>
                    </a:lnTo>
                    <a:lnTo>
                      <a:pt x="235384" y="1220173"/>
                    </a:lnTo>
                    <a:lnTo>
                      <a:pt x="235384" y="981911"/>
                    </a:lnTo>
                    <a:close/>
                    <a:moveTo>
                      <a:pt x="459472" y="1226976"/>
                    </a:moveTo>
                    <a:lnTo>
                      <a:pt x="459472" y="1465101"/>
                    </a:lnTo>
                    <a:lnTo>
                      <a:pt x="235384" y="1465101"/>
                    </a:lnTo>
                    <a:lnTo>
                      <a:pt x="235384" y="1226840"/>
                    </a:lnTo>
                    <a:close/>
                    <a:moveTo>
                      <a:pt x="459472" y="1471905"/>
                    </a:moveTo>
                    <a:lnTo>
                      <a:pt x="459472" y="1710030"/>
                    </a:lnTo>
                    <a:lnTo>
                      <a:pt x="235384" y="1710030"/>
                    </a:lnTo>
                    <a:lnTo>
                      <a:pt x="235384" y="1471769"/>
                    </a:lnTo>
                    <a:close/>
                    <a:moveTo>
                      <a:pt x="459472" y="1716833"/>
                    </a:moveTo>
                    <a:lnTo>
                      <a:pt x="459472" y="1953326"/>
                    </a:lnTo>
                    <a:lnTo>
                      <a:pt x="235384" y="1953326"/>
                    </a:lnTo>
                    <a:lnTo>
                      <a:pt x="235384" y="1716697"/>
                    </a:lnTo>
                    <a:close/>
                    <a:moveTo>
                      <a:pt x="459472" y="1960129"/>
                    </a:moveTo>
                    <a:lnTo>
                      <a:pt x="459472" y="2198254"/>
                    </a:lnTo>
                    <a:lnTo>
                      <a:pt x="235384" y="2198254"/>
                    </a:lnTo>
                    <a:lnTo>
                      <a:pt x="235384" y="1960129"/>
                    </a:lnTo>
                    <a:close/>
                    <a:moveTo>
                      <a:pt x="459472" y="2205058"/>
                    </a:moveTo>
                    <a:lnTo>
                      <a:pt x="459472" y="2443183"/>
                    </a:lnTo>
                    <a:lnTo>
                      <a:pt x="235384" y="2443183"/>
                    </a:lnTo>
                    <a:lnTo>
                      <a:pt x="235384" y="2205058"/>
                    </a:lnTo>
                    <a:close/>
                    <a:moveTo>
                      <a:pt x="459472" y="2449986"/>
                    </a:moveTo>
                    <a:lnTo>
                      <a:pt x="459472" y="2686479"/>
                    </a:lnTo>
                    <a:lnTo>
                      <a:pt x="235384" y="2686479"/>
                    </a:lnTo>
                    <a:lnTo>
                      <a:pt x="235384" y="2449986"/>
                    </a:lnTo>
                    <a:close/>
                    <a:moveTo>
                      <a:pt x="459472" y="2693282"/>
                    </a:moveTo>
                    <a:lnTo>
                      <a:pt x="459472" y="2931407"/>
                    </a:lnTo>
                    <a:lnTo>
                      <a:pt x="235384" y="2931407"/>
                    </a:lnTo>
                    <a:lnTo>
                      <a:pt x="235384" y="2693282"/>
                    </a:lnTo>
                    <a:close/>
                    <a:moveTo>
                      <a:pt x="459472" y="2938211"/>
                    </a:moveTo>
                    <a:lnTo>
                      <a:pt x="459472" y="3176336"/>
                    </a:lnTo>
                    <a:lnTo>
                      <a:pt x="235384" y="3176336"/>
                    </a:lnTo>
                    <a:lnTo>
                      <a:pt x="235384" y="2938211"/>
                    </a:lnTo>
                    <a:close/>
                    <a:moveTo>
                      <a:pt x="459472" y="3183139"/>
                    </a:moveTo>
                    <a:lnTo>
                      <a:pt x="459472" y="3421264"/>
                    </a:lnTo>
                    <a:lnTo>
                      <a:pt x="235384" y="3421264"/>
                    </a:lnTo>
                    <a:lnTo>
                      <a:pt x="235384" y="3183139"/>
                    </a:lnTo>
                    <a:close/>
                    <a:moveTo>
                      <a:pt x="459472" y="3428068"/>
                    </a:moveTo>
                    <a:lnTo>
                      <a:pt x="459472" y="3664560"/>
                    </a:lnTo>
                    <a:lnTo>
                      <a:pt x="235384" y="3664560"/>
                    </a:lnTo>
                    <a:lnTo>
                      <a:pt x="235384" y="3428068"/>
                    </a:lnTo>
                    <a:close/>
                    <a:moveTo>
                      <a:pt x="459472" y="3671364"/>
                    </a:moveTo>
                    <a:lnTo>
                      <a:pt x="459472" y="3909489"/>
                    </a:lnTo>
                    <a:lnTo>
                      <a:pt x="235384" y="3909489"/>
                    </a:lnTo>
                    <a:lnTo>
                      <a:pt x="235384" y="3671364"/>
                    </a:lnTo>
                    <a:close/>
                    <a:moveTo>
                      <a:pt x="459472" y="3916292"/>
                    </a:moveTo>
                    <a:lnTo>
                      <a:pt x="459472" y="4154417"/>
                    </a:lnTo>
                    <a:lnTo>
                      <a:pt x="235384" y="4154417"/>
                    </a:lnTo>
                    <a:lnTo>
                      <a:pt x="235384" y="3916292"/>
                    </a:lnTo>
                    <a:close/>
                    <a:moveTo>
                      <a:pt x="459472" y="4161221"/>
                    </a:moveTo>
                    <a:lnTo>
                      <a:pt x="459472" y="4399346"/>
                    </a:lnTo>
                    <a:lnTo>
                      <a:pt x="235384" y="4399346"/>
                    </a:lnTo>
                    <a:lnTo>
                      <a:pt x="235384" y="4161221"/>
                    </a:lnTo>
                    <a:close/>
                    <a:moveTo>
                      <a:pt x="459472" y="4406149"/>
                    </a:moveTo>
                    <a:lnTo>
                      <a:pt x="459472" y="4642233"/>
                    </a:lnTo>
                    <a:lnTo>
                      <a:pt x="235384" y="4642233"/>
                    </a:lnTo>
                    <a:lnTo>
                      <a:pt x="235384" y="4405741"/>
                    </a:lnTo>
                    <a:close/>
                    <a:moveTo>
                      <a:pt x="459472" y="4649445"/>
                    </a:moveTo>
                    <a:lnTo>
                      <a:pt x="459472" y="4887162"/>
                    </a:lnTo>
                    <a:lnTo>
                      <a:pt x="235384" y="4887162"/>
                    </a:lnTo>
                    <a:lnTo>
                      <a:pt x="235384" y="4649037"/>
                    </a:lnTo>
                    <a:close/>
                    <a:moveTo>
                      <a:pt x="459472" y="4894374"/>
                    </a:moveTo>
                    <a:lnTo>
                      <a:pt x="459472" y="5132090"/>
                    </a:lnTo>
                    <a:lnTo>
                      <a:pt x="235384" y="5132090"/>
                    </a:lnTo>
                    <a:lnTo>
                      <a:pt x="235384" y="4893965"/>
                    </a:lnTo>
                    <a:close/>
                    <a:moveTo>
                      <a:pt x="459472" y="5139302"/>
                    </a:moveTo>
                    <a:lnTo>
                      <a:pt x="459472" y="5375795"/>
                    </a:lnTo>
                    <a:lnTo>
                      <a:pt x="235384" y="5375795"/>
                    </a:lnTo>
                    <a:lnTo>
                      <a:pt x="235384" y="5139302"/>
                    </a:lnTo>
                    <a:close/>
                    <a:moveTo>
                      <a:pt x="459472" y="5382598"/>
                    </a:moveTo>
                    <a:lnTo>
                      <a:pt x="459472" y="5620723"/>
                    </a:lnTo>
                    <a:lnTo>
                      <a:pt x="235384" y="5620723"/>
                    </a:lnTo>
                    <a:lnTo>
                      <a:pt x="235384" y="5382598"/>
                    </a:lnTo>
                    <a:close/>
                    <a:moveTo>
                      <a:pt x="459472" y="5627527"/>
                    </a:moveTo>
                    <a:lnTo>
                      <a:pt x="459472" y="5865652"/>
                    </a:lnTo>
                    <a:lnTo>
                      <a:pt x="235384" y="5865652"/>
                    </a:lnTo>
                    <a:lnTo>
                      <a:pt x="235384" y="5627527"/>
                    </a:lnTo>
                    <a:close/>
                    <a:moveTo>
                      <a:pt x="459472" y="5872455"/>
                    </a:moveTo>
                    <a:lnTo>
                      <a:pt x="459472" y="6110580"/>
                    </a:lnTo>
                    <a:lnTo>
                      <a:pt x="235384" y="6110580"/>
                    </a:lnTo>
                    <a:lnTo>
                      <a:pt x="235384" y="5872455"/>
                    </a:lnTo>
                    <a:close/>
                    <a:moveTo>
                      <a:pt x="459472" y="6117384"/>
                    </a:moveTo>
                    <a:lnTo>
                      <a:pt x="459472" y="6353876"/>
                    </a:lnTo>
                    <a:lnTo>
                      <a:pt x="235384" y="6353876"/>
                    </a:lnTo>
                    <a:lnTo>
                      <a:pt x="235384" y="6117384"/>
                    </a:lnTo>
                    <a:close/>
                    <a:moveTo>
                      <a:pt x="459472" y="6360680"/>
                    </a:moveTo>
                    <a:lnTo>
                      <a:pt x="459472" y="6598805"/>
                    </a:lnTo>
                    <a:lnTo>
                      <a:pt x="235384" y="6598805"/>
                    </a:lnTo>
                    <a:lnTo>
                      <a:pt x="235384" y="6360680"/>
                    </a:lnTo>
                    <a:close/>
                    <a:moveTo>
                      <a:pt x="465875" y="6360680"/>
                    </a:moveTo>
                    <a:lnTo>
                      <a:pt x="688427" y="6360680"/>
                    </a:lnTo>
                    <a:lnTo>
                      <a:pt x="688427" y="6598805"/>
                    </a:lnTo>
                    <a:lnTo>
                      <a:pt x="465875" y="6598805"/>
                    </a:lnTo>
                    <a:close/>
                    <a:moveTo>
                      <a:pt x="694829" y="6360680"/>
                    </a:moveTo>
                    <a:lnTo>
                      <a:pt x="918918" y="6360680"/>
                    </a:lnTo>
                    <a:lnTo>
                      <a:pt x="918918" y="6598805"/>
                    </a:lnTo>
                    <a:lnTo>
                      <a:pt x="694829" y="6598805"/>
                    </a:lnTo>
                    <a:close/>
                    <a:moveTo>
                      <a:pt x="925320" y="6360680"/>
                    </a:moveTo>
                    <a:lnTo>
                      <a:pt x="1149409" y="6360680"/>
                    </a:lnTo>
                    <a:lnTo>
                      <a:pt x="1149409" y="6598805"/>
                    </a:lnTo>
                    <a:lnTo>
                      <a:pt x="925320" y="6598805"/>
                    </a:lnTo>
                    <a:close/>
                    <a:moveTo>
                      <a:pt x="1155811" y="6360680"/>
                    </a:moveTo>
                    <a:lnTo>
                      <a:pt x="1379900" y="6360680"/>
                    </a:lnTo>
                    <a:lnTo>
                      <a:pt x="1379900" y="6598805"/>
                    </a:lnTo>
                    <a:lnTo>
                      <a:pt x="1155811" y="6598805"/>
                    </a:lnTo>
                    <a:close/>
                    <a:moveTo>
                      <a:pt x="1386302" y="6360680"/>
                    </a:moveTo>
                    <a:lnTo>
                      <a:pt x="1608598" y="6360680"/>
                    </a:lnTo>
                    <a:lnTo>
                      <a:pt x="1608598" y="6598805"/>
                    </a:lnTo>
                    <a:lnTo>
                      <a:pt x="1386046" y="6598805"/>
                    </a:lnTo>
                    <a:close/>
                    <a:moveTo>
                      <a:pt x="1615257" y="6360680"/>
                    </a:moveTo>
                    <a:lnTo>
                      <a:pt x="1839089" y="6360680"/>
                    </a:lnTo>
                    <a:lnTo>
                      <a:pt x="1839089" y="6598805"/>
                    </a:lnTo>
                    <a:lnTo>
                      <a:pt x="1615000" y="6598805"/>
                    </a:lnTo>
                    <a:close/>
                    <a:moveTo>
                      <a:pt x="1845748" y="6360680"/>
                    </a:moveTo>
                    <a:lnTo>
                      <a:pt x="2069580" y="6360680"/>
                    </a:lnTo>
                    <a:lnTo>
                      <a:pt x="2069580" y="6598805"/>
                    </a:lnTo>
                    <a:lnTo>
                      <a:pt x="1845491" y="6598805"/>
                    </a:lnTo>
                    <a:close/>
                    <a:moveTo>
                      <a:pt x="2076239" y="6360680"/>
                    </a:moveTo>
                    <a:lnTo>
                      <a:pt x="2298791" y="6360680"/>
                    </a:lnTo>
                    <a:lnTo>
                      <a:pt x="2298791" y="6598805"/>
                    </a:lnTo>
                    <a:lnTo>
                      <a:pt x="2075982" y="6598805"/>
                    </a:lnTo>
                    <a:close/>
                    <a:moveTo>
                      <a:pt x="2305193" y="6360680"/>
                    </a:moveTo>
                    <a:lnTo>
                      <a:pt x="2529282" y="6360680"/>
                    </a:lnTo>
                    <a:lnTo>
                      <a:pt x="2529282" y="6598805"/>
                    </a:lnTo>
                    <a:lnTo>
                      <a:pt x="2305193" y="6598805"/>
                    </a:lnTo>
                    <a:close/>
                    <a:moveTo>
                      <a:pt x="2535684" y="6360680"/>
                    </a:moveTo>
                    <a:lnTo>
                      <a:pt x="2759773" y="6360680"/>
                    </a:lnTo>
                    <a:lnTo>
                      <a:pt x="2759773" y="6598805"/>
                    </a:lnTo>
                    <a:lnTo>
                      <a:pt x="2535684" y="6598805"/>
                    </a:lnTo>
                    <a:close/>
                    <a:moveTo>
                      <a:pt x="2766175" y="6360680"/>
                    </a:moveTo>
                    <a:lnTo>
                      <a:pt x="2990264" y="6360680"/>
                    </a:lnTo>
                    <a:lnTo>
                      <a:pt x="2990264" y="6598805"/>
                    </a:lnTo>
                    <a:lnTo>
                      <a:pt x="2766175" y="6598805"/>
                    </a:lnTo>
                    <a:close/>
                    <a:moveTo>
                      <a:pt x="2996666" y="6360680"/>
                    </a:moveTo>
                    <a:lnTo>
                      <a:pt x="3219218" y="6360680"/>
                    </a:lnTo>
                    <a:lnTo>
                      <a:pt x="3219218" y="6598805"/>
                    </a:lnTo>
                    <a:lnTo>
                      <a:pt x="2996666" y="6598805"/>
                    </a:lnTo>
                    <a:close/>
                    <a:moveTo>
                      <a:pt x="3225621" y="6360680"/>
                    </a:moveTo>
                    <a:lnTo>
                      <a:pt x="3449709" y="6360680"/>
                    </a:lnTo>
                    <a:lnTo>
                      <a:pt x="3449709" y="6598805"/>
                    </a:lnTo>
                    <a:lnTo>
                      <a:pt x="3225621" y="6598805"/>
                    </a:lnTo>
                    <a:close/>
                    <a:moveTo>
                      <a:pt x="3456112" y="6360680"/>
                    </a:moveTo>
                    <a:lnTo>
                      <a:pt x="3680200" y="6360680"/>
                    </a:lnTo>
                    <a:lnTo>
                      <a:pt x="3680200" y="6598805"/>
                    </a:lnTo>
                    <a:lnTo>
                      <a:pt x="3456112" y="6598805"/>
                    </a:lnTo>
                    <a:close/>
                    <a:moveTo>
                      <a:pt x="3686603" y="6360680"/>
                    </a:moveTo>
                    <a:lnTo>
                      <a:pt x="3910691" y="6360680"/>
                    </a:lnTo>
                    <a:lnTo>
                      <a:pt x="3910691" y="6598805"/>
                    </a:lnTo>
                    <a:lnTo>
                      <a:pt x="3686603" y="6598805"/>
                    </a:lnTo>
                    <a:close/>
                    <a:moveTo>
                      <a:pt x="3917094" y="6360680"/>
                    </a:moveTo>
                    <a:lnTo>
                      <a:pt x="4139644" y="6360680"/>
                    </a:lnTo>
                    <a:lnTo>
                      <a:pt x="4139644" y="6598805"/>
                    </a:lnTo>
                    <a:lnTo>
                      <a:pt x="3917094" y="6598805"/>
                    </a:lnTo>
                    <a:close/>
                    <a:moveTo>
                      <a:pt x="4146047" y="6360680"/>
                    </a:moveTo>
                    <a:lnTo>
                      <a:pt x="4370135" y="6360680"/>
                    </a:lnTo>
                    <a:lnTo>
                      <a:pt x="4370135" y="6598805"/>
                    </a:lnTo>
                    <a:lnTo>
                      <a:pt x="4146047" y="6598805"/>
                    </a:lnTo>
                    <a:close/>
                    <a:moveTo>
                      <a:pt x="4376538" y="6360680"/>
                    </a:moveTo>
                    <a:lnTo>
                      <a:pt x="4600626" y="6360680"/>
                    </a:lnTo>
                    <a:lnTo>
                      <a:pt x="4600626" y="6598805"/>
                    </a:lnTo>
                    <a:lnTo>
                      <a:pt x="4376538" y="6598805"/>
                    </a:lnTo>
                    <a:close/>
                    <a:moveTo>
                      <a:pt x="4607029" y="6360680"/>
                    </a:moveTo>
                    <a:lnTo>
                      <a:pt x="4829582" y="6360680"/>
                    </a:lnTo>
                    <a:lnTo>
                      <a:pt x="4829582" y="6598805"/>
                    </a:lnTo>
                    <a:lnTo>
                      <a:pt x="4607029" y="6598805"/>
                    </a:lnTo>
                    <a:close/>
                    <a:moveTo>
                      <a:pt x="4835985" y="6360680"/>
                    </a:moveTo>
                    <a:lnTo>
                      <a:pt x="5060073" y="6360680"/>
                    </a:lnTo>
                    <a:lnTo>
                      <a:pt x="5060073" y="6598805"/>
                    </a:lnTo>
                    <a:lnTo>
                      <a:pt x="4835472" y="6598805"/>
                    </a:lnTo>
                    <a:close/>
                    <a:moveTo>
                      <a:pt x="5066476" y="6360680"/>
                    </a:moveTo>
                    <a:lnTo>
                      <a:pt x="5290564" y="6360680"/>
                    </a:lnTo>
                    <a:lnTo>
                      <a:pt x="5290564" y="6598805"/>
                    </a:lnTo>
                    <a:lnTo>
                      <a:pt x="5065963" y="6598805"/>
                    </a:lnTo>
                    <a:close/>
                    <a:moveTo>
                      <a:pt x="5296967" y="6360680"/>
                    </a:moveTo>
                    <a:lnTo>
                      <a:pt x="5521055" y="6360680"/>
                    </a:lnTo>
                    <a:lnTo>
                      <a:pt x="5521055" y="6598805"/>
                    </a:lnTo>
                    <a:lnTo>
                      <a:pt x="5296454" y="6598805"/>
                    </a:lnTo>
                    <a:close/>
                    <a:moveTo>
                      <a:pt x="5527458" y="6360680"/>
                    </a:moveTo>
                    <a:lnTo>
                      <a:pt x="5750008" y="6360680"/>
                    </a:lnTo>
                    <a:lnTo>
                      <a:pt x="5750008" y="6598805"/>
                    </a:lnTo>
                    <a:lnTo>
                      <a:pt x="5526945" y="6598805"/>
                    </a:lnTo>
                    <a:close/>
                    <a:moveTo>
                      <a:pt x="5756411" y="6360680"/>
                    </a:moveTo>
                    <a:lnTo>
                      <a:pt x="5980499" y="6360680"/>
                    </a:lnTo>
                    <a:lnTo>
                      <a:pt x="5980499" y="6598805"/>
                    </a:lnTo>
                    <a:lnTo>
                      <a:pt x="5756411" y="6598805"/>
                    </a:lnTo>
                    <a:close/>
                    <a:moveTo>
                      <a:pt x="5986902" y="6360680"/>
                    </a:moveTo>
                    <a:lnTo>
                      <a:pt x="6210990" y="6360680"/>
                    </a:lnTo>
                    <a:lnTo>
                      <a:pt x="6210990" y="6598805"/>
                    </a:lnTo>
                    <a:lnTo>
                      <a:pt x="5986902" y="6598805"/>
                    </a:lnTo>
                    <a:close/>
                    <a:moveTo>
                      <a:pt x="6217393" y="6360680"/>
                    </a:moveTo>
                    <a:lnTo>
                      <a:pt x="6439946" y="6360680"/>
                    </a:lnTo>
                    <a:lnTo>
                      <a:pt x="6439946" y="6598805"/>
                    </a:lnTo>
                    <a:lnTo>
                      <a:pt x="6217136" y="6598805"/>
                    </a:lnTo>
                    <a:close/>
                    <a:moveTo>
                      <a:pt x="6446349" y="6360680"/>
                    </a:moveTo>
                    <a:lnTo>
                      <a:pt x="6656863" y="6360680"/>
                    </a:lnTo>
                    <a:lnTo>
                      <a:pt x="6656863" y="6598805"/>
                    </a:lnTo>
                    <a:lnTo>
                      <a:pt x="6446349" y="6598805"/>
                    </a:lnTo>
                    <a:close/>
                    <a:moveTo>
                      <a:pt x="6663265" y="6360680"/>
                    </a:moveTo>
                    <a:lnTo>
                      <a:pt x="6887354" y="6360680"/>
                    </a:lnTo>
                    <a:lnTo>
                      <a:pt x="6887354" y="6598805"/>
                    </a:lnTo>
                    <a:lnTo>
                      <a:pt x="6663265" y="6598805"/>
                    </a:lnTo>
                    <a:close/>
                    <a:moveTo>
                      <a:pt x="6893756" y="6360680"/>
                    </a:moveTo>
                    <a:lnTo>
                      <a:pt x="7117845" y="6360680"/>
                    </a:lnTo>
                    <a:lnTo>
                      <a:pt x="7117845" y="6598805"/>
                    </a:lnTo>
                    <a:lnTo>
                      <a:pt x="6893756" y="6598805"/>
                    </a:lnTo>
                    <a:close/>
                    <a:moveTo>
                      <a:pt x="7124247" y="6360680"/>
                    </a:moveTo>
                    <a:lnTo>
                      <a:pt x="7346801" y="6360680"/>
                    </a:lnTo>
                    <a:lnTo>
                      <a:pt x="7346801" y="6598805"/>
                    </a:lnTo>
                    <a:lnTo>
                      <a:pt x="7124247" y="6598805"/>
                    </a:lnTo>
                    <a:close/>
                    <a:moveTo>
                      <a:pt x="7353204" y="6360680"/>
                    </a:moveTo>
                    <a:lnTo>
                      <a:pt x="7577292" y="6360680"/>
                    </a:lnTo>
                    <a:lnTo>
                      <a:pt x="7577292" y="6598805"/>
                    </a:lnTo>
                    <a:lnTo>
                      <a:pt x="7353204" y="6598805"/>
                    </a:lnTo>
                    <a:close/>
                    <a:moveTo>
                      <a:pt x="7583695" y="6360680"/>
                    </a:moveTo>
                    <a:lnTo>
                      <a:pt x="7807783" y="6360680"/>
                    </a:lnTo>
                    <a:lnTo>
                      <a:pt x="7807783" y="6598805"/>
                    </a:lnTo>
                    <a:lnTo>
                      <a:pt x="7583695" y="6598805"/>
                    </a:lnTo>
                    <a:close/>
                    <a:moveTo>
                      <a:pt x="7814186" y="6360680"/>
                    </a:moveTo>
                    <a:lnTo>
                      <a:pt x="8038274" y="6360680"/>
                    </a:lnTo>
                    <a:lnTo>
                      <a:pt x="8038274" y="6598805"/>
                    </a:lnTo>
                    <a:lnTo>
                      <a:pt x="7814186" y="6598805"/>
                    </a:lnTo>
                    <a:close/>
                    <a:moveTo>
                      <a:pt x="8044677" y="6360680"/>
                    </a:moveTo>
                    <a:lnTo>
                      <a:pt x="8267227" y="6360680"/>
                    </a:lnTo>
                    <a:lnTo>
                      <a:pt x="8267227" y="6598805"/>
                    </a:lnTo>
                    <a:lnTo>
                      <a:pt x="8044420" y="6598805"/>
                    </a:lnTo>
                    <a:close/>
                    <a:moveTo>
                      <a:pt x="8273629" y="6360680"/>
                    </a:moveTo>
                    <a:lnTo>
                      <a:pt x="8497718" y="6360680"/>
                    </a:lnTo>
                    <a:lnTo>
                      <a:pt x="8497718" y="6598805"/>
                    </a:lnTo>
                    <a:lnTo>
                      <a:pt x="8273629" y="6598805"/>
                    </a:lnTo>
                    <a:close/>
                    <a:moveTo>
                      <a:pt x="8504120" y="6360680"/>
                    </a:moveTo>
                    <a:lnTo>
                      <a:pt x="8728209" y="6360680"/>
                    </a:lnTo>
                    <a:lnTo>
                      <a:pt x="8728209" y="6598805"/>
                    </a:lnTo>
                    <a:lnTo>
                      <a:pt x="8504120" y="6598805"/>
                    </a:lnTo>
                    <a:close/>
                    <a:moveTo>
                      <a:pt x="8734611" y="6360680"/>
                    </a:moveTo>
                    <a:lnTo>
                      <a:pt x="8957162" y="6360680"/>
                    </a:lnTo>
                    <a:lnTo>
                      <a:pt x="8957162" y="6598805"/>
                    </a:lnTo>
                    <a:lnTo>
                      <a:pt x="8734611" y="6598805"/>
                    </a:lnTo>
                    <a:close/>
                    <a:moveTo>
                      <a:pt x="8963564" y="6360680"/>
                    </a:moveTo>
                    <a:lnTo>
                      <a:pt x="9187653" y="6360680"/>
                    </a:lnTo>
                    <a:lnTo>
                      <a:pt x="9187653" y="6598805"/>
                    </a:lnTo>
                    <a:lnTo>
                      <a:pt x="8963564" y="6598805"/>
                    </a:lnTo>
                    <a:close/>
                    <a:moveTo>
                      <a:pt x="9194055" y="6360680"/>
                    </a:moveTo>
                    <a:lnTo>
                      <a:pt x="9418144" y="6360680"/>
                    </a:lnTo>
                    <a:lnTo>
                      <a:pt x="9418144" y="6598805"/>
                    </a:lnTo>
                    <a:lnTo>
                      <a:pt x="9194055" y="6598805"/>
                    </a:lnTo>
                    <a:close/>
                    <a:moveTo>
                      <a:pt x="9424546" y="6360680"/>
                    </a:moveTo>
                    <a:lnTo>
                      <a:pt x="9648635" y="6360680"/>
                    </a:lnTo>
                    <a:lnTo>
                      <a:pt x="9648635" y="6598805"/>
                    </a:lnTo>
                    <a:lnTo>
                      <a:pt x="9424546" y="6598805"/>
                    </a:lnTo>
                    <a:close/>
                    <a:moveTo>
                      <a:pt x="9655037" y="6360680"/>
                    </a:moveTo>
                    <a:lnTo>
                      <a:pt x="9877591" y="6360680"/>
                    </a:lnTo>
                    <a:lnTo>
                      <a:pt x="9877591" y="6598805"/>
                    </a:lnTo>
                    <a:lnTo>
                      <a:pt x="9655037" y="6598805"/>
                    </a:lnTo>
                    <a:close/>
                    <a:moveTo>
                      <a:pt x="9883993" y="6360680"/>
                    </a:moveTo>
                    <a:lnTo>
                      <a:pt x="10108082" y="6360680"/>
                    </a:lnTo>
                    <a:lnTo>
                      <a:pt x="10108082" y="6598805"/>
                    </a:lnTo>
                    <a:lnTo>
                      <a:pt x="9883993" y="6598805"/>
                    </a:lnTo>
                    <a:close/>
                    <a:moveTo>
                      <a:pt x="10114484" y="6360680"/>
                    </a:moveTo>
                    <a:lnTo>
                      <a:pt x="10338573" y="6360680"/>
                    </a:lnTo>
                    <a:lnTo>
                      <a:pt x="10338573" y="6598805"/>
                    </a:lnTo>
                    <a:lnTo>
                      <a:pt x="10114484" y="6598805"/>
                    </a:lnTo>
                    <a:close/>
                    <a:moveTo>
                      <a:pt x="10344975" y="6360680"/>
                    </a:moveTo>
                    <a:lnTo>
                      <a:pt x="10569064" y="6360680"/>
                    </a:lnTo>
                    <a:lnTo>
                      <a:pt x="10569064" y="6598805"/>
                    </a:lnTo>
                    <a:lnTo>
                      <a:pt x="10344975" y="6598805"/>
                    </a:lnTo>
                    <a:close/>
                    <a:moveTo>
                      <a:pt x="10575466" y="6360680"/>
                    </a:moveTo>
                    <a:lnTo>
                      <a:pt x="10798016" y="6360680"/>
                    </a:lnTo>
                    <a:lnTo>
                      <a:pt x="10798016" y="6598805"/>
                    </a:lnTo>
                    <a:lnTo>
                      <a:pt x="10575466" y="6598805"/>
                    </a:lnTo>
                    <a:close/>
                    <a:moveTo>
                      <a:pt x="10804419" y="6360680"/>
                    </a:moveTo>
                    <a:lnTo>
                      <a:pt x="11028507" y="6360680"/>
                    </a:lnTo>
                    <a:lnTo>
                      <a:pt x="11028507" y="6598805"/>
                    </a:lnTo>
                    <a:lnTo>
                      <a:pt x="10804419" y="6598805"/>
                    </a:lnTo>
                    <a:close/>
                    <a:moveTo>
                      <a:pt x="11034910" y="6360680"/>
                    </a:moveTo>
                    <a:lnTo>
                      <a:pt x="11258998" y="6360680"/>
                    </a:lnTo>
                    <a:lnTo>
                      <a:pt x="11258998" y="6598805"/>
                    </a:lnTo>
                    <a:lnTo>
                      <a:pt x="11034910" y="6598805"/>
                    </a:lnTo>
                    <a:close/>
                    <a:moveTo>
                      <a:pt x="11265401" y="6360680"/>
                    </a:moveTo>
                    <a:lnTo>
                      <a:pt x="11487954" y="6360680"/>
                    </a:lnTo>
                    <a:lnTo>
                      <a:pt x="11487954" y="6598805"/>
                    </a:lnTo>
                    <a:lnTo>
                      <a:pt x="11265401" y="6598805"/>
                    </a:lnTo>
                    <a:close/>
                    <a:moveTo>
                      <a:pt x="11494357" y="6360680"/>
                    </a:moveTo>
                    <a:lnTo>
                      <a:pt x="11718445" y="6360680"/>
                    </a:lnTo>
                    <a:lnTo>
                      <a:pt x="11718445" y="6598805"/>
                    </a:lnTo>
                    <a:lnTo>
                      <a:pt x="11494101" y="6598805"/>
                    </a:lnTo>
                    <a:close/>
                    <a:moveTo>
                      <a:pt x="11724848" y="6360680"/>
                    </a:moveTo>
                    <a:lnTo>
                      <a:pt x="11948936" y="6360680"/>
                    </a:lnTo>
                    <a:lnTo>
                      <a:pt x="11948936" y="6598805"/>
                    </a:lnTo>
                    <a:lnTo>
                      <a:pt x="11724592" y="6598805"/>
                    </a:lnTo>
                    <a:close/>
                    <a:moveTo>
                      <a:pt x="11724848" y="6353876"/>
                    </a:moveTo>
                    <a:lnTo>
                      <a:pt x="11724848" y="6117384"/>
                    </a:lnTo>
                    <a:lnTo>
                      <a:pt x="11948936" y="6117384"/>
                    </a:lnTo>
                    <a:lnTo>
                      <a:pt x="11948936" y="6353876"/>
                    </a:lnTo>
                    <a:close/>
                    <a:moveTo>
                      <a:pt x="11724848" y="6110580"/>
                    </a:moveTo>
                    <a:lnTo>
                      <a:pt x="11724848" y="5872455"/>
                    </a:lnTo>
                    <a:lnTo>
                      <a:pt x="11948936" y="5872455"/>
                    </a:lnTo>
                    <a:lnTo>
                      <a:pt x="11948936" y="6110580"/>
                    </a:lnTo>
                    <a:close/>
                    <a:moveTo>
                      <a:pt x="11724848" y="5865652"/>
                    </a:moveTo>
                    <a:lnTo>
                      <a:pt x="11724848" y="5627527"/>
                    </a:lnTo>
                    <a:lnTo>
                      <a:pt x="11948936" y="5627527"/>
                    </a:lnTo>
                    <a:lnTo>
                      <a:pt x="11948936" y="5865652"/>
                    </a:lnTo>
                    <a:close/>
                    <a:moveTo>
                      <a:pt x="11724848" y="5620723"/>
                    </a:moveTo>
                    <a:lnTo>
                      <a:pt x="11724848" y="5382598"/>
                    </a:lnTo>
                    <a:lnTo>
                      <a:pt x="11948936" y="5382598"/>
                    </a:lnTo>
                    <a:lnTo>
                      <a:pt x="11948936" y="5620723"/>
                    </a:lnTo>
                    <a:close/>
                    <a:moveTo>
                      <a:pt x="11724848" y="5375795"/>
                    </a:moveTo>
                    <a:lnTo>
                      <a:pt x="11724848" y="5139302"/>
                    </a:lnTo>
                    <a:lnTo>
                      <a:pt x="11948936" y="5139302"/>
                    </a:lnTo>
                    <a:lnTo>
                      <a:pt x="11948936" y="5375795"/>
                    </a:lnTo>
                    <a:close/>
                    <a:moveTo>
                      <a:pt x="11724848" y="5132499"/>
                    </a:moveTo>
                    <a:lnTo>
                      <a:pt x="11724848" y="4894374"/>
                    </a:lnTo>
                    <a:lnTo>
                      <a:pt x="11948936" y="4894374"/>
                    </a:lnTo>
                    <a:lnTo>
                      <a:pt x="11948936" y="5132090"/>
                    </a:lnTo>
                    <a:close/>
                    <a:moveTo>
                      <a:pt x="11724848" y="4887570"/>
                    </a:moveTo>
                    <a:lnTo>
                      <a:pt x="11724848" y="4649445"/>
                    </a:lnTo>
                    <a:lnTo>
                      <a:pt x="11948936" y="4649445"/>
                    </a:lnTo>
                    <a:lnTo>
                      <a:pt x="11948936" y="4887162"/>
                    </a:lnTo>
                    <a:close/>
                    <a:moveTo>
                      <a:pt x="11724848" y="4642642"/>
                    </a:moveTo>
                    <a:lnTo>
                      <a:pt x="11724848" y="4406149"/>
                    </a:lnTo>
                    <a:lnTo>
                      <a:pt x="11948936" y="4406149"/>
                    </a:lnTo>
                    <a:lnTo>
                      <a:pt x="11948936" y="4642233"/>
                    </a:lnTo>
                    <a:close/>
                    <a:moveTo>
                      <a:pt x="11724848" y="4399346"/>
                    </a:moveTo>
                    <a:lnTo>
                      <a:pt x="11724848" y="4161221"/>
                    </a:lnTo>
                    <a:lnTo>
                      <a:pt x="11948936" y="4161221"/>
                    </a:lnTo>
                    <a:lnTo>
                      <a:pt x="11948936" y="4399346"/>
                    </a:lnTo>
                    <a:close/>
                    <a:moveTo>
                      <a:pt x="11724848" y="4154417"/>
                    </a:moveTo>
                    <a:lnTo>
                      <a:pt x="11724848" y="3916292"/>
                    </a:lnTo>
                    <a:lnTo>
                      <a:pt x="11948936" y="3916292"/>
                    </a:lnTo>
                    <a:lnTo>
                      <a:pt x="11948936" y="4154417"/>
                    </a:lnTo>
                    <a:close/>
                    <a:moveTo>
                      <a:pt x="11724848" y="3909489"/>
                    </a:moveTo>
                    <a:lnTo>
                      <a:pt x="11724848" y="3671364"/>
                    </a:lnTo>
                    <a:lnTo>
                      <a:pt x="11948936" y="3671364"/>
                    </a:lnTo>
                    <a:lnTo>
                      <a:pt x="11948936" y="3909489"/>
                    </a:lnTo>
                    <a:close/>
                    <a:moveTo>
                      <a:pt x="11724848" y="3664560"/>
                    </a:moveTo>
                    <a:lnTo>
                      <a:pt x="11724848" y="3428068"/>
                    </a:lnTo>
                    <a:lnTo>
                      <a:pt x="11948936" y="3428068"/>
                    </a:lnTo>
                    <a:lnTo>
                      <a:pt x="11948936" y="3664560"/>
                    </a:lnTo>
                    <a:close/>
                    <a:moveTo>
                      <a:pt x="11724848" y="3421264"/>
                    </a:moveTo>
                    <a:lnTo>
                      <a:pt x="11724848" y="3183139"/>
                    </a:lnTo>
                    <a:lnTo>
                      <a:pt x="11948936" y="3183139"/>
                    </a:lnTo>
                    <a:lnTo>
                      <a:pt x="11948936" y="3421264"/>
                    </a:lnTo>
                    <a:close/>
                    <a:moveTo>
                      <a:pt x="11724848" y="3176336"/>
                    </a:moveTo>
                    <a:lnTo>
                      <a:pt x="11724848" y="2938211"/>
                    </a:lnTo>
                    <a:lnTo>
                      <a:pt x="11948936" y="2938211"/>
                    </a:lnTo>
                    <a:lnTo>
                      <a:pt x="11948936" y="3176336"/>
                    </a:lnTo>
                    <a:close/>
                    <a:moveTo>
                      <a:pt x="11724848" y="2931407"/>
                    </a:moveTo>
                    <a:lnTo>
                      <a:pt x="11724848" y="2693282"/>
                    </a:lnTo>
                    <a:lnTo>
                      <a:pt x="11948936" y="2693282"/>
                    </a:lnTo>
                    <a:lnTo>
                      <a:pt x="11948936" y="2931407"/>
                    </a:lnTo>
                    <a:close/>
                    <a:moveTo>
                      <a:pt x="11724848" y="2686479"/>
                    </a:moveTo>
                    <a:lnTo>
                      <a:pt x="11724848" y="2449986"/>
                    </a:lnTo>
                    <a:lnTo>
                      <a:pt x="11948936" y="2449986"/>
                    </a:lnTo>
                    <a:lnTo>
                      <a:pt x="11948936" y="2686479"/>
                    </a:lnTo>
                    <a:close/>
                    <a:moveTo>
                      <a:pt x="11724848" y="2443183"/>
                    </a:moveTo>
                    <a:lnTo>
                      <a:pt x="11724848" y="2205058"/>
                    </a:lnTo>
                    <a:lnTo>
                      <a:pt x="11948936" y="2205058"/>
                    </a:lnTo>
                    <a:lnTo>
                      <a:pt x="11948936" y="2443183"/>
                    </a:lnTo>
                    <a:close/>
                    <a:moveTo>
                      <a:pt x="11724848" y="2198254"/>
                    </a:moveTo>
                    <a:lnTo>
                      <a:pt x="11724848" y="1960129"/>
                    </a:lnTo>
                    <a:lnTo>
                      <a:pt x="11948936" y="1960129"/>
                    </a:lnTo>
                    <a:lnTo>
                      <a:pt x="11948936" y="2198254"/>
                    </a:lnTo>
                    <a:close/>
                    <a:moveTo>
                      <a:pt x="11724848" y="1953326"/>
                    </a:moveTo>
                    <a:lnTo>
                      <a:pt x="11724848" y="1716697"/>
                    </a:lnTo>
                    <a:lnTo>
                      <a:pt x="11948936" y="1716697"/>
                    </a:lnTo>
                    <a:lnTo>
                      <a:pt x="11948936" y="1953189"/>
                    </a:lnTo>
                    <a:close/>
                    <a:moveTo>
                      <a:pt x="11724848" y="1710030"/>
                    </a:moveTo>
                    <a:lnTo>
                      <a:pt x="11724848" y="1471769"/>
                    </a:lnTo>
                    <a:lnTo>
                      <a:pt x="11948936" y="1471769"/>
                    </a:lnTo>
                    <a:lnTo>
                      <a:pt x="11948936" y="1709894"/>
                    </a:lnTo>
                    <a:close/>
                    <a:moveTo>
                      <a:pt x="11724848" y="1465101"/>
                    </a:moveTo>
                    <a:lnTo>
                      <a:pt x="11724848" y="1226840"/>
                    </a:lnTo>
                    <a:lnTo>
                      <a:pt x="11948936" y="1226840"/>
                    </a:lnTo>
                    <a:lnTo>
                      <a:pt x="11948936" y="1464965"/>
                    </a:lnTo>
                    <a:close/>
                    <a:moveTo>
                      <a:pt x="11724848" y="1220173"/>
                    </a:moveTo>
                    <a:lnTo>
                      <a:pt x="11724848" y="981911"/>
                    </a:lnTo>
                    <a:lnTo>
                      <a:pt x="11948936" y="981911"/>
                    </a:lnTo>
                    <a:lnTo>
                      <a:pt x="11948936" y="1220036"/>
                    </a:lnTo>
                    <a:close/>
                    <a:moveTo>
                      <a:pt x="11724848" y="975244"/>
                    </a:moveTo>
                    <a:lnTo>
                      <a:pt x="11724848" y="738752"/>
                    </a:lnTo>
                    <a:lnTo>
                      <a:pt x="11948936" y="738752"/>
                    </a:lnTo>
                    <a:lnTo>
                      <a:pt x="11948936" y="975244"/>
                    </a:lnTo>
                    <a:close/>
                    <a:moveTo>
                      <a:pt x="11724848" y="731948"/>
                    </a:moveTo>
                    <a:lnTo>
                      <a:pt x="11724848" y="493823"/>
                    </a:lnTo>
                    <a:lnTo>
                      <a:pt x="11948936" y="493823"/>
                    </a:lnTo>
                    <a:lnTo>
                      <a:pt x="11948936" y="731948"/>
                    </a:lnTo>
                    <a:close/>
                    <a:moveTo>
                      <a:pt x="11724848" y="487020"/>
                    </a:moveTo>
                    <a:lnTo>
                      <a:pt x="11724848" y="248895"/>
                    </a:lnTo>
                    <a:lnTo>
                      <a:pt x="11948936" y="248895"/>
                    </a:lnTo>
                    <a:lnTo>
                      <a:pt x="11948936" y="487020"/>
                    </a:lnTo>
                    <a:close/>
                    <a:moveTo>
                      <a:pt x="11724848" y="242091"/>
                    </a:moveTo>
                    <a:lnTo>
                      <a:pt x="11724848" y="5599"/>
                    </a:lnTo>
                    <a:lnTo>
                      <a:pt x="11948936" y="5599"/>
                    </a:lnTo>
                    <a:lnTo>
                      <a:pt x="11948936" y="242091"/>
                    </a:lnTo>
                    <a:close/>
                    <a:moveTo>
                      <a:pt x="11718445" y="242091"/>
                    </a:moveTo>
                    <a:lnTo>
                      <a:pt x="11494101" y="242091"/>
                    </a:lnTo>
                    <a:lnTo>
                      <a:pt x="11494101" y="5599"/>
                    </a:lnTo>
                    <a:lnTo>
                      <a:pt x="11718189" y="5599"/>
                    </a:lnTo>
                    <a:close/>
                    <a:moveTo>
                      <a:pt x="11487954" y="242091"/>
                    </a:moveTo>
                    <a:lnTo>
                      <a:pt x="11265401" y="242091"/>
                    </a:lnTo>
                    <a:lnTo>
                      <a:pt x="11265401" y="5599"/>
                    </a:lnTo>
                    <a:lnTo>
                      <a:pt x="11487954" y="5599"/>
                    </a:lnTo>
                    <a:close/>
                    <a:moveTo>
                      <a:pt x="11258998" y="242091"/>
                    </a:moveTo>
                    <a:lnTo>
                      <a:pt x="11034910" y="242091"/>
                    </a:lnTo>
                    <a:lnTo>
                      <a:pt x="11034910" y="5599"/>
                    </a:lnTo>
                    <a:lnTo>
                      <a:pt x="11258998" y="5599"/>
                    </a:lnTo>
                    <a:close/>
                    <a:moveTo>
                      <a:pt x="11028507" y="242091"/>
                    </a:moveTo>
                    <a:lnTo>
                      <a:pt x="10804419" y="242091"/>
                    </a:lnTo>
                    <a:lnTo>
                      <a:pt x="10804419" y="5599"/>
                    </a:lnTo>
                    <a:lnTo>
                      <a:pt x="11028507" y="5599"/>
                    </a:lnTo>
                    <a:close/>
                    <a:moveTo>
                      <a:pt x="10798016" y="242091"/>
                    </a:moveTo>
                    <a:lnTo>
                      <a:pt x="10575466" y="242091"/>
                    </a:lnTo>
                    <a:lnTo>
                      <a:pt x="10575466" y="5599"/>
                    </a:lnTo>
                    <a:lnTo>
                      <a:pt x="10798016" y="5599"/>
                    </a:lnTo>
                    <a:close/>
                    <a:moveTo>
                      <a:pt x="10569064" y="242091"/>
                    </a:moveTo>
                    <a:lnTo>
                      <a:pt x="10344975" y="242091"/>
                    </a:lnTo>
                    <a:lnTo>
                      <a:pt x="10344975" y="5599"/>
                    </a:lnTo>
                    <a:lnTo>
                      <a:pt x="10569064" y="5599"/>
                    </a:lnTo>
                    <a:close/>
                    <a:moveTo>
                      <a:pt x="10338573" y="242091"/>
                    </a:moveTo>
                    <a:lnTo>
                      <a:pt x="10114484" y="242091"/>
                    </a:lnTo>
                    <a:lnTo>
                      <a:pt x="10114484" y="5599"/>
                    </a:lnTo>
                    <a:lnTo>
                      <a:pt x="10338573" y="5599"/>
                    </a:lnTo>
                    <a:close/>
                    <a:moveTo>
                      <a:pt x="10108082" y="242091"/>
                    </a:moveTo>
                    <a:lnTo>
                      <a:pt x="9883993" y="242091"/>
                    </a:lnTo>
                    <a:lnTo>
                      <a:pt x="9883993" y="5599"/>
                    </a:lnTo>
                    <a:lnTo>
                      <a:pt x="10108082" y="5599"/>
                    </a:lnTo>
                    <a:close/>
                    <a:moveTo>
                      <a:pt x="9877591" y="242091"/>
                    </a:moveTo>
                    <a:lnTo>
                      <a:pt x="9655037" y="242091"/>
                    </a:lnTo>
                    <a:lnTo>
                      <a:pt x="9655037" y="5599"/>
                    </a:lnTo>
                    <a:lnTo>
                      <a:pt x="9877591" y="5599"/>
                    </a:lnTo>
                    <a:close/>
                    <a:moveTo>
                      <a:pt x="9648635" y="242091"/>
                    </a:moveTo>
                    <a:lnTo>
                      <a:pt x="9424546" y="242091"/>
                    </a:lnTo>
                    <a:lnTo>
                      <a:pt x="9424546" y="5599"/>
                    </a:lnTo>
                    <a:lnTo>
                      <a:pt x="9648635" y="5599"/>
                    </a:lnTo>
                    <a:close/>
                    <a:moveTo>
                      <a:pt x="9418144" y="242091"/>
                    </a:moveTo>
                    <a:lnTo>
                      <a:pt x="9194055" y="242091"/>
                    </a:lnTo>
                    <a:lnTo>
                      <a:pt x="9194055" y="5599"/>
                    </a:lnTo>
                    <a:lnTo>
                      <a:pt x="9418144" y="5599"/>
                    </a:lnTo>
                    <a:close/>
                    <a:moveTo>
                      <a:pt x="9187653" y="242091"/>
                    </a:moveTo>
                    <a:lnTo>
                      <a:pt x="8963564" y="242091"/>
                    </a:lnTo>
                    <a:lnTo>
                      <a:pt x="8963564" y="5599"/>
                    </a:lnTo>
                    <a:lnTo>
                      <a:pt x="9187653" y="5599"/>
                    </a:lnTo>
                    <a:close/>
                    <a:moveTo>
                      <a:pt x="8957162" y="242091"/>
                    </a:moveTo>
                    <a:lnTo>
                      <a:pt x="8734611" y="242091"/>
                    </a:lnTo>
                    <a:lnTo>
                      <a:pt x="8734611" y="5599"/>
                    </a:lnTo>
                    <a:lnTo>
                      <a:pt x="8957162" y="5599"/>
                    </a:lnTo>
                    <a:close/>
                    <a:moveTo>
                      <a:pt x="8728209" y="242091"/>
                    </a:moveTo>
                    <a:lnTo>
                      <a:pt x="8504120" y="242091"/>
                    </a:lnTo>
                    <a:lnTo>
                      <a:pt x="8504120" y="5599"/>
                    </a:lnTo>
                    <a:lnTo>
                      <a:pt x="8728209" y="5599"/>
                    </a:lnTo>
                    <a:close/>
                    <a:moveTo>
                      <a:pt x="8497718" y="242091"/>
                    </a:moveTo>
                    <a:lnTo>
                      <a:pt x="8273629" y="242091"/>
                    </a:lnTo>
                    <a:lnTo>
                      <a:pt x="8273629" y="5599"/>
                    </a:lnTo>
                    <a:lnTo>
                      <a:pt x="8497718" y="5599"/>
                    </a:lnTo>
                    <a:close/>
                    <a:moveTo>
                      <a:pt x="8267227" y="242091"/>
                    </a:moveTo>
                    <a:lnTo>
                      <a:pt x="8044420" y="242091"/>
                    </a:lnTo>
                    <a:lnTo>
                      <a:pt x="8044420" y="5599"/>
                    </a:lnTo>
                    <a:lnTo>
                      <a:pt x="8267227" y="5599"/>
                    </a:lnTo>
                    <a:close/>
                    <a:moveTo>
                      <a:pt x="8038274" y="242091"/>
                    </a:moveTo>
                    <a:lnTo>
                      <a:pt x="7814186" y="242091"/>
                    </a:lnTo>
                    <a:lnTo>
                      <a:pt x="7814186" y="5599"/>
                    </a:lnTo>
                    <a:lnTo>
                      <a:pt x="8038274" y="5599"/>
                    </a:lnTo>
                    <a:close/>
                    <a:moveTo>
                      <a:pt x="7807783" y="242091"/>
                    </a:moveTo>
                    <a:lnTo>
                      <a:pt x="7583695" y="242091"/>
                    </a:lnTo>
                    <a:lnTo>
                      <a:pt x="7583695" y="5599"/>
                    </a:lnTo>
                    <a:lnTo>
                      <a:pt x="7807783" y="5599"/>
                    </a:lnTo>
                    <a:close/>
                    <a:moveTo>
                      <a:pt x="7577292" y="242091"/>
                    </a:moveTo>
                    <a:lnTo>
                      <a:pt x="7353204" y="242091"/>
                    </a:lnTo>
                    <a:lnTo>
                      <a:pt x="7353204" y="5599"/>
                    </a:lnTo>
                    <a:lnTo>
                      <a:pt x="7577292" y="5599"/>
                    </a:lnTo>
                    <a:close/>
                    <a:moveTo>
                      <a:pt x="7346801" y="242091"/>
                    </a:moveTo>
                    <a:lnTo>
                      <a:pt x="7124247" y="242091"/>
                    </a:lnTo>
                    <a:lnTo>
                      <a:pt x="7124247" y="5599"/>
                    </a:lnTo>
                    <a:lnTo>
                      <a:pt x="7346801" y="5599"/>
                    </a:lnTo>
                    <a:close/>
                    <a:moveTo>
                      <a:pt x="7117845" y="242091"/>
                    </a:moveTo>
                    <a:lnTo>
                      <a:pt x="6893756" y="242091"/>
                    </a:lnTo>
                    <a:lnTo>
                      <a:pt x="6893756" y="5599"/>
                    </a:lnTo>
                    <a:lnTo>
                      <a:pt x="7117845" y="5599"/>
                    </a:lnTo>
                    <a:close/>
                    <a:moveTo>
                      <a:pt x="6887354" y="242091"/>
                    </a:moveTo>
                    <a:lnTo>
                      <a:pt x="6663265" y="242091"/>
                    </a:lnTo>
                    <a:lnTo>
                      <a:pt x="6663265" y="5599"/>
                    </a:lnTo>
                    <a:lnTo>
                      <a:pt x="6887354" y="5599"/>
                    </a:lnTo>
                    <a:close/>
                    <a:moveTo>
                      <a:pt x="6656863" y="242091"/>
                    </a:moveTo>
                    <a:lnTo>
                      <a:pt x="6446349" y="242091"/>
                    </a:lnTo>
                    <a:lnTo>
                      <a:pt x="6446349" y="5599"/>
                    </a:lnTo>
                    <a:lnTo>
                      <a:pt x="6656863" y="5599"/>
                    </a:lnTo>
                    <a:close/>
                    <a:moveTo>
                      <a:pt x="6439946" y="242091"/>
                    </a:moveTo>
                    <a:lnTo>
                      <a:pt x="6217136" y="242091"/>
                    </a:lnTo>
                    <a:lnTo>
                      <a:pt x="6217136" y="5599"/>
                    </a:lnTo>
                    <a:lnTo>
                      <a:pt x="6439690" y="5599"/>
                    </a:lnTo>
                    <a:close/>
                    <a:moveTo>
                      <a:pt x="6210990" y="242091"/>
                    </a:moveTo>
                    <a:lnTo>
                      <a:pt x="5986902" y="242091"/>
                    </a:lnTo>
                    <a:lnTo>
                      <a:pt x="5986902" y="5599"/>
                    </a:lnTo>
                    <a:lnTo>
                      <a:pt x="6210990" y="5599"/>
                    </a:lnTo>
                    <a:close/>
                    <a:moveTo>
                      <a:pt x="5980499" y="242091"/>
                    </a:moveTo>
                    <a:lnTo>
                      <a:pt x="5756411" y="242091"/>
                    </a:lnTo>
                    <a:lnTo>
                      <a:pt x="5756411" y="5599"/>
                    </a:lnTo>
                    <a:lnTo>
                      <a:pt x="5980499" y="5599"/>
                    </a:lnTo>
                    <a:close/>
                    <a:moveTo>
                      <a:pt x="5750008" y="242091"/>
                    </a:moveTo>
                    <a:lnTo>
                      <a:pt x="5526945" y="242091"/>
                    </a:lnTo>
                    <a:lnTo>
                      <a:pt x="5526945" y="5599"/>
                    </a:lnTo>
                    <a:lnTo>
                      <a:pt x="5749495" y="5599"/>
                    </a:lnTo>
                    <a:close/>
                    <a:moveTo>
                      <a:pt x="5521055" y="242091"/>
                    </a:moveTo>
                    <a:lnTo>
                      <a:pt x="5296454" y="242091"/>
                    </a:lnTo>
                    <a:lnTo>
                      <a:pt x="5296454" y="5599"/>
                    </a:lnTo>
                    <a:lnTo>
                      <a:pt x="5520542" y="5599"/>
                    </a:lnTo>
                    <a:close/>
                    <a:moveTo>
                      <a:pt x="5290564" y="242091"/>
                    </a:moveTo>
                    <a:lnTo>
                      <a:pt x="5065963" y="242091"/>
                    </a:lnTo>
                    <a:lnTo>
                      <a:pt x="5065963" y="5599"/>
                    </a:lnTo>
                    <a:lnTo>
                      <a:pt x="5290051" y="5599"/>
                    </a:lnTo>
                    <a:close/>
                    <a:moveTo>
                      <a:pt x="5060073" y="242091"/>
                    </a:moveTo>
                    <a:lnTo>
                      <a:pt x="4835472" y="242091"/>
                    </a:lnTo>
                    <a:lnTo>
                      <a:pt x="4835472" y="5599"/>
                    </a:lnTo>
                    <a:lnTo>
                      <a:pt x="5059560" y="5599"/>
                    </a:lnTo>
                    <a:close/>
                    <a:moveTo>
                      <a:pt x="4829582" y="242091"/>
                    </a:moveTo>
                    <a:lnTo>
                      <a:pt x="4607029" y="242091"/>
                    </a:lnTo>
                    <a:lnTo>
                      <a:pt x="4607029" y="5599"/>
                    </a:lnTo>
                    <a:lnTo>
                      <a:pt x="4829582" y="5599"/>
                    </a:lnTo>
                    <a:close/>
                    <a:moveTo>
                      <a:pt x="4600626" y="242091"/>
                    </a:moveTo>
                    <a:lnTo>
                      <a:pt x="4376538" y="242091"/>
                    </a:lnTo>
                    <a:lnTo>
                      <a:pt x="4376538" y="5599"/>
                    </a:lnTo>
                    <a:lnTo>
                      <a:pt x="4600626" y="5599"/>
                    </a:lnTo>
                    <a:close/>
                    <a:moveTo>
                      <a:pt x="4370135" y="242091"/>
                    </a:moveTo>
                    <a:lnTo>
                      <a:pt x="4146047" y="242091"/>
                    </a:lnTo>
                    <a:lnTo>
                      <a:pt x="4146047" y="5599"/>
                    </a:lnTo>
                    <a:lnTo>
                      <a:pt x="4370135" y="5599"/>
                    </a:lnTo>
                    <a:close/>
                    <a:moveTo>
                      <a:pt x="4139644" y="242091"/>
                    </a:moveTo>
                    <a:lnTo>
                      <a:pt x="3917094" y="242091"/>
                    </a:lnTo>
                    <a:lnTo>
                      <a:pt x="3917094" y="5599"/>
                    </a:lnTo>
                    <a:lnTo>
                      <a:pt x="4139644" y="5599"/>
                    </a:lnTo>
                    <a:close/>
                    <a:moveTo>
                      <a:pt x="3910691" y="242091"/>
                    </a:moveTo>
                    <a:lnTo>
                      <a:pt x="3686603" y="242091"/>
                    </a:lnTo>
                    <a:lnTo>
                      <a:pt x="3686603" y="5599"/>
                    </a:lnTo>
                    <a:lnTo>
                      <a:pt x="3910691" y="5599"/>
                    </a:lnTo>
                    <a:close/>
                    <a:moveTo>
                      <a:pt x="3680200" y="242091"/>
                    </a:moveTo>
                    <a:lnTo>
                      <a:pt x="3456112" y="242091"/>
                    </a:lnTo>
                    <a:lnTo>
                      <a:pt x="3456112" y="5599"/>
                    </a:lnTo>
                    <a:lnTo>
                      <a:pt x="3680200" y="5599"/>
                    </a:lnTo>
                    <a:close/>
                    <a:moveTo>
                      <a:pt x="3449709" y="242091"/>
                    </a:moveTo>
                    <a:lnTo>
                      <a:pt x="3225621" y="242091"/>
                    </a:lnTo>
                    <a:lnTo>
                      <a:pt x="3225621" y="5599"/>
                    </a:lnTo>
                    <a:lnTo>
                      <a:pt x="3449709" y="5599"/>
                    </a:lnTo>
                    <a:close/>
                    <a:moveTo>
                      <a:pt x="3219218" y="242091"/>
                    </a:moveTo>
                    <a:lnTo>
                      <a:pt x="2996666" y="242091"/>
                    </a:lnTo>
                    <a:lnTo>
                      <a:pt x="2996666" y="5599"/>
                    </a:lnTo>
                    <a:lnTo>
                      <a:pt x="3219218" y="5599"/>
                    </a:lnTo>
                    <a:close/>
                    <a:moveTo>
                      <a:pt x="2990264" y="242091"/>
                    </a:moveTo>
                    <a:lnTo>
                      <a:pt x="2766175" y="242091"/>
                    </a:lnTo>
                    <a:lnTo>
                      <a:pt x="2766175" y="5599"/>
                    </a:lnTo>
                    <a:lnTo>
                      <a:pt x="2990264" y="5599"/>
                    </a:lnTo>
                    <a:close/>
                    <a:moveTo>
                      <a:pt x="2759773" y="242091"/>
                    </a:moveTo>
                    <a:lnTo>
                      <a:pt x="2535684" y="242091"/>
                    </a:lnTo>
                    <a:lnTo>
                      <a:pt x="2535684" y="5599"/>
                    </a:lnTo>
                    <a:lnTo>
                      <a:pt x="2759773" y="5599"/>
                    </a:lnTo>
                    <a:close/>
                    <a:moveTo>
                      <a:pt x="2529282" y="242091"/>
                    </a:moveTo>
                    <a:lnTo>
                      <a:pt x="2305193" y="242091"/>
                    </a:lnTo>
                    <a:lnTo>
                      <a:pt x="2305193" y="5599"/>
                    </a:lnTo>
                    <a:lnTo>
                      <a:pt x="2529282" y="5599"/>
                    </a:lnTo>
                    <a:close/>
                    <a:moveTo>
                      <a:pt x="2298791" y="242091"/>
                    </a:moveTo>
                    <a:lnTo>
                      <a:pt x="2075982" y="242091"/>
                    </a:lnTo>
                    <a:lnTo>
                      <a:pt x="2075982" y="5599"/>
                    </a:lnTo>
                    <a:lnTo>
                      <a:pt x="2298534" y="5599"/>
                    </a:lnTo>
                    <a:close/>
                    <a:moveTo>
                      <a:pt x="2069836" y="242091"/>
                    </a:moveTo>
                    <a:lnTo>
                      <a:pt x="1845748" y="242091"/>
                    </a:lnTo>
                    <a:lnTo>
                      <a:pt x="1845748" y="5599"/>
                    </a:lnTo>
                    <a:lnTo>
                      <a:pt x="2069580" y="5599"/>
                    </a:lnTo>
                    <a:close/>
                    <a:moveTo>
                      <a:pt x="1839345" y="242091"/>
                    </a:moveTo>
                    <a:lnTo>
                      <a:pt x="1615257" y="242091"/>
                    </a:lnTo>
                    <a:lnTo>
                      <a:pt x="1615257" y="5599"/>
                    </a:lnTo>
                    <a:lnTo>
                      <a:pt x="1839089" y="5599"/>
                    </a:lnTo>
                    <a:close/>
                    <a:moveTo>
                      <a:pt x="1608854" y="242091"/>
                    </a:moveTo>
                    <a:lnTo>
                      <a:pt x="1386302" y="242091"/>
                    </a:lnTo>
                    <a:lnTo>
                      <a:pt x="1386302" y="5599"/>
                    </a:lnTo>
                    <a:lnTo>
                      <a:pt x="1608598" y="5599"/>
                    </a:lnTo>
                    <a:close/>
                    <a:moveTo>
                      <a:pt x="1379900" y="242091"/>
                    </a:moveTo>
                    <a:lnTo>
                      <a:pt x="1155811" y="242091"/>
                    </a:lnTo>
                    <a:lnTo>
                      <a:pt x="1155811" y="5599"/>
                    </a:lnTo>
                    <a:lnTo>
                      <a:pt x="1379900" y="5599"/>
                    </a:lnTo>
                    <a:close/>
                    <a:moveTo>
                      <a:pt x="1149409" y="242091"/>
                    </a:moveTo>
                    <a:lnTo>
                      <a:pt x="925320" y="242091"/>
                    </a:lnTo>
                    <a:lnTo>
                      <a:pt x="925320" y="5599"/>
                    </a:lnTo>
                    <a:lnTo>
                      <a:pt x="1149409" y="5599"/>
                    </a:lnTo>
                    <a:close/>
                    <a:moveTo>
                      <a:pt x="918918" y="242091"/>
                    </a:moveTo>
                    <a:lnTo>
                      <a:pt x="694829" y="242091"/>
                    </a:lnTo>
                    <a:lnTo>
                      <a:pt x="694829" y="5599"/>
                    </a:lnTo>
                    <a:lnTo>
                      <a:pt x="918918" y="5599"/>
                    </a:lnTo>
                    <a:close/>
                    <a:moveTo>
                      <a:pt x="688427" y="242091"/>
                    </a:moveTo>
                    <a:lnTo>
                      <a:pt x="465875" y="242091"/>
                    </a:lnTo>
                    <a:lnTo>
                      <a:pt x="465875" y="5599"/>
                    </a:lnTo>
                    <a:lnTo>
                      <a:pt x="688427" y="5599"/>
                    </a:lnTo>
                    <a:close/>
                    <a:moveTo>
                      <a:pt x="459472" y="242091"/>
                    </a:moveTo>
                    <a:lnTo>
                      <a:pt x="235384" y="242091"/>
                    </a:lnTo>
                    <a:lnTo>
                      <a:pt x="235384" y="5599"/>
                    </a:lnTo>
                    <a:lnTo>
                      <a:pt x="459472" y="5599"/>
                    </a:lnTo>
                    <a:close/>
                    <a:moveTo>
                      <a:pt x="228981" y="242091"/>
                    </a:moveTo>
                    <a:lnTo>
                      <a:pt x="4893" y="242091"/>
                    </a:lnTo>
                    <a:lnTo>
                      <a:pt x="4893" y="5599"/>
                    </a:lnTo>
                    <a:lnTo>
                      <a:pt x="228981" y="5599"/>
                    </a:lnTo>
                    <a:close/>
                    <a:moveTo>
                      <a:pt x="228981" y="248895"/>
                    </a:moveTo>
                    <a:lnTo>
                      <a:pt x="228981" y="487020"/>
                    </a:lnTo>
                    <a:lnTo>
                      <a:pt x="4893" y="487020"/>
                    </a:lnTo>
                    <a:lnTo>
                      <a:pt x="4893" y="248895"/>
                    </a:lnTo>
                    <a:close/>
                    <a:moveTo>
                      <a:pt x="228981" y="493823"/>
                    </a:moveTo>
                    <a:lnTo>
                      <a:pt x="228981" y="731948"/>
                    </a:lnTo>
                    <a:lnTo>
                      <a:pt x="4893" y="731948"/>
                    </a:lnTo>
                    <a:lnTo>
                      <a:pt x="4893" y="493823"/>
                    </a:lnTo>
                    <a:close/>
                    <a:moveTo>
                      <a:pt x="228981" y="738752"/>
                    </a:moveTo>
                    <a:lnTo>
                      <a:pt x="228981" y="975244"/>
                    </a:lnTo>
                    <a:lnTo>
                      <a:pt x="4893" y="975244"/>
                    </a:lnTo>
                    <a:lnTo>
                      <a:pt x="4893" y="738752"/>
                    </a:lnTo>
                    <a:close/>
                    <a:moveTo>
                      <a:pt x="228981" y="982048"/>
                    </a:moveTo>
                    <a:lnTo>
                      <a:pt x="228981" y="1220173"/>
                    </a:lnTo>
                    <a:lnTo>
                      <a:pt x="4893" y="1220173"/>
                    </a:lnTo>
                    <a:lnTo>
                      <a:pt x="4893" y="981911"/>
                    </a:lnTo>
                    <a:close/>
                    <a:moveTo>
                      <a:pt x="228981" y="1226976"/>
                    </a:moveTo>
                    <a:lnTo>
                      <a:pt x="228981" y="1465101"/>
                    </a:lnTo>
                    <a:lnTo>
                      <a:pt x="4893" y="1465101"/>
                    </a:lnTo>
                    <a:lnTo>
                      <a:pt x="4893" y="1226840"/>
                    </a:lnTo>
                    <a:close/>
                    <a:moveTo>
                      <a:pt x="228981" y="1471905"/>
                    </a:moveTo>
                    <a:lnTo>
                      <a:pt x="228981" y="1710030"/>
                    </a:lnTo>
                    <a:lnTo>
                      <a:pt x="4893" y="1710030"/>
                    </a:lnTo>
                    <a:lnTo>
                      <a:pt x="4893" y="1471769"/>
                    </a:lnTo>
                    <a:close/>
                    <a:moveTo>
                      <a:pt x="228981" y="1716833"/>
                    </a:moveTo>
                    <a:lnTo>
                      <a:pt x="228981" y="1953326"/>
                    </a:lnTo>
                    <a:lnTo>
                      <a:pt x="4893" y="1953326"/>
                    </a:lnTo>
                    <a:lnTo>
                      <a:pt x="4893" y="1716697"/>
                    </a:lnTo>
                    <a:close/>
                    <a:moveTo>
                      <a:pt x="228981" y="1960129"/>
                    </a:moveTo>
                    <a:lnTo>
                      <a:pt x="228981" y="2198254"/>
                    </a:lnTo>
                    <a:lnTo>
                      <a:pt x="4893" y="2198254"/>
                    </a:lnTo>
                    <a:lnTo>
                      <a:pt x="4893" y="1960129"/>
                    </a:lnTo>
                    <a:close/>
                    <a:moveTo>
                      <a:pt x="228981" y="2205058"/>
                    </a:moveTo>
                    <a:lnTo>
                      <a:pt x="228981" y="2443183"/>
                    </a:lnTo>
                    <a:lnTo>
                      <a:pt x="4893" y="2443183"/>
                    </a:lnTo>
                    <a:lnTo>
                      <a:pt x="4893" y="2205058"/>
                    </a:lnTo>
                    <a:close/>
                    <a:moveTo>
                      <a:pt x="228981" y="2449986"/>
                    </a:moveTo>
                    <a:lnTo>
                      <a:pt x="228981" y="2686479"/>
                    </a:lnTo>
                    <a:lnTo>
                      <a:pt x="4893" y="2686479"/>
                    </a:lnTo>
                    <a:lnTo>
                      <a:pt x="4893" y="2449986"/>
                    </a:lnTo>
                    <a:close/>
                    <a:moveTo>
                      <a:pt x="228981" y="2693282"/>
                    </a:moveTo>
                    <a:lnTo>
                      <a:pt x="228981" y="2931407"/>
                    </a:lnTo>
                    <a:lnTo>
                      <a:pt x="4893" y="2931407"/>
                    </a:lnTo>
                    <a:lnTo>
                      <a:pt x="4893" y="2693282"/>
                    </a:lnTo>
                    <a:close/>
                    <a:moveTo>
                      <a:pt x="228981" y="2938211"/>
                    </a:moveTo>
                    <a:lnTo>
                      <a:pt x="228981" y="3176336"/>
                    </a:lnTo>
                    <a:lnTo>
                      <a:pt x="4893" y="3176336"/>
                    </a:lnTo>
                    <a:lnTo>
                      <a:pt x="4893" y="2938211"/>
                    </a:lnTo>
                    <a:close/>
                    <a:moveTo>
                      <a:pt x="228981" y="3183139"/>
                    </a:moveTo>
                    <a:lnTo>
                      <a:pt x="228981" y="3421264"/>
                    </a:lnTo>
                    <a:lnTo>
                      <a:pt x="4893" y="3421264"/>
                    </a:lnTo>
                    <a:lnTo>
                      <a:pt x="4893" y="3183139"/>
                    </a:lnTo>
                    <a:close/>
                    <a:moveTo>
                      <a:pt x="228981" y="3428068"/>
                    </a:moveTo>
                    <a:lnTo>
                      <a:pt x="228981" y="3664560"/>
                    </a:lnTo>
                    <a:lnTo>
                      <a:pt x="4893" y="3664560"/>
                    </a:lnTo>
                    <a:lnTo>
                      <a:pt x="4893" y="3428068"/>
                    </a:lnTo>
                    <a:close/>
                    <a:moveTo>
                      <a:pt x="228981" y="3671364"/>
                    </a:moveTo>
                    <a:lnTo>
                      <a:pt x="228981" y="3909489"/>
                    </a:lnTo>
                    <a:lnTo>
                      <a:pt x="4893" y="3909489"/>
                    </a:lnTo>
                    <a:lnTo>
                      <a:pt x="4893" y="3671364"/>
                    </a:lnTo>
                    <a:close/>
                    <a:moveTo>
                      <a:pt x="228981" y="3916292"/>
                    </a:moveTo>
                    <a:lnTo>
                      <a:pt x="228981" y="4154417"/>
                    </a:lnTo>
                    <a:lnTo>
                      <a:pt x="4893" y="4154417"/>
                    </a:lnTo>
                    <a:lnTo>
                      <a:pt x="4893" y="3916292"/>
                    </a:lnTo>
                    <a:close/>
                    <a:moveTo>
                      <a:pt x="228981" y="4161221"/>
                    </a:moveTo>
                    <a:lnTo>
                      <a:pt x="228981" y="4399346"/>
                    </a:lnTo>
                    <a:lnTo>
                      <a:pt x="4893" y="4399346"/>
                    </a:lnTo>
                    <a:lnTo>
                      <a:pt x="4893" y="4161221"/>
                    </a:lnTo>
                    <a:close/>
                    <a:moveTo>
                      <a:pt x="228981" y="4406149"/>
                    </a:moveTo>
                    <a:lnTo>
                      <a:pt x="228981" y="4642233"/>
                    </a:lnTo>
                    <a:lnTo>
                      <a:pt x="4893" y="4642233"/>
                    </a:lnTo>
                    <a:lnTo>
                      <a:pt x="4893" y="4405741"/>
                    </a:lnTo>
                    <a:close/>
                    <a:moveTo>
                      <a:pt x="228981" y="4649445"/>
                    </a:moveTo>
                    <a:lnTo>
                      <a:pt x="228981" y="4887162"/>
                    </a:lnTo>
                    <a:lnTo>
                      <a:pt x="4893" y="4887162"/>
                    </a:lnTo>
                    <a:lnTo>
                      <a:pt x="4893" y="4649037"/>
                    </a:lnTo>
                    <a:close/>
                    <a:moveTo>
                      <a:pt x="228981" y="4894374"/>
                    </a:moveTo>
                    <a:lnTo>
                      <a:pt x="228981" y="5132090"/>
                    </a:lnTo>
                    <a:lnTo>
                      <a:pt x="4893" y="5132090"/>
                    </a:lnTo>
                    <a:lnTo>
                      <a:pt x="4893" y="4893965"/>
                    </a:lnTo>
                    <a:close/>
                    <a:moveTo>
                      <a:pt x="228981" y="5139302"/>
                    </a:moveTo>
                    <a:lnTo>
                      <a:pt x="228981" y="5375795"/>
                    </a:lnTo>
                    <a:lnTo>
                      <a:pt x="4893" y="5375795"/>
                    </a:lnTo>
                    <a:lnTo>
                      <a:pt x="4893" y="5139302"/>
                    </a:lnTo>
                    <a:close/>
                    <a:moveTo>
                      <a:pt x="228981" y="5382598"/>
                    </a:moveTo>
                    <a:lnTo>
                      <a:pt x="228981" y="5620723"/>
                    </a:lnTo>
                    <a:lnTo>
                      <a:pt x="4893" y="5620723"/>
                    </a:lnTo>
                    <a:lnTo>
                      <a:pt x="4893" y="5382598"/>
                    </a:lnTo>
                    <a:close/>
                    <a:moveTo>
                      <a:pt x="228981" y="5627527"/>
                    </a:moveTo>
                    <a:lnTo>
                      <a:pt x="228981" y="5865652"/>
                    </a:lnTo>
                    <a:lnTo>
                      <a:pt x="4893" y="5865652"/>
                    </a:lnTo>
                    <a:lnTo>
                      <a:pt x="4893" y="5627527"/>
                    </a:lnTo>
                    <a:close/>
                    <a:moveTo>
                      <a:pt x="228981" y="5872455"/>
                    </a:moveTo>
                    <a:lnTo>
                      <a:pt x="228981" y="6110580"/>
                    </a:lnTo>
                    <a:lnTo>
                      <a:pt x="4893" y="6110580"/>
                    </a:lnTo>
                    <a:lnTo>
                      <a:pt x="4893" y="5872455"/>
                    </a:lnTo>
                    <a:close/>
                    <a:moveTo>
                      <a:pt x="228981" y="6117384"/>
                    </a:moveTo>
                    <a:lnTo>
                      <a:pt x="228981" y="6353876"/>
                    </a:lnTo>
                    <a:lnTo>
                      <a:pt x="4893" y="6353876"/>
                    </a:lnTo>
                    <a:lnTo>
                      <a:pt x="4893" y="6117384"/>
                    </a:lnTo>
                    <a:close/>
                    <a:moveTo>
                      <a:pt x="228981" y="6360680"/>
                    </a:moveTo>
                    <a:lnTo>
                      <a:pt x="228981" y="6598805"/>
                    </a:lnTo>
                    <a:lnTo>
                      <a:pt x="4893" y="6598805"/>
                    </a:lnTo>
                    <a:lnTo>
                      <a:pt x="4893" y="6360680"/>
                    </a:lnTo>
                    <a:close/>
                    <a:moveTo>
                      <a:pt x="228981" y="6605608"/>
                    </a:moveTo>
                    <a:lnTo>
                      <a:pt x="228981" y="6843733"/>
                    </a:lnTo>
                    <a:lnTo>
                      <a:pt x="4893" y="6843733"/>
                    </a:lnTo>
                    <a:lnTo>
                      <a:pt x="4893" y="6605608"/>
                    </a:lnTo>
                    <a:close/>
                    <a:moveTo>
                      <a:pt x="235384" y="6605608"/>
                    </a:moveTo>
                    <a:lnTo>
                      <a:pt x="459472" y="6605608"/>
                    </a:lnTo>
                    <a:lnTo>
                      <a:pt x="459472" y="6843733"/>
                    </a:lnTo>
                    <a:lnTo>
                      <a:pt x="235384" y="6843733"/>
                    </a:lnTo>
                    <a:close/>
                    <a:moveTo>
                      <a:pt x="465875" y="6605608"/>
                    </a:moveTo>
                    <a:lnTo>
                      <a:pt x="688427" y="6605608"/>
                    </a:lnTo>
                    <a:lnTo>
                      <a:pt x="688427" y="6843733"/>
                    </a:lnTo>
                    <a:lnTo>
                      <a:pt x="465875" y="6843733"/>
                    </a:lnTo>
                    <a:close/>
                    <a:moveTo>
                      <a:pt x="694829" y="6605608"/>
                    </a:moveTo>
                    <a:lnTo>
                      <a:pt x="918918" y="6605608"/>
                    </a:lnTo>
                    <a:lnTo>
                      <a:pt x="918918" y="6843733"/>
                    </a:lnTo>
                    <a:lnTo>
                      <a:pt x="694829" y="6843733"/>
                    </a:lnTo>
                    <a:close/>
                    <a:moveTo>
                      <a:pt x="925320" y="6605608"/>
                    </a:moveTo>
                    <a:lnTo>
                      <a:pt x="1149409" y="6605608"/>
                    </a:lnTo>
                    <a:lnTo>
                      <a:pt x="1149409" y="6843733"/>
                    </a:lnTo>
                    <a:lnTo>
                      <a:pt x="925320" y="6843733"/>
                    </a:lnTo>
                    <a:close/>
                    <a:moveTo>
                      <a:pt x="1155811" y="6605608"/>
                    </a:moveTo>
                    <a:lnTo>
                      <a:pt x="1379900" y="6605608"/>
                    </a:lnTo>
                    <a:lnTo>
                      <a:pt x="1379900" y="6843733"/>
                    </a:lnTo>
                    <a:lnTo>
                      <a:pt x="1155811" y="6843733"/>
                    </a:lnTo>
                    <a:close/>
                    <a:moveTo>
                      <a:pt x="1386302" y="6605608"/>
                    </a:moveTo>
                    <a:lnTo>
                      <a:pt x="1608598" y="6605608"/>
                    </a:lnTo>
                    <a:lnTo>
                      <a:pt x="1608598" y="6843733"/>
                    </a:lnTo>
                    <a:lnTo>
                      <a:pt x="1386046" y="6843733"/>
                    </a:lnTo>
                    <a:close/>
                    <a:moveTo>
                      <a:pt x="1615257" y="6605608"/>
                    </a:moveTo>
                    <a:lnTo>
                      <a:pt x="1839089" y="6605608"/>
                    </a:lnTo>
                    <a:lnTo>
                      <a:pt x="1839089" y="6843733"/>
                    </a:lnTo>
                    <a:lnTo>
                      <a:pt x="1615000" y="6843733"/>
                    </a:lnTo>
                    <a:close/>
                    <a:moveTo>
                      <a:pt x="1845748" y="6605608"/>
                    </a:moveTo>
                    <a:lnTo>
                      <a:pt x="2069580" y="6605608"/>
                    </a:lnTo>
                    <a:lnTo>
                      <a:pt x="2069580" y="6843733"/>
                    </a:lnTo>
                    <a:lnTo>
                      <a:pt x="1845491" y="6843733"/>
                    </a:lnTo>
                    <a:close/>
                    <a:moveTo>
                      <a:pt x="2076239" y="6605608"/>
                    </a:moveTo>
                    <a:lnTo>
                      <a:pt x="2298791" y="6605608"/>
                    </a:lnTo>
                    <a:lnTo>
                      <a:pt x="2298791" y="6843733"/>
                    </a:lnTo>
                    <a:lnTo>
                      <a:pt x="2075982" y="6843733"/>
                    </a:lnTo>
                    <a:close/>
                    <a:moveTo>
                      <a:pt x="2305193" y="6605608"/>
                    </a:moveTo>
                    <a:lnTo>
                      <a:pt x="2529282" y="6605608"/>
                    </a:lnTo>
                    <a:lnTo>
                      <a:pt x="2529282" y="6843733"/>
                    </a:lnTo>
                    <a:lnTo>
                      <a:pt x="2305193" y="6843733"/>
                    </a:lnTo>
                    <a:close/>
                    <a:moveTo>
                      <a:pt x="2535684" y="6605608"/>
                    </a:moveTo>
                    <a:lnTo>
                      <a:pt x="2759773" y="6605608"/>
                    </a:lnTo>
                    <a:lnTo>
                      <a:pt x="2759773" y="6843733"/>
                    </a:lnTo>
                    <a:lnTo>
                      <a:pt x="2535684" y="6843733"/>
                    </a:lnTo>
                    <a:close/>
                    <a:moveTo>
                      <a:pt x="2766175" y="6605608"/>
                    </a:moveTo>
                    <a:lnTo>
                      <a:pt x="2990264" y="6605608"/>
                    </a:lnTo>
                    <a:lnTo>
                      <a:pt x="2990264" y="6843733"/>
                    </a:lnTo>
                    <a:lnTo>
                      <a:pt x="2766175" y="6843733"/>
                    </a:lnTo>
                    <a:close/>
                    <a:moveTo>
                      <a:pt x="2996666" y="6605608"/>
                    </a:moveTo>
                    <a:lnTo>
                      <a:pt x="3219218" y="6605608"/>
                    </a:lnTo>
                    <a:lnTo>
                      <a:pt x="3219218" y="6843733"/>
                    </a:lnTo>
                    <a:lnTo>
                      <a:pt x="2996666" y="6843733"/>
                    </a:lnTo>
                    <a:close/>
                    <a:moveTo>
                      <a:pt x="3225621" y="6605608"/>
                    </a:moveTo>
                    <a:lnTo>
                      <a:pt x="3449709" y="6605608"/>
                    </a:lnTo>
                    <a:lnTo>
                      <a:pt x="3449709" y="6843733"/>
                    </a:lnTo>
                    <a:lnTo>
                      <a:pt x="3225621" y="6843733"/>
                    </a:lnTo>
                    <a:close/>
                    <a:moveTo>
                      <a:pt x="3456112" y="6605608"/>
                    </a:moveTo>
                    <a:lnTo>
                      <a:pt x="3680200" y="6605608"/>
                    </a:lnTo>
                    <a:lnTo>
                      <a:pt x="3680200" y="6843733"/>
                    </a:lnTo>
                    <a:lnTo>
                      <a:pt x="3456112" y="6843733"/>
                    </a:lnTo>
                    <a:close/>
                    <a:moveTo>
                      <a:pt x="3686603" y="6605608"/>
                    </a:moveTo>
                    <a:lnTo>
                      <a:pt x="3910691" y="6605608"/>
                    </a:lnTo>
                    <a:lnTo>
                      <a:pt x="3910691" y="6843733"/>
                    </a:lnTo>
                    <a:lnTo>
                      <a:pt x="3686603" y="6843733"/>
                    </a:lnTo>
                    <a:close/>
                    <a:moveTo>
                      <a:pt x="3917094" y="6605608"/>
                    </a:moveTo>
                    <a:lnTo>
                      <a:pt x="4139644" y="6605608"/>
                    </a:lnTo>
                    <a:lnTo>
                      <a:pt x="4139644" y="6843733"/>
                    </a:lnTo>
                    <a:lnTo>
                      <a:pt x="3917094" y="6843733"/>
                    </a:lnTo>
                    <a:close/>
                    <a:moveTo>
                      <a:pt x="4146047" y="6605608"/>
                    </a:moveTo>
                    <a:lnTo>
                      <a:pt x="4370135" y="6605608"/>
                    </a:lnTo>
                    <a:lnTo>
                      <a:pt x="4370135" y="6843733"/>
                    </a:lnTo>
                    <a:lnTo>
                      <a:pt x="4146047" y="6843733"/>
                    </a:lnTo>
                    <a:close/>
                    <a:moveTo>
                      <a:pt x="4376538" y="6605608"/>
                    </a:moveTo>
                    <a:lnTo>
                      <a:pt x="4600626" y="6605608"/>
                    </a:lnTo>
                    <a:lnTo>
                      <a:pt x="4600626" y="6843733"/>
                    </a:lnTo>
                    <a:lnTo>
                      <a:pt x="4376538" y="6843733"/>
                    </a:lnTo>
                    <a:close/>
                    <a:moveTo>
                      <a:pt x="4607029" y="6605608"/>
                    </a:moveTo>
                    <a:lnTo>
                      <a:pt x="4829582" y="6605608"/>
                    </a:lnTo>
                    <a:lnTo>
                      <a:pt x="4829582" y="6843733"/>
                    </a:lnTo>
                    <a:lnTo>
                      <a:pt x="4607029" y="6843733"/>
                    </a:lnTo>
                    <a:close/>
                    <a:moveTo>
                      <a:pt x="4835985" y="6605608"/>
                    </a:moveTo>
                    <a:lnTo>
                      <a:pt x="5060073" y="6605608"/>
                    </a:lnTo>
                    <a:lnTo>
                      <a:pt x="5060073" y="6843733"/>
                    </a:lnTo>
                    <a:lnTo>
                      <a:pt x="4835472" y="6843733"/>
                    </a:lnTo>
                    <a:close/>
                    <a:moveTo>
                      <a:pt x="5066476" y="6605608"/>
                    </a:moveTo>
                    <a:lnTo>
                      <a:pt x="5290564" y="6605608"/>
                    </a:lnTo>
                    <a:lnTo>
                      <a:pt x="5290564" y="6843733"/>
                    </a:lnTo>
                    <a:lnTo>
                      <a:pt x="5065963" y="6843733"/>
                    </a:lnTo>
                    <a:close/>
                    <a:moveTo>
                      <a:pt x="5296967" y="6605608"/>
                    </a:moveTo>
                    <a:lnTo>
                      <a:pt x="5521055" y="6605608"/>
                    </a:lnTo>
                    <a:lnTo>
                      <a:pt x="5521055" y="6843733"/>
                    </a:lnTo>
                    <a:lnTo>
                      <a:pt x="5296454" y="6843733"/>
                    </a:lnTo>
                    <a:close/>
                    <a:moveTo>
                      <a:pt x="5527458" y="6605608"/>
                    </a:moveTo>
                    <a:lnTo>
                      <a:pt x="5750008" y="6605608"/>
                    </a:lnTo>
                    <a:lnTo>
                      <a:pt x="5750008" y="6843733"/>
                    </a:lnTo>
                    <a:lnTo>
                      <a:pt x="5526945" y="6843733"/>
                    </a:lnTo>
                    <a:close/>
                    <a:moveTo>
                      <a:pt x="5756411" y="6605608"/>
                    </a:moveTo>
                    <a:lnTo>
                      <a:pt x="5980499" y="6605608"/>
                    </a:lnTo>
                    <a:lnTo>
                      <a:pt x="5980499" y="6843733"/>
                    </a:lnTo>
                    <a:lnTo>
                      <a:pt x="5756411" y="6843733"/>
                    </a:lnTo>
                    <a:close/>
                    <a:moveTo>
                      <a:pt x="5986902" y="6605608"/>
                    </a:moveTo>
                    <a:lnTo>
                      <a:pt x="6210990" y="6605608"/>
                    </a:lnTo>
                    <a:lnTo>
                      <a:pt x="6210990" y="6843733"/>
                    </a:lnTo>
                    <a:lnTo>
                      <a:pt x="5986902" y="6843733"/>
                    </a:lnTo>
                    <a:close/>
                    <a:moveTo>
                      <a:pt x="6217393" y="6605608"/>
                    </a:moveTo>
                    <a:lnTo>
                      <a:pt x="6439946" y="6605608"/>
                    </a:lnTo>
                    <a:lnTo>
                      <a:pt x="6439946" y="6843733"/>
                    </a:lnTo>
                    <a:lnTo>
                      <a:pt x="6217136" y="6843733"/>
                    </a:lnTo>
                    <a:close/>
                    <a:moveTo>
                      <a:pt x="6446349" y="6605608"/>
                    </a:moveTo>
                    <a:lnTo>
                      <a:pt x="6656863" y="6605608"/>
                    </a:lnTo>
                    <a:lnTo>
                      <a:pt x="6656863" y="6843733"/>
                    </a:lnTo>
                    <a:lnTo>
                      <a:pt x="6446349" y="6843733"/>
                    </a:lnTo>
                    <a:close/>
                    <a:moveTo>
                      <a:pt x="6663265" y="6605608"/>
                    </a:moveTo>
                    <a:lnTo>
                      <a:pt x="6887354" y="6605608"/>
                    </a:lnTo>
                    <a:lnTo>
                      <a:pt x="6887354" y="6843733"/>
                    </a:lnTo>
                    <a:lnTo>
                      <a:pt x="6663265" y="6843733"/>
                    </a:lnTo>
                    <a:close/>
                    <a:moveTo>
                      <a:pt x="6893756" y="6605608"/>
                    </a:moveTo>
                    <a:lnTo>
                      <a:pt x="7117845" y="6605608"/>
                    </a:lnTo>
                    <a:lnTo>
                      <a:pt x="7117845" y="6843733"/>
                    </a:lnTo>
                    <a:lnTo>
                      <a:pt x="6893756" y="6843733"/>
                    </a:lnTo>
                    <a:close/>
                    <a:moveTo>
                      <a:pt x="7124247" y="6605608"/>
                    </a:moveTo>
                    <a:lnTo>
                      <a:pt x="7346801" y="6605608"/>
                    </a:lnTo>
                    <a:lnTo>
                      <a:pt x="7346801" y="6843733"/>
                    </a:lnTo>
                    <a:lnTo>
                      <a:pt x="7124247" y="6843733"/>
                    </a:lnTo>
                    <a:close/>
                    <a:moveTo>
                      <a:pt x="7353204" y="6605608"/>
                    </a:moveTo>
                    <a:lnTo>
                      <a:pt x="7577292" y="6605608"/>
                    </a:lnTo>
                    <a:lnTo>
                      <a:pt x="7577292" y="6843733"/>
                    </a:lnTo>
                    <a:lnTo>
                      <a:pt x="7353204" y="6843733"/>
                    </a:lnTo>
                    <a:close/>
                    <a:moveTo>
                      <a:pt x="7583695" y="6605608"/>
                    </a:moveTo>
                    <a:lnTo>
                      <a:pt x="7807783" y="6605608"/>
                    </a:lnTo>
                    <a:lnTo>
                      <a:pt x="7807783" y="6843733"/>
                    </a:lnTo>
                    <a:lnTo>
                      <a:pt x="7583695" y="6843733"/>
                    </a:lnTo>
                    <a:close/>
                    <a:moveTo>
                      <a:pt x="7814186" y="6605608"/>
                    </a:moveTo>
                    <a:lnTo>
                      <a:pt x="8038274" y="6605608"/>
                    </a:lnTo>
                    <a:lnTo>
                      <a:pt x="8038274" y="6843733"/>
                    </a:lnTo>
                    <a:lnTo>
                      <a:pt x="7814186" y="6843733"/>
                    </a:lnTo>
                    <a:close/>
                    <a:moveTo>
                      <a:pt x="8044677" y="6605608"/>
                    </a:moveTo>
                    <a:lnTo>
                      <a:pt x="8267227" y="6605608"/>
                    </a:lnTo>
                    <a:lnTo>
                      <a:pt x="8267227" y="6843733"/>
                    </a:lnTo>
                    <a:lnTo>
                      <a:pt x="8044420" y="6843733"/>
                    </a:lnTo>
                    <a:close/>
                    <a:moveTo>
                      <a:pt x="8273629" y="6605608"/>
                    </a:moveTo>
                    <a:lnTo>
                      <a:pt x="8497718" y="6605608"/>
                    </a:lnTo>
                    <a:lnTo>
                      <a:pt x="8497718" y="6843733"/>
                    </a:lnTo>
                    <a:lnTo>
                      <a:pt x="8273629" y="6843733"/>
                    </a:lnTo>
                    <a:close/>
                    <a:moveTo>
                      <a:pt x="8504120" y="6605608"/>
                    </a:moveTo>
                    <a:lnTo>
                      <a:pt x="8728209" y="6605608"/>
                    </a:lnTo>
                    <a:lnTo>
                      <a:pt x="8728209" y="6843733"/>
                    </a:lnTo>
                    <a:lnTo>
                      <a:pt x="8504120" y="6843733"/>
                    </a:lnTo>
                    <a:close/>
                    <a:moveTo>
                      <a:pt x="8734611" y="6605608"/>
                    </a:moveTo>
                    <a:lnTo>
                      <a:pt x="8957162" y="6605608"/>
                    </a:lnTo>
                    <a:lnTo>
                      <a:pt x="8957162" y="6843733"/>
                    </a:lnTo>
                    <a:lnTo>
                      <a:pt x="8734611" y="6843733"/>
                    </a:lnTo>
                    <a:close/>
                    <a:moveTo>
                      <a:pt x="8963564" y="6605608"/>
                    </a:moveTo>
                    <a:lnTo>
                      <a:pt x="9187653" y="6605608"/>
                    </a:lnTo>
                    <a:lnTo>
                      <a:pt x="9187653" y="6843733"/>
                    </a:lnTo>
                    <a:lnTo>
                      <a:pt x="8963564" y="6843733"/>
                    </a:lnTo>
                    <a:close/>
                    <a:moveTo>
                      <a:pt x="9194055" y="6605608"/>
                    </a:moveTo>
                    <a:lnTo>
                      <a:pt x="9418144" y="6605608"/>
                    </a:lnTo>
                    <a:lnTo>
                      <a:pt x="9418144" y="6843733"/>
                    </a:lnTo>
                    <a:lnTo>
                      <a:pt x="9194055" y="6843733"/>
                    </a:lnTo>
                    <a:close/>
                    <a:moveTo>
                      <a:pt x="9424546" y="6605608"/>
                    </a:moveTo>
                    <a:lnTo>
                      <a:pt x="9648635" y="6605608"/>
                    </a:lnTo>
                    <a:lnTo>
                      <a:pt x="9648635" y="6843733"/>
                    </a:lnTo>
                    <a:lnTo>
                      <a:pt x="9424546" y="6843733"/>
                    </a:lnTo>
                    <a:close/>
                    <a:moveTo>
                      <a:pt x="9655037" y="6605608"/>
                    </a:moveTo>
                    <a:lnTo>
                      <a:pt x="9877591" y="6605608"/>
                    </a:lnTo>
                    <a:lnTo>
                      <a:pt x="9877591" y="6843733"/>
                    </a:lnTo>
                    <a:lnTo>
                      <a:pt x="9655037" y="6843733"/>
                    </a:lnTo>
                    <a:close/>
                    <a:moveTo>
                      <a:pt x="9883993" y="6605608"/>
                    </a:moveTo>
                    <a:lnTo>
                      <a:pt x="10108082" y="6605608"/>
                    </a:lnTo>
                    <a:lnTo>
                      <a:pt x="10108082" y="6843733"/>
                    </a:lnTo>
                    <a:lnTo>
                      <a:pt x="9883993" y="6843733"/>
                    </a:lnTo>
                    <a:close/>
                    <a:moveTo>
                      <a:pt x="10114484" y="6605608"/>
                    </a:moveTo>
                    <a:lnTo>
                      <a:pt x="10338573" y="6605608"/>
                    </a:lnTo>
                    <a:lnTo>
                      <a:pt x="10338573" y="6843733"/>
                    </a:lnTo>
                    <a:lnTo>
                      <a:pt x="10114484" y="6843733"/>
                    </a:lnTo>
                    <a:close/>
                    <a:moveTo>
                      <a:pt x="10344975" y="6605608"/>
                    </a:moveTo>
                    <a:lnTo>
                      <a:pt x="10569064" y="6605608"/>
                    </a:lnTo>
                    <a:lnTo>
                      <a:pt x="10569064" y="6843733"/>
                    </a:lnTo>
                    <a:lnTo>
                      <a:pt x="10344975" y="6843733"/>
                    </a:lnTo>
                    <a:close/>
                    <a:moveTo>
                      <a:pt x="10575466" y="6605608"/>
                    </a:moveTo>
                    <a:lnTo>
                      <a:pt x="10798016" y="6605608"/>
                    </a:lnTo>
                    <a:lnTo>
                      <a:pt x="10798016" y="6843733"/>
                    </a:lnTo>
                    <a:lnTo>
                      <a:pt x="10575466" y="6843733"/>
                    </a:lnTo>
                    <a:close/>
                    <a:moveTo>
                      <a:pt x="10804419" y="6605608"/>
                    </a:moveTo>
                    <a:lnTo>
                      <a:pt x="11028507" y="6605608"/>
                    </a:lnTo>
                    <a:lnTo>
                      <a:pt x="11028507" y="6843733"/>
                    </a:lnTo>
                    <a:lnTo>
                      <a:pt x="10804419" y="6843733"/>
                    </a:lnTo>
                    <a:close/>
                    <a:moveTo>
                      <a:pt x="11034910" y="6605608"/>
                    </a:moveTo>
                    <a:lnTo>
                      <a:pt x="11258998" y="6605608"/>
                    </a:lnTo>
                    <a:lnTo>
                      <a:pt x="11258998" y="6843733"/>
                    </a:lnTo>
                    <a:lnTo>
                      <a:pt x="11034910" y="6843733"/>
                    </a:lnTo>
                    <a:close/>
                    <a:moveTo>
                      <a:pt x="11265401" y="6605608"/>
                    </a:moveTo>
                    <a:lnTo>
                      <a:pt x="11487954" y="6605608"/>
                    </a:lnTo>
                    <a:lnTo>
                      <a:pt x="11487954" y="6843733"/>
                    </a:lnTo>
                    <a:lnTo>
                      <a:pt x="11265401" y="6843733"/>
                    </a:lnTo>
                    <a:close/>
                    <a:moveTo>
                      <a:pt x="11494357" y="6605608"/>
                    </a:moveTo>
                    <a:lnTo>
                      <a:pt x="11718445" y="6605608"/>
                    </a:lnTo>
                    <a:lnTo>
                      <a:pt x="11718445" y="6843733"/>
                    </a:lnTo>
                    <a:lnTo>
                      <a:pt x="11494101" y="6843733"/>
                    </a:lnTo>
                    <a:close/>
                    <a:moveTo>
                      <a:pt x="11724848" y="6605608"/>
                    </a:moveTo>
                    <a:lnTo>
                      <a:pt x="11948936" y="6605608"/>
                    </a:lnTo>
                    <a:lnTo>
                      <a:pt x="11948936" y="6843733"/>
                    </a:lnTo>
                    <a:lnTo>
                      <a:pt x="11724592" y="6843733"/>
                    </a:lnTo>
                    <a:close/>
                    <a:moveTo>
                      <a:pt x="11955339" y="6605608"/>
                    </a:moveTo>
                    <a:lnTo>
                      <a:pt x="12179427" y="6605608"/>
                    </a:lnTo>
                    <a:lnTo>
                      <a:pt x="12179427" y="6843733"/>
                    </a:lnTo>
                    <a:lnTo>
                      <a:pt x="11955083" y="6843733"/>
                    </a:lnTo>
                    <a:close/>
                    <a:moveTo>
                      <a:pt x="11955339" y="6598805"/>
                    </a:moveTo>
                    <a:lnTo>
                      <a:pt x="11955339" y="6360680"/>
                    </a:lnTo>
                    <a:lnTo>
                      <a:pt x="12179427" y="6360680"/>
                    </a:lnTo>
                    <a:lnTo>
                      <a:pt x="12179427" y="6598805"/>
                    </a:lnTo>
                    <a:close/>
                    <a:moveTo>
                      <a:pt x="11955339" y="6353876"/>
                    </a:moveTo>
                    <a:lnTo>
                      <a:pt x="11955339" y="6117384"/>
                    </a:lnTo>
                    <a:lnTo>
                      <a:pt x="12179427" y="6117384"/>
                    </a:lnTo>
                    <a:lnTo>
                      <a:pt x="12179427" y="6353876"/>
                    </a:lnTo>
                    <a:close/>
                    <a:moveTo>
                      <a:pt x="11955339" y="6110580"/>
                    </a:moveTo>
                    <a:lnTo>
                      <a:pt x="11955339" y="5872455"/>
                    </a:lnTo>
                    <a:lnTo>
                      <a:pt x="12179427" y="5872455"/>
                    </a:lnTo>
                    <a:lnTo>
                      <a:pt x="12179427" y="6110580"/>
                    </a:lnTo>
                    <a:close/>
                    <a:moveTo>
                      <a:pt x="11955339" y="5865652"/>
                    </a:moveTo>
                    <a:lnTo>
                      <a:pt x="11955339" y="5627527"/>
                    </a:lnTo>
                    <a:lnTo>
                      <a:pt x="12179427" y="5627527"/>
                    </a:lnTo>
                    <a:lnTo>
                      <a:pt x="12179427" y="5865652"/>
                    </a:lnTo>
                    <a:close/>
                    <a:moveTo>
                      <a:pt x="11955339" y="5620723"/>
                    </a:moveTo>
                    <a:lnTo>
                      <a:pt x="11955339" y="5382598"/>
                    </a:lnTo>
                    <a:lnTo>
                      <a:pt x="12179427" y="5382598"/>
                    </a:lnTo>
                    <a:lnTo>
                      <a:pt x="12179427" y="5620723"/>
                    </a:lnTo>
                    <a:close/>
                    <a:moveTo>
                      <a:pt x="11955339" y="5375795"/>
                    </a:moveTo>
                    <a:lnTo>
                      <a:pt x="11955339" y="5139302"/>
                    </a:lnTo>
                    <a:lnTo>
                      <a:pt x="12179427" y="5139302"/>
                    </a:lnTo>
                    <a:lnTo>
                      <a:pt x="12179427" y="5375795"/>
                    </a:lnTo>
                    <a:close/>
                    <a:moveTo>
                      <a:pt x="11955339" y="5132499"/>
                    </a:moveTo>
                    <a:lnTo>
                      <a:pt x="11955339" y="4894374"/>
                    </a:lnTo>
                    <a:lnTo>
                      <a:pt x="12179427" y="4894374"/>
                    </a:lnTo>
                    <a:lnTo>
                      <a:pt x="12179427" y="5132090"/>
                    </a:lnTo>
                    <a:close/>
                    <a:moveTo>
                      <a:pt x="11955339" y="4887570"/>
                    </a:moveTo>
                    <a:lnTo>
                      <a:pt x="11955339" y="4649445"/>
                    </a:lnTo>
                    <a:lnTo>
                      <a:pt x="12179427" y="4649445"/>
                    </a:lnTo>
                    <a:lnTo>
                      <a:pt x="12179427" y="4887162"/>
                    </a:lnTo>
                    <a:close/>
                    <a:moveTo>
                      <a:pt x="11955339" y="4642642"/>
                    </a:moveTo>
                    <a:lnTo>
                      <a:pt x="11955339" y="4406149"/>
                    </a:lnTo>
                    <a:lnTo>
                      <a:pt x="12179427" y="4406149"/>
                    </a:lnTo>
                    <a:lnTo>
                      <a:pt x="12179427" y="4642233"/>
                    </a:lnTo>
                    <a:close/>
                    <a:moveTo>
                      <a:pt x="11955339" y="4399346"/>
                    </a:moveTo>
                    <a:lnTo>
                      <a:pt x="11955339" y="4161221"/>
                    </a:lnTo>
                    <a:lnTo>
                      <a:pt x="12179427" y="4161221"/>
                    </a:lnTo>
                    <a:lnTo>
                      <a:pt x="12179427" y="4399346"/>
                    </a:lnTo>
                    <a:close/>
                    <a:moveTo>
                      <a:pt x="11955339" y="4154417"/>
                    </a:moveTo>
                    <a:lnTo>
                      <a:pt x="11955339" y="3916292"/>
                    </a:lnTo>
                    <a:lnTo>
                      <a:pt x="12179427" y="3916292"/>
                    </a:lnTo>
                    <a:lnTo>
                      <a:pt x="12179427" y="4154417"/>
                    </a:lnTo>
                    <a:close/>
                    <a:moveTo>
                      <a:pt x="11955339" y="3909489"/>
                    </a:moveTo>
                    <a:lnTo>
                      <a:pt x="11955339" y="3671364"/>
                    </a:lnTo>
                    <a:lnTo>
                      <a:pt x="12179427" y="3671364"/>
                    </a:lnTo>
                    <a:lnTo>
                      <a:pt x="12179427" y="3909489"/>
                    </a:lnTo>
                    <a:close/>
                    <a:moveTo>
                      <a:pt x="11955339" y="3664560"/>
                    </a:moveTo>
                    <a:lnTo>
                      <a:pt x="11955339" y="3428068"/>
                    </a:lnTo>
                    <a:lnTo>
                      <a:pt x="12179427" y="3428068"/>
                    </a:lnTo>
                    <a:lnTo>
                      <a:pt x="12179427" y="3664560"/>
                    </a:lnTo>
                    <a:close/>
                    <a:moveTo>
                      <a:pt x="11955339" y="3421264"/>
                    </a:moveTo>
                    <a:lnTo>
                      <a:pt x="11955339" y="3183139"/>
                    </a:lnTo>
                    <a:lnTo>
                      <a:pt x="12179427" y="3183139"/>
                    </a:lnTo>
                    <a:lnTo>
                      <a:pt x="12179427" y="3421264"/>
                    </a:lnTo>
                    <a:close/>
                    <a:moveTo>
                      <a:pt x="11955339" y="3176336"/>
                    </a:moveTo>
                    <a:lnTo>
                      <a:pt x="11955339" y="2938211"/>
                    </a:lnTo>
                    <a:lnTo>
                      <a:pt x="12179427" y="2938211"/>
                    </a:lnTo>
                    <a:lnTo>
                      <a:pt x="12179427" y="3176336"/>
                    </a:lnTo>
                    <a:close/>
                    <a:moveTo>
                      <a:pt x="11955339" y="2931407"/>
                    </a:moveTo>
                    <a:lnTo>
                      <a:pt x="11955339" y="2693282"/>
                    </a:lnTo>
                    <a:lnTo>
                      <a:pt x="12179427" y="2693282"/>
                    </a:lnTo>
                    <a:lnTo>
                      <a:pt x="12179427" y="2931407"/>
                    </a:lnTo>
                    <a:close/>
                    <a:moveTo>
                      <a:pt x="11955339" y="2686479"/>
                    </a:moveTo>
                    <a:lnTo>
                      <a:pt x="11955339" y="2449986"/>
                    </a:lnTo>
                    <a:lnTo>
                      <a:pt x="12179427" y="2449986"/>
                    </a:lnTo>
                    <a:lnTo>
                      <a:pt x="12179427" y="2686479"/>
                    </a:lnTo>
                    <a:close/>
                    <a:moveTo>
                      <a:pt x="11955339" y="2443183"/>
                    </a:moveTo>
                    <a:lnTo>
                      <a:pt x="11955339" y="2205058"/>
                    </a:lnTo>
                    <a:lnTo>
                      <a:pt x="12179427" y="2205058"/>
                    </a:lnTo>
                    <a:lnTo>
                      <a:pt x="12179427" y="2443183"/>
                    </a:lnTo>
                    <a:close/>
                    <a:moveTo>
                      <a:pt x="11955339" y="2198254"/>
                    </a:moveTo>
                    <a:lnTo>
                      <a:pt x="11955339" y="1960129"/>
                    </a:lnTo>
                    <a:lnTo>
                      <a:pt x="12179427" y="1960129"/>
                    </a:lnTo>
                    <a:lnTo>
                      <a:pt x="12179427" y="2198254"/>
                    </a:lnTo>
                    <a:close/>
                    <a:moveTo>
                      <a:pt x="11955339" y="1953326"/>
                    </a:moveTo>
                    <a:lnTo>
                      <a:pt x="11955339" y="1716697"/>
                    </a:lnTo>
                    <a:lnTo>
                      <a:pt x="12179427" y="1716697"/>
                    </a:lnTo>
                    <a:lnTo>
                      <a:pt x="12179427" y="1953189"/>
                    </a:lnTo>
                    <a:close/>
                    <a:moveTo>
                      <a:pt x="11955339" y="1710030"/>
                    </a:moveTo>
                    <a:lnTo>
                      <a:pt x="11955339" y="1471769"/>
                    </a:lnTo>
                    <a:lnTo>
                      <a:pt x="12179427" y="1471769"/>
                    </a:lnTo>
                    <a:lnTo>
                      <a:pt x="12179427" y="1709894"/>
                    </a:lnTo>
                    <a:close/>
                    <a:moveTo>
                      <a:pt x="11955339" y="1465101"/>
                    </a:moveTo>
                    <a:lnTo>
                      <a:pt x="11955339" y="1226840"/>
                    </a:lnTo>
                    <a:lnTo>
                      <a:pt x="12179427" y="1226840"/>
                    </a:lnTo>
                    <a:lnTo>
                      <a:pt x="12179427" y="1464965"/>
                    </a:lnTo>
                    <a:close/>
                    <a:moveTo>
                      <a:pt x="11955339" y="1220173"/>
                    </a:moveTo>
                    <a:lnTo>
                      <a:pt x="11955339" y="981911"/>
                    </a:lnTo>
                    <a:lnTo>
                      <a:pt x="12179427" y="981911"/>
                    </a:lnTo>
                    <a:lnTo>
                      <a:pt x="12179427" y="1220036"/>
                    </a:lnTo>
                    <a:close/>
                    <a:moveTo>
                      <a:pt x="11955339" y="975244"/>
                    </a:moveTo>
                    <a:lnTo>
                      <a:pt x="11955339" y="738752"/>
                    </a:lnTo>
                    <a:lnTo>
                      <a:pt x="12179427" y="738752"/>
                    </a:lnTo>
                    <a:lnTo>
                      <a:pt x="12179427" y="975244"/>
                    </a:lnTo>
                    <a:close/>
                    <a:moveTo>
                      <a:pt x="11955339" y="731948"/>
                    </a:moveTo>
                    <a:lnTo>
                      <a:pt x="11955339" y="493823"/>
                    </a:lnTo>
                    <a:lnTo>
                      <a:pt x="12179427" y="493823"/>
                    </a:lnTo>
                    <a:lnTo>
                      <a:pt x="12179427" y="731948"/>
                    </a:lnTo>
                    <a:close/>
                    <a:moveTo>
                      <a:pt x="11955339" y="487020"/>
                    </a:moveTo>
                    <a:lnTo>
                      <a:pt x="11955339" y="248895"/>
                    </a:lnTo>
                    <a:lnTo>
                      <a:pt x="12179427" y="248895"/>
                    </a:lnTo>
                    <a:lnTo>
                      <a:pt x="12179427" y="487020"/>
                    </a:lnTo>
                    <a:close/>
                    <a:moveTo>
                      <a:pt x="11955339" y="242091"/>
                    </a:moveTo>
                    <a:lnTo>
                      <a:pt x="11955339" y="5599"/>
                    </a:lnTo>
                    <a:lnTo>
                      <a:pt x="12179427" y="5599"/>
                    </a:lnTo>
                    <a:lnTo>
                      <a:pt x="12179427" y="242091"/>
                    </a:lnTo>
                    <a:close/>
                  </a:path>
                </a:pathLst>
              </a:custGeom>
              <a:solidFill>
                <a:srgbClr val="000000">
                  <a:alpha val="2000"/>
                </a:srgbClr>
              </a:solidFill>
              <a:ln w="12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</a:endParaRPr>
              </a:p>
            </p:txBody>
          </p:sp>
        </p:grpSp>
        <p:grpSp>
          <p:nvGrpSpPr>
            <p:cNvPr id="162" name="组合 161">
              <a:extLst>
                <a:ext uri="{FF2B5EF4-FFF2-40B4-BE49-F238E27FC236}">
                  <a16:creationId xmlns:a16="http://schemas.microsoft.com/office/drawing/2014/main" id="{94FCD4A3-EC5D-4116-B97A-27B1426D20FC}"/>
                </a:ext>
              </a:extLst>
            </p:cNvPr>
            <p:cNvGrpSpPr/>
            <p:nvPr/>
          </p:nvGrpSpPr>
          <p:grpSpPr>
            <a:xfrm>
              <a:off x="-1" y="1"/>
              <a:ext cx="12192001" cy="6857999"/>
              <a:chOff x="-1" y="1"/>
              <a:chExt cx="12192001" cy="6857999"/>
            </a:xfrm>
          </p:grpSpPr>
          <p:grpSp>
            <p:nvGrpSpPr>
              <p:cNvPr id="163" name="组合 162">
                <a:extLst>
                  <a:ext uri="{FF2B5EF4-FFF2-40B4-BE49-F238E27FC236}">
                    <a16:creationId xmlns:a16="http://schemas.microsoft.com/office/drawing/2014/main" id="{1C3FA105-8AF1-4AFC-95AC-E5481E102F69}"/>
                  </a:ext>
                </a:extLst>
              </p:cNvPr>
              <p:cNvGrpSpPr/>
              <p:nvPr/>
            </p:nvGrpSpPr>
            <p:grpSpPr>
              <a:xfrm>
                <a:off x="-1" y="1"/>
                <a:ext cx="1651425" cy="1733621"/>
                <a:chOff x="-1" y="1"/>
                <a:chExt cx="1651425" cy="1733621"/>
              </a:xfrm>
            </p:grpSpPr>
            <p:sp>
              <p:nvSpPr>
                <p:cNvPr id="167" name="任意多边形: 形状 166">
                  <a:extLst>
                    <a:ext uri="{FF2B5EF4-FFF2-40B4-BE49-F238E27FC236}">
                      <a16:creationId xmlns:a16="http://schemas.microsoft.com/office/drawing/2014/main" id="{AE79F041-34AC-404B-A5FB-FA1402A8A1E5}"/>
                    </a:ext>
                  </a:extLst>
                </p:cNvPr>
                <p:cNvSpPr/>
                <p:nvPr/>
              </p:nvSpPr>
              <p:spPr>
                <a:xfrm>
                  <a:off x="-1" y="1"/>
                  <a:ext cx="1651425" cy="1733621"/>
                </a:xfrm>
                <a:custGeom>
                  <a:avLst/>
                  <a:gdLst>
                    <a:gd name="connsiteX0" fmla="*/ 0 w 1431128"/>
                    <a:gd name="connsiteY0" fmla="*/ 0 h 1502359"/>
                    <a:gd name="connsiteX1" fmla="*/ 1405152 w 1431128"/>
                    <a:gd name="connsiteY1" fmla="*/ 0 h 1502359"/>
                    <a:gd name="connsiteX2" fmla="*/ 1405758 w 1431128"/>
                    <a:gd name="connsiteY2" fmla="*/ 1952 h 1502359"/>
                    <a:gd name="connsiteX3" fmla="*/ 1431128 w 1431128"/>
                    <a:gd name="connsiteY3" fmla="*/ 253617 h 1502359"/>
                    <a:gd name="connsiteX4" fmla="*/ 182386 w 1431128"/>
                    <a:gd name="connsiteY4" fmla="*/ 1502359 h 1502359"/>
                    <a:gd name="connsiteX5" fmla="*/ 54710 w 1431128"/>
                    <a:gd name="connsiteY5" fmla="*/ 1495912 h 1502359"/>
                    <a:gd name="connsiteX6" fmla="*/ 0 w 1431128"/>
                    <a:gd name="connsiteY6" fmla="*/ 1487562 h 1502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31128" h="1502359">
                      <a:moveTo>
                        <a:pt x="0" y="0"/>
                      </a:moveTo>
                      <a:lnTo>
                        <a:pt x="1405152" y="0"/>
                      </a:lnTo>
                      <a:lnTo>
                        <a:pt x="1405758" y="1952"/>
                      </a:lnTo>
                      <a:cubicBezTo>
                        <a:pt x="1422393" y="83242"/>
                        <a:pt x="1431128" y="167410"/>
                        <a:pt x="1431128" y="253617"/>
                      </a:cubicBezTo>
                      <a:cubicBezTo>
                        <a:pt x="1431128" y="943278"/>
                        <a:pt x="872047" y="1502359"/>
                        <a:pt x="182386" y="1502359"/>
                      </a:cubicBezTo>
                      <a:cubicBezTo>
                        <a:pt x="139282" y="1502359"/>
                        <a:pt x="96689" y="1500175"/>
                        <a:pt x="54710" y="1495912"/>
                      </a:cubicBezTo>
                      <a:lnTo>
                        <a:pt x="0" y="1487562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  <a:effectLst>
                  <a:outerShdw blurRad="330200" dist="38100" dir="2700000" algn="tl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POSans B" panose="00020600040101010101" pitchFamily="18" charset="-122"/>
                    <a:ea typeface="OPPOSans B" panose="00020600040101010101" pitchFamily="18" charset="-122"/>
                    <a:cs typeface="OPPOSans B" panose="00020600040101010101" pitchFamily="18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68" name="任意多边形: 形状 167">
                  <a:extLst>
                    <a:ext uri="{FF2B5EF4-FFF2-40B4-BE49-F238E27FC236}">
                      <a16:creationId xmlns:a16="http://schemas.microsoft.com/office/drawing/2014/main" id="{7FFFEA07-F35D-4F7B-8952-DFE916768337}"/>
                    </a:ext>
                  </a:extLst>
                </p:cNvPr>
                <p:cNvSpPr/>
                <p:nvPr/>
              </p:nvSpPr>
              <p:spPr>
                <a:xfrm>
                  <a:off x="0" y="1"/>
                  <a:ext cx="1431128" cy="1502359"/>
                </a:xfrm>
                <a:custGeom>
                  <a:avLst/>
                  <a:gdLst>
                    <a:gd name="connsiteX0" fmla="*/ 0 w 1431128"/>
                    <a:gd name="connsiteY0" fmla="*/ 0 h 1502359"/>
                    <a:gd name="connsiteX1" fmla="*/ 1405152 w 1431128"/>
                    <a:gd name="connsiteY1" fmla="*/ 0 h 1502359"/>
                    <a:gd name="connsiteX2" fmla="*/ 1405758 w 1431128"/>
                    <a:gd name="connsiteY2" fmla="*/ 1952 h 1502359"/>
                    <a:gd name="connsiteX3" fmla="*/ 1431128 w 1431128"/>
                    <a:gd name="connsiteY3" fmla="*/ 253617 h 1502359"/>
                    <a:gd name="connsiteX4" fmla="*/ 182386 w 1431128"/>
                    <a:gd name="connsiteY4" fmla="*/ 1502359 h 1502359"/>
                    <a:gd name="connsiteX5" fmla="*/ 54710 w 1431128"/>
                    <a:gd name="connsiteY5" fmla="*/ 1495912 h 1502359"/>
                    <a:gd name="connsiteX6" fmla="*/ 0 w 1431128"/>
                    <a:gd name="connsiteY6" fmla="*/ 1487562 h 1502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31128" h="1502359">
                      <a:moveTo>
                        <a:pt x="0" y="0"/>
                      </a:moveTo>
                      <a:lnTo>
                        <a:pt x="1405152" y="0"/>
                      </a:lnTo>
                      <a:lnTo>
                        <a:pt x="1405758" y="1952"/>
                      </a:lnTo>
                      <a:cubicBezTo>
                        <a:pt x="1422393" y="83242"/>
                        <a:pt x="1431128" y="167410"/>
                        <a:pt x="1431128" y="253617"/>
                      </a:cubicBezTo>
                      <a:cubicBezTo>
                        <a:pt x="1431128" y="943278"/>
                        <a:pt x="872047" y="1502359"/>
                        <a:pt x="182386" y="1502359"/>
                      </a:cubicBezTo>
                      <a:cubicBezTo>
                        <a:pt x="139282" y="1502359"/>
                        <a:pt x="96689" y="1500175"/>
                        <a:pt x="54710" y="1495912"/>
                      </a:cubicBezTo>
                      <a:lnTo>
                        <a:pt x="0" y="1487562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330200" dist="38100" dir="2700000" algn="tl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POSans B" panose="00020600040101010101" pitchFamily="18" charset="-122"/>
                    <a:ea typeface="OPPOSans B" panose="00020600040101010101" pitchFamily="18" charset="-122"/>
                    <a:cs typeface="OPPOSans B" panose="00020600040101010101" pitchFamily="18" charset="-122"/>
                    <a:sym typeface="Arial" panose="020B0604020202020204" pitchFamily="34" charset="0"/>
                  </a:endParaRPr>
                </a:p>
              </p:txBody>
            </p:sp>
          </p:grpSp>
          <p:grpSp>
            <p:nvGrpSpPr>
              <p:cNvPr id="164" name="组合 163">
                <a:extLst>
                  <a:ext uri="{FF2B5EF4-FFF2-40B4-BE49-F238E27FC236}">
                    <a16:creationId xmlns:a16="http://schemas.microsoft.com/office/drawing/2014/main" id="{E47B3497-F7B4-4BEA-84AC-2EE89161E47D}"/>
                  </a:ext>
                </a:extLst>
              </p:cNvPr>
              <p:cNvGrpSpPr/>
              <p:nvPr/>
            </p:nvGrpSpPr>
            <p:grpSpPr>
              <a:xfrm>
                <a:off x="10210345" y="4810740"/>
                <a:ext cx="1981655" cy="2047260"/>
                <a:chOff x="10210345" y="4810740"/>
                <a:chExt cx="1981655" cy="2047260"/>
              </a:xfrm>
            </p:grpSpPr>
            <p:sp>
              <p:nvSpPr>
                <p:cNvPr id="165" name="任意多边形: 形状 164">
                  <a:extLst>
                    <a:ext uri="{FF2B5EF4-FFF2-40B4-BE49-F238E27FC236}">
                      <a16:creationId xmlns:a16="http://schemas.microsoft.com/office/drawing/2014/main" id="{11B53EAE-E0B3-4DFE-A85E-998239A0A6C0}"/>
                    </a:ext>
                  </a:extLst>
                </p:cNvPr>
                <p:cNvSpPr/>
                <p:nvPr/>
              </p:nvSpPr>
              <p:spPr>
                <a:xfrm>
                  <a:off x="10210345" y="4810740"/>
                  <a:ext cx="1981655" cy="2047260"/>
                </a:xfrm>
                <a:custGeom>
                  <a:avLst/>
                  <a:gdLst>
                    <a:gd name="connsiteX0" fmla="*/ 1568350 w 1568350"/>
                    <a:gd name="connsiteY0" fmla="*/ 0 h 1620272"/>
                    <a:gd name="connsiteX1" fmla="*/ 1568350 w 1568350"/>
                    <a:gd name="connsiteY1" fmla="*/ 1620272 h 1620272"/>
                    <a:gd name="connsiteX2" fmla="*/ 2048 w 1568350"/>
                    <a:gd name="connsiteY2" fmla="*/ 1620272 h 1620272"/>
                    <a:gd name="connsiteX3" fmla="*/ 0 w 1568350"/>
                    <a:gd name="connsiteY3" fmla="*/ 1579718 h 1620272"/>
                    <a:gd name="connsiteX4" fmla="*/ 1418744 w 1568350"/>
                    <a:gd name="connsiteY4" fmla="*/ 7554 h 1620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68350" h="1620272">
                      <a:moveTo>
                        <a:pt x="1568350" y="0"/>
                      </a:moveTo>
                      <a:lnTo>
                        <a:pt x="1568350" y="1620272"/>
                      </a:lnTo>
                      <a:lnTo>
                        <a:pt x="2048" y="1620272"/>
                      </a:lnTo>
                      <a:lnTo>
                        <a:pt x="0" y="1579718"/>
                      </a:lnTo>
                      <a:cubicBezTo>
                        <a:pt x="0" y="761479"/>
                        <a:pt x="621857" y="88483"/>
                        <a:pt x="1418744" y="755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95000"/>
                        <a:alpha val="0"/>
                      </a:schemeClr>
                    </a:gs>
                  </a:gsLst>
                  <a:lin ang="18900000" scaled="1"/>
                  <a:tileRect/>
                </a:gradFill>
                <a:ln>
                  <a:noFill/>
                </a:ln>
                <a:effectLst>
                  <a:outerShdw blurRad="330200" dist="38100" dir="13500000" algn="b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POSans B" panose="00020600040101010101" pitchFamily="18" charset="-122"/>
                    <a:ea typeface="OPPOSans B" panose="00020600040101010101" pitchFamily="18" charset="-122"/>
                    <a:cs typeface="OPPOSans B" panose="00020600040101010101" pitchFamily="18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66" name="任意多边形: 形状 165">
                  <a:extLst>
                    <a:ext uri="{FF2B5EF4-FFF2-40B4-BE49-F238E27FC236}">
                      <a16:creationId xmlns:a16="http://schemas.microsoft.com/office/drawing/2014/main" id="{8330B2DF-F8F5-4EAE-BC65-DD8DAE8CD2E5}"/>
                    </a:ext>
                  </a:extLst>
                </p:cNvPr>
                <p:cNvSpPr/>
                <p:nvPr/>
              </p:nvSpPr>
              <p:spPr>
                <a:xfrm>
                  <a:off x="10623650" y="5237728"/>
                  <a:ext cx="1568350" cy="1620272"/>
                </a:xfrm>
                <a:custGeom>
                  <a:avLst/>
                  <a:gdLst>
                    <a:gd name="connsiteX0" fmla="*/ 1568350 w 1568350"/>
                    <a:gd name="connsiteY0" fmla="*/ 0 h 1620272"/>
                    <a:gd name="connsiteX1" fmla="*/ 1568350 w 1568350"/>
                    <a:gd name="connsiteY1" fmla="*/ 1620272 h 1620272"/>
                    <a:gd name="connsiteX2" fmla="*/ 2048 w 1568350"/>
                    <a:gd name="connsiteY2" fmla="*/ 1620272 h 1620272"/>
                    <a:gd name="connsiteX3" fmla="*/ 0 w 1568350"/>
                    <a:gd name="connsiteY3" fmla="*/ 1579718 h 1620272"/>
                    <a:gd name="connsiteX4" fmla="*/ 1418744 w 1568350"/>
                    <a:gd name="connsiteY4" fmla="*/ 7554 h 1620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68350" h="1620272">
                      <a:moveTo>
                        <a:pt x="1568350" y="0"/>
                      </a:moveTo>
                      <a:lnTo>
                        <a:pt x="1568350" y="1620272"/>
                      </a:lnTo>
                      <a:lnTo>
                        <a:pt x="2048" y="1620272"/>
                      </a:lnTo>
                      <a:lnTo>
                        <a:pt x="0" y="1579718"/>
                      </a:lnTo>
                      <a:cubicBezTo>
                        <a:pt x="0" y="761479"/>
                        <a:pt x="621857" y="88483"/>
                        <a:pt x="1418744" y="7554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lumMod val="95000"/>
                        <a:alpha val="77000"/>
                      </a:schemeClr>
                    </a:gs>
                  </a:gsLst>
                  <a:lin ang="5400000" scaled="1"/>
                </a:gradFill>
                <a:ln>
                  <a:noFill/>
                </a:ln>
                <a:effectLst>
                  <a:outerShdw blurRad="330200" dist="38100" dir="13500000" algn="b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POSans B" panose="00020600040101010101" pitchFamily="18" charset="-122"/>
                    <a:ea typeface="OPPOSans B" panose="00020600040101010101" pitchFamily="18" charset="-122"/>
                    <a:cs typeface="OPPOSans B" panose="00020600040101010101" pitchFamily="18" charset="-122"/>
                    <a:sym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C72C562E-67E6-4FF1-8D0F-45522C0FA060}"/>
              </a:ext>
            </a:extLst>
          </p:cNvPr>
          <p:cNvGrpSpPr/>
          <p:nvPr/>
        </p:nvGrpSpPr>
        <p:grpSpPr>
          <a:xfrm>
            <a:off x="3894592" y="1"/>
            <a:ext cx="4474028" cy="3771900"/>
            <a:chOff x="3894592" y="0"/>
            <a:chExt cx="4474028" cy="6858001"/>
          </a:xfrm>
        </p:grpSpPr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8E1E93B8-3AEE-41A0-A79D-D581F3C67F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4592" y="0"/>
              <a:ext cx="0" cy="6858001"/>
            </a:xfrm>
            <a:prstGeom prst="line">
              <a:avLst/>
            </a:prstGeom>
            <a:ln w="50800"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20000"/>
                      <a:lumOff val="80000"/>
                      <a:alpha val="1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C24A7D28-75EC-402D-8C66-110AFD4B1C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68620" y="0"/>
              <a:ext cx="0" cy="6858001"/>
            </a:xfrm>
            <a:prstGeom prst="line">
              <a:avLst/>
            </a:prstGeom>
            <a:ln w="50800"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20000"/>
                      <a:lumOff val="80000"/>
                      <a:alpha val="1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E9803DB7-0D36-48C1-853D-5E6B55CE020E}"/>
              </a:ext>
            </a:extLst>
          </p:cNvPr>
          <p:cNvGrpSpPr/>
          <p:nvPr/>
        </p:nvGrpSpPr>
        <p:grpSpPr>
          <a:xfrm>
            <a:off x="1657578" y="3028950"/>
            <a:ext cx="8948056" cy="3829051"/>
            <a:chOff x="1657578" y="0"/>
            <a:chExt cx="8948056" cy="6858001"/>
          </a:xfrm>
        </p:grpSpPr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1C01DC53-D940-4CF8-AA24-64B9EEA119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57578" y="0"/>
              <a:ext cx="0" cy="6858001"/>
            </a:xfrm>
            <a:prstGeom prst="line">
              <a:avLst/>
            </a:prstGeom>
            <a:ln w="50800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620823EF-82F1-42FF-8BD6-585E94ECC6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31606" y="0"/>
              <a:ext cx="0" cy="6858001"/>
            </a:xfrm>
            <a:prstGeom prst="line">
              <a:avLst/>
            </a:prstGeom>
            <a:ln w="50800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94E9F5C0-6193-496E-8839-7CBD5167EA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05634" y="0"/>
              <a:ext cx="0" cy="6858001"/>
            </a:xfrm>
            <a:prstGeom prst="line">
              <a:avLst/>
            </a:prstGeom>
            <a:ln w="50800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5CF464FE-9FCD-4F50-ABE7-EA9BD0267ED1}"/>
              </a:ext>
            </a:extLst>
          </p:cNvPr>
          <p:cNvSpPr/>
          <p:nvPr/>
        </p:nvSpPr>
        <p:spPr>
          <a:xfrm>
            <a:off x="595087" y="1485900"/>
            <a:ext cx="2124982" cy="3583214"/>
          </a:xfrm>
          <a:prstGeom prst="roundRect">
            <a:avLst>
              <a:gd name="adj" fmla="val 488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381000" dist="457200" dir="5400000" sx="90000" sy="90000" algn="t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1310FC9B-4660-4190-9D1E-453FDCCBBFA4}"/>
              </a:ext>
            </a:extLst>
          </p:cNvPr>
          <p:cNvSpPr/>
          <p:nvPr/>
        </p:nvSpPr>
        <p:spPr>
          <a:xfrm>
            <a:off x="2832101" y="1966686"/>
            <a:ext cx="2124982" cy="3583214"/>
          </a:xfrm>
          <a:prstGeom prst="roundRect">
            <a:avLst>
              <a:gd name="adj" fmla="val 488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381000" dist="457200" dir="5400000" sx="90000" sy="90000" algn="t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FC22275C-1E13-4E31-9522-BDAD48023FA5}"/>
              </a:ext>
            </a:extLst>
          </p:cNvPr>
          <p:cNvSpPr/>
          <p:nvPr/>
        </p:nvSpPr>
        <p:spPr>
          <a:xfrm>
            <a:off x="5069115" y="1485900"/>
            <a:ext cx="2124982" cy="3583214"/>
          </a:xfrm>
          <a:prstGeom prst="roundRect">
            <a:avLst>
              <a:gd name="adj" fmla="val 488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381000" dist="457200" dir="5400000" sx="90000" sy="90000" algn="t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0464307C-FA1E-444D-8E25-60BDA3666E5B}"/>
              </a:ext>
            </a:extLst>
          </p:cNvPr>
          <p:cNvSpPr/>
          <p:nvPr/>
        </p:nvSpPr>
        <p:spPr>
          <a:xfrm>
            <a:off x="7306129" y="1966686"/>
            <a:ext cx="2124982" cy="3583214"/>
          </a:xfrm>
          <a:prstGeom prst="roundRect">
            <a:avLst>
              <a:gd name="adj" fmla="val 488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381000" dist="457200" dir="5400000" sx="90000" sy="90000" algn="t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DB729DA8-95BF-440B-B7B1-C80E77A4F791}"/>
              </a:ext>
            </a:extLst>
          </p:cNvPr>
          <p:cNvSpPr/>
          <p:nvPr/>
        </p:nvSpPr>
        <p:spPr>
          <a:xfrm>
            <a:off x="9543143" y="1485900"/>
            <a:ext cx="2124982" cy="3583214"/>
          </a:xfrm>
          <a:prstGeom prst="roundRect">
            <a:avLst>
              <a:gd name="adj" fmla="val 488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381000" dist="457200" dir="5400000" sx="90000" sy="90000" algn="t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  <a:sym typeface="Arial" panose="020B0604020202020204" pitchFamily="34" charset="0"/>
            </a:endParaRPr>
          </a:p>
        </p:txBody>
      </p:sp>
      <p:sp>
        <p:nvSpPr>
          <p:cNvPr id="24" name="@稿定PPT实验室 出品-13-1">
            <a:extLst>
              <a:ext uri="{FF2B5EF4-FFF2-40B4-BE49-F238E27FC236}">
                <a16:creationId xmlns:a16="http://schemas.microsoft.com/office/drawing/2014/main" id="{C7621573-41C8-4817-88AB-20C211DC3E98}"/>
              </a:ext>
            </a:extLst>
          </p:cNvPr>
          <p:cNvSpPr txBox="1">
            <a:spLocks/>
          </p:cNvSpPr>
          <p:nvPr/>
        </p:nvSpPr>
        <p:spPr>
          <a:xfrm>
            <a:off x="737257" y="3429000"/>
            <a:ext cx="184064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25" name="@稿定PPT实验室 出品-13-2">
            <a:extLst>
              <a:ext uri="{FF2B5EF4-FFF2-40B4-BE49-F238E27FC236}">
                <a16:creationId xmlns:a16="http://schemas.microsoft.com/office/drawing/2014/main" id="{62836B7A-3B2B-4EF3-B0B4-1035BF862E2A}"/>
              </a:ext>
            </a:extLst>
          </p:cNvPr>
          <p:cNvSpPr txBox="1">
            <a:spLocks/>
          </p:cNvSpPr>
          <p:nvPr/>
        </p:nvSpPr>
        <p:spPr>
          <a:xfrm>
            <a:off x="737257" y="4078812"/>
            <a:ext cx="1840642" cy="6912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</a:t>
            </a:r>
          </a:p>
        </p:txBody>
      </p:sp>
      <p:sp>
        <p:nvSpPr>
          <p:cNvPr id="26" name="@稿定PPT实验室 出品-13-1">
            <a:extLst>
              <a:ext uri="{FF2B5EF4-FFF2-40B4-BE49-F238E27FC236}">
                <a16:creationId xmlns:a16="http://schemas.microsoft.com/office/drawing/2014/main" id="{AD6A20CF-89D9-4E13-94EC-F9840A4EDE0D}"/>
              </a:ext>
            </a:extLst>
          </p:cNvPr>
          <p:cNvSpPr txBox="1">
            <a:spLocks/>
          </p:cNvSpPr>
          <p:nvPr/>
        </p:nvSpPr>
        <p:spPr>
          <a:xfrm>
            <a:off x="737257" y="3716963"/>
            <a:ext cx="184064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29" name="@稿定PPT实验室 出品-13-1">
            <a:extLst>
              <a:ext uri="{FF2B5EF4-FFF2-40B4-BE49-F238E27FC236}">
                <a16:creationId xmlns:a16="http://schemas.microsoft.com/office/drawing/2014/main" id="{8AAD8768-0710-4C60-A78F-5C34A8F3A09B}"/>
              </a:ext>
            </a:extLst>
          </p:cNvPr>
          <p:cNvSpPr txBox="1">
            <a:spLocks/>
          </p:cNvSpPr>
          <p:nvPr/>
        </p:nvSpPr>
        <p:spPr>
          <a:xfrm>
            <a:off x="2974270" y="2348820"/>
            <a:ext cx="184064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30" name="@稿定PPT实验室 出品-13-2">
            <a:extLst>
              <a:ext uri="{FF2B5EF4-FFF2-40B4-BE49-F238E27FC236}">
                <a16:creationId xmlns:a16="http://schemas.microsoft.com/office/drawing/2014/main" id="{A5092446-C044-409F-8B71-B8BBF86D29A6}"/>
              </a:ext>
            </a:extLst>
          </p:cNvPr>
          <p:cNvSpPr txBox="1">
            <a:spLocks/>
          </p:cNvSpPr>
          <p:nvPr/>
        </p:nvSpPr>
        <p:spPr>
          <a:xfrm>
            <a:off x="2974270" y="2998632"/>
            <a:ext cx="1840642" cy="6912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</a:t>
            </a:r>
          </a:p>
        </p:txBody>
      </p:sp>
      <p:sp>
        <p:nvSpPr>
          <p:cNvPr id="31" name="@稿定PPT实验室 出品-13-1">
            <a:extLst>
              <a:ext uri="{FF2B5EF4-FFF2-40B4-BE49-F238E27FC236}">
                <a16:creationId xmlns:a16="http://schemas.microsoft.com/office/drawing/2014/main" id="{0C8958EE-E4E5-4ADA-98AC-880757199F07}"/>
              </a:ext>
            </a:extLst>
          </p:cNvPr>
          <p:cNvSpPr txBox="1">
            <a:spLocks/>
          </p:cNvSpPr>
          <p:nvPr/>
        </p:nvSpPr>
        <p:spPr>
          <a:xfrm>
            <a:off x="2974270" y="2636783"/>
            <a:ext cx="184064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33" name="@稿定PPT实验室 出品-13-1">
            <a:extLst>
              <a:ext uri="{FF2B5EF4-FFF2-40B4-BE49-F238E27FC236}">
                <a16:creationId xmlns:a16="http://schemas.microsoft.com/office/drawing/2014/main" id="{17D8139A-BE97-4046-969E-257FCB69AF44}"/>
              </a:ext>
            </a:extLst>
          </p:cNvPr>
          <p:cNvSpPr txBox="1">
            <a:spLocks/>
          </p:cNvSpPr>
          <p:nvPr/>
        </p:nvSpPr>
        <p:spPr>
          <a:xfrm>
            <a:off x="5211283" y="3429000"/>
            <a:ext cx="184064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34" name="@稿定PPT实验室 出品-13-2">
            <a:extLst>
              <a:ext uri="{FF2B5EF4-FFF2-40B4-BE49-F238E27FC236}">
                <a16:creationId xmlns:a16="http://schemas.microsoft.com/office/drawing/2014/main" id="{5757F6C3-7A2A-422A-B3C7-BE0350A2BF0B}"/>
              </a:ext>
            </a:extLst>
          </p:cNvPr>
          <p:cNvSpPr txBox="1">
            <a:spLocks/>
          </p:cNvSpPr>
          <p:nvPr/>
        </p:nvSpPr>
        <p:spPr>
          <a:xfrm>
            <a:off x="5211283" y="4078812"/>
            <a:ext cx="1840642" cy="6912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</a:t>
            </a:r>
          </a:p>
        </p:txBody>
      </p:sp>
      <p:sp>
        <p:nvSpPr>
          <p:cNvPr id="35" name="@稿定PPT实验室 出品-13-1">
            <a:extLst>
              <a:ext uri="{FF2B5EF4-FFF2-40B4-BE49-F238E27FC236}">
                <a16:creationId xmlns:a16="http://schemas.microsoft.com/office/drawing/2014/main" id="{3B6415A0-026F-45B6-9D06-9231F9447F0F}"/>
              </a:ext>
            </a:extLst>
          </p:cNvPr>
          <p:cNvSpPr txBox="1">
            <a:spLocks/>
          </p:cNvSpPr>
          <p:nvPr/>
        </p:nvSpPr>
        <p:spPr>
          <a:xfrm>
            <a:off x="5211283" y="3716963"/>
            <a:ext cx="184064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37" name="@稿定PPT实验室 出品-13-1">
            <a:extLst>
              <a:ext uri="{FF2B5EF4-FFF2-40B4-BE49-F238E27FC236}">
                <a16:creationId xmlns:a16="http://schemas.microsoft.com/office/drawing/2014/main" id="{C68940B1-CEB7-49C2-B75B-CF127C19BD18}"/>
              </a:ext>
            </a:extLst>
          </p:cNvPr>
          <p:cNvSpPr txBox="1">
            <a:spLocks/>
          </p:cNvSpPr>
          <p:nvPr/>
        </p:nvSpPr>
        <p:spPr>
          <a:xfrm>
            <a:off x="7448296" y="2348820"/>
            <a:ext cx="184064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38" name="@稿定PPT实验室 出品-13-2">
            <a:extLst>
              <a:ext uri="{FF2B5EF4-FFF2-40B4-BE49-F238E27FC236}">
                <a16:creationId xmlns:a16="http://schemas.microsoft.com/office/drawing/2014/main" id="{D7A24966-8BBC-493C-B0D4-A8058877D5D5}"/>
              </a:ext>
            </a:extLst>
          </p:cNvPr>
          <p:cNvSpPr txBox="1">
            <a:spLocks/>
          </p:cNvSpPr>
          <p:nvPr/>
        </p:nvSpPr>
        <p:spPr>
          <a:xfrm>
            <a:off x="7448296" y="2998632"/>
            <a:ext cx="1840642" cy="6912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</a:t>
            </a:r>
          </a:p>
        </p:txBody>
      </p:sp>
      <p:sp>
        <p:nvSpPr>
          <p:cNvPr id="39" name="@稿定PPT实验室 出品-13-1">
            <a:extLst>
              <a:ext uri="{FF2B5EF4-FFF2-40B4-BE49-F238E27FC236}">
                <a16:creationId xmlns:a16="http://schemas.microsoft.com/office/drawing/2014/main" id="{C02D72A9-9270-44A2-B06A-56C73B16B595}"/>
              </a:ext>
            </a:extLst>
          </p:cNvPr>
          <p:cNvSpPr txBox="1">
            <a:spLocks/>
          </p:cNvSpPr>
          <p:nvPr/>
        </p:nvSpPr>
        <p:spPr>
          <a:xfrm>
            <a:off x="7448296" y="2636783"/>
            <a:ext cx="184064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sp>
        <p:nvSpPr>
          <p:cNvPr id="41" name="@稿定PPT实验室 出品-13-1">
            <a:extLst>
              <a:ext uri="{FF2B5EF4-FFF2-40B4-BE49-F238E27FC236}">
                <a16:creationId xmlns:a16="http://schemas.microsoft.com/office/drawing/2014/main" id="{C0527CEB-E8D9-4C3D-8F85-BE263C13E924}"/>
              </a:ext>
            </a:extLst>
          </p:cNvPr>
          <p:cNvSpPr txBox="1">
            <a:spLocks/>
          </p:cNvSpPr>
          <p:nvPr/>
        </p:nvSpPr>
        <p:spPr>
          <a:xfrm>
            <a:off x="9685309" y="3429000"/>
            <a:ext cx="1840642" cy="29401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更快更轻松</a:t>
            </a:r>
          </a:p>
        </p:txBody>
      </p:sp>
      <p:sp>
        <p:nvSpPr>
          <p:cNvPr id="42" name="@稿定PPT实验室 出品-13-2">
            <a:extLst>
              <a:ext uri="{FF2B5EF4-FFF2-40B4-BE49-F238E27FC236}">
                <a16:creationId xmlns:a16="http://schemas.microsoft.com/office/drawing/2014/main" id="{FE48074F-FD60-41C8-8F8A-3FCCA2FCD04C}"/>
              </a:ext>
            </a:extLst>
          </p:cNvPr>
          <p:cNvSpPr txBox="1">
            <a:spLocks/>
          </p:cNvSpPr>
          <p:nvPr/>
        </p:nvSpPr>
        <p:spPr>
          <a:xfrm>
            <a:off x="9685309" y="4078812"/>
            <a:ext cx="1840642" cy="6912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设计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PP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  <a:sym typeface="Arial" panose="020B0604020202020204" pitchFamily="34" charset="0"/>
              </a:rPr>
              <a:t>拥有千余款模板线上到插件同步上新，覆盖商务、教育、金融等多用途场景</a:t>
            </a:r>
          </a:p>
        </p:txBody>
      </p:sp>
      <p:sp>
        <p:nvSpPr>
          <p:cNvPr id="43" name="@稿定PPT实验室 出品-13-1">
            <a:extLst>
              <a:ext uri="{FF2B5EF4-FFF2-40B4-BE49-F238E27FC236}">
                <a16:creationId xmlns:a16="http://schemas.microsoft.com/office/drawing/2014/main" id="{46DA2C49-E2A4-4988-8D9E-0CE1FC45E567}"/>
              </a:ext>
            </a:extLst>
          </p:cNvPr>
          <p:cNvSpPr txBox="1">
            <a:spLocks/>
          </p:cNvSpPr>
          <p:nvPr/>
        </p:nvSpPr>
        <p:spPr>
          <a:xfrm>
            <a:off x="9685309" y="3716963"/>
            <a:ext cx="1840642" cy="2201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64008" tIns="32004" rIns="64008" bIns="32004" anchor="ctr" anchorCtr="0">
            <a:no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Arial" panose="020B0604020202020204" pitchFamily="34" charset="0"/>
              </a:rPr>
              <a:t>ADD YOUR TITLE HE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639BDB40-5629-4FDC-B278-1E417C98669F}"/>
              </a:ext>
            </a:extLst>
          </p:cNvPr>
          <p:cNvGrpSpPr/>
          <p:nvPr/>
        </p:nvGrpSpPr>
        <p:grpSpPr>
          <a:xfrm>
            <a:off x="1150604" y="1931470"/>
            <a:ext cx="9935134" cy="3383481"/>
            <a:chOff x="1150604" y="1931470"/>
            <a:chExt cx="9935134" cy="3383481"/>
          </a:xfrm>
        </p:grpSpPr>
        <p:grpSp>
          <p:nvGrpSpPr>
            <p:cNvPr id="44" name="Group 203">
              <a:extLst>
                <a:ext uri="{FF2B5EF4-FFF2-40B4-BE49-F238E27FC236}">
                  <a16:creationId xmlns:a16="http://schemas.microsoft.com/office/drawing/2014/main" id="{A246C2DA-2621-4222-AD5A-FCB479857E22}"/>
                </a:ext>
              </a:extLst>
            </p:cNvPr>
            <p:cNvGrpSpPr/>
            <p:nvPr/>
          </p:nvGrpSpPr>
          <p:grpSpPr>
            <a:xfrm>
              <a:off x="3414483" y="4217471"/>
              <a:ext cx="960216" cy="1097480"/>
              <a:chOff x="3386941" y="4492335"/>
              <a:chExt cx="699636" cy="799650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C25A6C9C-8623-453E-BF8B-3362607A9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244" y="4558972"/>
                <a:ext cx="583030" cy="666375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/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>
                <a:outerShdw blurRad="330200" dist="330200" dir="5400000" sx="90000" sy="90000" algn="t" rotWithShape="0">
                  <a:schemeClr val="accent2">
                    <a:lumMod val="50000"/>
                    <a:alpha val="40000"/>
                  </a:scheme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5">
                <a:extLst>
                  <a:ext uri="{FF2B5EF4-FFF2-40B4-BE49-F238E27FC236}">
                    <a16:creationId xmlns:a16="http://schemas.microsoft.com/office/drawing/2014/main" id="{832A0F57-B802-433B-83B6-83F779861E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6941" y="4492335"/>
                <a:ext cx="699636" cy="799650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noFill/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172">
                <a:extLst>
                  <a:ext uri="{FF2B5EF4-FFF2-40B4-BE49-F238E27FC236}">
                    <a16:creationId xmlns:a16="http://schemas.microsoft.com/office/drawing/2014/main" id="{A2A3D1D9-C681-4B38-8E02-5698B751F0D3}"/>
                  </a:ext>
                </a:extLst>
              </p:cNvPr>
              <p:cNvSpPr/>
              <p:nvPr/>
            </p:nvSpPr>
            <p:spPr>
              <a:xfrm>
                <a:off x="3644098" y="4788700"/>
                <a:ext cx="185320" cy="189982"/>
              </a:xfrm>
              <a:custGeom>
                <a:avLst/>
                <a:gdLst>
                  <a:gd name="connsiteX0" fmla="*/ 218992 w 447009"/>
                  <a:gd name="connsiteY0" fmla="*/ 143247 h 458255"/>
                  <a:gd name="connsiteX1" fmla="*/ 205549 w 447009"/>
                  <a:gd name="connsiteY1" fmla="*/ 148882 h 458255"/>
                  <a:gd name="connsiteX2" fmla="*/ 138874 w 447009"/>
                  <a:gd name="connsiteY2" fmla="*/ 216700 h 458255"/>
                  <a:gd name="connsiteX3" fmla="*/ 125254 w 447009"/>
                  <a:gd name="connsiteY3" fmla="*/ 222415 h 458255"/>
                  <a:gd name="connsiteX4" fmla="*/ 81058 w 447009"/>
                  <a:gd name="connsiteY4" fmla="*/ 222415 h 458255"/>
                  <a:gd name="connsiteX5" fmla="*/ 62008 w 447009"/>
                  <a:gd name="connsiteY5" fmla="*/ 241465 h 458255"/>
                  <a:gd name="connsiteX6" fmla="*/ 81058 w 447009"/>
                  <a:gd name="connsiteY6" fmla="*/ 260515 h 458255"/>
                  <a:gd name="connsiteX7" fmla="*/ 141255 w 447009"/>
                  <a:gd name="connsiteY7" fmla="*/ 260515 h 458255"/>
                  <a:gd name="connsiteX8" fmla="*/ 154877 w 447009"/>
                  <a:gd name="connsiteY8" fmla="*/ 254800 h 458255"/>
                  <a:gd name="connsiteX9" fmla="*/ 205740 w 447009"/>
                  <a:gd name="connsiteY9" fmla="*/ 202984 h 458255"/>
                  <a:gd name="connsiteX10" fmla="*/ 205835 w 447009"/>
                  <a:gd name="connsiteY10" fmla="*/ 202873 h 458255"/>
                  <a:gd name="connsiteX11" fmla="*/ 232791 w 447009"/>
                  <a:gd name="connsiteY11" fmla="*/ 202984 h 458255"/>
                  <a:gd name="connsiteX12" fmla="*/ 281369 w 447009"/>
                  <a:gd name="connsiteY12" fmla="*/ 251561 h 458255"/>
                  <a:gd name="connsiteX13" fmla="*/ 294894 w 447009"/>
                  <a:gd name="connsiteY13" fmla="*/ 257181 h 458255"/>
                  <a:gd name="connsiteX14" fmla="*/ 366331 w 447009"/>
                  <a:gd name="connsiteY14" fmla="*/ 257181 h 458255"/>
                  <a:gd name="connsiteX15" fmla="*/ 366427 w 447009"/>
                  <a:gd name="connsiteY15" fmla="*/ 257181 h 458255"/>
                  <a:gd name="connsiteX16" fmla="*/ 385477 w 447009"/>
                  <a:gd name="connsiteY16" fmla="*/ 238131 h 458255"/>
                  <a:gd name="connsiteX17" fmla="*/ 366427 w 447009"/>
                  <a:gd name="connsiteY17" fmla="*/ 219081 h 458255"/>
                  <a:gd name="connsiteX18" fmla="*/ 310801 w 447009"/>
                  <a:gd name="connsiteY18" fmla="*/ 219081 h 458255"/>
                  <a:gd name="connsiteX19" fmla="*/ 297275 w 447009"/>
                  <a:gd name="connsiteY19" fmla="*/ 213461 h 458255"/>
                  <a:gd name="connsiteX20" fmla="*/ 232601 w 447009"/>
                  <a:gd name="connsiteY20" fmla="*/ 148882 h 458255"/>
                  <a:gd name="connsiteX21" fmla="*/ 232506 w 447009"/>
                  <a:gd name="connsiteY21" fmla="*/ 148771 h 458255"/>
                  <a:gd name="connsiteX22" fmla="*/ 218992 w 447009"/>
                  <a:gd name="connsiteY22" fmla="*/ 143247 h 458255"/>
                  <a:gd name="connsiteX23" fmla="*/ 22479 w 447009"/>
                  <a:gd name="connsiteY23" fmla="*/ 44488 h 458255"/>
                  <a:gd name="connsiteX24" fmla="*/ 425006 w 447009"/>
                  <a:gd name="connsiteY24" fmla="*/ 44488 h 458255"/>
                  <a:gd name="connsiteX25" fmla="*/ 447009 w 447009"/>
                  <a:gd name="connsiteY25" fmla="*/ 66109 h 458255"/>
                  <a:gd name="connsiteX26" fmla="*/ 447009 w 447009"/>
                  <a:gd name="connsiteY26" fmla="*/ 353193 h 458255"/>
                  <a:gd name="connsiteX27" fmla="*/ 447009 w 447009"/>
                  <a:gd name="connsiteY27" fmla="*/ 353197 h 458255"/>
                  <a:gd name="connsiteX28" fmla="*/ 424815 w 447009"/>
                  <a:gd name="connsiteY28" fmla="*/ 374815 h 458255"/>
                  <a:gd name="connsiteX29" fmla="*/ 339090 w 447009"/>
                  <a:gd name="connsiteY29" fmla="*/ 374815 h 458255"/>
                  <a:gd name="connsiteX30" fmla="*/ 364903 w 447009"/>
                  <a:gd name="connsiteY30" fmla="*/ 418344 h 458255"/>
                  <a:gd name="connsiteX31" fmla="*/ 359855 w 447009"/>
                  <a:gd name="connsiteY31" fmla="*/ 446443 h 458255"/>
                  <a:gd name="connsiteX32" fmla="*/ 349187 w 447009"/>
                  <a:gd name="connsiteY32" fmla="*/ 454444 h 458255"/>
                  <a:gd name="connsiteX33" fmla="*/ 346806 w 447009"/>
                  <a:gd name="connsiteY33" fmla="*/ 455920 h 458255"/>
                  <a:gd name="connsiteX34" fmla="*/ 324232 w 447009"/>
                  <a:gd name="connsiteY34" fmla="*/ 448824 h 458255"/>
                  <a:gd name="connsiteX35" fmla="*/ 283178 w 447009"/>
                  <a:gd name="connsiteY35" fmla="*/ 379577 h 458255"/>
                  <a:gd name="connsiteX36" fmla="*/ 281178 w 447009"/>
                  <a:gd name="connsiteY36" fmla="*/ 374815 h 458255"/>
                  <a:gd name="connsiteX37" fmla="*/ 249270 w 447009"/>
                  <a:gd name="connsiteY37" fmla="*/ 374815 h 458255"/>
                  <a:gd name="connsiteX38" fmla="*/ 250127 w 447009"/>
                  <a:gd name="connsiteY38" fmla="*/ 379863 h 458255"/>
                  <a:gd name="connsiteX39" fmla="*/ 250127 w 447009"/>
                  <a:gd name="connsiteY39" fmla="*/ 434346 h 458255"/>
                  <a:gd name="connsiteX40" fmla="*/ 232124 w 447009"/>
                  <a:gd name="connsiteY40" fmla="*/ 451872 h 458255"/>
                  <a:gd name="connsiteX41" fmla="*/ 219266 w 447009"/>
                  <a:gd name="connsiteY41" fmla="*/ 451872 h 458255"/>
                  <a:gd name="connsiteX42" fmla="*/ 201263 w 447009"/>
                  <a:gd name="connsiteY42" fmla="*/ 434346 h 458255"/>
                  <a:gd name="connsiteX43" fmla="*/ 201263 w 447009"/>
                  <a:gd name="connsiteY43" fmla="*/ 380339 h 458255"/>
                  <a:gd name="connsiteX44" fmla="*/ 202120 w 447009"/>
                  <a:gd name="connsiteY44" fmla="*/ 375291 h 458255"/>
                  <a:gd name="connsiteX45" fmla="*/ 170212 w 447009"/>
                  <a:gd name="connsiteY45" fmla="*/ 375291 h 458255"/>
                  <a:gd name="connsiteX46" fmla="*/ 168212 w 447009"/>
                  <a:gd name="connsiteY46" fmla="*/ 379958 h 458255"/>
                  <a:gd name="connsiteX47" fmla="*/ 127159 w 447009"/>
                  <a:gd name="connsiteY47" fmla="*/ 449300 h 458255"/>
                  <a:gd name="connsiteX48" fmla="*/ 125825 w 447009"/>
                  <a:gd name="connsiteY48" fmla="*/ 451460 h 458255"/>
                  <a:gd name="connsiteX49" fmla="*/ 102203 w 447009"/>
                  <a:gd name="connsiteY49" fmla="*/ 454920 h 458255"/>
                  <a:gd name="connsiteX50" fmla="*/ 91535 w 447009"/>
                  <a:gd name="connsiteY50" fmla="*/ 446824 h 458255"/>
                  <a:gd name="connsiteX51" fmla="*/ 86487 w 447009"/>
                  <a:gd name="connsiteY51" fmla="*/ 418249 h 458255"/>
                  <a:gd name="connsiteX52" fmla="*/ 112300 w 447009"/>
                  <a:gd name="connsiteY52" fmla="*/ 374815 h 458255"/>
                  <a:gd name="connsiteX53" fmla="*/ 22193 w 447009"/>
                  <a:gd name="connsiteY53" fmla="*/ 374815 h 458255"/>
                  <a:gd name="connsiteX54" fmla="*/ 0 w 447009"/>
                  <a:gd name="connsiteY54" fmla="*/ 353193 h 458255"/>
                  <a:gd name="connsiteX55" fmla="*/ 0 w 447009"/>
                  <a:gd name="connsiteY55" fmla="*/ 66109 h 458255"/>
                  <a:gd name="connsiteX56" fmla="*/ 0 w 447009"/>
                  <a:gd name="connsiteY56" fmla="*/ 65814 h 458255"/>
                  <a:gd name="connsiteX57" fmla="*/ 22479 w 447009"/>
                  <a:gd name="connsiteY57" fmla="*/ 44488 h 458255"/>
                  <a:gd name="connsiteX58" fmla="*/ 328708 w 447009"/>
                  <a:gd name="connsiteY58" fmla="*/ 0 h 458255"/>
                  <a:gd name="connsiteX59" fmla="*/ 346329 w 447009"/>
                  <a:gd name="connsiteY59" fmla="*/ 17246 h 458255"/>
                  <a:gd name="connsiteX60" fmla="*/ 346329 w 447009"/>
                  <a:gd name="connsiteY60" fmla="*/ 17344 h 458255"/>
                  <a:gd name="connsiteX61" fmla="*/ 328612 w 447009"/>
                  <a:gd name="connsiteY61" fmla="*/ 34486 h 458255"/>
                  <a:gd name="connsiteX62" fmla="*/ 119062 w 447009"/>
                  <a:gd name="connsiteY62" fmla="*/ 34486 h 458255"/>
                  <a:gd name="connsiteX63" fmla="*/ 118776 w 447009"/>
                  <a:gd name="connsiteY63" fmla="*/ 34492 h 458255"/>
                  <a:gd name="connsiteX64" fmla="*/ 101155 w 447009"/>
                  <a:gd name="connsiteY64" fmla="*/ 17246 h 458255"/>
                  <a:gd name="connsiteX65" fmla="*/ 101155 w 447009"/>
                  <a:gd name="connsiteY65" fmla="*/ 17147 h 458255"/>
                  <a:gd name="connsiteX66" fmla="*/ 118872 w 447009"/>
                  <a:gd name="connsiteY66" fmla="*/ 6 h 458255"/>
                  <a:gd name="connsiteX67" fmla="*/ 328422 w 447009"/>
                  <a:gd name="connsiteY67" fmla="*/ 6 h 458255"/>
                  <a:gd name="connsiteX68" fmla="*/ 328708 w 447009"/>
                  <a:gd name="connsiteY68" fmla="*/ 0 h 458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47009" h="458255">
                    <a:moveTo>
                      <a:pt x="218992" y="143247"/>
                    </a:moveTo>
                    <a:cubicBezTo>
                      <a:pt x="214122" y="143267"/>
                      <a:pt x="209264" y="145147"/>
                      <a:pt x="205549" y="148882"/>
                    </a:cubicBezTo>
                    <a:lnTo>
                      <a:pt x="138874" y="216700"/>
                    </a:lnTo>
                    <a:cubicBezTo>
                      <a:pt x="135255" y="220359"/>
                      <a:pt x="130397" y="222419"/>
                      <a:pt x="125254" y="222415"/>
                    </a:cubicBezTo>
                    <a:lnTo>
                      <a:pt x="81058" y="222415"/>
                    </a:lnTo>
                    <a:cubicBezTo>
                      <a:pt x="70581" y="222415"/>
                      <a:pt x="62008" y="230943"/>
                      <a:pt x="62008" y="241465"/>
                    </a:cubicBezTo>
                    <a:cubicBezTo>
                      <a:pt x="62008" y="251986"/>
                      <a:pt x="70581" y="260515"/>
                      <a:pt x="81058" y="260515"/>
                    </a:cubicBezTo>
                    <a:lnTo>
                      <a:pt x="141255" y="260515"/>
                    </a:lnTo>
                    <a:cubicBezTo>
                      <a:pt x="146399" y="260519"/>
                      <a:pt x="151257" y="258459"/>
                      <a:pt x="154877" y="254800"/>
                    </a:cubicBezTo>
                    <a:lnTo>
                      <a:pt x="205740" y="202984"/>
                    </a:lnTo>
                    <a:cubicBezTo>
                      <a:pt x="205740" y="202947"/>
                      <a:pt x="205835" y="202910"/>
                      <a:pt x="205835" y="202873"/>
                    </a:cubicBezTo>
                    <a:cubicBezTo>
                      <a:pt x="213360" y="195465"/>
                      <a:pt x="225362" y="195514"/>
                      <a:pt x="232791" y="202984"/>
                    </a:cubicBezTo>
                    <a:lnTo>
                      <a:pt x="281369" y="251561"/>
                    </a:lnTo>
                    <a:cubicBezTo>
                      <a:pt x="284989" y="255162"/>
                      <a:pt x="289846" y="257185"/>
                      <a:pt x="294894" y="257181"/>
                    </a:cubicBezTo>
                    <a:lnTo>
                      <a:pt x="366331" y="257181"/>
                    </a:lnTo>
                    <a:cubicBezTo>
                      <a:pt x="366331" y="257181"/>
                      <a:pt x="366427" y="257181"/>
                      <a:pt x="366427" y="257181"/>
                    </a:cubicBezTo>
                    <a:cubicBezTo>
                      <a:pt x="376904" y="257181"/>
                      <a:pt x="385477" y="248652"/>
                      <a:pt x="385477" y="238131"/>
                    </a:cubicBezTo>
                    <a:cubicBezTo>
                      <a:pt x="385477" y="227610"/>
                      <a:pt x="376904" y="219081"/>
                      <a:pt x="366427" y="219081"/>
                    </a:cubicBezTo>
                    <a:lnTo>
                      <a:pt x="310801" y="219081"/>
                    </a:lnTo>
                    <a:cubicBezTo>
                      <a:pt x="305752" y="219085"/>
                      <a:pt x="300895" y="217062"/>
                      <a:pt x="297275" y="213461"/>
                    </a:cubicBezTo>
                    <a:lnTo>
                      <a:pt x="232601" y="148882"/>
                    </a:lnTo>
                    <a:cubicBezTo>
                      <a:pt x="232601" y="148845"/>
                      <a:pt x="232506" y="148808"/>
                      <a:pt x="232506" y="148771"/>
                    </a:cubicBezTo>
                    <a:cubicBezTo>
                      <a:pt x="228744" y="145067"/>
                      <a:pt x="223862" y="143227"/>
                      <a:pt x="218992" y="143247"/>
                    </a:cubicBezTo>
                    <a:close/>
                    <a:moveTo>
                      <a:pt x="22479" y="44488"/>
                    </a:moveTo>
                    <a:lnTo>
                      <a:pt x="425006" y="44488"/>
                    </a:lnTo>
                    <a:cubicBezTo>
                      <a:pt x="437007" y="44434"/>
                      <a:pt x="446818" y="54085"/>
                      <a:pt x="447009" y="66109"/>
                    </a:cubicBezTo>
                    <a:lnTo>
                      <a:pt x="447009" y="353193"/>
                    </a:lnTo>
                    <a:cubicBezTo>
                      <a:pt x="447009" y="353194"/>
                      <a:pt x="447009" y="353196"/>
                      <a:pt x="447009" y="353197"/>
                    </a:cubicBezTo>
                    <a:cubicBezTo>
                      <a:pt x="446818" y="365294"/>
                      <a:pt x="436912" y="374974"/>
                      <a:pt x="424815" y="374815"/>
                    </a:cubicBezTo>
                    <a:lnTo>
                      <a:pt x="339090" y="374815"/>
                    </a:lnTo>
                    <a:lnTo>
                      <a:pt x="364903" y="418344"/>
                    </a:lnTo>
                    <a:cubicBezTo>
                      <a:pt x="370428" y="427672"/>
                      <a:pt x="368237" y="439609"/>
                      <a:pt x="359855" y="446443"/>
                    </a:cubicBezTo>
                    <a:lnTo>
                      <a:pt x="349187" y="454444"/>
                    </a:lnTo>
                    <a:cubicBezTo>
                      <a:pt x="348424" y="454999"/>
                      <a:pt x="347663" y="455493"/>
                      <a:pt x="346806" y="455920"/>
                    </a:cubicBezTo>
                    <a:cubicBezTo>
                      <a:pt x="338614" y="460207"/>
                      <a:pt x="328517" y="457030"/>
                      <a:pt x="324232" y="448824"/>
                    </a:cubicBezTo>
                    <a:lnTo>
                      <a:pt x="283178" y="379577"/>
                    </a:lnTo>
                    <a:cubicBezTo>
                      <a:pt x="282321" y="378070"/>
                      <a:pt x="281654" y="376472"/>
                      <a:pt x="281178" y="374815"/>
                    </a:cubicBezTo>
                    <a:lnTo>
                      <a:pt x="249270" y="374815"/>
                    </a:lnTo>
                    <a:cubicBezTo>
                      <a:pt x="249745" y="376448"/>
                      <a:pt x="250127" y="378148"/>
                      <a:pt x="250127" y="379863"/>
                    </a:cubicBezTo>
                    <a:lnTo>
                      <a:pt x="250127" y="434346"/>
                    </a:lnTo>
                    <a:cubicBezTo>
                      <a:pt x="249936" y="444146"/>
                      <a:pt x="241935" y="451978"/>
                      <a:pt x="232124" y="451872"/>
                    </a:cubicBezTo>
                    <a:lnTo>
                      <a:pt x="219266" y="451872"/>
                    </a:lnTo>
                    <a:cubicBezTo>
                      <a:pt x="209455" y="451978"/>
                      <a:pt x="201454" y="444146"/>
                      <a:pt x="201263" y="434346"/>
                    </a:cubicBezTo>
                    <a:lnTo>
                      <a:pt x="201263" y="380339"/>
                    </a:lnTo>
                    <a:cubicBezTo>
                      <a:pt x="201263" y="378625"/>
                      <a:pt x="201645" y="376924"/>
                      <a:pt x="202120" y="375291"/>
                    </a:cubicBezTo>
                    <a:lnTo>
                      <a:pt x="170212" y="375291"/>
                    </a:lnTo>
                    <a:cubicBezTo>
                      <a:pt x="169735" y="376924"/>
                      <a:pt x="169069" y="378492"/>
                      <a:pt x="168212" y="379958"/>
                    </a:cubicBezTo>
                    <a:lnTo>
                      <a:pt x="127159" y="449300"/>
                    </a:lnTo>
                    <a:cubicBezTo>
                      <a:pt x="126778" y="450054"/>
                      <a:pt x="126302" y="450776"/>
                      <a:pt x="125825" y="451460"/>
                    </a:cubicBezTo>
                    <a:cubicBezTo>
                      <a:pt x="120206" y="458929"/>
                      <a:pt x="109633" y="460479"/>
                      <a:pt x="102203" y="454920"/>
                    </a:cubicBezTo>
                    <a:lnTo>
                      <a:pt x="91535" y="446824"/>
                    </a:lnTo>
                    <a:cubicBezTo>
                      <a:pt x="82867" y="439962"/>
                      <a:pt x="80677" y="427674"/>
                      <a:pt x="86487" y="418249"/>
                    </a:cubicBezTo>
                    <a:lnTo>
                      <a:pt x="112300" y="374815"/>
                    </a:lnTo>
                    <a:lnTo>
                      <a:pt x="22193" y="374815"/>
                    </a:lnTo>
                    <a:cubicBezTo>
                      <a:pt x="10097" y="374972"/>
                      <a:pt x="191" y="365291"/>
                      <a:pt x="0" y="353193"/>
                    </a:cubicBezTo>
                    <a:lnTo>
                      <a:pt x="0" y="66109"/>
                    </a:lnTo>
                    <a:cubicBezTo>
                      <a:pt x="0" y="66011"/>
                      <a:pt x="0" y="65913"/>
                      <a:pt x="0" y="65814"/>
                    </a:cubicBezTo>
                    <a:cubicBezTo>
                      <a:pt x="286" y="53719"/>
                      <a:pt x="10382" y="44171"/>
                      <a:pt x="22479" y="44488"/>
                    </a:cubicBezTo>
                    <a:close/>
                    <a:moveTo>
                      <a:pt x="328708" y="0"/>
                    </a:moveTo>
                    <a:cubicBezTo>
                      <a:pt x="338328" y="-102"/>
                      <a:pt x="346233" y="7620"/>
                      <a:pt x="346329" y="17246"/>
                    </a:cubicBezTo>
                    <a:cubicBezTo>
                      <a:pt x="346329" y="17279"/>
                      <a:pt x="346329" y="17311"/>
                      <a:pt x="346329" y="17344"/>
                    </a:cubicBezTo>
                    <a:cubicBezTo>
                      <a:pt x="346138" y="26970"/>
                      <a:pt x="338233" y="34644"/>
                      <a:pt x="328612" y="34486"/>
                    </a:cubicBezTo>
                    <a:lnTo>
                      <a:pt x="119062" y="34486"/>
                    </a:lnTo>
                    <a:cubicBezTo>
                      <a:pt x="118967" y="34489"/>
                      <a:pt x="118872" y="34491"/>
                      <a:pt x="118776" y="34492"/>
                    </a:cubicBezTo>
                    <a:cubicBezTo>
                      <a:pt x="109156" y="34593"/>
                      <a:pt x="101251" y="26872"/>
                      <a:pt x="101155" y="17246"/>
                    </a:cubicBezTo>
                    <a:cubicBezTo>
                      <a:pt x="101155" y="17213"/>
                      <a:pt x="101155" y="17180"/>
                      <a:pt x="101155" y="17147"/>
                    </a:cubicBezTo>
                    <a:cubicBezTo>
                      <a:pt x="101346" y="7522"/>
                      <a:pt x="109251" y="-153"/>
                      <a:pt x="118872" y="6"/>
                    </a:cubicBezTo>
                    <a:lnTo>
                      <a:pt x="328422" y="6"/>
                    </a:lnTo>
                    <a:cubicBezTo>
                      <a:pt x="328517" y="3"/>
                      <a:pt x="328612" y="1"/>
                      <a:pt x="32870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48" name="Group 209">
              <a:extLst>
                <a:ext uri="{FF2B5EF4-FFF2-40B4-BE49-F238E27FC236}">
                  <a16:creationId xmlns:a16="http://schemas.microsoft.com/office/drawing/2014/main" id="{2609D80B-54E6-4E08-98FB-BBBE1AE931BF}"/>
                </a:ext>
              </a:extLst>
            </p:cNvPr>
            <p:cNvGrpSpPr/>
            <p:nvPr/>
          </p:nvGrpSpPr>
          <p:grpSpPr>
            <a:xfrm>
              <a:off x="5651496" y="1931470"/>
              <a:ext cx="960216" cy="1097480"/>
              <a:chOff x="3386941" y="4492335"/>
              <a:chExt cx="699636" cy="799650"/>
            </a:xfrm>
          </p:grpSpPr>
          <p:sp>
            <p:nvSpPr>
              <p:cNvPr id="49" name="Freeform 5">
                <a:extLst>
                  <a:ext uri="{FF2B5EF4-FFF2-40B4-BE49-F238E27FC236}">
                    <a16:creationId xmlns:a16="http://schemas.microsoft.com/office/drawing/2014/main" id="{500FFE03-331A-4135-B454-5ADF177EE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244" y="4558972"/>
                <a:ext cx="583030" cy="666375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/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>
                <a:outerShdw blurRad="330200" dist="330200" dir="5400000" sx="90000" sy="90000" algn="t" rotWithShape="0">
                  <a:schemeClr val="accent3">
                    <a:lumMod val="50000"/>
                    <a:alpha val="40000"/>
                  </a:scheme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0" name="Freeform 5">
                <a:extLst>
                  <a:ext uri="{FF2B5EF4-FFF2-40B4-BE49-F238E27FC236}">
                    <a16:creationId xmlns:a16="http://schemas.microsoft.com/office/drawing/2014/main" id="{EFEB3D30-7D9F-4F31-98C2-958D9C75D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6941" y="4492335"/>
                <a:ext cx="699636" cy="799650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noFill/>
              <a:ln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1" name="Freeform 172">
                <a:extLst>
                  <a:ext uri="{FF2B5EF4-FFF2-40B4-BE49-F238E27FC236}">
                    <a16:creationId xmlns:a16="http://schemas.microsoft.com/office/drawing/2014/main" id="{E14047B6-8EE4-4F45-A935-5F0B9F926468}"/>
                  </a:ext>
                </a:extLst>
              </p:cNvPr>
              <p:cNvSpPr/>
              <p:nvPr/>
            </p:nvSpPr>
            <p:spPr>
              <a:xfrm>
                <a:off x="3641768" y="4792244"/>
                <a:ext cx="189982" cy="182893"/>
              </a:xfrm>
              <a:custGeom>
                <a:avLst/>
                <a:gdLst>
                  <a:gd name="connsiteX0" fmla="*/ 194024 w 465677"/>
                  <a:gd name="connsiteY0" fmla="*/ 157258 h 448304"/>
                  <a:gd name="connsiteX1" fmla="*/ 196023 w 465677"/>
                  <a:gd name="connsiteY1" fmla="*/ 157258 h 448304"/>
                  <a:gd name="connsiteX2" fmla="*/ 238410 w 465677"/>
                  <a:gd name="connsiteY2" fmla="*/ 198691 h 448304"/>
                  <a:gd name="connsiteX3" fmla="*/ 238410 w 465677"/>
                  <a:gd name="connsiteY3" fmla="*/ 198791 h 448304"/>
                  <a:gd name="connsiteX4" fmla="*/ 196023 w 465677"/>
                  <a:gd name="connsiteY4" fmla="*/ 240220 h 448304"/>
                  <a:gd name="connsiteX5" fmla="*/ 194024 w 465677"/>
                  <a:gd name="connsiteY5" fmla="*/ 240220 h 448304"/>
                  <a:gd name="connsiteX6" fmla="*/ 151733 w 465677"/>
                  <a:gd name="connsiteY6" fmla="*/ 198691 h 448304"/>
                  <a:gd name="connsiteX7" fmla="*/ 194024 w 465677"/>
                  <a:gd name="connsiteY7" fmla="*/ 157258 h 448304"/>
                  <a:gd name="connsiteX8" fmla="*/ 195263 w 465677"/>
                  <a:gd name="connsiteY8" fmla="*/ 123824 h 448304"/>
                  <a:gd name="connsiteX9" fmla="*/ 179737 w 465677"/>
                  <a:gd name="connsiteY9" fmla="*/ 125062 h 448304"/>
                  <a:gd name="connsiteX10" fmla="*/ 119729 w 465677"/>
                  <a:gd name="connsiteY10" fmla="*/ 179831 h 448304"/>
                  <a:gd name="connsiteX11" fmla="*/ 151734 w 465677"/>
                  <a:gd name="connsiteY11" fmla="*/ 261937 h 448304"/>
                  <a:gd name="connsiteX12" fmla="*/ 88488 w 465677"/>
                  <a:gd name="connsiteY12" fmla="*/ 309562 h 448304"/>
                  <a:gd name="connsiteX13" fmla="*/ 86582 w 465677"/>
                  <a:gd name="connsiteY13" fmla="*/ 313303 h 448304"/>
                  <a:gd name="connsiteX14" fmla="*/ 96107 w 465677"/>
                  <a:gd name="connsiteY14" fmla="*/ 333374 h 448304"/>
                  <a:gd name="connsiteX15" fmla="*/ 98298 w 465677"/>
                  <a:gd name="connsiteY15" fmla="*/ 334231 h 448304"/>
                  <a:gd name="connsiteX16" fmla="*/ 117348 w 465677"/>
                  <a:gd name="connsiteY16" fmla="*/ 328135 h 448304"/>
                  <a:gd name="connsiteX17" fmla="*/ 195167 w 465677"/>
                  <a:gd name="connsiteY17" fmla="*/ 288892 h 448304"/>
                  <a:gd name="connsiteX18" fmla="*/ 272987 w 465677"/>
                  <a:gd name="connsiteY18" fmla="*/ 328135 h 448304"/>
                  <a:gd name="connsiteX19" fmla="*/ 292037 w 465677"/>
                  <a:gd name="connsiteY19" fmla="*/ 334231 h 448304"/>
                  <a:gd name="connsiteX20" fmla="*/ 294228 w 465677"/>
                  <a:gd name="connsiteY20" fmla="*/ 333374 h 448304"/>
                  <a:gd name="connsiteX21" fmla="*/ 298038 w 465677"/>
                  <a:gd name="connsiteY21" fmla="*/ 331430 h 448304"/>
                  <a:gd name="connsiteX22" fmla="*/ 302038 w 465677"/>
                  <a:gd name="connsiteY22" fmla="*/ 309562 h 448304"/>
                  <a:gd name="connsiteX23" fmla="*/ 238791 w 465677"/>
                  <a:gd name="connsiteY23" fmla="*/ 261937 h 448304"/>
                  <a:gd name="connsiteX24" fmla="*/ 270796 w 465677"/>
                  <a:gd name="connsiteY24" fmla="*/ 179831 h 448304"/>
                  <a:gd name="connsiteX25" fmla="*/ 210788 w 465677"/>
                  <a:gd name="connsiteY25" fmla="*/ 125062 h 448304"/>
                  <a:gd name="connsiteX26" fmla="*/ 195263 w 465677"/>
                  <a:gd name="connsiteY26" fmla="*/ 123824 h 448304"/>
                  <a:gd name="connsiteX27" fmla="*/ 369285 w 465677"/>
                  <a:gd name="connsiteY27" fmla="*/ 69717 h 448304"/>
                  <a:gd name="connsiteX28" fmla="*/ 392811 w 465677"/>
                  <a:gd name="connsiteY28" fmla="*/ 92677 h 448304"/>
                  <a:gd name="connsiteX29" fmla="*/ 392811 w 465677"/>
                  <a:gd name="connsiteY29" fmla="*/ 370903 h 448304"/>
                  <a:gd name="connsiteX30" fmla="*/ 392811 w 465677"/>
                  <a:gd name="connsiteY30" fmla="*/ 370906 h 448304"/>
                  <a:gd name="connsiteX31" fmla="*/ 369380 w 465677"/>
                  <a:gd name="connsiteY31" fmla="*/ 393763 h 448304"/>
                  <a:gd name="connsiteX32" fmla="*/ 277559 w 465677"/>
                  <a:gd name="connsiteY32" fmla="*/ 393763 h 448304"/>
                  <a:gd name="connsiteX33" fmla="*/ 261461 w 465677"/>
                  <a:gd name="connsiteY33" fmla="*/ 400049 h 448304"/>
                  <a:gd name="connsiteX34" fmla="*/ 216217 w 465677"/>
                  <a:gd name="connsiteY34" fmla="*/ 442054 h 448304"/>
                  <a:gd name="connsiteX35" fmla="*/ 183356 w 465677"/>
                  <a:gd name="connsiteY35" fmla="*/ 441388 h 448304"/>
                  <a:gd name="connsiteX36" fmla="*/ 142684 w 465677"/>
                  <a:gd name="connsiteY36" fmla="*/ 400621 h 448304"/>
                  <a:gd name="connsiteX37" fmla="*/ 125920 w 465677"/>
                  <a:gd name="connsiteY37" fmla="*/ 393763 h 448304"/>
                  <a:gd name="connsiteX38" fmla="*/ 23336 w 465677"/>
                  <a:gd name="connsiteY38" fmla="*/ 393763 h 448304"/>
                  <a:gd name="connsiteX39" fmla="*/ 0 w 465677"/>
                  <a:gd name="connsiteY39" fmla="*/ 370903 h 448304"/>
                  <a:gd name="connsiteX40" fmla="*/ 0 w 465677"/>
                  <a:gd name="connsiteY40" fmla="*/ 92677 h 448304"/>
                  <a:gd name="connsiteX41" fmla="*/ 22956 w 465677"/>
                  <a:gd name="connsiteY41" fmla="*/ 69722 h 448304"/>
                  <a:gd name="connsiteX42" fmla="*/ 368999 w 465677"/>
                  <a:gd name="connsiteY42" fmla="*/ 69722 h 448304"/>
                  <a:gd name="connsiteX43" fmla="*/ 369285 w 465677"/>
                  <a:gd name="connsiteY43" fmla="*/ 69717 h 448304"/>
                  <a:gd name="connsiteX44" fmla="*/ 123825 w 465677"/>
                  <a:gd name="connsiteY44" fmla="*/ 0 h 448304"/>
                  <a:gd name="connsiteX45" fmla="*/ 445484 w 465677"/>
                  <a:gd name="connsiteY45" fmla="*/ 0 h 448304"/>
                  <a:gd name="connsiteX46" fmla="*/ 465677 w 465677"/>
                  <a:gd name="connsiteY46" fmla="*/ 19810 h 448304"/>
                  <a:gd name="connsiteX47" fmla="*/ 465677 w 465677"/>
                  <a:gd name="connsiteY47" fmla="*/ 19812 h 448304"/>
                  <a:gd name="connsiteX48" fmla="*/ 465677 w 465677"/>
                  <a:gd name="connsiteY48" fmla="*/ 307753 h 448304"/>
                  <a:gd name="connsiteX49" fmla="*/ 445866 w 465677"/>
                  <a:gd name="connsiteY49" fmla="*/ 327565 h 448304"/>
                  <a:gd name="connsiteX50" fmla="*/ 411384 w 465677"/>
                  <a:gd name="connsiteY50" fmla="*/ 327565 h 448304"/>
                  <a:gd name="connsiteX51" fmla="*/ 411384 w 465677"/>
                  <a:gd name="connsiteY51" fmla="*/ 288512 h 448304"/>
                  <a:gd name="connsiteX52" fmla="*/ 426244 w 465677"/>
                  <a:gd name="connsiteY52" fmla="*/ 274037 h 448304"/>
                  <a:gd name="connsiteX53" fmla="*/ 426244 w 465677"/>
                  <a:gd name="connsiteY53" fmla="*/ 274034 h 448304"/>
                  <a:gd name="connsiteX54" fmla="*/ 426244 w 465677"/>
                  <a:gd name="connsiteY54" fmla="*/ 53626 h 448304"/>
                  <a:gd name="connsiteX55" fmla="*/ 411479 w 465677"/>
                  <a:gd name="connsiteY55" fmla="*/ 39051 h 448304"/>
                  <a:gd name="connsiteX56" fmla="*/ 411384 w 465677"/>
                  <a:gd name="connsiteY56" fmla="*/ 39052 h 448304"/>
                  <a:gd name="connsiteX57" fmla="*/ 158782 w 465677"/>
                  <a:gd name="connsiteY57" fmla="*/ 39052 h 448304"/>
                  <a:gd name="connsiteX58" fmla="*/ 143922 w 465677"/>
                  <a:gd name="connsiteY58" fmla="*/ 53529 h 448304"/>
                  <a:gd name="connsiteX59" fmla="*/ 143922 w 465677"/>
                  <a:gd name="connsiteY59" fmla="*/ 53626 h 448304"/>
                  <a:gd name="connsiteX60" fmla="*/ 143922 w 465677"/>
                  <a:gd name="connsiteY60" fmla="*/ 58007 h 448304"/>
                  <a:gd name="connsiteX61" fmla="*/ 104013 w 465677"/>
                  <a:gd name="connsiteY61" fmla="*/ 58007 h 448304"/>
                  <a:gd name="connsiteX62" fmla="*/ 104013 w 465677"/>
                  <a:gd name="connsiteY62" fmla="*/ 19907 h 448304"/>
                  <a:gd name="connsiteX63" fmla="*/ 123825 w 465677"/>
                  <a:gd name="connsiteY63" fmla="*/ 0 h 44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465677" h="448304">
                    <a:moveTo>
                      <a:pt x="194024" y="157258"/>
                    </a:moveTo>
                    <a:lnTo>
                      <a:pt x="196023" y="157258"/>
                    </a:lnTo>
                    <a:cubicBezTo>
                      <a:pt x="219170" y="156996"/>
                      <a:pt x="238124" y="175547"/>
                      <a:pt x="238410" y="198691"/>
                    </a:cubicBezTo>
                    <a:cubicBezTo>
                      <a:pt x="238410" y="198725"/>
                      <a:pt x="238410" y="198758"/>
                      <a:pt x="238410" y="198791"/>
                    </a:cubicBezTo>
                    <a:cubicBezTo>
                      <a:pt x="238124" y="221936"/>
                      <a:pt x="219170" y="240484"/>
                      <a:pt x="196023" y="240220"/>
                    </a:cubicBezTo>
                    <a:lnTo>
                      <a:pt x="194024" y="240220"/>
                    </a:lnTo>
                    <a:cubicBezTo>
                      <a:pt x="170877" y="240430"/>
                      <a:pt x="151923" y="221837"/>
                      <a:pt x="151733" y="198691"/>
                    </a:cubicBezTo>
                    <a:cubicBezTo>
                      <a:pt x="152018" y="175582"/>
                      <a:pt x="170877" y="157046"/>
                      <a:pt x="194024" y="157258"/>
                    </a:cubicBezTo>
                    <a:close/>
                    <a:moveTo>
                      <a:pt x="195263" y="123824"/>
                    </a:moveTo>
                    <a:cubicBezTo>
                      <a:pt x="190023" y="123723"/>
                      <a:pt x="184881" y="124138"/>
                      <a:pt x="179737" y="125062"/>
                    </a:cubicBezTo>
                    <a:cubicBezTo>
                      <a:pt x="150685" y="129889"/>
                      <a:pt x="127159" y="151339"/>
                      <a:pt x="119729" y="179831"/>
                    </a:cubicBezTo>
                    <a:cubicBezTo>
                      <a:pt x="111442" y="211245"/>
                      <a:pt x="124397" y="244410"/>
                      <a:pt x="151734" y="261937"/>
                    </a:cubicBezTo>
                    <a:cubicBezTo>
                      <a:pt x="126111" y="270647"/>
                      <a:pt x="103918" y="287337"/>
                      <a:pt x="88488" y="309562"/>
                    </a:cubicBezTo>
                    <a:cubicBezTo>
                      <a:pt x="87725" y="310717"/>
                      <a:pt x="87059" y="311975"/>
                      <a:pt x="86582" y="313303"/>
                    </a:cubicBezTo>
                    <a:cubicBezTo>
                      <a:pt x="83630" y="321482"/>
                      <a:pt x="87916" y="330468"/>
                      <a:pt x="96107" y="333374"/>
                    </a:cubicBezTo>
                    <a:lnTo>
                      <a:pt x="98298" y="334231"/>
                    </a:lnTo>
                    <a:cubicBezTo>
                      <a:pt x="105252" y="336658"/>
                      <a:pt x="113062" y="334175"/>
                      <a:pt x="117348" y="328135"/>
                    </a:cubicBezTo>
                    <a:cubicBezTo>
                      <a:pt x="135255" y="303068"/>
                      <a:pt x="164402" y="288401"/>
                      <a:pt x="195167" y="288892"/>
                    </a:cubicBezTo>
                    <a:cubicBezTo>
                      <a:pt x="225933" y="288401"/>
                      <a:pt x="255080" y="303068"/>
                      <a:pt x="272987" y="328135"/>
                    </a:cubicBezTo>
                    <a:cubicBezTo>
                      <a:pt x="277273" y="334175"/>
                      <a:pt x="285084" y="336658"/>
                      <a:pt x="292037" y="334231"/>
                    </a:cubicBezTo>
                    <a:lnTo>
                      <a:pt x="294228" y="333374"/>
                    </a:lnTo>
                    <a:cubicBezTo>
                      <a:pt x="295561" y="332906"/>
                      <a:pt x="296895" y="332251"/>
                      <a:pt x="298038" y="331430"/>
                    </a:cubicBezTo>
                    <a:cubicBezTo>
                      <a:pt x="305182" y="326488"/>
                      <a:pt x="306991" y="316697"/>
                      <a:pt x="302038" y="309562"/>
                    </a:cubicBezTo>
                    <a:cubicBezTo>
                      <a:pt x="286607" y="287337"/>
                      <a:pt x="264414" y="270647"/>
                      <a:pt x="238791" y="261937"/>
                    </a:cubicBezTo>
                    <a:cubicBezTo>
                      <a:pt x="266128" y="244410"/>
                      <a:pt x="279083" y="211245"/>
                      <a:pt x="270796" y="179831"/>
                    </a:cubicBezTo>
                    <a:cubicBezTo>
                      <a:pt x="263367" y="151339"/>
                      <a:pt x="239840" y="129889"/>
                      <a:pt x="210788" y="125062"/>
                    </a:cubicBezTo>
                    <a:cubicBezTo>
                      <a:pt x="205645" y="124138"/>
                      <a:pt x="200502" y="123723"/>
                      <a:pt x="195263" y="123824"/>
                    </a:cubicBezTo>
                    <a:close/>
                    <a:moveTo>
                      <a:pt x="369285" y="69717"/>
                    </a:moveTo>
                    <a:cubicBezTo>
                      <a:pt x="382143" y="69563"/>
                      <a:pt x="392620" y="79843"/>
                      <a:pt x="392811" y="92677"/>
                    </a:cubicBezTo>
                    <a:lnTo>
                      <a:pt x="392811" y="370903"/>
                    </a:lnTo>
                    <a:cubicBezTo>
                      <a:pt x="392811" y="370904"/>
                      <a:pt x="392811" y="370905"/>
                      <a:pt x="392811" y="370906"/>
                    </a:cubicBezTo>
                    <a:cubicBezTo>
                      <a:pt x="392620" y="383688"/>
                      <a:pt x="382143" y="393922"/>
                      <a:pt x="369380" y="393763"/>
                    </a:cubicBezTo>
                    <a:lnTo>
                      <a:pt x="277559" y="393763"/>
                    </a:lnTo>
                    <a:cubicBezTo>
                      <a:pt x="271558" y="393778"/>
                      <a:pt x="265843" y="396020"/>
                      <a:pt x="261461" y="400049"/>
                    </a:cubicBezTo>
                    <a:lnTo>
                      <a:pt x="216217" y="442054"/>
                    </a:lnTo>
                    <a:cubicBezTo>
                      <a:pt x="206883" y="450639"/>
                      <a:pt x="192405" y="450346"/>
                      <a:pt x="183356" y="441388"/>
                    </a:cubicBezTo>
                    <a:lnTo>
                      <a:pt x="142684" y="400621"/>
                    </a:lnTo>
                    <a:cubicBezTo>
                      <a:pt x="138208" y="396215"/>
                      <a:pt x="132207" y="393751"/>
                      <a:pt x="125920" y="393763"/>
                    </a:cubicBezTo>
                    <a:lnTo>
                      <a:pt x="23336" y="393763"/>
                    </a:lnTo>
                    <a:cubicBezTo>
                      <a:pt x="10573" y="393868"/>
                      <a:pt x="191" y="383648"/>
                      <a:pt x="0" y="370903"/>
                    </a:cubicBezTo>
                    <a:lnTo>
                      <a:pt x="0" y="92677"/>
                    </a:lnTo>
                    <a:cubicBezTo>
                      <a:pt x="96" y="80043"/>
                      <a:pt x="10287" y="69826"/>
                      <a:pt x="22956" y="69722"/>
                    </a:cubicBezTo>
                    <a:lnTo>
                      <a:pt x="368999" y="69722"/>
                    </a:lnTo>
                    <a:cubicBezTo>
                      <a:pt x="369094" y="69720"/>
                      <a:pt x="369189" y="69718"/>
                      <a:pt x="369285" y="69717"/>
                    </a:cubicBezTo>
                    <a:close/>
                    <a:moveTo>
                      <a:pt x="123825" y="0"/>
                    </a:moveTo>
                    <a:lnTo>
                      <a:pt x="445484" y="0"/>
                    </a:lnTo>
                    <a:cubicBezTo>
                      <a:pt x="456534" y="-106"/>
                      <a:pt x="465582" y="8764"/>
                      <a:pt x="465677" y="19810"/>
                    </a:cubicBezTo>
                    <a:cubicBezTo>
                      <a:pt x="465677" y="19811"/>
                      <a:pt x="465677" y="19811"/>
                      <a:pt x="465677" y="19812"/>
                    </a:cubicBezTo>
                    <a:lnTo>
                      <a:pt x="465677" y="307753"/>
                    </a:lnTo>
                    <a:cubicBezTo>
                      <a:pt x="465582" y="318651"/>
                      <a:pt x="456723" y="327462"/>
                      <a:pt x="445866" y="327565"/>
                    </a:cubicBezTo>
                    <a:lnTo>
                      <a:pt x="411384" y="327565"/>
                    </a:lnTo>
                    <a:lnTo>
                      <a:pt x="411384" y="288512"/>
                    </a:lnTo>
                    <a:cubicBezTo>
                      <a:pt x="419481" y="288618"/>
                      <a:pt x="426148" y="282137"/>
                      <a:pt x="426244" y="274037"/>
                    </a:cubicBezTo>
                    <a:cubicBezTo>
                      <a:pt x="426244" y="274036"/>
                      <a:pt x="426244" y="274035"/>
                      <a:pt x="426244" y="274034"/>
                    </a:cubicBezTo>
                    <a:lnTo>
                      <a:pt x="426244" y="53626"/>
                    </a:lnTo>
                    <a:cubicBezTo>
                      <a:pt x="426148" y="45525"/>
                      <a:pt x="419576" y="39000"/>
                      <a:pt x="411479" y="39051"/>
                    </a:cubicBezTo>
                    <a:cubicBezTo>
                      <a:pt x="411479" y="39052"/>
                      <a:pt x="411384" y="39052"/>
                      <a:pt x="411384" y="39052"/>
                    </a:cubicBezTo>
                    <a:lnTo>
                      <a:pt x="158782" y="39052"/>
                    </a:lnTo>
                    <a:cubicBezTo>
                      <a:pt x="150685" y="38947"/>
                      <a:pt x="144018" y="45428"/>
                      <a:pt x="143922" y="53529"/>
                    </a:cubicBezTo>
                    <a:cubicBezTo>
                      <a:pt x="143922" y="53561"/>
                      <a:pt x="143922" y="53593"/>
                      <a:pt x="143922" y="53626"/>
                    </a:cubicBezTo>
                    <a:lnTo>
                      <a:pt x="143922" y="58007"/>
                    </a:lnTo>
                    <a:lnTo>
                      <a:pt x="104013" y="58007"/>
                    </a:lnTo>
                    <a:lnTo>
                      <a:pt x="104013" y="19907"/>
                    </a:lnTo>
                    <a:cubicBezTo>
                      <a:pt x="104109" y="8971"/>
                      <a:pt x="112871" y="104"/>
                      <a:pt x="1238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2" name="组合 51">
              <a:extLst>
                <a:ext uri="{FF2B5EF4-FFF2-40B4-BE49-F238E27FC236}">
                  <a16:creationId xmlns:a16="http://schemas.microsoft.com/office/drawing/2014/main" id="{446A7B7D-6FE5-4D8F-B040-EF291C24EA79}"/>
                </a:ext>
              </a:extLst>
            </p:cNvPr>
            <p:cNvGrpSpPr/>
            <p:nvPr/>
          </p:nvGrpSpPr>
          <p:grpSpPr>
            <a:xfrm>
              <a:off x="1150604" y="1931470"/>
              <a:ext cx="960216" cy="1097480"/>
              <a:chOff x="3386941" y="4492335"/>
              <a:chExt cx="699636" cy="799650"/>
            </a:xfrm>
          </p:grpSpPr>
          <p:sp>
            <p:nvSpPr>
              <p:cNvPr id="53" name="Freeform 5">
                <a:extLst>
                  <a:ext uri="{FF2B5EF4-FFF2-40B4-BE49-F238E27FC236}">
                    <a16:creationId xmlns:a16="http://schemas.microsoft.com/office/drawing/2014/main" id="{C8FF5B32-05A0-4DFC-B4B1-B13B3345DC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244" y="4558972"/>
                <a:ext cx="583030" cy="666375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>
                <a:outerShdw blurRad="330200" dist="330200" dir="5400000" sx="90000" sy="90000" algn="t" rotWithShape="0">
                  <a:schemeClr val="accent1">
                    <a:lumMod val="50000"/>
                    <a:alpha val="40000"/>
                  </a:scheme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4" name="Freeform 5">
                <a:extLst>
                  <a:ext uri="{FF2B5EF4-FFF2-40B4-BE49-F238E27FC236}">
                    <a16:creationId xmlns:a16="http://schemas.microsoft.com/office/drawing/2014/main" id="{EEA8BAD3-FA5D-4F02-8C06-42D9A93A3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6941" y="4492335"/>
                <a:ext cx="699636" cy="799650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noFill/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5" name="Freeform 172">
                <a:extLst>
                  <a:ext uri="{FF2B5EF4-FFF2-40B4-BE49-F238E27FC236}">
                    <a16:creationId xmlns:a16="http://schemas.microsoft.com/office/drawing/2014/main" id="{325CF4EF-8672-4902-858A-0AD172BA683E}"/>
                  </a:ext>
                </a:extLst>
              </p:cNvPr>
              <p:cNvSpPr/>
              <p:nvPr/>
            </p:nvSpPr>
            <p:spPr>
              <a:xfrm>
                <a:off x="3641768" y="4792689"/>
                <a:ext cx="189982" cy="182005"/>
              </a:xfrm>
              <a:custGeom>
                <a:avLst/>
                <a:gdLst>
                  <a:gd name="connsiteX0" fmla="*/ 196501 w 467362"/>
                  <a:gd name="connsiteY0" fmla="*/ 222283 h 447740"/>
                  <a:gd name="connsiteX1" fmla="*/ 227171 w 467362"/>
                  <a:gd name="connsiteY1" fmla="*/ 249334 h 447740"/>
                  <a:gd name="connsiteX2" fmla="*/ 204216 w 467362"/>
                  <a:gd name="connsiteY2" fmla="*/ 278671 h 447740"/>
                  <a:gd name="connsiteX3" fmla="*/ 196501 w 467362"/>
                  <a:gd name="connsiteY3" fmla="*/ 278671 h 447740"/>
                  <a:gd name="connsiteX4" fmla="*/ 181356 w 467362"/>
                  <a:gd name="connsiteY4" fmla="*/ 263526 h 447740"/>
                  <a:gd name="connsiteX5" fmla="*/ 181356 w 467362"/>
                  <a:gd name="connsiteY5" fmla="*/ 237523 h 447740"/>
                  <a:gd name="connsiteX6" fmla="*/ 181356 w 467362"/>
                  <a:gd name="connsiteY6" fmla="*/ 237428 h 447740"/>
                  <a:gd name="connsiteX7" fmla="*/ 196501 w 467362"/>
                  <a:gd name="connsiteY7" fmla="*/ 222283 h 447740"/>
                  <a:gd name="connsiteX8" fmla="*/ 139827 w 467362"/>
                  <a:gd name="connsiteY8" fmla="*/ 182183 h 447740"/>
                  <a:gd name="connsiteX9" fmla="*/ 124777 w 467362"/>
                  <a:gd name="connsiteY9" fmla="*/ 197233 h 447740"/>
                  <a:gd name="connsiteX10" fmla="*/ 124777 w 467362"/>
                  <a:gd name="connsiteY10" fmla="*/ 368683 h 447740"/>
                  <a:gd name="connsiteX11" fmla="*/ 124777 w 467362"/>
                  <a:gd name="connsiteY11" fmla="*/ 368686 h 447740"/>
                  <a:gd name="connsiteX12" fmla="*/ 139636 w 467362"/>
                  <a:gd name="connsiteY12" fmla="*/ 383923 h 447740"/>
                  <a:gd name="connsiteX13" fmla="*/ 166497 w 467362"/>
                  <a:gd name="connsiteY13" fmla="*/ 383923 h 447740"/>
                  <a:gd name="connsiteX14" fmla="*/ 181547 w 467362"/>
                  <a:gd name="connsiteY14" fmla="*/ 368873 h 447740"/>
                  <a:gd name="connsiteX15" fmla="*/ 181547 w 467362"/>
                  <a:gd name="connsiteY15" fmla="*/ 334202 h 447740"/>
                  <a:gd name="connsiteX16" fmla="*/ 196691 w 467362"/>
                  <a:gd name="connsiteY16" fmla="*/ 319058 h 447740"/>
                  <a:gd name="connsiteX17" fmla="*/ 209836 w 467362"/>
                  <a:gd name="connsiteY17" fmla="*/ 319058 h 447740"/>
                  <a:gd name="connsiteX18" fmla="*/ 247936 w 467362"/>
                  <a:gd name="connsiteY18" fmla="*/ 309533 h 447740"/>
                  <a:gd name="connsiteX19" fmla="*/ 272986 w 467362"/>
                  <a:gd name="connsiteY19" fmla="*/ 284101 h 447740"/>
                  <a:gd name="connsiteX20" fmla="*/ 281273 w 467362"/>
                  <a:gd name="connsiteY20" fmla="*/ 251049 h 447740"/>
                  <a:gd name="connsiteX21" fmla="*/ 272606 w 467362"/>
                  <a:gd name="connsiteY21" fmla="*/ 217235 h 447740"/>
                  <a:gd name="connsiteX22" fmla="*/ 247650 w 467362"/>
                  <a:gd name="connsiteY22" fmla="*/ 191899 h 447740"/>
                  <a:gd name="connsiteX23" fmla="*/ 207550 w 467362"/>
                  <a:gd name="connsiteY23" fmla="*/ 182183 h 447740"/>
                  <a:gd name="connsiteX24" fmla="*/ 15049 w 467362"/>
                  <a:gd name="connsiteY24" fmla="*/ 73884 h 447740"/>
                  <a:gd name="connsiteX25" fmla="*/ 183451 w 467362"/>
                  <a:gd name="connsiteY25" fmla="*/ 73884 h 447740"/>
                  <a:gd name="connsiteX26" fmla="*/ 198215 w 467362"/>
                  <a:gd name="connsiteY26" fmla="*/ 85314 h 447740"/>
                  <a:gd name="connsiteX27" fmla="*/ 202978 w 467362"/>
                  <a:gd name="connsiteY27" fmla="*/ 105983 h 447740"/>
                  <a:gd name="connsiteX28" fmla="*/ 217742 w 467362"/>
                  <a:gd name="connsiteY28" fmla="*/ 117699 h 447740"/>
                  <a:gd name="connsiteX29" fmla="*/ 354140 w 467362"/>
                  <a:gd name="connsiteY29" fmla="*/ 117699 h 447740"/>
                  <a:gd name="connsiteX30" fmla="*/ 354235 w 467362"/>
                  <a:gd name="connsiteY30" fmla="*/ 117699 h 447740"/>
                  <a:gd name="connsiteX31" fmla="*/ 369284 w 467362"/>
                  <a:gd name="connsiteY31" fmla="*/ 132749 h 447740"/>
                  <a:gd name="connsiteX32" fmla="*/ 369284 w 467362"/>
                  <a:gd name="connsiteY32" fmla="*/ 432596 h 447740"/>
                  <a:gd name="connsiteX33" fmla="*/ 354140 w 467362"/>
                  <a:gd name="connsiteY33" fmla="*/ 447740 h 447740"/>
                  <a:gd name="connsiteX34" fmla="*/ 15049 w 467362"/>
                  <a:gd name="connsiteY34" fmla="*/ 447740 h 447740"/>
                  <a:gd name="connsiteX35" fmla="*/ 0 w 467362"/>
                  <a:gd name="connsiteY35" fmla="*/ 432596 h 447740"/>
                  <a:gd name="connsiteX36" fmla="*/ 0 w 467362"/>
                  <a:gd name="connsiteY36" fmla="*/ 88934 h 447740"/>
                  <a:gd name="connsiteX37" fmla="*/ 15049 w 467362"/>
                  <a:gd name="connsiteY37" fmla="*/ 73884 h 447740"/>
                  <a:gd name="connsiteX38" fmla="*/ 124778 w 467362"/>
                  <a:gd name="connsiteY38" fmla="*/ 351 h 447740"/>
                  <a:gd name="connsiteX39" fmla="*/ 455581 w 467362"/>
                  <a:gd name="connsiteY39" fmla="*/ 74075 h 447740"/>
                  <a:gd name="connsiteX40" fmla="*/ 467011 w 467362"/>
                  <a:gd name="connsiteY40" fmla="*/ 91982 h 447740"/>
                  <a:gd name="connsiteX41" fmla="*/ 400336 w 467362"/>
                  <a:gd name="connsiteY41" fmla="*/ 399449 h 447740"/>
                  <a:gd name="connsiteX42" fmla="*/ 399193 w 467362"/>
                  <a:gd name="connsiteY42" fmla="*/ 399449 h 447740"/>
                  <a:gd name="connsiteX43" fmla="*/ 387573 w 467362"/>
                  <a:gd name="connsiteY43" fmla="*/ 384780 h 447740"/>
                  <a:gd name="connsiteX44" fmla="*/ 387573 w 467362"/>
                  <a:gd name="connsiteY44" fmla="*/ 114556 h 447740"/>
                  <a:gd name="connsiteX45" fmla="*/ 372428 w 467362"/>
                  <a:gd name="connsiteY45" fmla="*/ 99411 h 447740"/>
                  <a:gd name="connsiteX46" fmla="*/ 235839 w 467362"/>
                  <a:gd name="connsiteY46" fmla="*/ 99411 h 447740"/>
                  <a:gd name="connsiteX47" fmla="*/ 221171 w 467362"/>
                  <a:gd name="connsiteY47" fmla="*/ 87791 h 447740"/>
                  <a:gd name="connsiteX48" fmla="*/ 216408 w 467362"/>
                  <a:gd name="connsiteY48" fmla="*/ 67121 h 447740"/>
                  <a:gd name="connsiteX49" fmla="*/ 201645 w 467362"/>
                  <a:gd name="connsiteY49" fmla="*/ 55501 h 447740"/>
                  <a:gd name="connsiteX50" fmla="*/ 115920 w 467362"/>
                  <a:gd name="connsiteY50" fmla="*/ 55501 h 447740"/>
                  <a:gd name="connsiteX51" fmla="*/ 112872 w 467362"/>
                  <a:gd name="connsiteY51" fmla="*/ 55171 h 447740"/>
                  <a:gd name="connsiteX52" fmla="*/ 101156 w 467362"/>
                  <a:gd name="connsiteY52" fmla="*/ 37213 h 447740"/>
                  <a:gd name="connsiteX53" fmla="*/ 106680 w 467362"/>
                  <a:gd name="connsiteY53" fmla="*/ 11876 h 447740"/>
                  <a:gd name="connsiteX54" fmla="*/ 124778 w 467362"/>
                  <a:gd name="connsiteY54" fmla="*/ 351 h 447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467362" h="447740">
                    <a:moveTo>
                      <a:pt x="196501" y="222283"/>
                    </a:moveTo>
                    <a:cubicBezTo>
                      <a:pt x="216123" y="222791"/>
                      <a:pt x="226343" y="231808"/>
                      <a:pt x="227171" y="249334"/>
                    </a:cubicBezTo>
                    <a:cubicBezTo>
                      <a:pt x="226981" y="267813"/>
                      <a:pt x="219361" y="277528"/>
                      <a:pt x="204216" y="278671"/>
                    </a:cubicBezTo>
                    <a:lnTo>
                      <a:pt x="196501" y="278671"/>
                    </a:lnTo>
                    <a:cubicBezTo>
                      <a:pt x="188138" y="278671"/>
                      <a:pt x="181356" y="271890"/>
                      <a:pt x="181356" y="263526"/>
                    </a:cubicBezTo>
                    <a:lnTo>
                      <a:pt x="181356" y="237523"/>
                    </a:lnTo>
                    <a:cubicBezTo>
                      <a:pt x="181356" y="237492"/>
                      <a:pt x="181356" y="237459"/>
                      <a:pt x="181356" y="237428"/>
                    </a:cubicBezTo>
                    <a:cubicBezTo>
                      <a:pt x="181356" y="229063"/>
                      <a:pt x="188138" y="222283"/>
                      <a:pt x="196501" y="222283"/>
                    </a:cubicBezTo>
                    <a:close/>
                    <a:moveTo>
                      <a:pt x="139827" y="182183"/>
                    </a:moveTo>
                    <a:cubicBezTo>
                      <a:pt x="131511" y="182183"/>
                      <a:pt x="124777" y="188921"/>
                      <a:pt x="124777" y="197233"/>
                    </a:cubicBezTo>
                    <a:lnTo>
                      <a:pt x="124777" y="368683"/>
                    </a:lnTo>
                    <a:cubicBezTo>
                      <a:pt x="124777" y="368684"/>
                      <a:pt x="124777" y="368685"/>
                      <a:pt x="124777" y="368686"/>
                    </a:cubicBezTo>
                    <a:cubicBezTo>
                      <a:pt x="124673" y="376996"/>
                      <a:pt x="131321" y="383818"/>
                      <a:pt x="139636" y="383923"/>
                    </a:cubicBezTo>
                    <a:lnTo>
                      <a:pt x="166497" y="383923"/>
                    </a:lnTo>
                    <a:cubicBezTo>
                      <a:pt x="174812" y="383923"/>
                      <a:pt x="181547" y="377185"/>
                      <a:pt x="181547" y="368873"/>
                    </a:cubicBezTo>
                    <a:lnTo>
                      <a:pt x="181547" y="334202"/>
                    </a:lnTo>
                    <a:cubicBezTo>
                      <a:pt x="181547" y="325838"/>
                      <a:pt x="188328" y="319058"/>
                      <a:pt x="196691" y="319058"/>
                    </a:cubicBezTo>
                    <a:lnTo>
                      <a:pt x="209836" y="319058"/>
                    </a:lnTo>
                    <a:cubicBezTo>
                      <a:pt x="223152" y="319298"/>
                      <a:pt x="236296" y="316011"/>
                      <a:pt x="247936" y="309533"/>
                    </a:cubicBezTo>
                    <a:cubicBezTo>
                      <a:pt x="258584" y="303672"/>
                      <a:pt x="267290" y="294834"/>
                      <a:pt x="272986" y="284101"/>
                    </a:cubicBezTo>
                    <a:cubicBezTo>
                      <a:pt x="278501" y="273963"/>
                      <a:pt x="281359" y="262590"/>
                      <a:pt x="281273" y="251049"/>
                    </a:cubicBezTo>
                    <a:cubicBezTo>
                      <a:pt x="281321" y="239223"/>
                      <a:pt x="278340" y="227581"/>
                      <a:pt x="272606" y="217235"/>
                    </a:cubicBezTo>
                    <a:cubicBezTo>
                      <a:pt x="266738" y="206686"/>
                      <a:pt x="258108" y="197929"/>
                      <a:pt x="247650" y="191899"/>
                    </a:cubicBezTo>
                    <a:cubicBezTo>
                      <a:pt x="235325" y="185300"/>
                      <a:pt x="221523" y="181956"/>
                      <a:pt x="207550" y="182183"/>
                    </a:cubicBezTo>
                    <a:close/>
                    <a:moveTo>
                      <a:pt x="15049" y="73884"/>
                    </a:moveTo>
                    <a:lnTo>
                      <a:pt x="183451" y="73884"/>
                    </a:lnTo>
                    <a:cubicBezTo>
                      <a:pt x="190405" y="73880"/>
                      <a:pt x="196482" y="78582"/>
                      <a:pt x="198215" y="85314"/>
                    </a:cubicBezTo>
                    <a:lnTo>
                      <a:pt x="202978" y="105983"/>
                    </a:lnTo>
                    <a:cubicBezTo>
                      <a:pt x="204578" y="112848"/>
                      <a:pt x="210693" y="117705"/>
                      <a:pt x="217742" y="117699"/>
                    </a:cubicBezTo>
                    <a:lnTo>
                      <a:pt x="354140" y="117699"/>
                    </a:lnTo>
                    <a:cubicBezTo>
                      <a:pt x="354168" y="117699"/>
                      <a:pt x="354206" y="117699"/>
                      <a:pt x="354235" y="117699"/>
                    </a:cubicBezTo>
                    <a:cubicBezTo>
                      <a:pt x="362550" y="117699"/>
                      <a:pt x="369284" y="124437"/>
                      <a:pt x="369284" y="132749"/>
                    </a:cubicBezTo>
                    <a:lnTo>
                      <a:pt x="369284" y="432596"/>
                    </a:lnTo>
                    <a:cubicBezTo>
                      <a:pt x="369284" y="440959"/>
                      <a:pt x="362502" y="447740"/>
                      <a:pt x="354140" y="447740"/>
                    </a:cubicBezTo>
                    <a:lnTo>
                      <a:pt x="15049" y="447740"/>
                    </a:lnTo>
                    <a:cubicBezTo>
                      <a:pt x="6763" y="447688"/>
                      <a:pt x="0" y="440922"/>
                      <a:pt x="0" y="432596"/>
                    </a:cubicBezTo>
                    <a:lnTo>
                      <a:pt x="0" y="88934"/>
                    </a:lnTo>
                    <a:cubicBezTo>
                      <a:pt x="0" y="80622"/>
                      <a:pt x="6763" y="73884"/>
                      <a:pt x="15049" y="73884"/>
                    </a:cubicBezTo>
                    <a:close/>
                    <a:moveTo>
                      <a:pt x="124778" y="351"/>
                    </a:moveTo>
                    <a:lnTo>
                      <a:pt x="455581" y="74075"/>
                    </a:lnTo>
                    <a:cubicBezTo>
                      <a:pt x="463678" y="75877"/>
                      <a:pt x="468783" y="83883"/>
                      <a:pt x="467011" y="91982"/>
                    </a:cubicBezTo>
                    <a:lnTo>
                      <a:pt x="400336" y="399449"/>
                    </a:lnTo>
                    <a:lnTo>
                      <a:pt x="399193" y="399449"/>
                    </a:lnTo>
                    <a:cubicBezTo>
                      <a:pt x="392364" y="397887"/>
                      <a:pt x="387535" y="391789"/>
                      <a:pt x="387573" y="384780"/>
                    </a:cubicBezTo>
                    <a:lnTo>
                      <a:pt x="387573" y="114556"/>
                    </a:lnTo>
                    <a:cubicBezTo>
                      <a:pt x="387573" y="106192"/>
                      <a:pt x="380791" y="99411"/>
                      <a:pt x="372428" y="99411"/>
                    </a:cubicBezTo>
                    <a:lnTo>
                      <a:pt x="235839" y="99411"/>
                    </a:lnTo>
                    <a:cubicBezTo>
                      <a:pt x="228838" y="99418"/>
                      <a:pt x="222762" y="94603"/>
                      <a:pt x="221171" y="87791"/>
                    </a:cubicBezTo>
                    <a:lnTo>
                      <a:pt x="216408" y="67121"/>
                    </a:lnTo>
                    <a:cubicBezTo>
                      <a:pt x="214742" y="60314"/>
                      <a:pt x="208655" y="55519"/>
                      <a:pt x="201645" y="55501"/>
                    </a:cubicBezTo>
                    <a:lnTo>
                      <a:pt x="115920" y="55501"/>
                    </a:lnTo>
                    <a:cubicBezTo>
                      <a:pt x="114872" y="55497"/>
                      <a:pt x="113824" y="55387"/>
                      <a:pt x="112872" y="55171"/>
                    </a:cubicBezTo>
                    <a:cubicBezTo>
                      <a:pt x="104680" y="53435"/>
                      <a:pt x="99442" y="45395"/>
                      <a:pt x="101156" y="37213"/>
                    </a:cubicBezTo>
                    <a:lnTo>
                      <a:pt x="106680" y="11876"/>
                    </a:lnTo>
                    <a:cubicBezTo>
                      <a:pt x="108490" y="3720"/>
                      <a:pt x="116606" y="-1424"/>
                      <a:pt x="124778" y="35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Group 209">
              <a:extLst>
                <a:ext uri="{FF2B5EF4-FFF2-40B4-BE49-F238E27FC236}">
                  <a16:creationId xmlns:a16="http://schemas.microsoft.com/office/drawing/2014/main" id="{B71DE2AA-7A0A-4444-AD60-6FC9BF13CC8D}"/>
                </a:ext>
              </a:extLst>
            </p:cNvPr>
            <p:cNvGrpSpPr/>
            <p:nvPr/>
          </p:nvGrpSpPr>
          <p:grpSpPr>
            <a:xfrm>
              <a:off x="7888509" y="4217471"/>
              <a:ext cx="960216" cy="1097480"/>
              <a:chOff x="3386941" y="4492335"/>
              <a:chExt cx="699636" cy="799650"/>
            </a:xfrm>
          </p:grpSpPr>
          <p:sp>
            <p:nvSpPr>
              <p:cNvPr id="57" name="Freeform 5">
                <a:extLst>
                  <a:ext uri="{FF2B5EF4-FFF2-40B4-BE49-F238E27FC236}">
                    <a16:creationId xmlns:a16="http://schemas.microsoft.com/office/drawing/2014/main" id="{50B1938F-B6A5-4405-BEC6-766E8AFC4E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244" y="4558972"/>
                <a:ext cx="583030" cy="666375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/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>
                <a:outerShdw blurRad="330200" dist="330200" dir="5400000" sx="90000" sy="90000" algn="t" rotWithShape="0">
                  <a:schemeClr val="accent4">
                    <a:lumMod val="50000"/>
                    <a:alpha val="40000"/>
                  </a:scheme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A357843E-121C-4255-8AFD-26C0F8D96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6941" y="4492335"/>
                <a:ext cx="699636" cy="799650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noFill/>
              <a:ln>
                <a:solidFill>
                  <a:schemeClr val="accent4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9" name="Freeform 172">
                <a:extLst>
                  <a:ext uri="{FF2B5EF4-FFF2-40B4-BE49-F238E27FC236}">
                    <a16:creationId xmlns:a16="http://schemas.microsoft.com/office/drawing/2014/main" id="{449E0255-106A-42F0-9EE1-B21643ACA352}"/>
                  </a:ext>
                </a:extLst>
              </p:cNvPr>
              <p:cNvSpPr/>
              <p:nvPr/>
            </p:nvSpPr>
            <p:spPr>
              <a:xfrm>
                <a:off x="3641768" y="4792244"/>
                <a:ext cx="189982" cy="182893"/>
              </a:xfrm>
              <a:custGeom>
                <a:avLst/>
                <a:gdLst>
                  <a:gd name="connsiteX0" fmla="*/ 194024 w 465677"/>
                  <a:gd name="connsiteY0" fmla="*/ 157258 h 448304"/>
                  <a:gd name="connsiteX1" fmla="*/ 196023 w 465677"/>
                  <a:gd name="connsiteY1" fmla="*/ 157258 h 448304"/>
                  <a:gd name="connsiteX2" fmla="*/ 238410 w 465677"/>
                  <a:gd name="connsiteY2" fmla="*/ 198691 h 448304"/>
                  <a:gd name="connsiteX3" fmla="*/ 238410 w 465677"/>
                  <a:gd name="connsiteY3" fmla="*/ 198791 h 448304"/>
                  <a:gd name="connsiteX4" fmla="*/ 196023 w 465677"/>
                  <a:gd name="connsiteY4" fmla="*/ 240220 h 448304"/>
                  <a:gd name="connsiteX5" fmla="*/ 194024 w 465677"/>
                  <a:gd name="connsiteY5" fmla="*/ 240220 h 448304"/>
                  <a:gd name="connsiteX6" fmla="*/ 151733 w 465677"/>
                  <a:gd name="connsiteY6" fmla="*/ 198691 h 448304"/>
                  <a:gd name="connsiteX7" fmla="*/ 194024 w 465677"/>
                  <a:gd name="connsiteY7" fmla="*/ 157258 h 448304"/>
                  <a:gd name="connsiteX8" fmla="*/ 195263 w 465677"/>
                  <a:gd name="connsiteY8" fmla="*/ 123824 h 448304"/>
                  <a:gd name="connsiteX9" fmla="*/ 179737 w 465677"/>
                  <a:gd name="connsiteY9" fmla="*/ 125062 h 448304"/>
                  <a:gd name="connsiteX10" fmla="*/ 119729 w 465677"/>
                  <a:gd name="connsiteY10" fmla="*/ 179831 h 448304"/>
                  <a:gd name="connsiteX11" fmla="*/ 151734 w 465677"/>
                  <a:gd name="connsiteY11" fmla="*/ 261937 h 448304"/>
                  <a:gd name="connsiteX12" fmla="*/ 88488 w 465677"/>
                  <a:gd name="connsiteY12" fmla="*/ 309562 h 448304"/>
                  <a:gd name="connsiteX13" fmla="*/ 86582 w 465677"/>
                  <a:gd name="connsiteY13" fmla="*/ 313303 h 448304"/>
                  <a:gd name="connsiteX14" fmla="*/ 96107 w 465677"/>
                  <a:gd name="connsiteY14" fmla="*/ 333374 h 448304"/>
                  <a:gd name="connsiteX15" fmla="*/ 98298 w 465677"/>
                  <a:gd name="connsiteY15" fmla="*/ 334231 h 448304"/>
                  <a:gd name="connsiteX16" fmla="*/ 117348 w 465677"/>
                  <a:gd name="connsiteY16" fmla="*/ 328135 h 448304"/>
                  <a:gd name="connsiteX17" fmla="*/ 195167 w 465677"/>
                  <a:gd name="connsiteY17" fmla="*/ 288892 h 448304"/>
                  <a:gd name="connsiteX18" fmla="*/ 272987 w 465677"/>
                  <a:gd name="connsiteY18" fmla="*/ 328135 h 448304"/>
                  <a:gd name="connsiteX19" fmla="*/ 292037 w 465677"/>
                  <a:gd name="connsiteY19" fmla="*/ 334231 h 448304"/>
                  <a:gd name="connsiteX20" fmla="*/ 294228 w 465677"/>
                  <a:gd name="connsiteY20" fmla="*/ 333374 h 448304"/>
                  <a:gd name="connsiteX21" fmla="*/ 298038 w 465677"/>
                  <a:gd name="connsiteY21" fmla="*/ 331430 h 448304"/>
                  <a:gd name="connsiteX22" fmla="*/ 302038 w 465677"/>
                  <a:gd name="connsiteY22" fmla="*/ 309562 h 448304"/>
                  <a:gd name="connsiteX23" fmla="*/ 238791 w 465677"/>
                  <a:gd name="connsiteY23" fmla="*/ 261937 h 448304"/>
                  <a:gd name="connsiteX24" fmla="*/ 270796 w 465677"/>
                  <a:gd name="connsiteY24" fmla="*/ 179831 h 448304"/>
                  <a:gd name="connsiteX25" fmla="*/ 210788 w 465677"/>
                  <a:gd name="connsiteY25" fmla="*/ 125062 h 448304"/>
                  <a:gd name="connsiteX26" fmla="*/ 195263 w 465677"/>
                  <a:gd name="connsiteY26" fmla="*/ 123824 h 448304"/>
                  <a:gd name="connsiteX27" fmla="*/ 369285 w 465677"/>
                  <a:gd name="connsiteY27" fmla="*/ 69717 h 448304"/>
                  <a:gd name="connsiteX28" fmla="*/ 392811 w 465677"/>
                  <a:gd name="connsiteY28" fmla="*/ 92677 h 448304"/>
                  <a:gd name="connsiteX29" fmla="*/ 392811 w 465677"/>
                  <a:gd name="connsiteY29" fmla="*/ 370903 h 448304"/>
                  <a:gd name="connsiteX30" fmla="*/ 392811 w 465677"/>
                  <a:gd name="connsiteY30" fmla="*/ 370906 h 448304"/>
                  <a:gd name="connsiteX31" fmla="*/ 369380 w 465677"/>
                  <a:gd name="connsiteY31" fmla="*/ 393763 h 448304"/>
                  <a:gd name="connsiteX32" fmla="*/ 277559 w 465677"/>
                  <a:gd name="connsiteY32" fmla="*/ 393763 h 448304"/>
                  <a:gd name="connsiteX33" fmla="*/ 261461 w 465677"/>
                  <a:gd name="connsiteY33" fmla="*/ 400049 h 448304"/>
                  <a:gd name="connsiteX34" fmla="*/ 216217 w 465677"/>
                  <a:gd name="connsiteY34" fmla="*/ 442054 h 448304"/>
                  <a:gd name="connsiteX35" fmla="*/ 183356 w 465677"/>
                  <a:gd name="connsiteY35" fmla="*/ 441388 h 448304"/>
                  <a:gd name="connsiteX36" fmla="*/ 142684 w 465677"/>
                  <a:gd name="connsiteY36" fmla="*/ 400621 h 448304"/>
                  <a:gd name="connsiteX37" fmla="*/ 125920 w 465677"/>
                  <a:gd name="connsiteY37" fmla="*/ 393763 h 448304"/>
                  <a:gd name="connsiteX38" fmla="*/ 23336 w 465677"/>
                  <a:gd name="connsiteY38" fmla="*/ 393763 h 448304"/>
                  <a:gd name="connsiteX39" fmla="*/ 0 w 465677"/>
                  <a:gd name="connsiteY39" fmla="*/ 370903 h 448304"/>
                  <a:gd name="connsiteX40" fmla="*/ 0 w 465677"/>
                  <a:gd name="connsiteY40" fmla="*/ 92677 h 448304"/>
                  <a:gd name="connsiteX41" fmla="*/ 22956 w 465677"/>
                  <a:gd name="connsiteY41" fmla="*/ 69722 h 448304"/>
                  <a:gd name="connsiteX42" fmla="*/ 368999 w 465677"/>
                  <a:gd name="connsiteY42" fmla="*/ 69722 h 448304"/>
                  <a:gd name="connsiteX43" fmla="*/ 369285 w 465677"/>
                  <a:gd name="connsiteY43" fmla="*/ 69717 h 448304"/>
                  <a:gd name="connsiteX44" fmla="*/ 123825 w 465677"/>
                  <a:gd name="connsiteY44" fmla="*/ 0 h 448304"/>
                  <a:gd name="connsiteX45" fmla="*/ 445484 w 465677"/>
                  <a:gd name="connsiteY45" fmla="*/ 0 h 448304"/>
                  <a:gd name="connsiteX46" fmla="*/ 465677 w 465677"/>
                  <a:gd name="connsiteY46" fmla="*/ 19810 h 448304"/>
                  <a:gd name="connsiteX47" fmla="*/ 465677 w 465677"/>
                  <a:gd name="connsiteY47" fmla="*/ 19812 h 448304"/>
                  <a:gd name="connsiteX48" fmla="*/ 465677 w 465677"/>
                  <a:gd name="connsiteY48" fmla="*/ 307753 h 448304"/>
                  <a:gd name="connsiteX49" fmla="*/ 445866 w 465677"/>
                  <a:gd name="connsiteY49" fmla="*/ 327565 h 448304"/>
                  <a:gd name="connsiteX50" fmla="*/ 411384 w 465677"/>
                  <a:gd name="connsiteY50" fmla="*/ 327565 h 448304"/>
                  <a:gd name="connsiteX51" fmla="*/ 411384 w 465677"/>
                  <a:gd name="connsiteY51" fmla="*/ 288512 h 448304"/>
                  <a:gd name="connsiteX52" fmla="*/ 426244 w 465677"/>
                  <a:gd name="connsiteY52" fmla="*/ 274037 h 448304"/>
                  <a:gd name="connsiteX53" fmla="*/ 426244 w 465677"/>
                  <a:gd name="connsiteY53" fmla="*/ 274034 h 448304"/>
                  <a:gd name="connsiteX54" fmla="*/ 426244 w 465677"/>
                  <a:gd name="connsiteY54" fmla="*/ 53626 h 448304"/>
                  <a:gd name="connsiteX55" fmla="*/ 411479 w 465677"/>
                  <a:gd name="connsiteY55" fmla="*/ 39051 h 448304"/>
                  <a:gd name="connsiteX56" fmla="*/ 411384 w 465677"/>
                  <a:gd name="connsiteY56" fmla="*/ 39052 h 448304"/>
                  <a:gd name="connsiteX57" fmla="*/ 158782 w 465677"/>
                  <a:gd name="connsiteY57" fmla="*/ 39052 h 448304"/>
                  <a:gd name="connsiteX58" fmla="*/ 143922 w 465677"/>
                  <a:gd name="connsiteY58" fmla="*/ 53529 h 448304"/>
                  <a:gd name="connsiteX59" fmla="*/ 143922 w 465677"/>
                  <a:gd name="connsiteY59" fmla="*/ 53626 h 448304"/>
                  <a:gd name="connsiteX60" fmla="*/ 143922 w 465677"/>
                  <a:gd name="connsiteY60" fmla="*/ 58007 h 448304"/>
                  <a:gd name="connsiteX61" fmla="*/ 104013 w 465677"/>
                  <a:gd name="connsiteY61" fmla="*/ 58007 h 448304"/>
                  <a:gd name="connsiteX62" fmla="*/ 104013 w 465677"/>
                  <a:gd name="connsiteY62" fmla="*/ 19907 h 448304"/>
                  <a:gd name="connsiteX63" fmla="*/ 123825 w 465677"/>
                  <a:gd name="connsiteY63" fmla="*/ 0 h 44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465677" h="448304">
                    <a:moveTo>
                      <a:pt x="194024" y="157258"/>
                    </a:moveTo>
                    <a:lnTo>
                      <a:pt x="196023" y="157258"/>
                    </a:lnTo>
                    <a:cubicBezTo>
                      <a:pt x="219170" y="156996"/>
                      <a:pt x="238124" y="175547"/>
                      <a:pt x="238410" y="198691"/>
                    </a:cubicBezTo>
                    <a:cubicBezTo>
                      <a:pt x="238410" y="198725"/>
                      <a:pt x="238410" y="198758"/>
                      <a:pt x="238410" y="198791"/>
                    </a:cubicBezTo>
                    <a:cubicBezTo>
                      <a:pt x="238124" y="221936"/>
                      <a:pt x="219170" y="240484"/>
                      <a:pt x="196023" y="240220"/>
                    </a:cubicBezTo>
                    <a:lnTo>
                      <a:pt x="194024" y="240220"/>
                    </a:lnTo>
                    <a:cubicBezTo>
                      <a:pt x="170877" y="240430"/>
                      <a:pt x="151923" y="221837"/>
                      <a:pt x="151733" y="198691"/>
                    </a:cubicBezTo>
                    <a:cubicBezTo>
                      <a:pt x="152018" y="175582"/>
                      <a:pt x="170877" y="157046"/>
                      <a:pt x="194024" y="157258"/>
                    </a:cubicBezTo>
                    <a:close/>
                    <a:moveTo>
                      <a:pt x="195263" y="123824"/>
                    </a:moveTo>
                    <a:cubicBezTo>
                      <a:pt x="190023" y="123723"/>
                      <a:pt x="184881" y="124138"/>
                      <a:pt x="179737" y="125062"/>
                    </a:cubicBezTo>
                    <a:cubicBezTo>
                      <a:pt x="150685" y="129889"/>
                      <a:pt x="127159" y="151339"/>
                      <a:pt x="119729" y="179831"/>
                    </a:cubicBezTo>
                    <a:cubicBezTo>
                      <a:pt x="111442" y="211245"/>
                      <a:pt x="124397" y="244410"/>
                      <a:pt x="151734" y="261937"/>
                    </a:cubicBezTo>
                    <a:cubicBezTo>
                      <a:pt x="126111" y="270647"/>
                      <a:pt x="103918" y="287337"/>
                      <a:pt x="88488" y="309562"/>
                    </a:cubicBezTo>
                    <a:cubicBezTo>
                      <a:pt x="87725" y="310717"/>
                      <a:pt x="87059" y="311975"/>
                      <a:pt x="86582" y="313303"/>
                    </a:cubicBezTo>
                    <a:cubicBezTo>
                      <a:pt x="83630" y="321482"/>
                      <a:pt x="87916" y="330468"/>
                      <a:pt x="96107" y="333374"/>
                    </a:cubicBezTo>
                    <a:lnTo>
                      <a:pt x="98298" y="334231"/>
                    </a:lnTo>
                    <a:cubicBezTo>
                      <a:pt x="105252" y="336658"/>
                      <a:pt x="113062" y="334175"/>
                      <a:pt x="117348" y="328135"/>
                    </a:cubicBezTo>
                    <a:cubicBezTo>
                      <a:pt x="135255" y="303068"/>
                      <a:pt x="164402" y="288401"/>
                      <a:pt x="195167" y="288892"/>
                    </a:cubicBezTo>
                    <a:cubicBezTo>
                      <a:pt x="225933" y="288401"/>
                      <a:pt x="255080" y="303068"/>
                      <a:pt x="272987" y="328135"/>
                    </a:cubicBezTo>
                    <a:cubicBezTo>
                      <a:pt x="277273" y="334175"/>
                      <a:pt x="285084" y="336658"/>
                      <a:pt x="292037" y="334231"/>
                    </a:cubicBezTo>
                    <a:lnTo>
                      <a:pt x="294228" y="333374"/>
                    </a:lnTo>
                    <a:cubicBezTo>
                      <a:pt x="295561" y="332906"/>
                      <a:pt x="296895" y="332251"/>
                      <a:pt x="298038" y="331430"/>
                    </a:cubicBezTo>
                    <a:cubicBezTo>
                      <a:pt x="305182" y="326488"/>
                      <a:pt x="306991" y="316697"/>
                      <a:pt x="302038" y="309562"/>
                    </a:cubicBezTo>
                    <a:cubicBezTo>
                      <a:pt x="286607" y="287337"/>
                      <a:pt x="264414" y="270647"/>
                      <a:pt x="238791" y="261937"/>
                    </a:cubicBezTo>
                    <a:cubicBezTo>
                      <a:pt x="266128" y="244410"/>
                      <a:pt x="279083" y="211245"/>
                      <a:pt x="270796" y="179831"/>
                    </a:cubicBezTo>
                    <a:cubicBezTo>
                      <a:pt x="263367" y="151339"/>
                      <a:pt x="239840" y="129889"/>
                      <a:pt x="210788" y="125062"/>
                    </a:cubicBezTo>
                    <a:cubicBezTo>
                      <a:pt x="205645" y="124138"/>
                      <a:pt x="200502" y="123723"/>
                      <a:pt x="195263" y="123824"/>
                    </a:cubicBezTo>
                    <a:close/>
                    <a:moveTo>
                      <a:pt x="369285" y="69717"/>
                    </a:moveTo>
                    <a:cubicBezTo>
                      <a:pt x="382143" y="69563"/>
                      <a:pt x="392620" y="79843"/>
                      <a:pt x="392811" y="92677"/>
                    </a:cubicBezTo>
                    <a:lnTo>
                      <a:pt x="392811" y="370903"/>
                    </a:lnTo>
                    <a:cubicBezTo>
                      <a:pt x="392811" y="370904"/>
                      <a:pt x="392811" y="370905"/>
                      <a:pt x="392811" y="370906"/>
                    </a:cubicBezTo>
                    <a:cubicBezTo>
                      <a:pt x="392620" y="383688"/>
                      <a:pt x="382143" y="393922"/>
                      <a:pt x="369380" y="393763"/>
                    </a:cubicBezTo>
                    <a:lnTo>
                      <a:pt x="277559" y="393763"/>
                    </a:lnTo>
                    <a:cubicBezTo>
                      <a:pt x="271558" y="393778"/>
                      <a:pt x="265843" y="396020"/>
                      <a:pt x="261461" y="400049"/>
                    </a:cubicBezTo>
                    <a:lnTo>
                      <a:pt x="216217" y="442054"/>
                    </a:lnTo>
                    <a:cubicBezTo>
                      <a:pt x="206883" y="450639"/>
                      <a:pt x="192405" y="450346"/>
                      <a:pt x="183356" y="441388"/>
                    </a:cubicBezTo>
                    <a:lnTo>
                      <a:pt x="142684" y="400621"/>
                    </a:lnTo>
                    <a:cubicBezTo>
                      <a:pt x="138208" y="396215"/>
                      <a:pt x="132207" y="393751"/>
                      <a:pt x="125920" y="393763"/>
                    </a:cubicBezTo>
                    <a:lnTo>
                      <a:pt x="23336" y="393763"/>
                    </a:lnTo>
                    <a:cubicBezTo>
                      <a:pt x="10573" y="393868"/>
                      <a:pt x="191" y="383648"/>
                      <a:pt x="0" y="370903"/>
                    </a:cubicBezTo>
                    <a:lnTo>
                      <a:pt x="0" y="92677"/>
                    </a:lnTo>
                    <a:cubicBezTo>
                      <a:pt x="96" y="80043"/>
                      <a:pt x="10287" y="69826"/>
                      <a:pt x="22956" y="69722"/>
                    </a:cubicBezTo>
                    <a:lnTo>
                      <a:pt x="368999" y="69722"/>
                    </a:lnTo>
                    <a:cubicBezTo>
                      <a:pt x="369094" y="69720"/>
                      <a:pt x="369189" y="69718"/>
                      <a:pt x="369285" y="69717"/>
                    </a:cubicBezTo>
                    <a:close/>
                    <a:moveTo>
                      <a:pt x="123825" y="0"/>
                    </a:moveTo>
                    <a:lnTo>
                      <a:pt x="445484" y="0"/>
                    </a:lnTo>
                    <a:cubicBezTo>
                      <a:pt x="456534" y="-106"/>
                      <a:pt x="465582" y="8764"/>
                      <a:pt x="465677" y="19810"/>
                    </a:cubicBezTo>
                    <a:cubicBezTo>
                      <a:pt x="465677" y="19811"/>
                      <a:pt x="465677" y="19811"/>
                      <a:pt x="465677" y="19812"/>
                    </a:cubicBezTo>
                    <a:lnTo>
                      <a:pt x="465677" y="307753"/>
                    </a:lnTo>
                    <a:cubicBezTo>
                      <a:pt x="465582" y="318651"/>
                      <a:pt x="456723" y="327462"/>
                      <a:pt x="445866" y="327565"/>
                    </a:cubicBezTo>
                    <a:lnTo>
                      <a:pt x="411384" y="327565"/>
                    </a:lnTo>
                    <a:lnTo>
                      <a:pt x="411384" y="288512"/>
                    </a:lnTo>
                    <a:cubicBezTo>
                      <a:pt x="419481" y="288618"/>
                      <a:pt x="426148" y="282137"/>
                      <a:pt x="426244" y="274037"/>
                    </a:cubicBezTo>
                    <a:cubicBezTo>
                      <a:pt x="426244" y="274036"/>
                      <a:pt x="426244" y="274035"/>
                      <a:pt x="426244" y="274034"/>
                    </a:cubicBezTo>
                    <a:lnTo>
                      <a:pt x="426244" y="53626"/>
                    </a:lnTo>
                    <a:cubicBezTo>
                      <a:pt x="426148" y="45525"/>
                      <a:pt x="419576" y="39000"/>
                      <a:pt x="411479" y="39051"/>
                    </a:cubicBezTo>
                    <a:cubicBezTo>
                      <a:pt x="411479" y="39052"/>
                      <a:pt x="411384" y="39052"/>
                      <a:pt x="411384" y="39052"/>
                    </a:cubicBezTo>
                    <a:lnTo>
                      <a:pt x="158782" y="39052"/>
                    </a:lnTo>
                    <a:cubicBezTo>
                      <a:pt x="150685" y="38947"/>
                      <a:pt x="144018" y="45428"/>
                      <a:pt x="143922" y="53529"/>
                    </a:cubicBezTo>
                    <a:cubicBezTo>
                      <a:pt x="143922" y="53561"/>
                      <a:pt x="143922" y="53593"/>
                      <a:pt x="143922" y="53626"/>
                    </a:cubicBezTo>
                    <a:lnTo>
                      <a:pt x="143922" y="58007"/>
                    </a:lnTo>
                    <a:lnTo>
                      <a:pt x="104013" y="58007"/>
                    </a:lnTo>
                    <a:lnTo>
                      <a:pt x="104013" y="19907"/>
                    </a:lnTo>
                    <a:cubicBezTo>
                      <a:pt x="104109" y="8971"/>
                      <a:pt x="112871" y="104"/>
                      <a:pt x="1238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60" name="Group 209">
              <a:extLst>
                <a:ext uri="{FF2B5EF4-FFF2-40B4-BE49-F238E27FC236}">
                  <a16:creationId xmlns:a16="http://schemas.microsoft.com/office/drawing/2014/main" id="{AC0D9FEF-8035-4192-A01D-7098CEDDCFCE}"/>
                </a:ext>
              </a:extLst>
            </p:cNvPr>
            <p:cNvGrpSpPr/>
            <p:nvPr/>
          </p:nvGrpSpPr>
          <p:grpSpPr>
            <a:xfrm>
              <a:off x="10125522" y="1931470"/>
              <a:ext cx="960216" cy="1097480"/>
              <a:chOff x="3386941" y="4492335"/>
              <a:chExt cx="699636" cy="799650"/>
            </a:xfrm>
          </p:grpSpPr>
          <p:sp>
            <p:nvSpPr>
              <p:cNvPr id="61" name="Freeform 5">
                <a:extLst>
                  <a:ext uri="{FF2B5EF4-FFF2-40B4-BE49-F238E27FC236}">
                    <a16:creationId xmlns:a16="http://schemas.microsoft.com/office/drawing/2014/main" id="{326BD6F6-BA09-483D-B531-859063663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244" y="4558972"/>
                <a:ext cx="583030" cy="666375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ffectLst>
                <a:outerShdw blurRad="330200" dist="330200" dir="5400000" sx="90000" sy="90000" algn="t" rotWithShape="0">
                  <a:schemeClr val="accent5">
                    <a:lumMod val="50000"/>
                    <a:alpha val="40000"/>
                  </a:scheme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2" name="Freeform 5">
                <a:extLst>
                  <a:ext uri="{FF2B5EF4-FFF2-40B4-BE49-F238E27FC236}">
                    <a16:creationId xmlns:a16="http://schemas.microsoft.com/office/drawing/2014/main" id="{D9CCA9E5-8B36-4798-AD87-44C8AFBB2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6941" y="4492335"/>
                <a:ext cx="699636" cy="799650"/>
              </a:xfrm>
              <a:custGeom>
                <a:avLst/>
                <a:gdLst>
                  <a:gd name="T0" fmla="*/ 626 w 644"/>
                  <a:gd name="T1" fmla="*/ 172 h 736"/>
                  <a:gd name="T2" fmla="*/ 340 w 644"/>
                  <a:gd name="T3" fmla="*/ 6 h 736"/>
                  <a:gd name="T4" fmla="*/ 304 w 644"/>
                  <a:gd name="T5" fmla="*/ 6 h 736"/>
                  <a:gd name="T6" fmla="*/ 18 w 644"/>
                  <a:gd name="T7" fmla="*/ 172 h 736"/>
                  <a:gd name="T8" fmla="*/ 0 w 644"/>
                  <a:gd name="T9" fmla="*/ 203 h 736"/>
                  <a:gd name="T10" fmla="*/ 0 w 644"/>
                  <a:gd name="T11" fmla="*/ 533 h 736"/>
                  <a:gd name="T12" fmla="*/ 18 w 644"/>
                  <a:gd name="T13" fmla="*/ 564 h 736"/>
                  <a:gd name="T14" fmla="*/ 304 w 644"/>
                  <a:gd name="T15" fmla="*/ 730 h 736"/>
                  <a:gd name="T16" fmla="*/ 340 w 644"/>
                  <a:gd name="T17" fmla="*/ 730 h 736"/>
                  <a:gd name="T18" fmla="*/ 626 w 644"/>
                  <a:gd name="T19" fmla="*/ 564 h 736"/>
                  <a:gd name="T20" fmla="*/ 644 w 644"/>
                  <a:gd name="T21" fmla="*/ 533 h 736"/>
                  <a:gd name="T22" fmla="*/ 644 w 644"/>
                  <a:gd name="T23" fmla="*/ 203 h 736"/>
                  <a:gd name="T24" fmla="*/ 626 w 644"/>
                  <a:gd name="T25" fmla="*/ 172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4" h="736">
                    <a:moveTo>
                      <a:pt x="626" y="172"/>
                    </a:moveTo>
                    <a:cubicBezTo>
                      <a:pt x="340" y="6"/>
                      <a:pt x="340" y="6"/>
                      <a:pt x="340" y="6"/>
                    </a:cubicBezTo>
                    <a:cubicBezTo>
                      <a:pt x="329" y="0"/>
                      <a:pt x="315" y="0"/>
                      <a:pt x="304" y="6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7" y="178"/>
                      <a:pt x="0" y="190"/>
                      <a:pt x="0" y="203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6"/>
                      <a:pt x="7" y="558"/>
                      <a:pt x="18" y="564"/>
                    </a:cubicBezTo>
                    <a:cubicBezTo>
                      <a:pt x="304" y="730"/>
                      <a:pt x="304" y="730"/>
                      <a:pt x="304" y="730"/>
                    </a:cubicBezTo>
                    <a:cubicBezTo>
                      <a:pt x="315" y="736"/>
                      <a:pt x="329" y="736"/>
                      <a:pt x="340" y="730"/>
                    </a:cubicBezTo>
                    <a:cubicBezTo>
                      <a:pt x="626" y="564"/>
                      <a:pt x="626" y="564"/>
                      <a:pt x="626" y="564"/>
                    </a:cubicBezTo>
                    <a:cubicBezTo>
                      <a:pt x="637" y="558"/>
                      <a:pt x="644" y="546"/>
                      <a:pt x="644" y="533"/>
                    </a:cubicBezTo>
                    <a:cubicBezTo>
                      <a:pt x="644" y="203"/>
                      <a:pt x="644" y="203"/>
                      <a:pt x="644" y="203"/>
                    </a:cubicBezTo>
                    <a:cubicBezTo>
                      <a:pt x="644" y="190"/>
                      <a:pt x="637" y="178"/>
                      <a:pt x="626" y="172"/>
                    </a:cubicBezTo>
                    <a:close/>
                  </a:path>
                </a:pathLst>
              </a:custGeom>
              <a:noFill/>
              <a:ln>
                <a:solidFill>
                  <a:schemeClr val="accent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3" name="Freeform 172">
                <a:extLst>
                  <a:ext uri="{FF2B5EF4-FFF2-40B4-BE49-F238E27FC236}">
                    <a16:creationId xmlns:a16="http://schemas.microsoft.com/office/drawing/2014/main" id="{7C7E63E6-BF51-4C53-A359-B12196CBFFC7}"/>
                  </a:ext>
                </a:extLst>
              </p:cNvPr>
              <p:cNvSpPr/>
              <p:nvPr/>
            </p:nvSpPr>
            <p:spPr>
              <a:xfrm>
                <a:off x="3641768" y="4792244"/>
                <a:ext cx="189982" cy="182893"/>
              </a:xfrm>
              <a:custGeom>
                <a:avLst/>
                <a:gdLst>
                  <a:gd name="connsiteX0" fmla="*/ 194024 w 465677"/>
                  <a:gd name="connsiteY0" fmla="*/ 157258 h 448304"/>
                  <a:gd name="connsiteX1" fmla="*/ 196023 w 465677"/>
                  <a:gd name="connsiteY1" fmla="*/ 157258 h 448304"/>
                  <a:gd name="connsiteX2" fmla="*/ 238410 w 465677"/>
                  <a:gd name="connsiteY2" fmla="*/ 198691 h 448304"/>
                  <a:gd name="connsiteX3" fmla="*/ 238410 w 465677"/>
                  <a:gd name="connsiteY3" fmla="*/ 198791 h 448304"/>
                  <a:gd name="connsiteX4" fmla="*/ 196023 w 465677"/>
                  <a:gd name="connsiteY4" fmla="*/ 240220 h 448304"/>
                  <a:gd name="connsiteX5" fmla="*/ 194024 w 465677"/>
                  <a:gd name="connsiteY5" fmla="*/ 240220 h 448304"/>
                  <a:gd name="connsiteX6" fmla="*/ 151733 w 465677"/>
                  <a:gd name="connsiteY6" fmla="*/ 198691 h 448304"/>
                  <a:gd name="connsiteX7" fmla="*/ 194024 w 465677"/>
                  <a:gd name="connsiteY7" fmla="*/ 157258 h 448304"/>
                  <a:gd name="connsiteX8" fmla="*/ 195263 w 465677"/>
                  <a:gd name="connsiteY8" fmla="*/ 123824 h 448304"/>
                  <a:gd name="connsiteX9" fmla="*/ 179737 w 465677"/>
                  <a:gd name="connsiteY9" fmla="*/ 125062 h 448304"/>
                  <a:gd name="connsiteX10" fmla="*/ 119729 w 465677"/>
                  <a:gd name="connsiteY10" fmla="*/ 179831 h 448304"/>
                  <a:gd name="connsiteX11" fmla="*/ 151734 w 465677"/>
                  <a:gd name="connsiteY11" fmla="*/ 261937 h 448304"/>
                  <a:gd name="connsiteX12" fmla="*/ 88488 w 465677"/>
                  <a:gd name="connsiteY12" fmla="*/ 309562 h 448304"/>
                  <a:gd name="connsiteX13" fmla="*/ 86582 w 465677"/>
                  <a:gd name="connsiteY13" fmla="*/ 313303 h 448304"/>
                  <a:gd name="connsiteX14" fmla="*/ 96107 w 465677"/>
                  <a:gd name="connsiteY14" fmla="*/ 333374 h 448304"/>
                  <a:gd name="connsiteX15" fmla="*/ 98298 w 465677"/>
                  <a:gd name="connsiteY15" fmla="*/ 334231 h 448304"/>
                  <a:gd name="connsiteX16" fmla="*/ 117348 w 465677"/>
                  <a:gd name="connsiteY16" fmla="*/ 328135 h 448304"/>
                  <a:gd name="connsiteX17" fmla="*/ 195167 w 465677"/>
                  <a:gd name="connsiteY17" fmla="*/ 288892 h 448304"/>
                  <a:gd name="connsiteX18" fmla="*/ 272987 w 465677"/>
                  <a:gd name="connsiteY18" fmla="*/ 328135 h 448304"/>
                  <a:gd name="connsiteX19" fmla="*/ 292037 w 465677"/>
                  <a:gd name="connsiteY19" fmla="*/ 334231 h 448304"/>
                  <a:gd name="connsiteX20" fmla="*/ 294228 w 465677"/>
                  <a:gd name="connsiteY20" fmla="*/ 333374 h 448304"/>
                  <a:gd name="connsiteX21" fmla="*/ 298038 w 465677"/>
                  <a:gd name="connsiteY21" fmla="*/ 331430 h 448304"/>
                  <a:gd name="connsiteX22" fmla="*/ 302038 w 465677"/>
                  <a:gd name="connsiteY22" fmla="*/ 309562 h 448304"/>
                  <a:gd name="connsiteX23" fmla="*/ 238791 w 465677"/>
                  <a:gd name="connsiteY23" fmla="*/ 261937 h 448304"/>
                  <a:gd name="connsiteX24" fmla="*/ 270796 w 465677"/>
                  <a:gd name="connsiteY24" fmla="*/ 179831 h 448304"/>
                  <a:gd name="connsiteX25" fmla="*/ 210788 w 465677"/>
                  <a:gd name="connsiteY25" fmla="*/ 125062 h 448304"/>
                  <a:gd name="connsiteX26" fmla="*/ 195263 w 465677"/>
                  <a:gd name="connsiteY26" fmla="*/ 123824 h 448304"/>
                  <a:gd name="connsiteX27" fmla="*/ 369285 w 465677"/>
                  <a:gd name="connsiteY27" fmla="*/ 69717 h 448304"/>
                  <a:gd name="connsiteX28" fmla="*/ 392811 w 465677"/>
                  <a:gd name="connsiteY28" fmla="*/ 92677 h 448304"/>
                  <a:gd name="connsiteX29" fmla="*/ 392811 w 465677"/>
                  <a:gd name="connsiteY29" fmla="*/ 370903 h 448304"/>
                  <a:gd name="connsiteX30" fmla="*/ 392811 w 465677"/>
                  <a:gd name="connsiteY30" fmla="*/ 370906 h 448304"/>
                  <a:gd name="connsiteX31" fmla="*/ 369380 w 465677"/>
                  <a:gd name="connsiteY31" fmla="*/ 393763 h 448304"/>
                  <a:gd name="connsiteX32" fmla="*/ 277559 w 465677"/>
                  <a:gd name="connsiteY32" fmla="*/ 393763 h 448304"/>
                  <a:gd name="connsiteX33" fmla="*/ 261461 w 465677"/>
                  <a:gd name="connsiteY33" fmla="*/ 400049 h 448304"/>
                  <a:gd name="connsiteX34" fmla="*/ 216217 w 465677"/>
                  <a:gd name="connsiteY34" fmla="*/ 442054 h 448304"/>
                  <a:gd name="connsiteX35" fmla="*/ 183356 w 465677"/>
                  <a:gd name="connsiteY35" fmla="*/ 441388 h 448304"/>
                  <a:gd name="connsiteX36" fmla="*/ 142684 w 465677"/>
                  <a:gd name="connsiteY36" fmla="*/ 400621 h 448304"/>
                  <a:gd name="connsiteX37" fmla="*/ 125920 w 465677"/>
                  <a:gd name="connsiteY37" fmla="*/ 393763 h 448304"/>
                  <a:gd name="connsiteX38" fmla="*/ 23336 w 465677"/>
                  <a:gd name="connsiteY38" fmla="*/ 393763 h 448304"/>
                  <a:gd name="connsiteX39" fmla="*/ 0 w 465677"/>
                  <a:gd name="connsiteY39" fmla="*/ 370903 h 448304"/>
                  <a:gd name="connsiteX40" fmla="*/ 0 w 465677"/>
                  <a:gd name="connsiteY40" fmla="*/ 92677 h 448304"/>
                  <a:gd name="connsiteX41" fmla="*/ 22956 w 465677"/>
                  <a:gd name="connsiteY41" fmla="*/ 69722 h 448304"/>
                  <a:gd name="connsiteX42" fmla="*/ 368999 w 465677"/>
                  <a:gd name="connsiteY42" fmla="*/ 69722 h 448304"/>
                  <a:gd name="connsiteX43" fmla="*/ 369285 w 465677"/>
                  <a:gd name="connsiteY43" fmla="*/ 69717 h 448304"/>
                  <a:gd name="connsiteX44" fmla="*/ 123825 w 465677"/>
                  <a:gd name="connsiteY44" fmla="*/ 0 h 448304"/>
                  <a:gd name="connsiteX45" fmla="*/ 445484 w 465677"/>
                  <a:gd name="connsiteY45" fmla="*/ 0 h 448304"/>
                  <a:gd name="connsiteX46" fmla="*/ 465677 w 465677"/>
                  <a:gd name="connsiteY46" fmla="*/ 19810 h 448304"/>
                  <a:gd name="connsiteX47" fmla="*/ 465677 w 465677"/>
                  <a:gd name="connsiteY47" fmla="*/ 19812 h 448304"/>
                  <a:gd name="connsiteX48" fmla="*/ 465677 w 465677"/>
                  <a:gd name="connsiteY48" fmla="*/ 307753 h 448304"/>
                  <a:gd name="connsiteX49" fmla="*/ 445866 w 465677"/>
                  <a:gd name="connsiteY49" fmla="*/ 327565 h 448304"/>
                  <a:gd name="connsiteX50" fmla="*/ 411384 w 465677"/>
                  <a:gd name="connsiteY50" fmla="*/ 327565 h 448304"/>
                  <a:gd name="connsiteX51" fmla="*/ 411384 w 465677"/>
                  <a:gd name="connsiteY51" fmla="*/ 288512 h 448304"/>
                  <a:gd name="connsiteX52" fmla="*/ 426244 w 465677"/>
                  <a:gd name="connsiteY52" fmla="*/ 274037 h 448304"/>
                  <a:gd name="connsiteX53" fmla="*/ 426244 w 465677"/>
                  <a:gd name="connsiteY53" fmla="*/ 274034 h 448304"/>
                  <a:gd name="connsiteX54" fmla="*/ 426244 w 465677"/>
                  <a:gd name="connsiteY54" fmla="*/ 53626 h 448304"/>
                  <a:gd name="connsiteX55" fmla="*/ 411479 w 465677"/>
                  <a:gd name="connsiteY55" fmla="*/ 39051 h 448304"/>
                  <a:gd name="connsiteX56" fmla="*/ 411384 w 465677"/>
                  <a:gd name="connsiteY56" fmla="*/ 39052 h 448304"/>
                  <a:gd name="connsiteX57" fmla="*/ 158782 w 465677"/>
                  <a:gd name="connsiteY57" fmla="*/ 39052 h 448304"/>
                  <a:gd name="connsiteX58" fmla="*/ 143922 w 465677"/>
                  <a:gd name="connsiteY58" fmla="*/ 53529 h 448304"/>
                  <a:gd name="connsiteX59" fmla="*/ 143922 w 465677"/>
                  <a:gd name="connsiteY59" fmla="*/ 53626 h 448304"/>
                  <a:gd name="connsiteX60" fmla="*/ 143922 w 465677"/>
                  <a:gd name="connsiteY60" fmla="*/ 58007 h 448304"/>
                  <a:gd name="connsiteX61" fmla="*/ 104013 w 465677"/>
                  <a:gd name="connsiteY61" fmla="*/ 58007 h 448304"/>
                  <a:gd name="connsiteX62" fmla="*/ 104013 w 465677"/>
                  <a:gd name="connsiteY62" fmla="*/ 19907 h 448304"/>
                  <a:gd name="connsiteX63" fmla="*/ 123825 w 465677"/>
                  <a:gd name="connsiteY63" fmla="*/ 0 h 44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465677" h="448304">
                    <a:moveTo>
                      <a:pt x="194024" y="157258"/>
                    </a:moveTo>
                    <a:lnTo>
                      <a:pt x="196023" y="157258"/>
                    </a:lnTo>
                    <a:cubicBezTo>
                      <a:pt x="219170" y="156996"/>
                      <a:pt x="238124" y="175547"/>
                      <a:pt x="238410" y="198691"/>
                    </a:cubicBezTo>
                    <a:cubicBezTo>
                      <a:pt x="238410" y="198725"/>
                      <a:pt x="238410" y="198758"/>
                      <a:pt x="238410" y="198791"/>
                    </a:cubicBezTo>
                    <a:cubicBezTo>
                      <a:pt x="238124" y="221936"/>
                      <a:pt x="219170" y="240484"/>
                      <a:pt x="196023" y="240220"/>
                    </a:cubicBezTo>
                    <a:lnTo>
                      <a:pt x="194024" y="240220"/>
                    </a:lnTo>
                    <a:cubicBezTo>
                      <a:pt x="170877" y="240430"/>
                      <a:pt x="151923" y="221837"/>
                      <a:pt x="151733" y="198691"/>
                    </a:cubicBezTo>
                    <a:cubicBezTo>
                      <a:pt x="152018" y="175582"/>
                      <a:pt x="170877" y="157046"/>
                      <a:pt x="194024" y="157258"/>
                    </a:cubicBezTo>
                    <a:close/>
                    <a:moveTo>
                      <a:pt x="195263" y="123824"/>
                    </a:moveTo>
                    <a:cubicBezTo>
                      <a:pt x="190023" y="123723"/>
                      <a:pt x="184881" y="124138"/>
                      <a:pt x="179737" y="125062"/>
                    </a:cubicBezTo>
                    <a:cubicBezTo>
                      <a:pt x="150685" y="129889"/>
                      <a:pt x="127159" y="151339"/>
                      <a:pt x="119729" y="179831"/>
                    </a:cubicBezTo>
                    <a:cubicBezTo>
                      <a:pt x="111442" y="211245"/>
                      <a:pt x="124397" y="244410"/>
                      <a:pt x="151734" y="261937"/>
                    </a:cubicBezTo>
                    <a:cubicBezTo>
                      <a:pt x="126111" y="270647"/>
                      <a:pt x="103918" y="287337"/>
                      <a:pt x="88488" y="309562"/>
                    </a:cubicBezTo>
                    <a:cubicBezTo>
                      <a:pt x="87725" y="310717"/>
                      <a:pt x="87059" y="311975"/>
                      <a:pt x="86582" y="313303"/>
                    </a:cubicBezTo>
                    <a:cubicBezTo>
                      <a:pt x="83630" y="321482"/>
                      <a:pt x="87916" y="330468"/>
                      <a:pt x="96107" y="333374"/>
                    </a:cubicBezTo>
                    <a:lnTo>
                      <a:pt x="98298" y="334231"/>
                    </a:lnTo>
                    <a:cubicBezTo>
                      <a:pt x="105252" y="336658"/>
                      <a:pt x="113062" y="334175"/>
                      <a:pt x="117348" y="328135"/>
                    </a:cubicBezTo>
                    <a:cubicBezTo>
                      <a:pt x="135255" y="303068"/>
                      <a:pt x="164402" y="288401"/>
                      <a:pt x="195167" y="288892"/>
                    </a:cubicBezTo>
                    <a:cubicBezTo>
                      <a:pt x="225933" y="288401"/>
                      <a:pt x="255080" y="303068"/>
                      <a:pt x="272987" y="328135"/>
                    </a:cubicBezTo>
                    <a:cubicBezTo>
                      <a:pt x="277273" y="334175"/>
                      <a:pt x="285084" y="336658"/>
                      <a:pt x="292037" y="334231"/>
                    </a:cubicBezTo>
                    <a:lnTo>
                      <a:pt x="294228" y="333374"/>
                    </a:lnTo>
                    <a:cubicBezTo>
                      <a:pt x="295561" y="332906"/>
                      <a:pt x="296895" y="332251"/>
                      <a:pt x="298038" y="331430"/>
                    </a:cubicBezTo>
                    <a:cubicBezTo>
                      <a:pt x="305182" y="326488"/>
                      <a:pt x="306991" y="316697"/>
                      <a:pt x="302038" y="309562"/>
                    </a:cubicBezTo>
                    <a:cubicBezTo>
                      <a:pt x="286607" y="287337"/>
                      <a:pt x="264414" y="270647"/>
                      <a:pt x="238791" y="261937"/>
                    </a:cubicBezTo>
                    <a:cubicBezTo>
                      <a:pt x="266128" y="244410"/>
                      <a:pt x="279083" y="211245"/>
                      <a:pt x="270796" y="179831"/>
                    </a:cubicBezTo>
                    <a:cubicBezTo>
                      <a:pt x="263367" y="151339"/>
                      <a:pt x="239840" y="129889"/>
                      <a:pt x="210788" y="125062"/>
                    </a:cubicBezTo>
                    <a:cubicBezTo>
                      <a:pt x="205645" y="124138"/>
                      <a:pt x="200502" y="123723"/>
                      <a:pt x="195263" y="123824"/>
                    </a:cubicBezTo>
                    <a:close/>
                    <a:moveTo>
                      <a:pt x="369285" y="69717"/>
                    </a:moveTo>
                    <a:cubicBezTo>
                      <a:pt x="382143" y="69563"/>
                      <a:pt x="392620" y="79843"/>
                      <a:pt x="392811" y="92677"/>
                    </a:cubicBezTo>
                    <a:lnTo>
                      <a:pt x="392811" y="370903"/>
                    </a:lnTo>
                    <a:cubicBezTo>
                      <a:pt x="392811" y="370904"/>
                      <a:pt x="392811" y="370905"/>
                      <a:pt x="392811" y="370906"/>
                    </a:cubicBezTo>
                    <a:cubicBezTo>
                      <a:pt x="392620" y="383688"/>
                      <a:pt x="382143" y="393922"/>
                      <a:pt x="369380" y="393763"/>
                    </a:cubicBezTo>
                    <a:lnTo>
                      <a:pt x="277559" y="393763"/>
                    </a:lnTo>
                    <a:cubicBezTo>
                      <a:pt x="271558" y="393778"/>
                      <a:pt x="265843" y="396020"/>
                      <a:pt x="261461" y="400049"/>
                    </a:cubicBezTo>
                    <a:lnTo>
                      <a:pt x="216217" y="442054"/>
                    </a:lnTo>
                    <a:cubicBezTo>
                      <a:pt x="206883" y="450639"/>
                      <a:pt x="192405" y="450346"/>
                      <a:pt x="183356" y="441388"/>
                    </a:cubicBezTo>
                    <a:lnTo>
                      <a:pt x="142684" y="400621"/>
                    </a:lnTo>
                    <a:cubicBezTo>
                      <a:pt x="138208" y="396215"/>
                      <a:pt x="132207" y="393751"/>
                      <a:pt x="125920" y="393763"/>
                    </a:cubicBezTo>
                    <a:lnTo>
                      <a:pt x="23336" y="393763"/>
                    </a:lnTo>
                    <a:cubicBezTo>
                      <a:pt x="10573" y="393868"/>
                      <a:pt x="191" y="383648"/>
                      <a:pt x="0" y="370903"/>
                    </a:cubicBezTo>
                    <a:lnTo>
                      <a:pt x="0" y="92677"/>
                    </a:lnTo>
                    <a:cubicBezTo>
                      <a:pt x="96" y="80043"/>
                      <a:pt x="10287" y="69826"/>
                      <a:pt x="22956" y="69722"/>
                    </a:cubicBezTo>
                    <a:lnTo>
                      <a:pt x="368999" y="69722"/>
                    </a:lnTo>
                    <a:cubicBezTo>
                      <a:pt x="369094" y="69720"/>
                      <a:pt x="369189" y="69718"/>
                      <a:pt x="369285" y="69717"/>
                    </a:cubicBezTo>
                    <a:close/>
                    <a:moveTo>
                      <a:pt x="123825" y="0"/>
                    </a:moveTo>
                    <a:lnTo>
                      <a:pt x="445484" y="0"/>
                    </a:lnTo>
                    <a:cubicBezTo>
                      <a:pt x="456534" y="-106"/>
                      <a:pt x="465582" y="8764"/>
                      <a:pt x="465677" y="19810"/>
                    </a:cubicBezTo>
                    <a:cubicBezTo>
                      <a:pt x="465677" y="19811"/>
                      <a:pt x="465677" y="19811"/>
                      <a:pt x="465677" y="19812"/>
                    </a:cubicBezTo>
                    <a:lnTo>
                      <a:pt x="465677" y="307753"/>
                    </a:lnTo>
                    <a:cubicBezTo>
                      <a:pt x="465582" y="318651"/>
                      <a:pt x="456723" y="327462"/>
                      <a:pt x="445866" y="327565"/>
                    </a:cubicBezTo>
                    <a:lnTo>
                      <a:pt x="411384" y="327565"/>
                    </a:lnTo>
                    <a:lnTo>
                      <a:pt x="411384" y="288512"/>
                    </a:lnTo>
                    <a:cubicBezTo>
                      <a:pt x="419481" y="288618"/>
                      <a:pt x="426148" y="282137"/>
                      <a:pt x="426244" y="274037"/>
                    </a:cubicBezTo>
                    <a:cubicBezTo>
                      <a:pt x="426244" y="274036"/>
                      <a:pt x="426244" y="274035"/>
                      <a:pt x="426244" y="274034"/>
                    </a:cubicBezTo>
                    <a:lnTo>
                      <a:pt x="426244" y="53626"/>
                    </a:lnTo>
                    <a:cubicBezTo>
                      <a:pt x="426148" y="45525"/>
                      <a:pt x="419576" y="39000"/>
                      <a:pt x="411479" y="39051"/>
                    </a:cubicBezTo>
                    <a:cubicBezTo>
                      <a:pt x="411479" y="39052"/>
                      <a:pt x="411384" y="39052"/>
                      <a:pt x="411384" y="39052"/>
                    </a:cubicBezTo>
                    <a:lnTo>
                      <a:pt x="158782" y="39052"/>
                    </a:lnTo>
                    <a:cubicBezTo>
                      <a:pt x="150685" y="38947"/>
                      <a:pt x="144018" y="45428"/>
                      <a:pt x="143922" y="53529"/>
                    </a:cubicBezTo>
                    <a:cubicBezTo>
                      <a:pt x="143922" y="53561"/>
                      <a:pt x="143922" y="53593"/>
                      <a:pt x="143922" y="53626"/>
                    </a:cubicBezTo>
                    <a:lnTo>
                      <a:pt x="143922" y="58007"/>
                    </a:lnTo>
                    <a:lnTo>
                      <a:pt x="104013" y="58007"/>
                    </a:lnTo>
                    <a:lnTo>
                      <a:pt x="104013" y="19907"/>
                    </a:lnTo>
                    <a:cubicBezTo>
                      <a:pt x="104109" y="8971"/>
                      <a:pt x="112871" y="104"/>
                      <a:pt x="1238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B" panose="00020600040101010101" pitchFamily="18" charset="-122"/>
                  <a:ea typeface="OPPOSans B" panose="00020600040101010101" pitchFamily="18" charset="-122"/>
                  <a:cs typeface="OPPOSans B" panose="00020600040101010101" pitchFamily="18" charset="-122"/>
                  <a:sym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868450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E1499573-0AE3-47C9-838C-6822DD822661}"/>
              </a:ext>
            </a:extLst>
          </p:cNvPr>
          <p:cNvSpPr/>
          <p:nvPr/>
        </p:nvSpPr>
        <p:spPr>
          <a:xfrm>
            <a:off x="3778323" y="1748367"/>
            <a:ext cx="4459085" cy="812800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1472B64-6F85-433F-9C05-AF24C2B71B15}"/>
              </a:ext>
            </a:extLst>
          </p:cNvPr>
          <p:cNvSpPr/>
          <p:nvPr/>
        </p:nvSpPr>
        <p:spPr>
          <a:xfrm>
            <a:off x="3778323" y="2561167"/>
            <a:ext cx="4459085" cy="3048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354B713-169C-4353-9B52-2AB55AAFC086}"/>
              </a:ext>
            </a:extLst>
          </p:cNvPr>
          <p:cNvSpPr/>
          <p:nvPr/>
        </p:nvSpPr>
        <p:spPr>
          <a:xfrm>
            <a:off x="1298222" y="3891844"/>
            <a:ext cx="2348088" cy="206022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A3BDDA9-1C20-4B5C-A76B-B6C447DD23EA}"/>
              </a:ext>
            </a:extLst>
          </p:cNvPr>
          <p:cNvSpPr/>
          <p:nvPr/>
        </p:nvSpPr>
        <p:spPr>
          <a:xfrm>
            <a:off x="4910667" y="3891844"/>
            <a:ext cx="2348088" cy="206022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DBE1681-223B-4882-9382-E8E69A1F9269}"/>
              </a:ext>
            </a:extLst>
          </p:cNvPr>
          <p:cNvSpPr/>
          <p:nvPr/>
        </p:nvSpPr>
        <p:spPr>
          <a:xfrm>
            <a:off x="8523112" y="3925711"/>
            <a:ext cx="2348088" cy="206022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F3BBEBD-2892-4F46-9147-5602300CE163}"/>
              </a:ext>
            </a:extLst>
          </p:cNvPr>
          <p:cNvSpPr/>
          <p:nvPr/>
        </p:nvSpPr>
        <p:spPr>
          <a:xfrm>
            <a:off x="1298222" y="3429000"/>
            <a:ext cx="2348088" cy="46284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0822EA1-6AAE-47A8-B9C7-CA71C5014D49}"/>
              </a:ext>
            </a:extLst>
          </p:cNvPr>
          <p:cNvSpPr/>
          <p:nvPr/>
        </p:nvSpPr>
        <p:spPr>
          <a:xfrm>
            <a:off x="4910667" y="3426178"/>
            <a:ext cx="2348088" cy="46284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3E172A7-E484-497D-8DBC-F7563E8E8C62}"/>
              </a:ext>
            </a:extLst>
          </p:cNvPr>
          <p:cNvSpPr/>
          <p:nvPr/>
        </p:nvSpPr>
        <p:spPr>
          <a:xfrm>
            <a:off x="8523112" y="3462867"/>
            <a:ext cx="2348088" cy="46284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B900E9B0-7FF7-498A-8A98-B1B1473110EA}"/>
              </a:ext>
            </a:extLst>
          </p:cNvPr>
          <p:cNvSpPr/>
          <p:nvPr/>
        </p:nvSpPr>
        <p:spPr>
          <a:xfrm>
            <a:off x="1383942" y="3556973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4FF34C65-EC7D-4EB4-AAF0-C840312B29C1}"/>
              </a:ext>
            </a:extLst>
          </p:cNvPr>
          <p:cNvSpPr/>
          <p:nvPr/>
        </p:nvSpPr>
        <p:spPr>
          <a:xfrm>
            <a:off x="3286077" y="355697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C9F88CA0-256C-43CB-933B-5A61CA3B0AB7}"/>
              </a:ext>
            </a:extLst>
          </p:cNvPr>
          <p:cNvSpPr/>
          <p:nvPr/>
        </p:nvSpPr>
        <p:spPr>
          <a:xfrm>
            <a:off x="4998873" y="355697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980CC0E6-3B48-4CEF-961F-73F8306A373C}"/>
              </a:ext>
            </a:extLst>
          </p:cNvPr>
          <p:cNvSpPr/>
          <p:nvPr/>
        </p:nvSpPr>
        <p:spPr>
          <a:xfrm>
            <a:off x="6901008" y="3556971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F86DBB32-FD30-41BE-A336-43A4693C0E3F}"/>
              </a:ext>
            </a:extLst>
          </p:cNvPr>
          <p:cNvSpPr/>
          <p:nvPr/>
        </p:nvSpPr>
        <p:spPr>
          <a:xfrm>
            <a:off x="8621808" y="3556971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E5EF4E81-5269-48B6-826B-BDE4B4DD0517}"/>
              </a:ext>
            </a:extLst>
          </p:cNvPr>
          <p:cNvSpPr/>
          <p:nvPr/>
        </p:nvSpPr>
        <p:spPr>
          <a:xfrm>
            <a:off x="10523943" y="3556970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0" name="弧形 19">
            <a:extLst>
              <a:ext uri="{FF2B5EF4-FFF2-40B4-BE49-F238E27FC236}">
                <a16:creationId xmlns:a16="http://schemas.microsoft.com/office/drawing/2014/main" id="{A82F2C3E-91C4-4AAF-82A3-578383EA9206}"/>
              </a:ext>
            </a:extLst>
          </p:cNvPr>
          <p:cNvSpPr/>
          <p:nvPr/>
        </p:nvSpPr>
        <p:spPr>
          <a:xfrm>
            <a:off x="3420847" y="3063341"/>
            <a:ext cx="1672263" cy="1242467"/>
          </a:xfrm>
          <a:prstGeom prst="arc">
            <a:avLst>
              <a:gd name="adj1" fmla="val 10709555"/>
              <a:gd name="adj2" fmla="val 4587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1" name="弧形 20">
            <a:extLst>
              <a:ext uri="{FF2B5EF4-FFF2-40B4-BE49-F238E27FC236}">
                <a16:creationId xmlns:a16="http://schemas.microsoft.com/office/drawing/2014/main" id="{DF1E45E9-80BE-4D61-84C7-00DD48C13F47}"/>
              </a:ext>
            </a:extLst>
          </p:cNvPr>
          <p:cNvSpPr/>
          <p:nvPr/>
        </p:nvSpPr>
        <p:spPr>
          <a:xfrm>
            <a:off x="7035778" y="3073056"/>
            <a:ext cx="1672263" cy="1242467"/>
          </a:xfrm>
          <a:prstGeom prst="arc">
            <a:avLst>
              <a:gd name="adj1" fmla="val 10709555"/>
              <a:gd name="adj2" fmla="val 4587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BCF3561-9F1B-4773-8F99-C2ACAD567D79}"/>
              </a:ext>
            </a:extLst>
          </p:cNvPr>
          <p:cNvGrpSpPr/>
          <p:nvPr/>
        </p:nvGrpSpPr>
        <p:grpSpPr>
          <a:xfrm>
            <a:off x="2987507" y="1928868"/>
            <a:ext cx="906459" cy="746089"/>
            <a:chOff x="3114935" y="1723042"/>
            <a:chExt cx="1406265" cy="1157469"/>
          </a:xfrm>
        </p:grpSpPr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2400A3A3-9CC9-45CE-92B3-E584D1985087}"/>
                </a:ext>
              </a:extLst>
            </p:cNvPr>
            <p:cNvSpPr/>
            <p:nvPr/>
          </p:nvSpPr>
          <p:spPr>
            <a:xfrm>
              <a:off x="3896167" y="1723042"/>
              <a:ext cx="625033" cy="115746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B59B29F1-00D8-4754-83FE-36FDDCB5CBA3}"/>
                </a:ext>
              </a:extLst>
            </p:cNvPr>
            <p:cNvSpPr/>
            <p:nvPr/>
          </p:nvSpPr>
          <p:spPr>
            <a:xfrm>
              <a:off x="3638974" y="2029959"/>
              <a:ext cx="251406" cy="51691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168D3CE8-0492-4331-8DD0-A8B921480842}"/>
                </a:ext>
              </a:extLst>
            </p:cNvPr>
            <p:cNvSpPr/>
            <p:nvPr/>
          </p:nvSpPr>
          <p:spPr>
            <a:xfrm>
              <a:off x="3114935" y="1943524"/>
              <a:ext cx="662026" cy="66202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29" name="椭圆 28">
              <a:extLst>
                <a:ext uri="{FF2B5EF4-FFF2-40B4-BE49-F238E27FC236}">
                  <a16:creationId xmlns:a16="http://schemas.microsoft.com/office/drawing/2014/main" id="{A6EE704B-1601-4951-BCF3-9999831D9F7D}"/>
                </a:ext>
              </a:extLst>
            </p:cNvPr>
            <p:cNvSpPr/>
            <p:nvPr/>
          </p:nvSpPr>
          <p:spPr>
            <a:xfrm>
              <a:off x="3267335" y="2095924"/>
              <a:ext cx="357226" cy="35722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B6AAFA0C-E94D-4BCB-A13C-E7CB39581F41}"/>
              </a:ext>
            </a:extLst>
          </p:cNvPr>
          <p:cNvGrpSpPr/>
          <p:nvPr/>
        </p:nvGrpSpPr>
        <p:grpSpPr>
          <a:xfrm flipH="1">
            <a:off x="8168578" y="1937155"/>
            <a:ext cx="906459" cy="746089"/>
            <a:chOff x="3114935" y="1723042"/>
            <a:chExt cx="1406265" cy="1157469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6BEEA7CF-1781-4673-ACE0-47CEE92FCEF2}"/>
                </a:ext>
              </a:extLst>
            </p:cNvPr>
            <p:cNvSpPr/>
            <p:nvPr/>
          </p:nvSpPr>
          <p:spPr>
            <a:xfrm>
              <a:off x="3896167" y="1723042"/>
              <a:ext cx="625033" cy="115746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6933E2FF-0E14-47DC-AE14-F8DB9FA21DF8}"/>
                </a:ext>
              </a:extLst>
            </p:cNvPr>
            <p:cNvSpPr/>
            <p:nvPr/>
          </p:nvSpPr>
          <p:spPr>
            <a:xfrm>
              <a:off x="3638974" y="2029959"/>
              <a:ext cx="251406" cy="51691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34" name="椭圆 33">
              <a:extLst>
                <a:ext uri="{FF2B5EF4-FFF2-40B4-BE49-F238E27FC236}">
                  <a16:creationId xmlns:a16="http://schemas.microsoft.com/office/drawing/2014/main" id="{83CF90CC-6A72-4668-A22A-9AEB90C645C8}"/>
                </a:ext>
              </a:extLst>
            </p:cNvPr>
            <p:cNvSpPr/>
            <p:nvPr/>
          </p:nvSpPr>
          <p:spPr>
            <a:xfrm>
              <a:off x="3114935" y="1943524"/>
              <a:ext cx="662026" cy="66202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B94DFB08-A432-4E39-AA96-53E488C6D296}"/>
                </a:ext>
              </a:extLst>
            </p:cNvPr>
            <p:cNvSpPr/>
            <p:nvPr/>
          </p:nvSpPr>
          <p:spPr>
            <a:xfrm>
              <a:off x="3267335" y="2095924"/>
              <a:ext cx="357226" cy="35722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sp>
        <p:nvSpPr>
          <p:cNvPr id="36" name="文本框 35">
            <a:extLst>
              <a:ext uri="{FF2B5EF4-FFF2-40B4-BE49-F238E27FC236}">
                <a16:creationId xmlns:a16="http://schemas.microsoft.com/office/drawing/2014/main" id="{ED2EEC27-7E74-444F-9E16-E705DF70858B}"/>
              </a:ext>
            </a:extLst>
          </p:cNvPr>
          <p:cNvSpPr txBox="1"/>
          <p:nvPr/>
        </p:nvSpPr>
        <p:spPr>
          <a:xfrm>
            <a:off x="5170394" y="576302"/>
            <a:ext cx="183896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研究方向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02187E23-C586-4C92-BE74-2966EFCEF15A}"/>
              </a:ext>
            </a:extLst>
          </p:cNvPr>
          <p:cNvSpPr txBox="1"/>
          <p:nvPr/>
        </p:nvSpPr>
        <p:spPr>
          <a:xfrm>
            <a:off x="5080844" y="1147260"/>
            <a:ext cx="219507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Research direction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ECB6427A-6DB9-49EE-94A3-0F19D99BB9D6}"/>
              </a:ext>
            </a:extLst>
          </p:cNvPr>
          <p:cNvSpPr/>
          <p:nvPr/>
        </p:nvSpPr>
        <p:spPr>
          <a:xfrm flipH="1" flipV="1">
            <a:off x="-692846" y="-712634"/>
            <a:ext cx="1989256" cy="198925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39" name="椭圆 38">
            <a:extLst>
              <a:ext uri="{FF2B5EF4-FFF2-40B4-BE49-F238E27FC236}">
                <a16:creationId xmlns:a16="http://schemas.microsoft.com/office/drawing/2014/main" id="{8E5E719A-1BA0-45B7-8FB4-53CDB66E1D70}"/>
              </a:ext>
            </a:extLst>
          </p:cNvPr>
          <p:cNvSpPr/>
          <p:nvPr/>
        </p:nvSpPr>
        <p:spPr>
          <a:xfrm flipH="1" flipV="1">
            <a:off x="-470872" y="-564997"/>
            <a:ext cx="1989256" cy="1989256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DA9EE5F2-94D0-420F-B85E-CA020F260F75}"/>
              </a:ext>
            </a:extLst>
          </p:cNvPr>
          <p:cNvSpPr/>
          <p:nvPr/>
        </p:nvSpPr>
        <p:spPr>
          <a:xfrm>
            <a:off x="11086385" y="6356554"/>
            <a:ext cx="1589874" cy="1210759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4014799C-D0CF-4D4A-A588-C225BD7AD02E}"/>
              </a:ext>
            </a:extLst>
          </p:cNvPr>
          <p:cNvGrpSpPr/>
          <p:nvPr/>
        </p:nvGrpSpPr>
        <p:grpSpPr>
          <a:xfrm>
            <a:off x="3726400" y="4001728"/>
            <a:ext cx="1089165" cy="1888785"/>
            <a:chOff x="3726400" y="2381312"/>
            <a:chExt cx="1089165" cy="3509202"/>
          </a:xfrm>
        </p:grpSpPr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7E2871C2-8C9E-4AE4-95D9-D9F4A67ED331}"/>
                </a:ext>
              </a:extLst>
            </p:cNvPr>
            <p:cNvSpPr/>
            <p:nvPr/>
          </p:nvSpPr>
          <p:spPr>
            <a:xfrm>
              <a:off x="3726401" y="3109660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1E6F416D-1841-4A95-85C9-1EC4FC44B9E0}"/>
                </a:ext>
              </a:extLst>
            </p:cNvPr>
            <p:cNvSpPr/>
            <p:nvPr/>
          </p:nvSpPr>
          <p:spPr>
            <a:xfrm>
              <a:off x="3726401" y="3826511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7CB4C12F-00E2-4837-A166-4F2BA4EB4D0E}"/>
                </a:ext>
              </a:extLst>
            </p:cNvPr>
            <p:cNvSpPr/>
            <p:nvPr/>
          </p:nvSpPr>
          <p:spPr>
            <a:xfrm>
              <a:off x="3726401" y="4660721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2EF4EC51-A137-4DAD-98EA-2F240B1C6652}"/>
                </a:ext>
              </a:extLst>
            </p:cNvPr>
            <p:cNvSpPr/>
            <p:nvPr/>
          </p:nvSpPr>
          <p:spPr>
            <a:xfrm>
              <a:off x="3726401" y="5468937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F4AA336E-604F-405B-ABC1-FA805B552D42}"/>
                </a:ext>
              </a:extLst>
            </p:cNvPr>
            <p:cNvSpPr/>
            <p:nvPr/>
          </p:nvSpPr>
          <p:spPr>
            <a:xfrm>
              <a:off x="3726400" y="2381312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2BD6847F-15C3-48C3-B9D5-E8B1D4E68A1F}"/>
              </a:ext>
            </a:extLst>
          </p:cNvPr>
          <p:cNvGrpSpPr/>
          <p:nvPr/>
        </p:nvGrpSpPr>
        <p:grpSpPr>
          <a:xfrm>
            <a:off x="7346351" y="4011429"/>
            <a:ext cx="1089165" cy="1888785"/>
            <a:chOff x="3726400" y="2381312"/>
            <a:chExt cx="1089165" cy="3509202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2AC57AE4-680B-4984-9DC7-FF6EB45B0819}"/>
                </a:ext>
              </a:extLst>
            </p:cNvPr>
            <p:cNvSpPr/>
            <p:nvPr/>
          </p:nvSpPr>
          <p:spPr>
            <a:xfrm>
              <a:off x="3726401" y="3109660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3BC4E3DA-9C0F-4D15-9664-5939A02E349E}"/>
                </a:ext>
              </a:extLst>
            </p:cNvPr>
            <p:cNvSpPr/>
            <p:nvPr/>
          </p:nvSpPr>
          <p:spPr>
            <a:xfrm>
              <a:off x="3726401" y="3826511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233B3BD8-16B7-47D2-ACC1-E071EBB81D1F}"/>
                </a:ext>
              </a:extLst>
            </p:cNvPr>
            <p:cNvSpPr/>
            <p:nvPr/>
          </p:nvSpPr>
          <p:spPr>
            <a:xfrm>
              <a:off x="3726401" y="4660721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7D8B7CD3-2C04-4FF9-8D74-8D90E1CF7925}"/>
                </a:ext>
              </a:extLst>
            </p:cNvPr>
            <p:cNvSpPr/>
            <p:nvPr/>
          </p:nvSpPr>
          <p:spPr>
            <a:xfrm>
              <a:off x="3726401" y="5468937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0F95D99D-030C-47B3-862C-A84D74C41F0F}"/>
                </a:ext>
              </a:extLst>
            </p:cNvPr>
            <p:cNvSpPr/>
            <p:nvPr/>
          </p:nvSpPr>
          <p:spPr>
            <a:xfrm>
              <a:off x="3726400" y="2381312"/>
              <a:ext cx="1089164" cy="42157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sp>
        <p:nvSpPr>
          <p:cNvPr id="53" name="文本框 52">
            <a:extLst>
              <a:ext uri="{FF2B5EF4-FFF2-40B4-BE49-F238E27FC236}">
                <a16:creationId xmlns:a16="http://schemas.microsoft.com/office/drawing/2014/main" id="{7300A328-AA9C-4775-AF28-6FEA58CFAC16}"/>
              </a:ext>
            </a:extLst>
          </p:cNvPr>
          <p:cNvSpPr txBox="1"/>
          <p:nvPr/>
        </p:nvSpPr>
        <p:spPr>
          <a:xfrm>
            <a:off x="4344931" y="2000956"/>
            <a:ext cx="389247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媒体融合与传统媒体转型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96E67EE2-F7B4-46D5-AD83-0C9604B30AD7}"/>
              </a:ext>
            </a:extLst>
          </p:cNvPr>
          <p:cNvSpPr txBox="1"/>
          <p:nvPr/>
        </p:nvSpPr>
        <p:spPr>
          <a:xfrm>
            <a:off x="2337848" y="3530685"/>
            <a:ext cx="466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1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A860AC0D-E745-42A4-935D-8A18C8E4B116}"/>
              </a:ext>
            </a:extLst>
          </p:cNvPr>
          <p:cNvSpPr txBox="1"/>
          <p:nvPr/>
        </p:nvSpPr>
        <p:spPr>
          <a:xfrm>
            <a:off x="5953188" y="3498266"/>
            <a:ext cx="466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2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641877AA-57CE-4F7E-901B-3C2B038D28B5}"/>
              </a:ext>
            </a:extLst>
          </p:cNvPr>
          <p:cNvSpPr txBox="1"/>
          <p:nvPr/>
        </p:nvSpPr>
        <p:spPr>
          <a:xfrm>
            <a:off x="9544902" y="3540401"/>
            <a:ext cx="466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3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B6888FC9-E29A-4F59-9133-F5456F1D987E}"/>
              </a:ext>
            </a:extLst>
          </p:cNvPr>
          <p:cNvSpPr txBox="1"/>
          <p:nvPr/>
        </p:nvSpPr>
        <p:spPr>
          <a:xfrm>
            <a:off x="1563241" y="4055500"/>
            <a:ext cx="189585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重新认识本质内涵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6BE4663C-B864-409F-8C90-F14DE7F2F787}"/>
              </a:ext>
            </a:extLst>
          </p:cNvPr>
          <p:cNvSpPr txBox="1"/>
          <p:nvPr/>
        </p:nvSpPr>
        <p:spPr>
          <a:xfrm>
            <a:off x="5392653" y="4029016"/>
            <a:ext cx="14125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媒体市场分析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71DE31C5-D0D6-4069-9752-DEAF949CD7C1}"/>
              </a:ext>
            </a:extLst>
          </p:cNvPr>
          <p:cNvSpPr txBox="1"/>
          <p:nvPr/>
        </p:nvSpPr>
        <p:spPr>
          <a:xfrm>
            <a:off x="8701784" y="4040760"/>
            <a:ext cx="21313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从现实需求视角分析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6D0E6C05-FB00-49FE-8D30-7D58DA4616D6}"/>
              </a:ext>
            </a:extLst>
          </p:cNvPr>
          <p:cNvSpPr txBox="1"/>
          <p:nvPr/>
        </p:nvSpPr>
        <p:spPr>
          <a:xfrm>
            <a:off x="1499195" y="4516907"/>
            <a:ext cx="1968964" cy="12703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传统媒体创新转型的必要性与紧迫性伴随大数据时代的到来，我们需要重新认识和审视媒体的本质内涵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C8F49B5F-5609-4E7B-827B-66454CC1C2CD}"/>
              </a:ext>
            </a:extLst>
          </p:cNvPr>
          <p:cNvSpPr txBox="1"/>
          <p:nvPr/>
        </p:nvSpPr>
        <p:spPr>
          <a:xfrm>
            <a:off x="5105392" y="4466209"/>
            <a:ext cx="1968964" cy="1011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从市场竞争视角分析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: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竞争时代已经来临，传统媒体市场正在被新媒体抢占和分割</a:t>
            </a: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86CA7262-06A7-430B-BA3A-83CA3ACE0DE2}"/>
              </a:ext>
            </a:extLst>
          </p:cNvPr>
          <p:cNvSpPr txBox="1"/>
          <p:nvPr/>
        </p:nvSpPr>
        <p:spPr>
          <a:xfrm>
            <a:off x="8715391" y="4461509"/>
            <a:ext cx="1968964" cy="1011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社会问题层出不穷，热点舆情不断涌现，传统媒体的公信力、影响力受到挑战</a:t>
            </a:r>
          </a:p>
        </p:txBody>
      </p:sp>
    </p:spTree>
    <p:extLst>
      <p:ext uri="{BB962C8B-B14F-4D97-AF65-F5344CB8AC3E}">
        <p14:creationId xmlns:p14="http://schemas.microsoft.com/office/powerpoint/2010/main" val="217977944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任意多边形: 形状 1">
            <a:extLst>
              <a:ext uri="{FF2B5EF4-FFF2-40B4-BE49-F238E27FC236}">
                <a16:creationId xmlns:a16="http://schemas.microsoft.com/office/drawing/2014/main" id="{0E08170F-0D0B-4E35-9D96-71E6F58E3EF7}"/>
              </a:ext>
            </a:extLst>
          </p:cNvPr>
          <p:cNvSpPr/>
          <p:nvPr/>
        </p:nvSpPr>
        <p:spPr>
          <a:xfrm>
            <a:off x="0" y="1"/>
            <a:ext cx="12192000" cy="4956725"/>
          </a:xfrm>
          <a:custGeom>
            <a:avLst/>
            <a:gdLst>
              <a:gd name="connsiteX0" fmla="*/ 0 w 12192000"/>
              <a:gd name="connsiteY0" fmla="*/ 0 h 4956725"/>
              <a:gd name="connsiteX1" fmla="*/ 12192000 w 12192000"/>
              <a:gd name="connsiteY1" fmla="*/ 0 h 4956725"/>
              <a:gd name="connsiteX2" fmla="*/ 12192000 w 12192000"/>
              <a:gd name="connsiteY2" fmla="*/ 881173 h 4956725"/>
              <a:gd name="connsiteX3" fmla="*/ 11968850 w 12192000"/>
              <a:gd name="connsiteY3" fmla="*/ 963397 h 4956725"/>
              <a:gd name="connsiteX4" fmla="*/ 7445829 w 12192000"/>
              <a:gd name="connsiteY4" fmla="*/ 2162629 h 4956725"/>
              <a:gd name="connsiteX5" fmla="*/ 2119086 w 12192000"/>
              <a:gd name="connsiteY5" fmla="*/ 3193143 h 4956725"/>
              <a:gd name="connsiteX6" fmla="*/ 2304 w 12192000"/>
              <a:gd name="connsiteY6" fmla="*/ 4954147 h 4956725"/>
              <a:gd name="connsiteX7" fmla="*/ 0 w 12192000"/>
              <a:gd name="connsiteY7" fmla="*/ 4956725 h 495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956725">
                <a:moveTo>
                  <a:pt x="0" y="0"/>
                </a:moveTo>
                <a:lnTo>
                  <a:pt x="12192000" y="0"/>
                </a:lnTo>
                <a:lnTo>
                  <a:pt x="12192000" y="881173"/>
                </a:lnTo>
                <a:lnTo>
                  <a:pt x="11968850" y="963397"/>
                </a:lnTo>
                <a:cubicBezTo>
                  <a:pt x="10826079" y="1365137"/>
                  <a:pt x="8866868" y="1824567"/>
                  <a:pt x="7445829" y="2162629"/>
                </a:cubicBezTo>
                <a:cubicBezTo>
                  <a:pt x="5696858" y="2578705"/>
                  <a:pt x="3456819" y="2631924"/>
                  <a:pt x="2119086" y="3193143"/>
                </a:cubicBezTo>
                <a:cubicBezTo>
                  <a:pt x="1199395" y="3578981"/>
                  <a:pt x="509522" y="4382153"/>
                  <a:pt x="2304" y="4954147"/>
                </a:cubicBezTo>
                <a:lnTo>
                  <a:pt x="0" y="495672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000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5" name="任意多边形: 形状 2">
            <a:extLst>
              <a:ext uri="{FF2B5EF4-FFF2-40B4-BE49-F238E27FC236}">
                <a16:creationId xmlns:a16="http://schemas.microsoft.com/office/drawing/2014/main" id="{9E57A823-7A27-45EC-A3D1-77DCCB5F8359}"/>
              </a:ext>
            </a:extLst>
          </p:cNvPr>
          <p:cNvSpPr/>
          <p:nvPr/>
        </p:nvSpPr>
        <p:spPr>
          <a:xfrm flipH="1" flipV="1">
            <a:off x="1290718" y="3210456"/>
            <a:ext cx="10901283" cy="3662275"/>
          </a:xfrm>
          <a:custGeom>
            <a:avLst/>
            <a:gdLst>
              <a:gd name="connsiteX0" fmla="*/ 0 w 10901283"/>
              <a:gd name="connsiteY0" fmla="*/ 3662275 h 3662275"/>
              <a:gd name="connsiteX1" fmla="*/ 0 w 10901283"/>
              <a:gd name="connsiteY1" fmla="*/ 0 h 3662275"/>
              <a:gd name="connsiteX2" fmla="*/ 10901283 w 10901283"/>
              <a:gd name="connsiteY2" fmla="*/ 0 h 3662275"/>
              <a:gd name="connsiteX3" fmla="*/ 10410232 w 10901283"/>
              <a:gd name="connsiteY3" fmla="*/ 135800 h 3662275"/>
              <a:gd name="connsiteX4" fmla="*/ 7445829 w 10901283"/>
              <a:gd name="connsiteY4" fmla="*/ 868179 h 3662275"/>
              <a:gd name="connsiteX5" fmla="*/ 2119086 w 10901283"/>
              <a:gd name="connsiteY5" fmla="*/ 1898693 h 3662275"/>
              <a:gd name="connsiteX6" fmla="*/ 2304 w 10901283"/>
              <a:gd name="connsiteY6" fmla="*/ 3659697 h 36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01283" h="3662275">
                <a:moveTo>
                  <a:pt x="0" y="3662275"/>
                </a:moveTo>
                <a:lnTo>
                  <a:pt x="0" y="0"/>
                </a:lnTo>
                <a:lnTo>
                  <a:pt x="10901283" y="0"/>
                </a:lnTo>
                <a:lnTo>
                  <a:pt x="10410232" y="135800"/>
                </a:lnTo>
                <a:cubicBezTo>
                  <a:pt x="9432351" y="398192"/>
                  <a:pt x="8333978" y="656891"/>
                  <a:pt x="7445829" y="868179"/>
                </a:cubicBezTo>
                <a:cubicBezTo>
                  <a:pt x="5696858" y="1284255"/>
                  <a:pt x="3456819" y="1337474"/>
                  <a:pt x="2119086" y="1898693"/>
                </a:cubicBezTo>
                <a:cubicBezTo>
                  <a:pt x="1199395" y="2284531"/>
                  <a:pt x="509522" y="3087703"/>
                  <a:pt x="2304" y="3659697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000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6" name="图片 1" descr="图标&#10;&#10;描述已自动生成">
            <a:extLst>
              <a:ext uri="{FF2B5EF4-FFF2-40B4-BE49-F238E27FC236}">
                <a16:creationId xmlns:a16="http://schemas.microsoft.com/office/drawing/2014/main" id="{841E01FF-79FD-41DA-AD34-85478743BD9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31" b="22190"/>
          <a:stretch>
            <a:fillRect/>
          </a:stretch>
        </p:blipFill>
        <p:spPr>
          <a:xfrm>
            <a:off x="1" y="844944"/>
            <a:ext cx="4077897" cy="4111783"/>
          </a:xfrm>
          <a:custGeom>
            <a:avLst/>
            <a:gdLst>
              <a:gd name="connsiteX0" fmla="*/ 0 w 4077897"/>
              <a:gd name="connsiteY0" fmla="*/ 0 h 4111783"/>
              <a:gd name="connsiteX1" fmla="*/ 4077897 w 4077897"/>
              <a:gd name="connsiteY1" fmla="*/ 0 h 4111783"/>
              <a:gd name="connsiteX2" fmla="*/ 4077897 w 4077897"/>
              <a:gd name="connsiteY2" fmla="*/ 1862764 h 4111783"/>
              <a:gd name="connsiteX3" fmla="*/ 3931218 w 4077897"/>
              <a:gd name="connsiteY3" fmla="*/ 1885218 h 4111783"/>
              <a:gd name="connsiteX4" fmla="*/ 2119086 w 4077897"/>
              <a:gd name="connsiteY4" fmla="*/ 2348201 h 4111783"/>
              <a:gd name="connsiteX5" fmla="*/ 2304 w 4077897"/>
              <a:gd name="connsiteY5" fmla="*/ 4109205 h 4111783"/>
              <a:gd name="connsiteX6" fmla="*/ 0 w 4077897"/>
              <a:gd name="connsiteY6" fmla="*/ 4111783 h 411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77897" h="4111783">
                <a:moveTo>
                  <a:pt x="0" y="0"/>
                </a:moveTo>
                <a:lnTo>
                  <a:pt x="4077897" y="0"/>
                </a:lnTo>
                <a:lnTo>
                  <a:pt x="4077897" y="1862764"/>
                </a:lnTo>
                <a:lnTo>
                  <a:pt x="3931218" y="1885218"/>
                </a:lnTo>
                <a:cubicBezTo>
                  <a:pt x="3249273" y="1998724"/>
                  <a:pt x="2620736" y="2137744"/>
                  <a:pt x="2119086" y="2348201"/>
                </a:cubicBezTo>
                <a:cubicBezTo>
                  <a:pt x="1199395" y="2734039"/>
                  <a:pt x="509522" y="3537211"/>
                  <a:pt x="2304" y="4109205"/>
                </a:cubicBezTo>
                <a:lnTo>
                  <a:pt x="0" y="4111783"/>
                </a:lnTo>
                <a:close/>
              </a:path>
            </a:pathLst>
          </a:custGeom>
        </p:spPr>
      </p:pic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EC0B027B-228D-4A28-BB47-944C73E2F0CF}"/>
              </a:ext>
            </a:extLst>
          </p:cNvPr>
          <p:cNvCxnSpPr>
            <a:cxnSpLocks/>
          </p:cNvCxnSpPr>
          <p:nvPr/>
        </p:nvCxnSpPr>
        <p:spPr>
          <a:xfrm>
            <a:off x="831015" y="4129844"/>
            <a:ext cx="0" cy="1928056"/>
          </a:xfrm>
          <a:prstGeom prst="line">
            <a:avLst/>
          </a:prstGeom>
          <a:ln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: 圆顶角 24">
            <a:extLst>
              <a:ext uri="{FF2B5EF4-FFF2-40B4-BE49-F238E27FC236}">
                <a16:creationId xmlns:a16="http://schemas.microsoft.com/office/drawing/2014/main" id="{65092202-6DEF-4CC7-BB77-FE2C002E609F}"/>
              </a:ext>
            </a:extLst>
          </p:cNvPr>
          <p:cNvSpPr/>
          <p:nvPr/>
        </p:nvSpPr>
        <p:spPr>
          <a:xfrm>
            <a:off x="755383" y="3984049"/>
            <a:ext cx="151263" cy="16584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7" name="矩形: 圆顶角 16">
            <a:extLst>
              <a:ext uri="{FF2B5EF4-FFF2-40B4-BE49-F238E27FC236}">
                <a16:creationId xmlns:a16="http://schemas.microsoft.com/office/drawing/2014/main" id="{0F2AD667-D812-4820-8120-1A3A0846E3E6}"/>
              </a:ext>
            </a:extLst>
          </p:cNvPr>
          <p:cNvSpPr/>
          <p:nvPr/>
        </p:nvSpPr>
        <p:spPr>
          <a:xfrm>
            <a:off x="779756" y="4010772"/>
            <a:ext cx="102517" cy="112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8" name="矩形: 圆顶角 17">
            <a:extLst>
              <a:ext uri="{FF2B5EF4-FFF2-40B4-BE49-F238E27FC236}">
                <a16:creationId xmlns:a16="http://schemas.microsoft.com/office/drawing/2014/main" id="{DC53547E-B2A4-48DD-97AD-E670036B54DA}"/>
              </a:ext>
            </a:extLst>
          </p:cNvPr>
          <p:cNvSpPr/>
          <p:nvPr/>
        </p:nvSpPr>
        <p:spPr>
          <a:xfrm>
            <a:off x="805827" y="4041678"/>
            <a:ext cx="50375" cy="505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7" name="稿定PPT-11-2">
            <a:extLst>
              <a:ext uri="{FF2B5EF4-FFF2-40B4-BE49-F238E27FC236}">
                <a16:creationId xmlns:a16="http://schemas.microsoft.com/office/drawing/2014/main" id="{2CDB1DE0-560C-464C-95A6-C7576B27CBDC}"/>
              </a:ext>
            </a:extLst>
          </p:cNvPr>
          <p:cNvSpPr txBox="1"/>
          <p:nvPr/>
        </p:nvSpPr>
        <p:spPr>
          <a:xfrm>
            <a:off x="906646" y="4407520"/>
            <a:ext cx="2305041" cy="13559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  <a:endParaRPr kumimoji="0" lang="en-GB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8" name="矩形: 圆顶角 27">
            <a:extLst>
              <a:ext uri="{FF2B5EF4-FFF2-40B4-BE49-F238E27FC236}">
                <a16:creationId xmlns:a16="http://schemas.microsoft.com/office/drawing/2014/main" id="{AA43758B-B0C6-4DA5-B13B-D070680A0FD8}"/>
              </a:ext>
            </a:extLst>
          </p:cNvPr>
          <p:cNvSpPr/>
          <p:nvPr/>
        </p:nvSpPr>
        <p:spPr>
          <a:xfrm rot="5400000">
            <a:off x="1872283" y="3135024"/>
            <a:ext cx="338663" cy="209015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2">
                  <a:alpha val="0"/>
                </a:schemeClr>
              </a:gs>
              <a:gs pos="100000">
                <a:schemeClr val="accent1">
                  <a:alpha val="50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803CF9EE-2053-474D-BC7E-2237095E5646}"/>
              </a:ext>
            </a:extLst>
          </p:cNvPr>
          <p:cNvSpPr txBox="1"/>
          <p:nvPr/>
        </p:nvSpPr>
        <p:spPr>
          <a:xfrm>
            <a:off x="991203" y="4077014"/>
            <a:ext cx="203202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，更快更轻松</a:t>
            </a:r>
          </a:p>
        </p:txBody>
      </p: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5529ABBB-AB31-4B1C-92F5-174376E0CF85}"/>
              </a:ext>
            </a:extLst>
          </p:cNvPr>
          <p:cNvCxnSpPr>
            <a:cxnSpLocks/>
          </p:cNvCxnSpPr>
          <p:nvPr/>
        </p:nvCxnSpPr>
        <p:spPr>
          <a:xfrm>
            <a:off x="3628220" y="2872957"/>
            <a:ext cx="0" cy="1928056"/>
          </a:xfrm>
          <a:prstGeom prst="line">
            <a:avLst/>
          </a:prstGeom>
          <a:ln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矩形: 圆顶角 58">
            <a:extLst>
              <a:ext uri="{FF2B5EF4-FFF2-40B4-BE49-F238E27FC236}">
                <a16:creationId xmlns:a16="http://schemas.microsoft.com/office/drawing/2014/main" id="{559846F6-372E-4C40-A954-9EB91D4D8575}"/>
              </a:ext>
            </a:extLst>
          </p:cNvPr>
          <p:cNvSpPr/>
          <p:nvPr/>
        </p:nvSpPr>
        <p:spPr>
          <a:xfrm>
            <a:off x="3552588" y="2727162"/>
            <a:ext cx="151263" cy="16584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0" name="矩形: 圆顶角 59">
            <a:extLst>
              <a:ext uri="{FF2B5EF4-FFF2-40B4-BE49-F238E27FC236}">
                <a16:creationId xmlns:a16="http://schemas.microsoft.com/office/drawing/2014/main" id="{DBB4FD0A-8D8B-45E2-B88A-C433AD91B85E}"/>
              </a:ext>
            </a:extLst>
          </p:cNvPr>
          <p:cNvSpPr/>
          <p:nvPr/>
        </p:nvSpPr>
        <p:spPr>
          <a:xfrm>
            <a:off x="3576961" y="2753885"/>
            <a:ext cx="102517" cy="112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1" name="矩形: 圆顶角 60">
            <a:extLst>
              <a:ext uri="{FF2B5EF4-FFF2-40B4-BE49-F238E27FC236}">
                <a16:creationId xmlns:a16="http://schemas.microsoft.com/office/drawing/2014/main" id="{99C88BE9-8B69-42B3-A14C-439482A04552}"/>
              </a:ext>
            </a:extLst>
          </p:cNvPr>
          <p:cNvSpPr/>
          <p:nvPr/>
        </p:nvSpPr>
        <p:spPr>
          <a:xfrm>
            <a:off x="3603032" y="2784791"/>
            <a:ext cx="50375" cy="505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5" name="稿定PPT-11-2">
            <a:extLst>
              <a:ext uri="{FF2B5EF4-FFF2-40B4-BE49-F238E27FC236}">
                <a16:creationId xmlns:a16="http://schemas.microsoft.com/office/drawing/2014/main" id="{202D21E9-D217-487D-89E6-EE0F2862D79D}"/>
              </a:ext>
            </a:extLst>
          </p:cNvPr>
          <p:cNvSpPr txBox="1"/>
          <p:nvPr/>
        </p:nvSpPr>
        <p:spPr>
          <a:xfrm>
            <a:off x="3703851" y="3150633"/>
            <a:ext cx="2305041" cy="13559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  <a:endParaRPr kumimoji="0" lang="en-GB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7" name="矩形: 圆顶角 56">
            <a:extLst>
              <a:ext uri="{FF2B5EF4-FFF2-40B4-BE49-F238E27FC236}">
                <a16:creationId xmlns:a16="http://schemas.microsoft.com/office/drawing/2014/main" id="{D4D70A71-237F-4DAD-AB92-DA231A408F8A}"/>
              </a:ext>
            </a:extLst>
          </p:cNvPr>
          <p:cNvSpPr/>
          <p:nvPr/>
        </p:nvSpPr>
        <p:spPr>
          <a:xfrm rot="5400000">
            <a:off x="4669488" y="1878137"/>
            <a:ext cx="338663" cy="209015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2">
                  <a:alpha val="0"/>
                </a:schemeClr>
              </a:gs>
              <a:gs pos="100000">
                <a:schemeClr val="accent1">
                  <a:alpha val="50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19F36CD7-669B-488E-9D1F-2044C57BC211}"/>
              </a:ext>
            </a:extLst>
          </p:cNvPr>
          <p:cNvSpPr txBox="1"/>
          <p:nvPr/>
        </p:nvSpPr>
        <p:spPr>
          <a:xfrm>
            <a:off x="3788408" y="2820127"/>
            <a:ext cx="203202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，更快更轻松</a:t>
            </a:r>
          </a:p>
        </p:txBody>
      </p: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44E6D0A1-DCAA-42B7-9618-E85A71CB08AE}"/>
              </a:ext>
            </a:extLst>
          </p:cNvPr>
          <p:cNvCxnSpPr>
            <a:cxnSpLocks/>
          </p:cNvCxnSpPr>
          <p:nvPr/>
        </p:nvCxnSpPr>
        <p:spPr>
          <a:xfrm>
            <a:off x="6425425" y="2452455"/>
            <a:ext cx="0" cy="1928056"/>
          </a:xfrm>
          <a:prstGeom prst="line">
            <a:avLst/>
          </a:prstGeom>
          <a:ln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矩形: 圆顶角 68">
            <a:extLst>
              <a:ext uri="{FF2B5EF4-FFF2-40B4-BE49-F238E27FC236}">
                <a16:creationId xmlns:a16="http://schemas.microsoft.com/office/drawing/2014/main" id="{C648B835-2460-4D72-8E15-43CDE5757658}"/>
              </a:ext>
            </a:extLst>
          </p:cNvPr>
          <p:cNvSpPr/>
          <p:nvPr/>
        </p:nvSpPr>
        <p:spPr>
          <a:xfrm>
            <a:off x="6349793" y="2306660"/>
            <a:ext cx="151263" cy="16584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0" name="矩形: 圆顶角 69">
            <a:extLst>
              <a:ext uri="{FF2B5EF4-FFF2-40B4-BE49-F238E27FC236}">
                <a16:creationId xmlns:a16="http://schemas.microsoft.com/office/drawing/2014/main" id="{03B305F8-BD74-4ADE-A98F-9DD07A3AE728}"/>
              </a:ext>
            </a:extLst>
          </p:cNvPr>
          <p:cNvSpPr/>
          <p:nvPr/>
        </p:nvSpPr>
        <p:spPr>
          <a:xfrm>
            <a:off x="6374166" y="2333383"/>
            <a:ext cx="102517" cy="112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1" name="矩形: 圆顶角 70">
            <a:extLst>
              <a:ext uri="{FF2B5EF4-FFF2-40B4-BE49-F238E27FC236}">
                <a16:creationId xmlns:a16="http://schemas.microsoft.com/office/drawing/2014/main" id="{5D3DCAAA-F521-4C02-95ED-0DD07136CB6C}"/>
              </a:ext>
            </a:extLst>
          </p:cNvPr>
          <p:cNvSpPr/>
          <p:nvPr/>
        </p:nvSpPr>
        <p:spPr>
          <a:xfrm>
            <a:off x="6400237" y="2364289"/>
            <a:ext cx="50375" cy="505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5" name="稿定PPT-11-2">
            <a:extLst>
              <a:ext uri="{FF2B5EF4-FFF2-40B4-BE49-F238E27FC236}">
                <a16:creationId xmlns:a16="http://schemas.microsoft.com/office/drawing/2014/main" id="{7F54EB62-884A-4C6C-907C-B4D2BF6F7A81}"/>
              </a:ext>
            </a:extLst>
          </p:cNvPr>
          <p:cNvSpPr txBox="1"/>
          <p:nvPr/>
        </p:nvSpPr>
        <p:spPr>
          <a:xfrm>
            <a:off x="6501056" y="2730131"/>
            <a:ext cx="2305041" cy="13559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  <a:endParaRPr kumimoji="0" lang="en-GB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7" name="矩形: 圆顶角 66">
            <a:extLst>
              <a:ext uri="{FF2B5EF4-FFF2-40B4-BE49-F238E27FC236}">
                <a16:creationId xmlns:a16="http://schemas.microsoft.com/office/drawing/2014/main" id="{04866F34-48B9-4789-9392-74DF8512ECD6}"/>
              </a:ext>
            </a:extLst>
          </p:cNvPr>
          <p:cNvSpPr/>
          <p:nvPr/>
        </p:nvSpPr>
        <p:spPr>
          <a:xfrm rot="5400000">
            <a:off x="7466693" y="1457635"/>
            <a:ext cx="338663" cy="209015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2">
                  <a:alpha val="0"/>
                </a:schemeClr>
              </a:gs>
              <a:gs pos="100000">
                <a:schemeClr val="accent1">
                  <a:alpha val="50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DCF029E8-D9A6-489A-9947-D22C4A3C64E3}"/>
              </a:ext>
            </a:extLst>
          </p:cNvPr>
          <p:cNvSpPr txBox="1"/>
          <p:nvPr/>
        </p:nvSpPr>
        <p:spPr>
          <a:xfrm>
            <a:off x="6585613" y="2399625"/>
            <a:ext cx="203202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，更快更轻松</a:t>
            </a:r>
          </a:p>
        </p:txBody>
      </p:sp>
      <p:cxnSp>
        <p:nvCxnSpPr>
          <p:cNvPr id="73" name="直接连接符 72">
            <a:extLst>
              <a:ext uri="{FF2B5EF4-FFF2-40B4-BE49-F238E27FC236}">
                <a16:creationId xmlns:a16="http://schemas.microsoft.com/office/drawing/2014/main" id="{D2C59077-9CE4-474E-81A7-D05ED0347BFE}"/>
              </a:ext>
            </a:extLst>
          </p:cNvPr>
          <p:cNvCxnSpPr>
            <a:cxnSpLocks/>
          </p:cNvCxnSpPr>
          <p:nvPr/>
        </p:nvCxnSpPr>
        <p:spPr>
          <a:xfrm>
            <a:off x="9222630" y="1822406"/>
            <a:ext cx="0" cy="1928056"/>
          </a:xfrm>
          <a:prstGeom prst="line">
            <a:avLst/>
          </a:prstGeom>
          <a:ln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矩形: 圆顶角 78">
            <a:extLst>
              <a:ext uri="{FF2B5EF4-FFF2-40B4-BE49-F238E27FC236}">
                <a16:creationId xmlns:a16="http://schemas.microsoft.com/office/drawing/2014/main" id="{2C92C6B6-4008-4788-AE28-B702BADAE52A}"/>
              </a:ext>
            </a:extLst>
          </p:cNvPr>
          <p:cNvSpPr/>
          <p:nvPr/>
        </p:nvSpPr>
        <p:spPr>
          <a:xfrm>
            <a:off x="9146998" y="1676611"/>
            <a:ext cx="151263" cy="16584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alpha val="2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0" name="矩形: 圆顶角 79">
            <a:extLst>
              <a:ext uri="{FF2B5EF4-FFF2-40B4-BE49-F238E27FC236}">
                <a16:creationId xmlns:a16="http://schemas.microsoft.com/office/drawing/2014/main" id="{BF5AB3E8-828F-487A-BB31-AB6C92D31D20}"/>
              </a:ext>
            </a:extLst>
          </p:cNvPr>
          <p:cNvSpPr/>
          <p:nvPr/>
        </p:nvSpPr>
        <p:spPr>
          <a:xfrm>
            <a:off x="9171371" y="1703334"/>
            <a:ext cx="102517" cy="112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1" name="矩形: 圆顶角 80">
            <a:extLst>
              <a:ext uri="{FF2B5EF4-FFF2-40B4-BE49-F238E27FC236}">
                <a16:creationId xmlns:a16="http://schemas.microsoft.com/office/drawing/2014/main" id="{0059B23A-607D-45A7-82C9-E466F589277A}"/>
              </a:ext>
            </a:extLst>
          </p:cNvPr>
          <p:cNvSpPr/>
          <p:nvPr/>
        </p:nvSpPr>
        <p:spPr>
          <a:xfrm>
            <a:off x="9197442" y="1734240"/>
            <a:ext cx="50375" cy="505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5" name="稿定PPT-11-2">
            <a:extLst>
              <a:ext uri="{FF2B5EF4-FFF2-40B4-BE49-F238E27FC236}">
                <a16:creationId xmlns:a16="http://schemas.microsoft.com/office/drawing/2014/main" id="{3D2502D7-CC75-4D07-ABF5-3FB212F7F5D7}"/>
              </a:ext>
            </a:extLst>
          </p:cNvPr>
          <p:cNvSpPr txBox="1"/>
          <p:nvPr/>
        </p:nvSpPr>
        <p:spPr>
          <a:xfrm>
            <a:off x="9298261" y="2100082"/>
            <a:ext cx="2305041" cy="13559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  <a:endParaRPr kumimoji="0" lang="en-GB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7" name="矩形: 圆顶角 76">
            <a:extLst>
              <a:ext uri="{FF2B5EF4-FFF2-40B4-BE49-F238E27FC236}">
                <a16:creationId xmlns:a16="http://schemas.microsoft.com/office/drawing/2014/main" id="{BA82B565-0E7F-4F06-B71B-C4E20473704F}"/>
              </a:ext>
            </a:extLst>
          </p:cNvPr>
          <p:cNvSpPr/>
          <p:nvPr/>
        </p:nvSpPr>
        <p:spPr>
          <a:xfrm rot="5400000">
            <a:off x="10263898" y="827586"/>
            <a:ext cx="338663" cy="209015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2">
                  <a:alpha val="0"/>
                </a:schemeClr>
              </a:gs>
              <a:gs pos="100000">
                <a:schemeClr val="accent1">
                  <a:alpha val="50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0A1C21DB-56C5-420F-9572-6456E18BFA45}"/>
              </a:ext>
            </a:extLst>
          </p:cNvPr>
          <p:cNvSpPr txBox="1"/>
          <p:nvPr/>
        </p:nvSpPr>
        <p:spPr>
          <a:xfrm>
            <a:off x="9382818" y="1769576"/>
            <a:ext cx="203202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3000">
                      <a:prstClr val="black"/>
                    </a:gs>
                    <a:gs pos="71000">
                      <a:srgbClr val="2A6EFB"/>
                    </a:gs>
                  </a:gsLst>
                  <a:lin ang="16200000" scaled="1"/>
                </a:gra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，更快更轻松</a:t>
            </a:r>
          </a:p>
        </p:txBody>
      </p:sp>
      <p:pic>
        <p:nvPicPr>
          <p:cNvPr id="86" name="图片 2" descr="图片包含 图标&#10;&#10;描述已自动生成">
            <a:extLst>
              <a:ext uri="{FF2B5EF4-FFF2-40B4-BE49-F238E27FC236}">
                <a16:creationId xmlns:a16="http://schemas.microsoft.com/office/drawing/2014/main" id="{923BAA83-13A0-44F7-B0F5-ADC510CE5D0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00000">
            <a:off x="4315308" y="1514582"/>
            <a:ext cx="687206" cy="687206"/>
          </a:xfrm>
          <a:prstGeom prst="rect">
            <a:avLst/>
          </a:prstGeom>
        </p:spPr>
      </p:pic>
      <p:pic>
        <p:nvPicPr>
          <p:cNvPr id="87" name="图片 4">
            <a:extLst>
              <a:ext uri="{FF2B5EF4-FFF2-40B4-BE49-F238E27FC236}">
                <a16:creationId xmlns:a16="http://schemas.microsoft.com/office/drawing/2014/main" id="{6CD13045-AF18-44C8-99DE-158388EC207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1972" y="-231407"/>
            <a:ext cx="697618" cy="697618"/>
          </a:xfrm>
          <a:prstGeom prst="rect">
            <a:avLst/>
          </a:prstGeom>
        </p:spPr>
      </p:pic>
      <p:pic>
        <p:nvPicPr>
          <p:cNvPr id="88" name="图片 5" descr="图片包含 图标&#10;&#10;描述已自动生成">
            <a:extLst>
              <a:ext uri="{FF2B5EF4-FFF2-40B4-BE49-F238E27FC236}">
                <a16:creationId xmlns:a16="http://schemas.microsoft.com/office/drawing/2014/main" id="{8899C92F-6E41-44BB-9AA2-E4B0DC72435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0">
            <a:off x="7093063" y="625969"/>
            <a:ext cx="728855" cy="728855"/>
          </a:xfrm>
          <a:prstGeom prst="rect">
            <a:avLst/>
          </a:prstGeom>
        </p:spPr>
      </p:pic>
      <p:sp>
        <p:nvSpPr>
          <p:cNvPr id="89" name="文本框 1">
            <a:extLst>
              <a:ext uri="{FF2B5EF4-FFF2-40B4-BE49-F238E27FC236}">
                <a16:creationId xmlns:a16="http://schemas.microsoft.com/office/drawing/2014/main" id="{A3A6BD43-8CA9-4EC8-8827-A7B0E04CEA88}"/>
              </a:ext>
            </a:extLst>
          </p:cNvPr>
          <p:cNvSpPr txBox="1"/>
          <p:nvPr/>
        </p:nvSpPr>
        <p:spPr>
          <a:xfrm>
            <a:off x="5675086" y="6017984"/>
            <a:ext cx="608479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M" panose="00020600040101010101" pitchFamily="18" charset="-122"/>
                <a:ea typeface="OPPOSans M" panose="00020600040101010101" pitchFamily="18" charset="-122"/>
                <a:cs typeface="+mn-cs"/>
              </a:rPr>
              <a:t>海量素材持续更新，上千款模板选择，总有一款适合你</a:t>
            </a:r>
          </a:p>
        </p:txBody>
      </p:sp>
      <p:sp>
        <p:nvSpPr>
          <p:cNvPr id="3" name="稿定PPT-1">
            <a:extLst>
              <a:ext uri="{FF2B5EF4-FFF2-40B4-BE49-F238E27FC236}">
                <a16:creationId xmlns:a16="http://schemas.microsoft.com/office/drawing/2014/main" id="{875F5A19-B71A-4437-9ECA-3FE0BCF36621}"/>
              </a:ext>
            </a:extLst>
          </p:cNvPr>
          <p:cNvSpPr txBox="1"/>
          <p:nvPr/>
        </p:nvSpPr>
        <p:spPr>
          <a:xfrm>
            <a:off x="978041" y="469046"/>
            <a:ext cx="3781482" cy="4053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/>
                <a:ea typeface="OPPOSans H"/>
                <a:cs typeface="+mn-cs"/>
              </a:rPr>
              <a:t>设计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/>
                <a:ea typeface="OPPOSans H"/>
                <a:cs typeface="+mn-cs"/>
              </a:rPr>
              <a:t>PPT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/>
                <a:ea typeface="OPPOSans H"/>
                <a:cs typeface="+mn-cs"/>
              </a:rPr>
              <a:t>，海量素材持续更新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H"/>
              <a:ea typeface="OPPOSans H"/>
              <a:cs typeface="+mn-cs"/>
            </a:endParaRPr>
          </a:p>
        </p:txBody>
      </p:sp>
      <p:sp>
        <p:nvSpPr>
          <p:cNvPr id="4" name="稿定PPT-2">
            <a:extLst>
              <a:ext uri="{FF2B5EF4-FFF2-40B4-BE49-F238E27FC236}">
                <a16:creationId xmlns:a16="http://schemas.microsoft.com/office/drawing/2014/main" id="{CC40438C-B74E-42B9-AB86-40D22E7B41F1}"/>
              </a:ext>
            </a:extLst>
          </p:cNvPr>
          <p:cNvSpPr txBox="1"/>
          <p:nvPr/>
        </p:nvSpPr>
        <p:spPr>
          <a:xfrm>
            <a:off x="1005487" y="770811"/>
            <a:ext cx="4412400" cy="2932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5" name="任意多边形: 形状 1">
            <a:extLst>
              <a:ext uri="{FF2B5EF4-FFF2-40B4-BE49-F238E27FC236}">
                <a16:creationId xmlns:a16="http://schemas.microsoft.com/office/drawing/2014/main" id="{B6533274-D7A9-4706-A488-17E24722261A}"/>
              </a:ext>
            </a:extLst>
          </p:cNvPr>
          <p:cNvSpPr/>
          <p:nvPr/>
        </p:nvSpPr>
        <p:spPr>
          <a:xfrm rot="2700000">
            <a:off x="551550" y="527376"/>
            <a:ext cx="263081" cy="263079"/>
          </a:xfrm>
          <a:custGeom>
            <a:avLst/>
            <a:gdLst>
              <a:gd name="connsiteX0" fmla="*/ 0 w 263081"/>
              <a:gd name="connsiteY0" fmla="*/ 175385 h 263079"/>
              <a:gd name="connsiteX1" fmla="*/ 87693 w 263081"/>
              <a:gd name="connsiteY1" fmla="*/ 175385 h 263079"/>
              <a:gd name="connsiteX2" fmla="*/ 87693 w 263081"/>
              <a:gd name="connsiteY2" fmla="*/ 87693 h 263079"/>
              <a:gd name="connsiteX3" fmla="*/ 87695 w 263081"/>
              <a:gd name="connsiteY3" fmla="*/ 87693 h 263079"/>
              <a:gd name="connsiteX4" fmla="*/ 87695 w 263081"/>
              <a:gd name="connsiteY4" fmla="*/ 87692 h 263079"/>
              <a:gd name="connsiteX5" fmla="*/ 175387 w 263081"/>
              <a:gd name="connsiteY5" fmla="*/ 87692 h 263079"/>
              <a:gd name="connsiteX6" fmla="*/ 175387 w 263081"/>
              <a:gd name="connsiteY6" fmla="*/ 0 h 263079"/>
              <a:gd name="connsiteX7" fmla="*/ 211738 w 263081"/>
              <a:gd name="connsiteY7" fmla="*/ 0 h 263079"/>
              <a:gd name="connsiteX8" fmla="*/ 263081 w 263081"/>
              <a:gd name="connsiteY8" fmla="*/ 51342 h 263079"/>
              <a:gd name="connsiteX9" fmla="*/ 263081 w 263081"/>
              <a:gd name="connsiteY9" fmla="*/ 175386 h 263079"/>
              <a:gd name="connsiteX10" fmla="*/ 175386 w 263081"/>
              <a:gd name="connsiteY10" fmla="*/ 175386 h 263079"/>
              <a:gd name="connsiteX11" fmla="*/ 175386 w 263081"/>
              <a:gd name="connsiteY11" fmla="*/ 263079 h 263079"/>
              <a:gd name="connsiteX12" fmla="*/ 51343 w 263081"/>
              <a:gd name="connsiteY12" fmla="*/ 263079 h 263079"/>
              <a:gd name="connsiteX13" fmla="*/ 0 w 263081"/>
              <a:gd name="connsiteY13" fmla="*/ 211736 h 263079"/>
              <a:gd name="connsiteX14" fmla="*/ 100981 w 263081"/>
              <a:gd name="connsiteY14" fmla="*/ 20905 h 263079"/>
              <a:gd name="connsiteX15" fmla="*/ 108601 w 263081"/>
              <a:gd name="connsiteY15" fmla="*/ 13285 h 263079"/>
              <a:gd name="connsiteX16" fmla="*/ 139080 w 263081"/>
              <a:gd name="connsiteY16" fmla="*/ 13285 h 263079"/>
              <a:gd name="connsiteX17" fmla="*/ 146700 w 263081"/>
              <a:gd name="connsiteY17" fmla="*/ 20905 h 263079"/>
              <a:gd name="connsiteX18" fmla="*/ 146700 w 263081"/>
              <a:gd name="connsiteY18" fmla="*/ 51384 h 263079"/>
              <a:gd name="connsiteX19" fmla="*/ 139080 w 263081"/>
              <a:gd name="connsiteY19" fmla="*/ 59004 h 263079"/>
              <a:gd name="connsiteX20" fmla="*/ 108601 w 263081"/>
              <a:gd name="connsiteY20" fmla="*/ 59004 h 263079"/>
              <a:gd name="connsiteX21" fmla="*/ 100981 w 263081"/>
              <a:gd name="connsiteY21" fmla="*/ 51384 h 263079"/>
              <a:gd name="connsiteX22" fmla="*/ 13287 w 263081"/>
              <a:gd name="connsiteY22" fmla="*/ 108599 h 263079"/>
              <a:gd name="connsiteX23" fmla="*/ 20907 w 263081"/>
              <a:gd name="connsiteY23" fmla="*/ 100979 h 263079"/>
              <a:gd name="connsiteX24" fmla="*/ 51386 w 263081"/>
              <a:gd name="connsiteY24" fmla="*/ 100979 h 263079"/>
              <a:gd name="connsiteX25" fmla="*/ 59006 w 263081"/>
              <a:gd name="connsiteY25" fmla="*/ 108599 h 263079"/>
              <a:gd name="connsiteX26" fmla="*/ 59006 w 263081"/>
              <a:gd name="connsiteY26" fmla="*/ 139078 h 263079"/>
              <a:gd name="connsiteX27" fmla="*/ 51386 w 263081"/>
              <a:gd name="connsiteY27" fmla="*/ 146698 h 263079"/>
              <a:gd name="connsiteX28" fmla="*/ 20907 w 263081"/>
              <a:gd name="connsiteY28" fmla="*/ 146698 h 263079"/>
              <a:gd name="connsiteX29" fmla="*/ 13287 w 263081"/>
              <a:gd name="connsiteY29" fmla="*/ 139078 h 263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63081" h="263079">
                <a:moveTo>
                  <a:pt x="0" y="175385"/>
                </a:moveTo>
                <a:lnTo>
                  <a:pt x="87693" y="175385"/>
                </a:lnTo>
                <a:lnTo>
                  <a:pt x="87693" y="87693"/>
                </a:lnTo>
                <a:lnTo>
                  <a:pt x="87695" y="87693"/>
                </a:lnTo>
                <a:lnTo>
                  <a:pt x="87695" y="87692"/>
                </a:lnTo>
                <a:lnTo>
                  <a:pt x="175387" y="87692"/>
                </a:lnTo>
                <a:lnTo>
                  <a:pt x="175387" y="0"/>
                </a:lnTo>
                <a:lnTo>
                  <a:pt x="211738" y="0"/>
                </a:lnTo>
                <a:cubicBezTo>
                  <a:pt x="240094" y="0"/>
                  <a:pt x="263081" y="22987"/>
                  <a:pt x="263081" y="51342"/>
                </a:cubicBezTo>
                <a:lnTo>
                  <a:pt x="263081" y="175386"/>
                </a:lnTo>
                <a:lnTo>
                  <a:pt x="175386" y="175386"/>
                </a:lnTo>
                <a:lnTo>
                  <a:pt x="175386" y="263079"/>
                </a:lnTo>
                <a:lnTo>
                  <a:pt x="51343" y="263079"/>
                </a:lnTo>
                <a:cubicBezTo>
                  <a:pt x="22987" y="263079"/>
                  <a:pt x="0" y="240092"/>
                  <a:pt x="0" y="211736"/>
                </a:cubicBezTo>
                <a:close/>
                <a:moveTo>
                  <a:pt x="100981" y="20905"/>
                </a:moveTo>
                <a:cubicBezTo>
                  <a:pt x="100981" y="16697"/>
                  <a:pt x="104393" y="13285"/>
                  <a:pt x="108601" y="13285"/>
                </a:cubicBezTo>
                <a:lnTo>
                  <a:pt x="139080" y="13285"/>
                </a:lnTo>
                <a:cubicBezTo>
                  <a:pt x="143288" y="13285"/>
                  <a:pt x="146700" y="16697"/>
                  <a:pt x="146700" y="20905"/>
                </a:cubicBezTo>
                <a:lnTo>
                  <a:pt x="146700" y="51384"/>
                </a:lnTo>
                <a:cubicBezTo>
                  <a:pt x="146700" y="55592"/>
                  <a:pt x="143288" y="59004"/>
                  <a:pt x="139080" y="59004"/>
                </a:cubicBezTo>
                <a:lnTo>
                  <a:pt x="108601" y="59004"/>
                </a:lnTo>
                <a:cubicBezTo>
                  <a:pt x="104393" y="59004"/>
                  <a:pt x="100981" y="55592"/>
                  <a:pt x="100981" y="51384"/>
                </a:cubicBezTo>
                <a:close/>
                <a:moveTo>
                  <a:pt x="13287" y="108599"/>
                </a:moveTo>
                <a:cubicBezTo>
                  <a:pt x="13287" y="104391"/>
                  <a:pt x="16699" y="100979"/>
                  <a:pt x="20907" y="100979"/>
                </a:cubicBezTo>
                <a:lnTo>
                  <a:pt x="51386" y="100979"/>
                </a:lnTo>
                <a:cubicBezTo>
                  <a:pt x="55594" y="100979"/>
                  <a:pt x="59006" y="104391"/>
                  <a:pt x="59006" y="108599"/>
                </a:cubicBezTo>
                <a:lnTo>
                  <a:pt x="59006" y="139078"/>
                </a:lnTo>
                <a:cubicBezTo>
                  <a:pt x="59006" y="143286"/>
                  <a:pt x="55594" y="146698"/>
                  <a:pt x="51386" y="146698"/>
                </a:cubicBezTo>
                <a:lnTo>
                  <a:pt x="20907" y="146698"/>
                </a:lnTo>
                <a:cubicBezTo>
                  <a:pt x="16699" y="146698"/>
                  <a:pt x="13287" y="143286"/>
                  <a:pt x="13287" y="13907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383643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矩形 65">
            <a:extLst>
              <a:ext uri="{FF2B5EF4-FFF2-40B4-BE49-F238E27FC236}">
                <a16:creationId xmlns:a16="http://schemas.microsoft.com/office/drawing/2014/main" id="{9B8CDA43-FDD0-4EDD-AA71-FC1421E2DB0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pic>
        <p:nvPicPr>
          <p:cNvPr id="17" name="图片 1" descr="建筑的摆设布局&#10;&#10;描述已自动生成">
            <a:extLst>
              <a:ext uri="{FF2B5EF4-FFF2-40B4-BE49-F238E27FC236}">
                <a16:creationId xmlns:a16="http://schemas.microsoft.com/office/drawing/2014/main" id="{4B9CDEE4-1CFC-4D1B-9735-0978475471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452"/>
          <a:stretch/>
        </p:blipFill>
        <p:spPr>
          <a:xfrm>
            <a:off x="0" y="-7055"/>
            <a:ext cx="12192000" cy="6872111"/>
          </a:xfrm>
          <a:prstGeom prst="rect">
            <a:avLst/>
          </a:prstGeom>
        </p:spPr>
      </p:pic>
      <p:sp>
        <p:nvSpPr>
          <p:cNvPr id="18" name="矩形 1">
            <a:extLst>
              <a:ext uri="{FF2B5EF4-FFF2-40B4-BE49-F238E27FC236}">
                <a16:creationId xmlns:a16="http://schemas.microsoft.com/office/drawing/2014/main" id="{D9934A04-B6BD-4B61-8542-07D2BC3626FE}"/>
              </a:ext>
            </a:extLst>
          </p:cNvPr>
          <p:cNvSpPr/>
          <p:nvPr/>
        </p:nvSpPr>
        <p:spPr>
          <a:xfrm>
            <a:off x="0" y="-7055"/>
            <a:ext cx="12192000" cy="6865055"/>
          </a:xfrm>
          <a:prstGeom prst="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B59AB006-BE39-47C6-82D5-8716745A74A2}"/>
              </a:ext>
            </a:extLst>
          </p:cNvPr>
          <p:cNvSpPr/>
          <p:nvPr/>
        </p:nvSpPr>
        <p:spPr>
          <a:xfrm>
            <a:off x="-1398906" y="-273050"/>
            <a:ext cx="7810500" cy="7810500"/>
          </a:xfrm>
          <a:prstGeom prst="ellipse">
            <a:avLst/>
          </a:prstGeom>
          <a:noFill/>
          <a:ln w="101600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A2103603-85A7-4E6C-AE51-4C3CEBFDD2A2}"/>
              </a:ext>
            </a:extLst>
          </p:cNvPr>
          <p:cNvSpPr/>
          <p:nvPr/>
        </p:nvSpPr>
        <p:spPr>
          <a:xfrm>
            <a:off x="-1498656" y="-372800"/>
            <a:ext cx="8010000" cy="8010000"/>
          </a:xfrm>
          <a:prstGeom prst="ellipse">
            <a:avLst/>
          </a:prstGeom>
          <a:noFill/>
          <a:ln w="6350">
            <a:solidFill>
              <a:schemeClr val="accent2">
                <a:alpha val="2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399416D8-F44C-49AF-8F56-A4C714DBF471}"/>
              </a:ext>
            </a:extLst>
          </p:cNvPr>
          <p:cNvSpPr/>
          <p:nvPr/>
        </p:nvSpPr>
        <p:spPr>
          <a:xfrm>
            <a:off x="-327167" y="798689"/>
            <a:ext cx="5667022" cy="5667022"/>
          </a:xfrm>
          <a:prstGeom prst="ellipse">
            <a:avLst/>
          </a:prstGeom>
          <a:noFill/>
          <a:ln w="19050">
            <a:solidFill>
              <a:schemeClr val="accent2">
                <a:alpha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29E0C08E-45AB-4C0E-A1FC-44838CCF4E7E}"/>
              </a:ext>
            </a:extLst>
          </p:cNvPr>
          <p:cNvSpPr/>
          <p:nvPr/>
        </p:nvSpPr>
        <p:spPr>
          <a:xfrm>
            <a:off x="-539256" y="586600"/>
            <a:ext cx="6091200" cy="6091200"/>
          </a:xfrm>
          <a:prstGeom prst="ellipse">
            <a:avLst/>
          </a:prstGeom>
          <a:noFill/>
          <a:ln w="101600">
            <a:solidFill>
              <a:schemeClr val="accent2">
                <a:alpha val="1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" name="弧形 5">
            <a:extLst>
              <a:ext uri="{FF2B5EF4-FFF2-40B4-BE49-F238E27FC236}">
                <a16:creationId xmlns:a16="http://schemas.microsoft.com/office/drawing/2014/main" id="{722A5364-ADAA-40ED-A773-CAE9725988F9}"/>
              </a:ext>
            </a:extLst>
          </p:cNvPr>
          <p:cNvSpPr/>
          <p:nvPr/>
        </p:nvSpPr>
        <p:spPr>
          <a:xfrm rot="1500000">
            <a:off x="841344" y="1967200"/>
            <a:ext cx="3330000" cy="3330000"/>
          </a:xfrm>
          <a:prstGeom prst="arc">
            <a:avLst>
              <a:gd name="adj1" fmla="val 10755658"/>
              <a:gd name="adj2" fmla="val 17012198"/>
            </a:avLst>
          </a:prstGeom>
          <a:ln w="190500">
            <a:gradFill flip="none" rotWithShape="1">
              <a:gsLst>
                <a:gs pos="100000">
                  <a:schemeClr val="accent2">
                    <a:alpha val="45000"/>
                  </a:schemeClr>
                </a:gs>
                <a:gs pos="0">
                  <a:schemeClr val="accent2">
                    <a:alpha val="0"/>
                  </a:schemeClr>
                </a:gs>
              </a:gsLst>
              <a:lin ang="0" scaled="1"/>
              <a:tileRect/>
            </a:gra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" name="弧形 6">
            <a:extLst>
              <a:ext uri="{FF2B5EF4-FFF2-40B4-BE49-F238E27FC236}">
                <a16:creationId xmlns:a16="http://schemas.microsoft.com/office/drawing/2014/main" id="{17F2E4E8-65A1-47A9-894B-F1D4292D14F1}"/>
              </a:ext>
            </a:extLst>
          </p:cNvPr>
          <p:cNvSpPr/>
          <p:nvPr/>
        </p:nvSpPr>
        <p:spPr>
          <a:xfrm rot="6900000">
            <a:off x="841344" y="1967200"/>
            <a:ext cx="3330000" cy="3330000"/>
          </a:xfrm>
          <a:prstGeom prst="arc">
            <a:avLst>
              <a:gd name="adj1" fmla="val 10755658"/>
              <a:gd name="adj2" fmla="val 17012198"/>
            </a:avLst>
          </a:prstGeom>
          <a:ln w="190500">
            <a:gradFill flip="none" rotWithShape="1">
              <a:gsLst>
                <a:gs pos="100000">
                  <a:schemeClr val="accent2">
                    <a:alpha val="45000"/>
                  </a:schemeClr>
                </a:gs>
                <a:gs pos="0">
                  <a:schemeClr val="accent2">
                    <a:alpha val="0"/>
                  </a:schemeClr>
                </a:gs>
              </a:gsLst>
              <a:lin ang="0" scaled="1"/>
              <a:tileRect/>
            </a:gra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" name="弧形 7">
            <a:extLst>
              <a:ext uri="{FF2B5EF4-FFF2-40B4-BE49-F238E27FC236}">
                <a16:creationId xmlns:a16="http://schemas.microsoft.com/office/drawing/2014/main" id="{2906F7CC-561D-43F7-9D6A-1DF97512FF2F}"/>
              </a:ext>
            </a:extLst>
          </p:cNvPr>
          <p:cNvSpPr/>
          <p:nvPr/>
        </p:nvSpPr>
        <p:spPr>
          <a:xfrm rot="12300000">
            <a:off x="841344" y="1967200"/>
            <a:ext cx="3330000" cy="3330000"/>
          </a:xfrm>
          <a:prstGeom prst="arc">
            <a:avLst>
              <a:gd name="adj1" fmla="val 10755658"/>
              <a:gd name="adj2" fmla="val 17012198"/>
            </a:avLst>
          </a:prstGeom>
          <a:ln w="190500">
            <a:gradFill flip="none" rotWithShape="1">
              <a:gsLst>
                <a:gs pos="100000">
                  <a:schemeClr val="accent2">
                    <a:alpha val="45000"/>
                  </a:schemeClr>
                </a:gs>
                <a:gs pos="0">
                  <a:schemeClr val="accent2">
                    <a:alpha val="0"/>
                  </a:schemeClr>
                </a:gs>
              </a:gsLst>
              <a:lin ang="0" scaled="1"/>
              <a:tileRect/>
            </a:gra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" name="弧形 8">
            <a:extLst>
              <a:ext uri="{FF2B5EF4-FFF2-40B4-BE49-F238E27FC236}">
                <a16:creationId xmlns:a16="http://schemas.microsoft.com/office/drawing/2014/main" id="{758386BA-E17D-423D-B1F9-4DCF57486454}"/>
              </a:ext>
            </a:extLst>
          </p:cNvPr>
          <p:cNvSpPr/>
          <p:nvPr/>
        </p:nvSpPr>
        <p:spPr>
          <a:xfrm rot="17700000">
            <a:off x="841344" y="1967200"/>
            <a:ext cx="3330000" cy="3330000"/>
          </a:xfrm>
          <a:prstGeom prst="arc">
            <a:avLst>
              <a:gd name="adj1" fmla="val 10755658"/>
              <a:gd name="adj2" fmla="val 17012198"/>
            </a:avLst>
          </a:prstGeom>
          <a:ln w="190500">
            <a:gradFill flip="none" rotWithShape="1">
              <a:gsLst>
                <a:gs pos="100000">
                  <a:schemeClr val="accent2">
                    <a:alpha val="45000"/>
                  </a:schemeClr>
                </a:gs>
                <a:gs pos="0">
                  <a:schemeClr val="accent2">
                    <a:alpha val="0"/>
                  </a:schemeClr>
                </a:gs>
              </a:gsLst>
              <a:lin ang="0" scaled="1"/>
              <a:tileRect/>
            </a:gra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23" name="图片 22" descr="建筑的摆设布局&#10;&#10;描述已自动生成">
            <a:extLst>
              <a:ext uri="{FF2B5EF4-FFF2-40B4-BE49-F238E27FC236}">
                <a16:creationId xmlns:a16="http://schemas.microsoft.com/office/drawing/2014/main" id="{3C99DA1F-4914-4B51-843F-BB8CAA124D4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005" t="2178" r="18172" b="2087"/>
          <a:stretch>
            <a:fillRect/>
          </a:stretch>
        </p:blipFill>
        <p:spPr>
          <a:xfrm>
            <a:off x="850344" y="1976200"/>
            <a:ext cx="3312000" cy="3312000"/>
          </a:xfrm>
          <a:custGeom>
            <a:avLst/>
            <a:gdLst>
              <a:gd name="connsiteX0" fmla="*/ 1656000 w 3312000"/>
              <a:gd name="connsiteY0" fmla="*/ 0 h 3312000"/>
              <a:gd name="connsiteX1" fmla="*/ 3312000 w 3312000"/>
              <a:gd name="connsiteY1" fmla="*/ 1656000 h 3312000"/>
              <a:gd name="connsiteX2" fmla="*/ 1656000 w 3312000"/>
              <a:gd name="connsiteY2" fmla="*/ 3312000 h 3312000"/>
              <a:gd name="connsiteX3" fmla="*/ 0 w 3312000"/>
              <a:gd name="connsiteY3" fmla="*/ 1656000 h 3312000"/>
              <a:gd name="connsiteX4" fmla="*/ 1656000 w 3312000"/>
              <a:gd name="connsiteY4" fmla="*/ 0 h 33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2000" h="3312000">
                <a:moveTo>
                  <a:pt x="1656000" y="0"/>
                </a:moveTo>
                <a:cubicBezTo>
                  <a:pt x="2570584" y="0"/>
                  <a:pt x="3312000" y="741416"/>
                  <a:pt x="3312000" y="1656000"/>
                </a:cubicBezTo>
                <a:cubicBezTo>
                  <a:pt x="3312000" y="2570584"/>
                  <a:pt x="2570584" y="3312000"/>
                  <a:pt x="1656000" y="3312000"/>
                </a:cubicBezTo>
                <a:cubicBezTo>
                  <a:pt x="741416" y="3312000"/>
                  <a:pt x="0" y="2570584"/>
                  <a:pt x="0" y="1656000"/>
                </a:cubicBezTo>
                <a:cubicBezTo>
                  <a:pt x="0" y="741416"/>
                  <a:pt x="741416" y="0"/>
                  <a:pt x="1656000" y="0"/>
                </a:cubicBezTo>
                <a:close/>
              </a:path>
            </a:pathLst>
          </a:custGeom>
        </p:spPr>
      </p:pic>
      <p:sp>
        <p:nvSpPr>
          <p:cNvPr id="21" name="椭圆 20">
            <a:extLst>
              <a:ext uri="{FF2B5EF4-FFF2-40B4-BE49-F238E27FC236}">
                <a16:creationId xmlns:a16="http://schemas.microsoft.com/office/drawing/2014/main" id="{FE07B496-1935-441E-953B-D289BD26AA4D}"/>
              </a:ext>
            </a:extLst>
          </p:cNvPr>
          <p:cNvSpPr/>
          <p:nvPr/>
        </p:nvSpPr>
        <p:spPr>
          <a:xfrm>
            <a:off x="850344" y="1976200"/>
            <a:ext cx="3312000" cy="3312000"/>
          </a:xfrm>
          <a:prstGeom prst="ellipse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4BABFD76-2239-481D-80DD-8FD896AF7617}"/>
              </a:ext>
            </a:extLst>
          </p:cNvPr>
          <p:cNvSpPr/>
          <p:nvPr/>
        </p:nvSpPr>
        <p:spPr>
          <a:xfrm>
            <a:off x="-2693326" y="-1567470"/>
            <a:ext cx="10399340" cy="10399340"/>
          </a:xfrm>
          <a:prstGeom prst="ellipse">
            <a:avLst/>
          </a:prstGeom>
          <a:noFill/>
          <a:ln w="101600"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43813C67-C138-4A96-8F71-8707E0250275}"/>
              </a:ext>
            </a:extLst>
          </p:cNvPr>
          <p:cNvSpPr/>
          <p:nvPr/>
        </p:nvSpPr>
        <p:spPr>
          <a:xfrm>
            <a:off x="-2637156" y="-1511300"/>
            <a:ext cx="10287000" cy="10287000"/>
          </a:xfrm>
          <a:prstGeom prst="ellipse">
            <a:avLst/>
          </a:prstGeom>
          <a:noFill/>
          <a:ln w="12700">
            <a:solidFill>
              <a:schemeClr val="accent2">
                <a:alpha val="2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B881E5DB-4858-41EA-867E-EEE98BB439D5}"/>
              </a:ext>
            </a:extLst>
          </p:cNvPr>
          <p:cNvSpPr/>
          <p:nvPr/>
        </p:nvSpPr>
        <p:spPr>
          <a:xfrm>
            <a:off x="9975850" y="1216338"/>
            <a:ext cx="367649" cy="1387162"/>
          </a:xfrm>
          <a:custGeom>
            <a:avLst/>
            <a:gdLst>
              <a:gd name="connsiteX0" fmla="*/ 149934 w 367649"/>
              <a:gd name="connsiteY0" fmla="*/ 0 h 1387162"/>
              <a:gd name="connsiteX1" fmla="*/ 352773 w 367649"/>
              <a:gd name="connsiteY1" fmla="*/ 0 h 1387162"/>
              <a:gd name="connsiteX2" fmla="*/ 218013 w 367649"/>
              <a:gd name="connsiteY2" fmla="*/ 781053 h 1387162"/>
              <a:gd name="connsiteX3" fmla="*/ 367649 w 367649"/>
              <a:gd name="connsiteY3" fmla="*/ 781053 h 1387162"/>
              <a:gd name="connsiteX4" fmla="*/ 341613 w 367649"/>
              <a:gd name="connsiteY4" fmla="*/ 827747 h 1387162"/>
              <a:gd name="connsiteX5" fmla="*/ 43968 w 367649"/>
              <a:gd name="connsiteY5" fmla="*/ 1387162 h 1387162"/>
              <a:gd name="connsiteX6" fmla="*/ 30163 w 367649"/>
              <a:gd name="connsiteY6" fmla="*/ 1387162 h 1387162"/>
              <a:gd name="connsiteX7" fmla="*/ 121529 w 367649"/>
              <a:gd name="connsiteY7" fmla="*/ 869002 h 1387162"/>
              <a:gd name="connsiteX8" fmla="*/ 0 w 367649"/>
              <a:gd name="connsiteY8" fmla="*/ 869002 h 1387162"/>
              <a:gd name="connsiteX9" fmla="*/ 149934 w 367649"/>
              <a:gd name="connsiteY9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649" h="1387162">
                <a:moveTo>
                  <a:pt x="149934" y="0"/>
                </a:moveTo>
                <a:lnTo>
                  <a:pt x="352773" y="0"/>
                </a:lnTo>
                <a:lnTo>
                  <a:pt x="218013" y="781053"/>
                </a:lnTo>
                <a:lnTo>
                  <a:pt x="367649" y="781053"/>
                </a:lnTo>
                <a:lnTo>
                  <a:pt x="341613" y="827747"/>
                </a:lnTo>
                <a:lnTo>
                  <a:pt x="43968" y="1387162"/>
                </a:lnTo>
                <a:lnTo>
                  <a:pt x="30163" y="1387162"/>
                </a:lnTo>
                <a:lnTo>
                  <a:pt x="121529" y="869002"/>
                </a:lnTo>
                <a:lnTo>
                  <a:pt x="0" y="869002"/>
                </a:lnTo>
                <a:lnTo>
                  <a:pt x="149934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88E10389-1EA8-4210-B293-C47B8E654588}"/>
              </a:ext>
            </a:extLst>
          </p:cNvPr>
          <p:cNvSpPr/>
          <p:nvPr/>
        </p:nvSpPr>
        <p:spPr>
          <a:xfrm>
            <a:off x="5510034" y="1216338"/>
            <a:ext cx="4615749" cy="1387162"/>
          </a:xfrm>
          <a:custGeom>
            <a:avLst/>
            <a:gdLst>
              <a:gd name="connsiteX0" fmla="*/ 246758 w 4615749"/>
              <a:gd name="connsiteY0" fmla="*/ 0 h 1387162"/>
              <a:gd name="connsiteX1" fmla="*/ 4615749 w 4615749"/>
              <a:gd name="connsiteY1" fmla="*/ 0 h 1387162"/>
              <a:gd name="connsiteX2" fmla="*/ 4465815 w 4615749"/>
              <a:gd name="connsiteY2" fmla="*/ 869002 h 1387162"/>
              <a:gd name="connsiteX3" fmla="*/ 4587344 w 4615749"/>
              <a:gd name="connsiteY3" fmla="*/ 869002 h 1387162"/>
              <a:gd name="connsiteX4" fmla="*/ 4495978 w 4615749"/>
              <a:gd name="connsiteY4" fmla="*/ 1387162 h 1387162"/>
              <a:gd name="connsiteX5" fmla="*/ 246758 w 4615749"/>
              <a:gd name="connsiteY5" fmla="*/ 1387162 h 1387162"/>
              <a:gd name="connsiteX6" fmla="*/ 173627 w 4615749"/>
              <a:gd name="connsiteY6" fmla="*/ 1314031 h 1387162"/>
              <a:gd name="connsiteX7" fmla="*/ 173627 w 4615749"/>
              <a:gd name="connsiteY7" fmla="*/ 831632 h 1387162"/>
              <a:gd name="connsiteX8" fmla="*/ 32255 w 4615749"/>
              <a:gd name="connsiteY8" fmla="*/ 749636 h 1387162"/>
              <a:gd name="connsiteX9" fmla="*/ 32255 w 4615749"/>
              <a:gd name="connsiteY9" fmla="*/ 637528 h 1387162"/>
              <a:gd name="connsiteX10" fmla="*/ 173627 w 4615749"/>
              <a:gd name="connsiteY10" fmla="*/ 555533 h 1387162"/>
              <a:gd name="connsiteX11" fmla="*/ 173627 w 4615749"/>
              <a:gd name="connsiteY11" fmla="*/ 73131 h 1387162"/>
              <a:gd name="connsiteX12" fmla="*/ 246758 w 4615749"/>
              <a:gd name="connsiteY12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15749" h="1387162">
                <a:moveTo>
                  <a:pt x="246758" y="0"/>
                </a:moveTo>
                <a:lnTo>
                  <a:pt x="4615749" y="0"/>
                </a:lnTo>
                <a:lnTo>
                  <a:pt x="4465815" y="869002"/>
                </a:lnTo>
                <a:lnTo>
                  <a:pt x="4587344" y="869002"/>
                </a:lnTo>
                <a:lnTo>
                  <a:pt x="4495978" y="1387162"/>
                </a:lnTo>
                <a:lnTo>
                  <a:pt x="246758" y="1387162"/>
                </a:lnTo>
                <a:cubicBezTo>
                  <a:pt x="206369" y="1387162"/>
                  <a:pt x="173627" y="1354420"/>
                  <a:pt x="173627" y="1314031"/>
                </a:cubicBezTo>
                <a:lnTo>
                  <a:pt x="173627" y="831632"/>
                </a:lnTo>
                <a:lnTo>
                  <a:pt x="32255" y="749636"/>
                </a:lnTo>
                <a:cubicBezTo>
                  <a:pt x="-10752" y="724692"/>
                  <a:pt x="-10752" y="662472"/>
                  <a:pt x="32255" y="637528"/>
                </a:cubicBezTo>
                <a:lnTo>
                  <a:pt x="173627" y="555533"/>
                </a:lnTo>
                <a:lnTo>
                  <a:pt x="173627" y="73131"/>
                </a:lnTo>
                <a:cubicBezTo>
                  <a:pt x="173627" y="32742"/>
                  <a:pt x="206369" y="0"/>
                  <a:pt x="24675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E07F3B05-069E-4561-B50E-69B23926D45C}"/>
              </a:ext>
            </a:extLst>
          </p:cNvPr>
          <p:cNvSpPr/>
          <p:nvPr/>
        </p:nvSpPr>
        <p:spPr>
          <a:xfrm>
            <a:off x="10019817" y="1216338"/>
            <a:ext cx="1367626" cy="1387162"/>
          </a:xfrm>
          <a:custGeom>
            <a:avLst/>
            <a:gdLst>
              <a:gd name="connsiteX0" fmla="*/ 308805 w 1367626"/>
              <a:gd name="connsiteY0" fmla="*/ 0 h 1387162"/>
              <a:gd name="connsiteX1" fmla="*/ 1294495 w 1367626"/>
              <a:gd name="connsiteY1" fmla="*/ 0 h 1387162"/>
              <a:gd name="connsiteX2" fmla="*/ 1367626 w 1367626"/>
              <a:gd name="connsiteY2" fmla="*/ 73131 h 1387162"/>
              <a:gd name="connsiteX3" fmla="*/ 1367626 w 1367626"/>
              <a:gd name="connsiteY3" fmla="*/ 1314031 h 1387162"/>
              <a:gd name="connsiteX4" fmla="*/ 1294495 w 1367626"/>
              <a:gd name="connsiteY4" fmla="*/ 1387162 h 1387162"/>
              <a:gd name="connsiteX5" fmla="*/ 0 w 1367626"/>
              <a:gd name="connsiteY5" fmla="*/ 1387162 h 1387162"/>
              <a:gd name="connsiteX6" fmla="*/ 297645 w 1367626"/>
              <a:gd name="connsiteY6" fmla="*/ 827747 h 1387162"/>
              <a:gd name="connsiteX7" fmla="*/ 323681 w 1367626"/>
              <a:gd name="connsiteY7" fmla="*/ 781053 h 1387162"/>
              <a:gd name="connsiteX8" fmla="*/ 174045 w 1367626"/>
              <a:gd name="connsiteY8" fmla="*/ 781053 h 1387162"/>
              <a:gd name="connsiteX9" fmla="*/ 308805 w 1367626"/>
              <a:gd name="connsiteY9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67626" h="1387162">
                <a:moveTo>
                  <a:pt x="308805" y="0"/>
                </a:moveTo>
                <a:lnTo>
                  <a:pt x="1294495" y="0"/>
                </a:lnTo>
                <a:cubicBezTo>
                  <a:pt x="1334884" y="0"/>
                  <a:pt x="1367626" y="32742"/>
                  <a:pt x="1367626" y="73131"/>
                </a:cubicBezTo>
                <a:lnTo>
                  <a:pt x="1367626" y="1314031"/>
                </a:lnTo>
                <a:cubicBezTo>
                  <a:pt x="1367626" y="1354420"/>
                  <a:pt x="1334884" y="1387162"/>
                  <a:pt x="1294495" y="1387162"/>
                </a:cubicBezTo>
                <a:lnTo>
                  <a:pt x="0" y="1387162"/>
                </a:lnTo>
                <a:lnTo>
                  <a:pt x="297645" y="827747"/>
                </a:lnTo>
                <a:lnTo>
                  <a:pt x="323681" y="781053"/>
                </a:lnTo>
                <a:lnTo>
                  <a:pt x="174045" y="781053"/>
                </a:lnTo>
                <a:lnTo>
                  <a:pt x="30880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B1D8BDF5-10C2-4026-9792-A5AFFED78A4F}"/>
              </a:ext>
            </a:extLst>
          </p:cNvPr>
          <p:cNvSpPr txBox="1"/>
          <p:nvPr/>
        </p:nvSpPr>
        <p:spPr>
          <a:xfrm>
            <a:off x="10366700" y="1563027"/>
            <a:ext cx="817160" cy="15696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D09F74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1</a:t>
            </a: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solidFill>
                <a:srgbClr val="D09F74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4" name="稿定PPT-6-4">
            <a:extLst>
              <a:ext uri="{FF2B5EF4-FFF2-40B4-BE49-F238E27FC236}">
                <a16:creationId xmlns:a16="http://schemas.microsoft.com/office/drawing/2014/main" id="{F9A78B2C-9870-41BB-B50A-6F76A4F81610}"/>
              </a:ext>
            </a:extLst>
          </p:cNvPr>
          <p:cNvSpPr txBox="1"/>
          <p:nvPr/>
        </p:nvSpPr>
        <p:spPr>
          <a:xfrm>
            <a:off x="5909403" y="1468372"/>
            <a:ext cx="2402261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55" name="稿定PPT-10-2">
            <a:extLst>
              <a:ext uri="{FF2B5EF4-FFF2-40B4-BE49-F238E27FC236}">
                <a16:creationId xmlns:a16="http://schemas.microsoft.com/office/drawing/2014/main" id="{54C1D63F-6529-4DC9-BF87-2E196C5EEEC2}"/>
              </a:ext>
            </a:extLst>
          </p:cNvPr>
          <p:cNvSpPr txBox="1"/>
          <p:nvPr/>
        </p:nvSpPr>
        <p:spPr>
          <a:xfrm>
            <a:off x="5909403" y="1785990"/>
            <a:ext cx="3685423" cy="6176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algn="just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</a:t>
            </a:r>
          </a:p>
        </p:txBody>
      </p:sp>
      <p:sp>
        <p:nvSpPr>
          <p:cNvPr id="58" name="椭圆 57">
            <a:extLst>
              <a:ext uri="{FF2B5EF4-FFF2-40B4-BE49-F238E27FC236}">
                <a16:creationId xmlns:a16="http://schemas.microsoft.com/office/drawing/2014/main" id="{5341E42F-3340-4898-BB1E-343823391569}"/>
              </a:ext>
            </a:extLst>
          </p:cNvPr>
          <p:cNvSpPr/>
          <p:nvPr/>
        </p:nvSpPr>
        <p:spPr>
          <a:xfrm>
            <a:off x="4899055" y="1752853"/>
            <a:ext cx="314132" cy="31413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6B8CA8F8-6A22-404A-A8AE-DEE6182537B5}"/>
              </a:ext>
            </a:extLst>
          </p:cNvPr>
          <p:cNvSpPr/>
          <p:nvPr/>
        </p:nvSpPr>
        <p:spPr>
          <a:xfrm>
            <a:off x="4984195" y="1837993"/>
            <a:ext cx="143852" cy="14385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BF9ADC91-B4BD-4187-8D48-3752F79D4413}"/>
              </a:ext>
            </a:extLst>
          </p:cNvPr>
          <p:cNvSpPr/>
          <p:nvPr/>
        </p:nvSpPr>
        <p:spPr>
          <a:xfrm>
            <a:off x="10445445" y="2981019"/>
            <a:ext cx="367649" cy="1387162"/>
          </a:xfrm>
          <a:custGeom>
            <a:avLst/>
            <a:gdLst>
              <a:gd name="connsiteX0" fmla="*/ 149934 w 367649"/>
              <a:gd name="connsiteY0" fmla="*/ 0 h 1387162"/>
              <a:gd name="connsiteX1" fmla="*/ 352773 w 367649"/>
              <a:gd name="connsiteY1" fmla="*/ 0 h 1387162"/>
              <a:gd name="connsiteX2" fmla="*/ 218013 w 367649"/>
              <a:gd name="connsiteY2" fmla="*/ 781053 h 1387162"/>
              <a:gd name="connsiteX3" fmla="*/ 367649 w 367649"/>
              <a:gd name="connsiteY3" fmla="*/ 781053 h 1387162"/>
              <a:gd name="connsiteX4" fmla="*/ 341613 w 367649"/>
              <a:gd name="connsiteY4" fmla="*/ 827747 h 1387162"/>
              <a:gd name="connsiteX5" fmla="*/ 43968 w 367649"/>
              <a:gd name="connsiteY5" fmla="*/ 1387162 h 1387162"/>
              <a:gd name="connsiteX6" fmla="*/ 30163 w 367649"/>
              <a:gd name="connsiteY6" fmla="*/ 1387162 h 1387162"/>
              <a:gd name="connsiteX7" fmla="*/ 121529 w 367649"/>
              <a:gd name="connsiteY7" fmla="*/ 869002 h 1387162"/>
              <a:gd name="connsiteX8" fmla="*/ 0 w 367649"/>
              <a:gd name="connsiteY8" fmla="*/ 869002 h 1387162"/>
              <a:gd name="connsiteX9" fmla="*/ 149934 w 367649"/>
              <a:gd name="connsiteY9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649" h="1387162">
                <a:moveTo>
                  <a:pt x="149934" y="0"/>
                </a:moveTo>
                <a:lnTo>
                  <a:pt x="352773" y="0"/>
                </a:lnTo>
                <a:lnTo>
                  <a:pt x="218013" y="781053"/>
                </a:lnTo>
                <a:lnTo>
                  <a:pt x="367649" y="781053"/>
                </a:lnTo>
                <a:lnTo>
                  <a:pt x="341613" y="827747"/>
                </a:lnTo>
                <a:lnTo>
                  <a:pt x="43968" y="1387162"/>
                </a:lnTo>
                <a:lnTo>
                  <a:pt x="30163" y="1387162"/>
                </a:lnTo>
                <a:lnTo>
                  <a:pt x="121529" y="869002"/>
                </a:lnTo>
                <a:lnTo>
                  <a:pt x="0" y="869002"/>
                </a:lnTo>
                <a:lnTo>
                  <a:pt x="149934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6" name="任意多边形: 形状 75">
            <a:extLst>
              <a:ext uri="{FF2B5EF4-FFF2-40B4-BE49-F238E27FC236}">
                <a16:creationId xmlns:a16="http://schemas.microsoft.com/office/drawing/2014/main" id="{E0EB8635-FFDD-4498-85F0-89ADF8C38468}"/>
              </a:ext>
            </a:extLst>
          </p:cNvPr>
          <p:cNvSpPr/>
          <p:nvPr/>
        </p:nvSpPr>
        <p:spPr>
          <a:xfrm>
            <a:off x="5979629" y="2981019"/>
            <a:ext cx="4615749" cy="1387162"/>
          </a:xfrm>
          <a:custGeom>
            <a:avLst/>
            <a:gdLst>
              <a:gd name="connsiteX0" fmla="*/ 246758 w 4615749"/>
              <a:gd name="connsiteY0" fmla="*/ 0 h 1387162"/>
              <a:gd name="connsiteX1" fmla="*/ 4615749 w 4615749"/>
              <a:gd name="connsiteY1" fmla="*/ 0 h 1387162"/>
              <a:gd name="connsiteX2" fmla="*/ 4465815 w 4615749"/>
              <a:gd name="connsiteY2" fmla="*/ 869002 h 1387162"/>
              <a:gd name="connsiteX3" fmla="*/ 4587344 w 4615749"/>
              <a:gd name="connsiteY3" fmla="*/ 869002 h 1387162"/>
              <a:gd name="connsiteX4" fmla="*/ 4495978 w 4615749"/>
              <a:gd name="connsiteY4" fmla="*/ 1387162 h 1387162"/>
              <a:gd name="connsiteX5" fmla="*/ 246758 w 4615749"/>
              <a:gd name="connsiteY5" fmla="*/ 1387162 h 1387162"/>
              <a:gd name="connsiteX6" fmla="*/ 173627 w 4615749"/>
              <a:gd name="connsiteY6" fmla="*/ 1314031 h 1387162"/>
              <a:gd name="connsiteX7" fmla="*/ 173627 w 4615749"/>
              <a:gd name="connsiteY7" fmla="*/ 831632 h 1387162"/>
              <a:gd name="connsiteX8" fmla="*/ 32255 w 4615749"/>
              <a:gd name="connsiteY8" fmla="*/ 749636 h 1387162"/>
              <a:gd name="connsiteX9" fmla="*/ 32255 w 4615749"/>
              <a:gd name="connsiteY9" fmla="*/ 637528 h 1387162"/>
              <a:gd name="connsiteX10" fmla="*/ 173627 w 4615749"/>
              <a:gd name="connsiteY10" fmla="*/ 555533 h 1387162"/>
              <a:gd name="connsiteX11" fmla="*/ 173627 w 4615749"/>
              <a:gd name="connsiteY11" fmla="*/ 73131 h 1387162"/>
              <a:gd name="connsiteX12" fmla="*/ 246758 w 4615749"/>
              <a:gd name="connsiteY12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15749" h="1387162">
                <a:moveTo>
                  <a:pt x="246758" y="0"/>
                </a:moveTo>
                <a:lnTo>
                  <a:pt x="4615749" y="0"/>
                </a:lnTo>
                <a:lnTo>
                  <a:pt x="4465815" y="869002"/>
                </a:lnTo>
                <a:lnTo>
                  <a:pt x="4587344" y="869002"/>
                </a:lnTo>
                <a:lnTo>
                  <a:pt x="4495978" y="1387162"/>
                </a:lnTo>
                <a:lnTo>
                  <a:pt x="246758" y="1387162"/>
                </a:lnTo>
                <a:cubicBezTo>
                  <a:pt x="206369" y="1387162"/>
                  <a:pt x="173627" y="1354420"/>
                  <a:pt x="173627" y="1314031"/>
                </a:cubicBezTo>
                <a:lnTo>
                  <a:pt x="173627" y="831632"/>
                </a:lnTo>
                <a:lnTo>
                  <a:pt x="32255" y="749636"/>
                </a:lnTo>
                <a:cubicBezTo>
                  <a:pt x="-10752" y="724692"/>
                  <a:pt x="-10752" y="662472"/>
                  <a:pt x="32255" y="637528"/>
                </a:cubicBezTo>
                <a:lnTo>
                  <a:pt x="173627" y="555533"/>
                </a:lnTo>
                <a:lnTo>
                  <a:pt x="173627" y="73131"/>
                </a:lnTo>
                <a:cubicBezTo>
                  <a:pt x="173627" y="32742"/>
                  <a:pt x="206369" y="0"/>
                  <a:pt x="24675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7" name="任意多边形: 形状 76">
            <a:extLst>
              <a:ext uri="{FF2B5EF4-FFF2-40B4-BE49-F238E27FC236}">
                <a16:creationId xmlns:a16="http://schemas.microsoft.com/office/drawing/2014/main" id="{B8A0E9AC-8E08-426A-99CF-47579144BAEC}"/>
              </a:ext>
            </a:extLst>
          </p:cNvPr>
          <p:cNvSpPr/>
          <p:nvPr/>
        </p:nvSpPr>
        <p:spPr>
          <a:xfrm>
            <a:off x="10489412" y="2981019"/>
            <a:ext cx="1367626" cy="1387162"/>
          </a:xfrm>
          <a:custGeom>
            <a:avLst/>
            <a:gdLst>
              <a:gd name="connsiteX0" fmla="*/ 308805 w 1367626"/>
              <a:gd name="connsiteY0" fmla="*/ 0 h 1387162"/>
              <a:gd name="connsiteX1" fmla="*/ 1294495 w 1367626"/>
              <a:gd name="connsiteY1" fmla="*/ 0 h 1387162"/>
              <a:gd name="connsiteX2" fmla="*/ 1367626 w 1367626"/>
              <a:gd name="connsiteY2" fmla="*/ 73131 h 1387162"/>
              <a:gd name="connsiteX3" fmla="*/ 1367626 w 1367626"/>
              <a:gd name="connsiteY3" fmla="*/ 1314031 h 1387162"/>
              <a:gd name="connsiteX4" fmla="*/ 1294495 w 1367626"/>
              <a:gd name="connsiteY4" fmla="*/ 1387162 h 1387162"/>
              <a:gd name="connsiteX5" fmla="*/ 0 w 1367626"/>
              <a:gd name="connsiteY5" fmla="*/ 1387162 h 1387162"/>
              <a:gd name="connsiteX6" fmla="*/ 297645 w 1367626"/>
              <a:gd name="connsiteY6" fmla="*/ 827747 h 1387162"/>
              <a:gd name="connsiteX7" fmla="*/ 323681 w 1367626"/>
              <a:gd name="connsiteY7" fmla="*/ 781053 h 1387162"/>
              <a:gd name="connsiteX8" fmla="*/ 174045 w 1367626"/>
              <a:gd name="connsiteY8" fmla="*/ 781053 h 1387162"/>
              <a:gd name="connsiteX9" fmla="*/ 308805 w 1367626"/>
              <a:gd name="connsiteY9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67626" h="1387162">
                <a:moveTo>
                  <a:pt x="308805" y="0"/>
                </a:moveTo>
                <a:lnTo>
                  <a:pt x="1294495" y="0"/>
                </a:lnTo>
                <a:cubicBezTo>
                  <a:pt x="1334884" y="0"/>
                  <a:pt x="1367626" y="32742"/>
                  <a:pt x="1367626" y="73131"/>
                </a:cubicBezTo>
                <a:lnTo>
                  <a:pt x="1367626" y="1314031"/>
                </a:lnTo>
                <a:cubicBezTo>
                  <a:pt x="1367626" y="1354420"/>
                  <a:pt x="1334884" y="1387162"/>
                  <a:pt x="1294495" y="1387162"/>
                </a:cubicBezTo>
                <a:lnTo>
                  <a:pt x="0" y="1387162"/>
                </a:lnTo>
                <a:lnTo>
                  <a:pt x="297645" y="827747"/>
                </a:lnTo>
                <a:lnTo>
                  <a:pt x="323681" y="781053"/>
                </a:lnTo>
                <a:lnTo>
                  <a:pt x="174045" y="781053"/>
                </a:lnTo>
                <a:lnTo>
                  <a:pt x="30880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3D991843-534C-48DA-9B4C-16321C6F92CE}"/>
              </a:ext>
            </a:extLst>
          </p:cNvPr>
          <p:cNvSpPr txBox="1"/>
          <p:nvPr/>
        </p:nvSpPr>
        <p:spPr>
          <a:xfrm>
            <a:off x="10836295" y="3327708"/>
            <a:ext cx="817160" cy="15696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D09F74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2</a:t>
            </a: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solidFill>
                <a:srgbClr val="D09F74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0" name="稿定PPT-6-4">
            <a:extLst>
              <a:ext uri="{FF2B5EF4-FFF2-40B4-BE49-F238E27FC236}">
                <a16:creationId xmlns:a16="http://schemas.microsoft.com/office/drawing/2014/main" id="{4A287A52-3885-476B-9EDF-FC5350BC04FA}"/>
              </a:ext>
            </a:extLst>
          </p:cNvPr>
          <p:cNvSpPr txBox="1"/>
          <p:nvPr/>
        </p:nvSpPr>
        <p:spPr>
          <a:xfrm>
            <a:off x="6378998" y="3233053"/>
            <a:ext cx="2402261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81" name="稿定PPT-10-2">
            <a:extLst>
              <a:ext uri="{FF2B5EF4-FFF2-40B4-BE49-F238E27FC236}">
                <a16:creationId xmlns:a16="http://schemas.microsoft.com/office/drawing/2014/main" id="{E5A2C390-85F0-4515-8600-925E61271914}"/>
              </a:ext>
            </a:extLst>
          </p:cNvPr>
          <p:cNvSpPr txBox="1"/>
          <p:nvPr/>
        </p:nvSpPr>
        <p:spPr>
          <a:xfrm>
            <a:off x="6378998" y="3550671"/>
            <a:ext cx="3685423" cy="6176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algn="just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</a:t>
            </a:r>
          </a:p>
        </p:txBody>
      </p:sp>
      <p:sp>
        <p:nvSpPr>
          <p:cNvPr id="91" name="椭圆 90">
            <a:extLst>
              <a:ext uri="{FF2B5EF4-FFF2-40B4-BE49-F238E27FC236}">
                <a16:creationId xmlns:a16="http://schemas.microsoft.com/office/drawing/2014/main" id="{927140A1-0A29-4BBD-B5BA-5FC5A6F56156}"/>
              </a:ext>
            </a:extLst>
          </p:cNvPr>
          <p:cNvSpPr/>
          <p:nvPr/>
        </p:nvSpPr>
        <p:spPr>
          <a:xfrm>
            <a:off x="5399316" y="3517534"/>
            <a:ext cx="314132" cy="31413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2" name="椭圆 91">
            <a:extLst>
              <a:ext uri="{FF2B5EF4-FFF2-40B4-BE49-F238E27FC236}">
                <a16:creationId xmlns:a16="http://schemas.microsoft.com/office/drawing/2014/main" id="{2419B27F-D274-42E0-8409-51FBCC7022CB}"/>
              </a:ext>
            </a:extLst>
          </p:cNvPr>
          <p:cNvSpPr/>
          <p:nvPr/>
        </p:nvSpPr>
        <p:spPr>
          <a:xfrm>
            <a:off x="5484456" y="3602674"/>
            <a:ext cx="143852" cy="14385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3" name="任意多边形: 形状 82">
            <a:extLst>
              <a:ext uri="{FF2B5EF4-FFF2-40B4-BE49-F238E27FC236}">
                <a16:creationId xmlns:a16="http://schemas.microsoft.com/office/drawing/2014/main" id="{61FBD5BE-116E-4DAA-860E-F5A826D2587F}"/>
              </a:ext>
            </a:extLst>
          </p:cNvPr>
          <p:cNvSpPr/>
          <p:nvPr/>
        </p:nvSpPr>
        <p:spPr>
          <a:xfrm>
            <a:off x="9975850" y="4745699"/>
            <a:ext cx="367649" cy="1387162"/>
          </a:xfrm>
          <a:custGeom>
            <a:avLst/>
            <a:gdLst>
              <a:gd name="connsiteX0" fmla="*/ 149934 w 367649"/>
              <a:gd name="connsiteY0" fmla="*/ 0 h 1387162"/>
              <a:gd name="connsiteX1" fmla="*/ 352773 w 367649"/>
              <a:gd name="connsiteY1" fmla="*/ 0 h 1387162"/>
              <a:gd name="connsiteX2" fmla="*/ 218013 w 367649"/>
              <a:gd name="connsiteY2" fmla="*/ 781053 h 1387162"/>
              <a:gd name="connsiteX3" fmla="*/ 367649 w 367649"/>
              <a:gd name="connsiteY3" fmla="*/ 781053 h 1387162"/>
              <a:gd name="connsiteX4" fmla="*/ 341613 w 367649"/>
              <a:gd name="connsiteY4" fmla="*/ 827747 h 1387162"/>
              <a:gd name="connsiteX5" fmla="*/ 43968 w 367649"/>
              <a:gd name="connsiteY5" fmla="*/ 1387162 h 1387162"/>
              <a:gd name="connsiteX6" fmla="*/ 30163 w 367649"/>
              <a:gd name="connsiteY6" fmla="*/ 1387162 h 1387162"/>
              <a:gd name="connsiteX7" fmla="*/ 121529 w 367649"/>
              <a:gd name="connsiteY7" fmla="*/ 869002 h 1387162"/>
              <a:gd name="connsiteX8" fmla="*/ 0 w 367649"/>
              <a:gd name="connsiteY8" fmla="*/ 869002 h 1387162"/>
              <a:gd name="connsiteX9" fmla="*/ 149934 w 367649"/>
              <a:gd name="connsiteY9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649" h="1387162">
                <a:moveTo>
                  <a:pt x="149934" y="0"/>
                </a:moveTo>
                <a:lnTo>
                  <a:pt x="352773" y="0"/>
                </a:lnTo>
                <a:lnTo>
                  <a:pt x="218013" y="781053"/>
                </a:lnTo>
                <a:lnTo>
                  <a:pt x="367649" y="781053"/>
                </a:lnTo>
                <a:lnTo>
                  <a:pt x="341613" y="827747"/>
                </a:lnTo>
                <a:lnTo>
                  <a:pt x="43968" y="1387162"/>
                </a:lnTo>
                <a:lnTo>
                  <a:pt x="30163" y="1387162"/>
                </a:lnTo>
                <a:lnTo>
                  <a:pt x="121529" y="869002"/>
                </a:lnTo>
                <a:lnTo>
                  <a:pt x="0" y="869002"/>
                </a:lnTo>
                <a:lnTo>
                  <a:pt x="149934" y="0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4" name="任意多边形: 形状 83">
            <a:extLst>
              <a:ext uri="{FF2B5EF4-FFF2-40B4-BE49-F238E27FC236}">
                <a16:creationId xmlns:a16="http://schemas.microsoft.com/office/drawing/2014/main" id="{6B3EFD8C-27B7-43C8-AB0E-07F0739A6C0B}"/>
              </a:ext>
            </a:extLst>
          </p:cNvPr>
          <p:cNvSpPr/>
          <p:nvPr/>
        </p:nvSpPr>
        <p:spPr>
          <a:xfrm>
            <a:off x="5510034" y="4745699"/>
            <a:ext cx="4615749" cy="1387162"/>
          </a:xfrm>
          <a:custGeom>
            <a:avLst/>
            <a:gdLst>
              <a:gd name="connsiteX0" fmla="*/ 246758 w 4615749"/>
              <a:gd name="connsiteY0" fmla="*/ 0 h 1387162"/>
              <a:gd name="connsiteX1" fmla="*/ 4615749 w 4615749"/>
              <a:gd name="connsiteY1" fmla="*/ 0 h 1387162"/>
              <a:gd name="connsiteX2" fmla="*/ 4465815 w 4615749"/>
              <a:gd name="connsiteY2" fmla="*/ 869002 h 1387162"/>
              <a:gd name="connsiteX3" fmla="*/ 4587344 w 4615749"/>
              <a:gd name="connsiteY3" fmla="*/ 869002 h 1387162"/>
              <a:gd name="connsiteX4" fmla="*/ 4495978 w 4615749"/>
              <a:gd name="connsiteY4" fmla="*/ 1387162 h 1387162"/>
              <a:gd name="connsiteX5" fmla="*/ 246758 w 4615749"/>
              <a:gd name="connsiteY5" fmla="*/ 1387162 h 1387162"/>
              <a:gd name="connsiteX6" fmla="*/ 173627 w 4615749"/>
              <a:gd name="connsiteY6" fmla="*/ 1314031 h 1387162"/>
              <a:gd name="connsiteX7" fmla="*/ 173627 w 4615749"/>
              <a:gd name="connsiteY7" fmla="*/ 831632 h 1387162"/>
              <a:gd name="connsiteX8" fmla="*/ 32255 w 4615749"/>
              <a:gd name="connsiteY8" fmla="*/ 749636 h 1387162"/>
              <a:gd name="connsiteX9" fmla="*/ 32255 w 4615749"/>
              <a:gd name="connsiteY9" fmla="*/ 637528 h 1387162"/>
              <a:gd name="connsiteX10" fmla="*/ 173627 w 4615749"/>
              <a:gd name="connsiteY10" fmla="*/ 555533 h 1387162"/>
              <a:gd name="connsiteX11" fmla="*/ 173627 w 4615749"/>
              <a:gd name="connsiteY11" fmla="*/ 73131 h 1387162"/>
              <a:gd name="connsiteX12" fmla="*/ 246758 w 4615749"/>
              <a:gd name="connsiteY12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15749" h="1387162">
                <a:moveTo>
                  <a:pt x="246758" y="0"/>
                </a:moveTo>
                <a:lnTo>
                  <a:pt x="4615749" y="0"/>
                </a:lnTo>
                <a:lnTo>
                  <a:pt x="4465815" y="869002"/>
                </a:lnTo>
                <a:lnTo>
                  <a:pt x="4587344" y="869002"/>
                </a:lnTo>
                <a:lnTo>
                  <a:pt x="4495978" y="1387162"/>
                </a:lnTo>
                <a:lnTo>
                  <a:pt x="246758" y="1387162"/>
                </a:lnTo>
                <a:cubicBezTo>
                  <a:pt x="206369" y="1387162"/>
                  <a:pt x="173627" y="1354420"/>
                  <a:pt x="173627" y="1314031"/>
                </a:cubicBezTo>
                <a:lnTo>
                  <a:pt x="173627" y="831632"/>
                </a:lnTo>
                <a:lnTo>
                  <a:pt x="32255" y="749636"/>
                </a:lnTo>
                <a:cubicBezTo>
                  <a:pt x="-10752" y="724692"/>
                  <a:pt x="-10752" y="662472"/>
                  <a:pt x="32255" y="637528"/>
                </a:cubicBezTo>
                <a:lnTo>
                  <a:pt x="173627" y="555533"/>
                </a:lnTo>
                <a:lnTo>
                  <a:pt x="173627" y="73131"/>
                </a:lnTo>
                <a:cubicBezTo>
                  <a:pt x="173627" y="32742"/>
                  <a:pt x="206369" y="0"/>
                  <a:pt x="24675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5" name="任意多边形: 形状 84">
            <a:extLst>
              <a:ext uri="{FF2B5EF4-FFF2-40B4-BE49-F238E27FC236}">
                <a16:creationId xmlns:a16="http://schemas.microsoft.com/office/drawing/2014/main" id="{12BED670-8DD6-48F6-AA31-5841B427F044}"/>
              </a:ext>
            </a:extLst>
          </p:cNvPr>
          <p:cNvSpPr/>
          <p:nvPr/>
        </p:nvSpPr>
        <p:spPr>
          <a:xfrm>
            <a:off x="10019817" y="4745699"/>
            <a:ext cx="1367626" cy="1387162"/>
          </a:xfrm>
          <a:custGeom>
            <a:avLst/>
            <a:gdLst>
              <a:gd name="connsiteX0" fmla="*/ 308805 w 1367626"/>
              <a:gd name="connsiteY0" fmla="*/ 0 h 1387162"/>
              <a:gd name="connsiteX1" fmla="*/ 1294495 w 1367626"/>
              <a:gd name="connsiteY1" fmla="*/ 0 h 1387162"/>
              <a:gd name="connsiteX2" fmla="*/ 1367626 w 1367626"/>
              <a:gd name="connsiteY2" fmla="*/ 73131 h 1387162"/>
              <a:gd name="connsiteX3" fmla="*/ 1367626 w 1367626"/>
              <a:gd name="connsiteY3" fmla="*/ 1314031 h 1387162"/>
              <a:gd name="connsiteX4" fmla="*/ 1294495 w 1367626"/>
              <a:gd name="connsiteY4" fmla="*/ 1387162 h 1387162"/>
              <a:gd name="connsiteX5" fmla="*/ 0 w 1367626"/>
              <a:gd name="connsiteY5" fmla="*/ 1387162 h 1387162"/>
              <a:gd name="connsiteX6" fmla="*/ 297645 w 1367626"/>
              <a:gd name="connsiteY6" fmla="*/ 827747 h 1387162"/>
              <a:gd name="connsiteX7" fmla="*/ 323681 w 1367626"/>
              <a:gd name="connsiteY7" fmla="*/ 781053 h 1387162"/>
              <a:gd name="connsiteX8" fmla="*/ 174045 w 1367626"/>
              <a:gd name="connsiteY8" fmla="*/ 781053 h 1387162"/>
              <a:gd name="connsiteX9" fmla="*/ 308805 w 1367626"/>
              <a:gd name="connsiteY9" fmla="*/ 0 h 138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67626" h="1387162">
                <a:moveTo>
                  <a:pt x="308805" y="0"/>
                </a:moveTo>
                <a:lnTo>
                  <a:pt x="1294495" y="0"/>
                </a:lnTo>
                <a:cubicBezTo>
                  <a:pt x="1334884" y="0"/>
                  <a:pt x="1367626" y="32742"/>
                  <a:pt x="1367626" y="73131"/>
                </a:cubicBezTo>
                <a:lnTo>
                  <a:pt x="1367626" y="1314031"/>
                </a:lnTo>
                <a:cubicBezTo>
                  <a:pt x="1367626" y="1354420"/>
                  <a:pt x="1334884" y="1387162"/>
                  <a:pt x="1294495" y="1387162"/>
                </a:cubicBezTo>
                <a:lnTo>
                  <a:pt x="0" y="1387162"/>
                </a:lnTo>
                <a:lnTo>
                  <a:pt x="297645" y="827747"/>
                </a:lnTo>
                <a:lnTo>
                  <a:pt x="323681" y="781053"/>
                </a:lnTo>
                <a:lnTo>
                  <a:pt x="174045" y="781053"/>
                </a:lnTo>
                <a:lnTo>
                  <a:pt x="30880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4C0AFCD4-583D-46AE-B509-054679E9617F}"/>
              </a:ext>
            </a:extLst>
          </p:cNvPr>
          <p:cNvSpPr txBox="1"/>
          <p:nvPr/>
        </p:nvSpPr>
        <p:spPr>
          <a:xfrm>
            <a:off x="10325477" y="5092388"/>
            <a:ext cx="899606" cy="8309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D09F74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3</a:t>
            </a: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solidFill>
                <a:srgbClr val="D09F74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8" name="稿定PPT-6-4">
            <a:extLst>
              <a:ext uri="{FF2B5EF4-FFF2-40B4-BE49-F238E27FC236}">
                <a16:creationId xmlns:a16="http://schemas.microsoft.com/office/drawing/2014/main" id="{FF6FABCB-DFA6-43ED-ACFB-AB578F7BE165}"/>
              </a:ext>
            </a:extLst>
          </p:cNvPr>
          <p:cNvSpPr txBox="1"/>
          <p:nvPr/>
        </p:nvSpPr>
        <p:spPr>
          <a:xfrm>
            <a:off x="5909403" y="4997733"/>
            <a:ext cx="2402261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89" name="稿定PPT-10-2">
            <a:extLst>
              <a:ext uri="{FF2B5EF4-FFF2-40B4-BE49-F238E27FC236}">
                <a16:creationId xmlns:a16="http://schemas.microsoft.com/office/drawing/2014/main" id="{926539DA-12AA-46A7-A6A4-F350464B4324}"/>
              </a:ext>
            </a:extLst>
          </p:cNvPr>
          <p:cNvSpPr txBox="1"/>
          <p:nvPr/>
        </p:nvSpPr>
        <p:spPr>
          <a:xfrm>
            <a:off x="5909403" y="5315351"/>
            <a:ext cx="3685423" cy="6176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algn="just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</a:t>
            </a:r>
          </a:p>
        </p:txBody>
      </p:sp>
      <p:sp>
        <p:nvSpPr>
          <p:cNvPr id="94" name="椭圆 93">
            <a:extLst>
              <a:ext uri="{FF2B5EF4-FFF2-40B4-BE49-F238E27FC236}">
                <a16:creationId xmlns:a16="http://schemas.microsoft.com/office/drawing/2014/main" id="{725DA11E-14EC-4C3E-8C3C-38FA692045E8}"/>
              </a:ext>
            </a:extLst>
          </p:cNvPr>
          <p:cNvSpPr/>
          <p:nvPr/>
        </p:nvSpPr>
        <p:spPr>
          <a:xfrm>
            <a:off x="4899055" y="5282214"/>
            <a:ext cx="314132" cy="31413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5" name="椭圆 94">
            <a:extLst>
              <a:ext uri="{FF2B5EF4-FFF2-40B4-BE49-F238E27FC236}">
                <a16:creationId xmlns:a16="http://schemas.microsoft.com/office/drawing/2014/main" id="{408AD995-A3AA-4271-BFD6-5A0360FC28FB}"/>
              </a:ext>
            </a:extLst>
          </p:cNvPr>
          <p:cNvSpPr/>
          <p:nvPr/>
        </p:nvSpPr>
        <p:spPr>
          <a:xfrm>
            <a:off x="4984195" y="5367354"/>
            <a:ext cx="143852" cy="14385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102" name="图形 100">
            <a:extLst>
              <a:ext uri="{FF2B5EF4-FFF2-40B4-BE49-F238E27FC236}">
                <a16:creationId xmlns:a16="http://schemas.microsoft.com/office/drawing/2014/main" id="{51396049-F62C-4BBB-BE93-EBA0093364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26463" y="2569880"/>
            <a:ext cx="959763" cy="952265"/>
          </a:xfrm>
          <a:custGeom>
            <a:avLst/>
            <a:gdLst>
              <a:gd name="connsiteX0" fmla="*/ 0 w 959763"/>
              <a:gd name="connsiteY0" fmla="*/ 0 h 952265"/>
              <a:gd name="connsiteX1" fmla="*/ 959763 w 959763"/>
              <a:gd name="connsiteY1" fmla="*/ 0 h 952265"/>
              <a:gd name="connsiteX2" fmla="*/ 959763 w 959763"/>
              <a:gd name="connsiteY2" fmla="*/ 952265 h 952265"/>
              <a:gd name="connsiteX3" fmla="*/ 0 w 959763"/>
              <a:gd name="connsiteY3" fmla="*/ 952265 h 95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9763" h="952265">
                <a:moveTo>
                  <a:pt x="0" y="0"/>
                </a:moveTo>
                <a:lnTo>
                  <a:pt x="959763" y="0"/>
                </a:lnTo>
                <a:lnTo>
                  <a:pt x="959763" y="952265"/>
                </a:lnTo>
                <a:lnTo>
                  <a:pt x="0" y="952265"/>
                </a:lnTo>
                <a:close/>
              </a:path>
            </a:pathLst>
          </a:custGeom>
        </p:spPr>
      </p:pic>
      <p:sp>
        <p:nvSpPr>
          <p:cNvPr id="99" name="文本框 98">
            <a:extLst>
              <a:ext uri="{FF2B5EF4-FFF2-40B4-BE49-F238E27FC236}">
                <a16:creationId xmlns:a16="http://schemas.microsoft.com/office/drawing/2014/main" id="{3CAC07DD-9604-4EEC-921C-C6390609F713}"/>
              </a:ext>
            </a:extLst>
          </p:cNvPr>
          <p:cNvSpPr txBox="1"/>
          <p:nvPr/>
        </p:nvSpPr>
        <p:spPr>
          <a:xfrm>
            <a:off x="1751828" y="3883365"/>
            <a:ext cx="1509033" cy="7386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海量素材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持续更新</a:t>
            </a:r>
          </a:p>
        </p:txBody>
      </p: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6B533DE5-624C-434D-9351-848F3E5AF363}"/>
              </a:ext>
            </a:extLst>
          </p:cNvPr>
          <p:cNvCxnSpPr>
            <a:cxnSpLocks/>
          </p:cNvCxnSpPr>
          <p:nvPr/>
        </p:nvCxnSpPr>
        <p:spPr>
          <a:xfrm>
            <a:off x="1866082" y="3801805"/>
            <a:ext cx="12805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接连接符 104">
            <a:extLst>
              <a:ext uri="{FF2B5EF4-FFF2-40B4-BE49-F238E27FC236}">
                <a16:creationId xmlns:a16="http://schemas.microsoft.com/office/drawing/2014/main" id="{0C2180FD-BD80-43E8-B479-AE38E94D5C4A}"/>
              </a:ext>
            </a:extLst>
          </p:cNvPr>
          <p:cNvCxnSpPr>
            <a:cxnSpLocks/>
          </p:cNvCxnSpPr>
          <p:nvPr/>
        </p:nvCxnSpPr>
        <p:spPr>
          <a:xfrm>
            <a:off x="1866082" y="4694521"/>
            <a:ext cx="12805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稿定PPT-1">
            <a:extLst>
              <a:ext uri="{FF2B5EF4-FFF2-40B4-BE49-F238E27FC236}">
                <a16:creationId xmlns:a16="http://schemas.microsoft.com/office/drawing/2014/main" id="{B47BA674-66ED-4F83-808A-D937DADC0CF4}"/>
              </a:ext>
            </a:extLst>
          </p:cNvPr>
          <p:cNvSpPr txBox="1"/>
          <p:nvPr/>
        </p:nvSpPr>
        <p:spPr>
          <a:xfrm>
            <a:off x="827765" y="444513"/>
            <a:ext cx="3954935" cy="4431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海量素材持续更新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68" name="稿定PPT-2">
            <a:extLst>
              <a:ext uri="{FF2B5EF4-FFF2-40B4-BE49-F238E27FC236}">
                <a16:creationId xmlns:a16="http://schemas.microsoft.com/office/drawing/2014/main" id="{EFFA9694-4F48-47E7-B482-FE955C5D1527}"/>
              </a:ext>
            </a:extLst>
          </p:cNvPr>
          <p:cNvSpPr txBox="1"/>
          <p:nvPr/>
        </p:nvSpPr>
        <p:spPr>
          <a:xfrm>
            <a:off x="827765" y="829574"/>
            <a:ext cx="6181630" cy="2091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69" name="任意多边形: 形状 1">
            <a:extLst>
              <a:ext uri="{FF2B5EF4-FFF2-40B4-BE49-F238E27FC236}">
                <a16:creationId xmlns:a16="http://schemas.microsoft.com/office/drawing/2014/main" id="{8F969650-1634-499F-BC04-82241AFE49D1}"/>
              </a:ext>
            </a:extLst>
          </p:cNvPr>
          <p:cNvSpPr/>
          <p:nvPr/>
        </p:nvSpPr>
        <p:spPr>
          <a:xfrm>
            <a:off x="447823" y="554037"/>
            <a:ext cx="267291" cy="267292"/>
          </a:xfrm>
          <a:custGeom>
            <a:avLst/>
            <a:gdLst>
              <a:gd name="connsiteX0" fmla="*/ 111818 w 223634"/>
              <a:gd name="connsiteY0" fmla="*/ 168724 h 223635"/>
              <a:gd name="connsiteX1" fmla="*/ 111818 w 223634"/>
              <a:gd name="connsiteY1" fmla="*/ 168726 h 223635"/>
              <a:gd name="connsiteX2" fmla="*/ 111817 w 223634"/>
              <a:gd name="connsiteY2" fmla="*/ 168727 h 223635"/>
              <a:gd name="connsiteX3" fmla="*/ 23080 w 223634"/>
              <a:gd name="connsiteY3" fmla="*/ 68737 h 223635"/>
              <a:gd name="connsiteX4" fmla="*/ 43982 w 223634"/>
              <a:gd name="connsiteY4" fmla="*/ 80805 h 223635"/>
              <a:gd name="connsiteX5" fmla="*/ 38263 w 223634"/>
              <a:gd name="connsiteY5" fmla="*/ 90150 h 223635"/>
              <a:gd name="connsiteX6" fmla="*/ 45168 w 223634"/>
              <a:gd name="connsiteY6" fmla="*/ 178468 h 223635"/>
              <a:gd name="connsiteX7" fmla="*/ 163489 w 223634"/>
              <a:gd name="connsiteY7" fmla="*/ 163490 h 223635"/>
              <a:gd name="connsiteX8" fmla="*/ 171325 w 223634"/>
              <a:gd name="connsiteY8" fmla="*/ 154326 h 223635"/>
              <a:gd name="connsiteX9" fmla="*/ 192235 w 223634"/>
              <a:gd name="connsiteY9" fmla="*/ 166398 h 223635"/>
              <a:gd name="connsiteX10" fmla="*/ 180326 w 223634"/>
              <a:gd name="connsiteY10" fmla="*/ 180327 h 223635"/>
              <a:gd name="connsiteX11" fmla="*/ 23451 w 223634"/>
              <a:gd name="connsiteY11" fmla="*/ 200184 h 223635"/>
              <a:gd name="connsiteX12" fmla="*/ 14296 w 223634"/>
              <a:gd name="connsiteY12" fmla="*/ 83089 h 223635"/>
              <a:gd name="connsiteX13" fmla="*/ 111818 w 223634"/>
              <a:gd name="connsiteY13" fmla="*/ 54910 h 223635"/>
              <a:gd name="connsiteX14" fmla="*/ 168175 w 223634"/>
              <a:gd name="connsiteY14" fmla="*/ 111267 h 223635"/>
              <a:gd name="connsiteX15" fmla="*/ 168174 w 223634"/>
              <a:gd name="connsiteY15" fmla="*/ 112370 h 223635"/>
              <a:gd name="connsiteX16" fmla="*/ 116246 w 223634"/>
              <a:gd name="connsiteY16" fmla="*/ 146790 h 223635"/>
              <a:gd name="connsiteX17" fmla="*/ 111818 w 223634"/>
              <a:gd name="connsiteY17" fmla="*/ 168724 h 223635"/>
              <a:gd name="connsiteX18" fmla="*/ 107389 w 223634"/>
              <a:gd name="connsiteY18" fmla="*/ 146789 h 223635"/>
              <a:gd name="connsiteX19" fmla="*/ 55461 w 223634"/>
              <a:gd name="connsiteY19" fmla="*/ 112369 h 223635"/>
              <a:gd name="connsiteX20" fmla="*/ 55461 w 223634"/>
              <a:gd name="connsiteY20" fmla="*/ 111267 h 223635"/>
              <a:gd name="connsiteX21" fmla="*/ 111818 w 223634"/>
              <a:gd name="connsiteY21" fmla="*/ 54910 h 223635"/>
              <a:gd name="connsiteX22" fmla="*/ 146788 w 223634"/>
              <a:gd name="connsiteY22" fmla="*/ 239 h 223635"/>
              <a:gd name="connsiteX23" fmla="*/ 200183 w 223634"/>
              <a:gd name="connsiteY23" fmla="*/ 23452 h 223635"/>
              <a:gd name="connsiteX24" fmla="*/ 209338 w 223634"/>
              <a:gd name="connsiteY24" fmla="*/ 140547 h 223635"/>
              <a:gd name="connsiteX25" fmla="*/ 200554 w 223634"/>
              <a:gd name="connsiteY25" fmla="*/ 154899 h 223635"/>
              <a:gd name="connsiteX26" fmla="*/ 179652 w 223634"/>
              <a:gd name="connsiteY26" fmla="*/ 142831 h 223635"/>
              <a:gd name="connsiteX27" fmla="*/ 185372 w 223634"/>
              <a:gd name="connsiteY27" fmla="*/ 133487 h 223635"/>
              <a:gd name="connsiteX28" fmla="*/ 178467 w 223634"/>
              <a:gd name="connsiteY28" fmla="*/ 45169 h 223635"/>
              <a:gd name="connsiteX29" fmla="*/ 138193 w 223634"/>
              <a:gd name="connsiteY29" fmla="*/ 27661 h 223635"/>
              <a:gd name="connsiteX30" fmla="*/ 60145 w 223634"/>
              <a:gd name="connsiteY30" fmla="*/ 60146 h 223635"/>
              <a:gd name="connsiteX31" fmla="*/ 52309 w 223634"/>
              <a:gd name="connsiteY31" fmla="*/ 69310 h 223635"/>
              <a:gd name="connsiteX32" fmla="*/ 31399 w 223634"/>
              <a:gd name="connsiteY32" fmla="*/ 57238 h 223635"/>
              <a:gd name="connsiteX33" fmla="*/ 43308 w 223634"/>
              <a:gd name="connsiteY33" fmla="*/ 43309 h 223635"/>
              <a:gd name="connsiteX34" fmla="*/ 146788 w 223634"/>
              <a:gd name="connsiteY34" fmla="*/ 239 h 223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223634" h="223635">
                <a:moveTo>
                  <a:pt x="111818" y="168724"/>
                </a:moveTo>
                <a:lnTo>
                  <a:pt x="111818" y="168726"/>
                </a:lnTo>
                <a:lnTo>
                  <a:pt x="111817" y="168727"/>
                </a:lnTo>
                <a:close/>
                <a:moveTo>
                  <a:pt x="23080" y="68737"/>
                </a:moveTo>
                <a:lnTo>
                  <a:pt x="43982" y="80805"/>
                </a:lnTo>
                <a:lnTo>
                  <a:pt x="38263" y="90150"/>
                </a:lnTo>
                <a:cubicBezTo>
                  <a:pt x="22185" y="121915"/>
                  <a:pt x="23764" y="157065"/>
                  <a:pt x="45168" y="178468"/>
                </a:cubicBezTo>
                <a:cubicBezTo>
                  <a:pt x="73705" y="207005"/>
                  <a:pt x="126680" y="200300"/>
                  <a:pt x="163489" y="163490"/>
                </a:cubicBezTo>
                <a:lnTo>
                  <a:pt x="171325" y="154326"/>
                </a:lnTo>
                <a:lnTo>
                  <a:pt x="192235" y="166398"/>
                </a:lnTo>
                <a:lnTo>
                  <a:pt x="180326" y="180327"/>
                </a:lnTo>
                <a:cubicBezTo>
                  <a:pt x="131522" y="229130"/>
                  <a:pt x="61287" y="238021"/>
                  <a:pt x="23451" y="200184"/>
                </a:cubicBezTo>
                <a:cubicBezTo>
                  <a:pt x="-4927" y="171807"/>
                  <a:pt x="-7020" y="125206"/>
                  <a:pt x="14296" y="83089"/>
                </a:cubicBezTo>
                <a:close/>
                <a:moveTo>
                  <a:pt x="111818" y="54910"/>
                </a:moveTo>
                <a:cubicBezTo>
                  <a:pt x="111818" y="86035"/>
                  <a:pt x="137050" y="111267"/>
                  <a:pt x="168175" y="111267"/>
                </a:cubicBezTo>
                <a:cubicBezTo>
                  <a:pt x="168175" y="111635"/>
                  <a:pt x="168174" y="112002"/>
                  <a:pt x="168174" y="112370"/>
                </a:cubicBezTo>
                <a:cubicBezTo>
                  <a:pt x="144830" y="112370"/>
                  <a:pt x="124801" y="126563"/>
                  <a:pt x="116246" y="146790"/>
                </a:cubicBezTo>
                <a:lnTo>
                  <a:pt x="111818" y="168724"/>
                </a:lnTo>
                <a:lnTo>
                  <a:pt x="107389" y="146789"/>
                </a:lnTo>
                <a:cubicBezTo>
                  <a:pt x="98834" y="126562"/>
                  <a:pt x="78805" y="112369"/>
                  <a:pt x="55461" y="112369"/>
                </a:cubicBezTo>
                <a:lnTo>
                  <a:pt x="55461" y="111267"/>
                </a:lnTo>
                <a:cubicBezTo>
                  <a:pt x="86586" y="111267"/>
                  <a:pt x="111818" y="86035"/>
                  <a:pt x="111818" y="54910"/>
                </a:cubicBezTo>
                <a:close/>
                <a:moveTo>
                  <a:pt x="146788" y="239"/>
                </a:moveTo>
                <a:cubicBezTo>
                  <a:pt x="167250" y="1645"/>
                  <a:pt x="185995" y="9263"/>
                  <a:pt x="200183" y="23452"/>
                </a:cubicBezTo>
                <a:cubicBezTo>
                  <a:pt x="228561" y="51829"/>
                  <a:pt x="230654" y="98431"/>
                  <a:pt x="209338" y="140547"/>
                </a:cubicBezTo>
                <a:lnTo>
                  <a:pt x="200554" y="154899"/>
                </a:lnTo>
                <a:lnTo>
                  <a:pt x="179652" y="142831"/>
                </a:lnTo>
                <a:lnTo>
                  <a:pt x="185372" y="133487"/>
                </a:lnTo>
                <a:cubicBezTo>
                  <a:pt x="201449" y="101721"/>
                  <a:pt x="199870" y="66572"/>
                  <a:pt x="178467" y="45169"/>
                </a:cubicBezTo>
                <a:cubicBezTo>
                  <a:pt x="167765" y="34467"/>
                  <a:pt x="153627" y="28721"/>
                  <a:pt x="138193" y="27661"/>
                </a:cubicBezTo>
                <a:cubicBezTo>
                  <a:pt x="112471" y="25894"/>
                  <a:pt x="83151" y="37140"/>
                  <a:pt x="60145" y="60146"/>
                </a:cubicBezTo>
                <a:lnTo>
                  <a:pt x="52309" y="69310"/>
                </a:lnTo>
                <a:lnTo>
                  <a:pt x="31399" y="57238"/>
                </a:lnTo>
                <a:lnTo>
                  <a:pt x="43308" y="43309"/>
                </a:lnTo>
                <a:cubicBezTo>
                  <a:pt x="73811" y="12807"/>
                  <a:pt x="112684" y="-2104"/>
                  <a:pt x="146788" y="239"/>
                </a:cubicBezTo>
                <a:close/>
              </a:path>
            </a:pathLst>
          </a:custGeom>
          <a:gradFill>
            <a:gsLst>
              <a:gs pos="0">
                <a:schemeClr val="accent2"/>
              </a:gs>
              <a:gs pos="61000">
                <a:schemeClr val="accent3"/>
              </a:gs>
              <a:gs pos="100000">
                <a:schemeClr val="accent4"/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730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Line">
            <a:extLst>
              <a:ext uri="{FF2B5EF4-FFF2-40B4-BE49-F238E27FC236}">
                <a16:creationId xmlns:a16="http://schemas.microsoft.com/office/drawing/2014/main" id="{EB40E3B1-BE64-747D-3911-4DA44A2B0369}"/>
              </a:ext>
            </a:extLst>
          </p:cNvPr>
          <p:cNvSpPr/>
          <p:nvPr/>
        </p:nvSpPr>
        <p:spPr>
          <a:xfrm>
            <a:off x="3835948" y="2406579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7" name="稿定-9">
            <a:extLst>
              <a:ext uri="{FF2B5EF4-FFF2-40B4-BE49-F238E27FC236}">
                <a16:creationId xmlns:a16="http://schemas.microsoft.com/office/drawing/2014/main" id="{68C9DD31-4927-0633-C097-5F87C56816C2}"/>
              </a:ext>
            </a:extLst>
          </p:cNvPr>
          <p:cNvSpPr/>
          <p:nvPr/>
        </p:nvSpPr>
        <p:spPr>
          <a:xfrm flipH="1">
            <a:off x="3835947" y="258406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8" name="稿定-31">
            <a:extLst>
              <a:ext uri="{FF2B5EF4-FFF2-40B4-BE49-F238E27FC236}">
                <a16:creationId xmlns:a16="http://schemas.microsoft.com/office/drawing/2014/main" id="{8AB98B99-3B1D-A40B-F1E2-6AB329AD64CC}"/>
              </a:ext>
            </a:extLst>
          </p:cNvPr>
          <p:cNvSpPr/>
          <p:nvPr/>
        </p:nvSpPr>
        <p:spPr>
          <a:xfrm flipH="1">
            <a:off x="3912573" y="284979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9" name="稿定-9">
            <a:extLst>
              <a:ext uri="{FF2B5EF4-FFF2-40B4-BE49-F238E27FC236}">
                <a16:creationId xmlns:a16="http://schemas.microsoft.com/office/drawing/2014/main" id="{3B650DA5-7F1F-85CC-6C9B-F5B07A635E7B}"/>
              </a:ext>
            </a:extLst>
          </p:cNvPr>
          <p:cNvSpPr/>
          <p:nvPr/>
        </p:nvSpPr>
        <p:spPr>
          <a:xfrm flipH="1">
            <a:off x="3763034" y="2272966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0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0" name="稿定-9">
            <a:extLst>
              <a:ext uri="{FF2B5EF4-FFF2-40B4-BE49-F238E27FC236}">
                <a16:creationId xmlns:a16="http://schemas.microsoft.com/office/drawing/2014/main" id="{AD0F6616-9020-74F3-115B-48A6F172F146}"/>
              </a:ext>
            </a:extLst>
          </p:cNvPr>
          <p:cNvSpPr/>
          <p:nvPr/>
        </p:nvSpPr>
        <p:spPr>
          <a:xfrm flipH="1">
            <a:off x="3835947" y="461660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1" name="稿定-31">
            <a:extLst>
              <a:ext uri="{FF2B5EF4-FFF2-40B4-BE49-F238E27FC236}">
                <a16:creationId xmlns:a16="http://schemas.microsoft.com/office/drawing/2014/main" id="{E41EB168-5ECD-5872-E1D1-FDF28CD653EB}"/>
              </a:ext>
            </a:extLst>
          </p:cNvPr>
          <p:cNvSpPr/>
          <p:nvPr/>
        </p:nvSpPr>
        <p:spPr>
          <a:xfrm flipH="1">
            <a:off x="3912573" y="488234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2" name="稿定-9">
            <a:extLst>
              <a:ext uri="{FF2B5EF4-FFF2-40B4-BE49-F238E27FC236}">
                <a16:creationId xmlns:a16="http://schemas.microsoft.com/office/drawing/2014/main" id="{C4453B39-A0C7-349F-F5C0-0F88E2C63FF7}"/>
              </a:ext>
            </a:extLst>
          </p:cNvPr>
          <p:cNvSpPr/>
          <p:nvPr/>
        </p:nvSpPr>
        <p:spPr>
          <a:xfrm flipH="1">
            <a:off x="3763034" y="4315557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0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3" name="Line">
            <a:extLst>
              <a:ext uri="{FF2B5EF4-FFF2-40B4-BE49-F238E27FC236}">
                <a16:creationId xmlns:a16="http://schemas.microsoft.com/office/drawing/2014/main" id="{CCFD9FF6-CFAC-FF23-7DBB-B71358712B4D}"/>
              </a:ext>
            </a:extLst>
          </p:cNvPr>
          <p:cNvSpPr/>
          <p:nvPr/>
        </p:nvSpPr>
        <p:spPr>
          <a:xfrm>
            <a:off x="5818085" y="2406579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74" name="稿定-9">
            <a:extLst>
              <a:ext uri="{FF2B5EF4-FFF2-40B4-BE49-F238E27FC236}">
                <a16:creationId xmlns:a16="http://schemas.microsoft.com/office/drawing/2014/main" id="{B7A39F41-8F1D-3C1A-D727-9721F4709DC7}"/>
              </a:ext>
            </a:extLst>
          </p:cNvPr>
          <p:cNvSpPr/>
          <p:nvPr/>
        </p:nvSpPr>
        <p:spPr>
          <a:xfrm flipH="1">
            <a:off x="5818084" y="258406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5" name="稿定-31">
            <a:extLst>
              <a:ext uri="{FF2B5EF4-FFF2-40B4-BE49-F238E27FC236}">
                <a16:creationId xmlns:a16="http://schemas.microsoft.com/office/drawing/2014/main" id="{AE5E80E4-8EF3-172A-6E93-F17DB0089E20}"/>
              </a:ext>
            </a:extLst>
          </p:cNvPr>
          <p:cNvSpPr/>
          <p:nvPr/>
        </p:nvSpPr>
        <p:spPr>
          <a:xfrm flipH="1">
            <a:off x="5894710" y="284979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6" name="稿定-9">
            <a:extLst>
              <a:ext uri="{FF2B5EF4-FFF2-40B4-BE49-F238E27FC236}">
                <a16:creationId xmlns:a16="http://schemas.microsoft.com/office/drawing/2014/main" id="{5F062938-7308-F3CB-545B-4F09613667CB}"/>
              </a:ext>
            </a:extLst>
          </p:cNvPr>
          <p:cNvSpPr/>
          <p:nvPr/>
        </p:nvSpPr>
        <p:spPr>
          <a:xfrm flipH="1">
            <a:off x="5745171" y="2272966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1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7" name="稿定-9">
            <a:extLst>
              <a:ext uri="{FF2B5EF4-FFF2-40B4-BE49-F238E27FC236}">
                <a16:creationId xmlns:a16="http://schemas.microsoft.com/office/drawing/2014/main" id="{FC3FE976-B3AC-FE5A-A70B-19A915AD56EA}"/>
              </a:ext>
            </a:extLst>
          </p:cNvPr>
          <p:cNvSpPr/>
          <p:nvPr/>
        </p:nvSpPr>
        <p:spPr>
          <a:xfrm flipH="1">
            <a:off x="5818084" y="461660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8" name="稿定-31">
            <a:extLst>
              <a:ext uri="{FF2B5EF4-FFF2-40B4-BE49-F238E27FC236}">
                <a16:creationId xmlns:a16="http://schemas.microsoft.com/office/drawing/2014/main" id="{F973FAA4-6516-1D71-D904-BFBD93609346}"/>
              </a:ext>
            </a:extLst>
          </p:cNvPr>
          <p:cNvSpPr/>
          <p:nvPr/>
        </p:nvSpPr>
        <p:spPr>
          <a:xfrm flipH="1">
            <a:off x="5894710" y="488234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9" name="稿定-9">
            <a:extLst>
              <a:ext uri="{FF2B5EF4-FFF2-40B4-BE49-F238E27FC236}">
                <a16:creationId xmlns:a16="http://schemas.microsoft.com/office/drawing/2014/main" id="{4FCFB60C-A2C7-895F-9AC1-AD8ED7EA1457}"/>
              </a:ext>
            </a:extLst>
          </p:cNvPr>
          <p:cNvSpPr/>
          <p:nvPr/>
        </p:nvSpPr>
        <p:spPr>
          <a:xfrm flipH="1">
            <a:off x="5745171" y="4315557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1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0" name="Line">
            <a:extLst>
              <a:ext uri="{FF2B5EF4-FFF2-40B4-BE49-F238E27FC236}">
                <a16:creationId xmlns:a16="http://schemas.microsoft.com/office/drawing/2014/main" id="{45BA5B70-1BA0-1B8C-6D6B-C7516D12AC87}"/>
              </a:ext>
            </a:extLst>
          </p:cNvPr>
          <p:cNvSpPr/>
          <p:nvPr/>
        </p:nvSpPr>
        <p:spPr>
          <a:xfrm>
            <a:off x="7871673" y="2406579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81" name="稿定-9">
            <a:extLst>
              <a:ext uri="{FF2B5EF4-FFF2-40B4-BE49-F238E27FC236}">
                <a16:creationId xmlns:a16="http://schemas.microsoft.com/office/drawing/2014/main" id="{E10351F2-A58C-DAD8-51A3-F7C034DC01E2}"/>
              </a:ext>
            </a:extLst>
          </p:cNvPr>
          <p:cNvSpPr/>
          <p:nvPr/>
        </p:nvSpPr>
        <p:spPr>
          <a:xfrm flipH="1">
            <a:off x="7871672" y="258406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2" name="稿定-31">
            <a:extLst>
              <a:ext uri="{FF2B5EF4-FFF2-40B4-BE49-F238E27FC236}">
                <a16:creationId xmlns:a16="http://schemas.microsoft.com/office/drawing/2014/main" id="{A5B7EAAD-8135-5EEF-1BB7-D5231C6D114A}"/>
              </a:ext>
            </a:extLst>
          </p:cNvPr>
          <p:cNvSpPr/>
          <p:nvPr/>
        </p:nvSpPr>
        <p:spPr>
          <a:xfrm flipH="1">
            <a:off x="7948298" y="284979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3" name="稿定-9">
            <a:extLst>
              <a:ext uri="{FF2B5EF4-FFF2-40B4-BE49-F238E27FC236}">
                <a16:creationId xmlns:a16="http://schemas.microsoft.com/office/drawing/2014/main" id="{F68E1781-8130-A7EB-7680-8E9F2A4AA6A2}"/>
              </a:ext>
            </a:extLst>
          </p:cNvPr>
          <p:cNvSpPr/>
          <p:nvPr/>
        </p:nvSpPr>
        <p:spPr>
          <a:xfrm flipH="1">
            <a:off x="7798759" y="2272966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2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4" name="稿定-9">
            <a:extLst>
              <a:ext uri="{FF2B5EF4-FFF2-40B4-BE49-F238E27FC236}">
                <a16:creationId xmlns:a16="http://schemas.microsoft.com/office/drawing/2014/main" id="{0DF9C427-0EBB-8A66-8D33-F3AB9EB24509}"/>
              </a:ext>
            </a:extLst>
          </p:cNvPr>
          <p:cNvSpPr/>
          <p:nvPr/>
        </p:nvSpPr>
        <p:spPr>
          <a:xfrm flipH="1">
            <a:off x="7871672" y="461660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5" name="稿定-31">
            <a:extLst>
              <a:ext uri="{FF2B5EF4-FFF2-40B4-BE49-F238E27FC236}">
                <a16:creationId xmlns:a16="http://schemas.microsoft.com/office/drawing/2014/main" id="{A689FB1C-8216-FF4F-DAFF-19DA20962056}"/>
              </a:ext>
            </a:extLst>
          </p:cNvPr>
          <p:cNvSpPr/>
          <p:nvPr/>
        </p:nvSpPr>
        <p:spPr>
          <a:xfrm flipH="1">
            <a:off x="7948298" y="488234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86" name="稿定-9">
            <a:extLst>
              <a:ext uri="{FF2B5EF4-FFF2-40B4-BE49-F238E27FC236}">
                <a16:creationId xmlns:a16="http://schemas.microsoft.com/office/drawing/2014/main" id="{3F2C0318-BB18-2D4F-8CE9-A193CC95B72A}"/>
              </a:ext>
            </a:extLst>
          </p:cNvPr>
          <p:cNvSpPr/>
          <p:nvPr/>
        </p:nvSpPr>
        <p:spPr>
          <a:xfrm flipH="1">
            <a:off x="7798759" y="4315557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22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2" name="Line">
            <a:extLst>
              <a:ext uri="{FF2B5EF4-FFF2-40B4-BE49-F238E27FC236}">
                <a16:creationId xmlns:a16="http://schemas.microsoft.com/office/drawing/2014/main" id="{9B729CA2-42D6-4D1C-1080-7C833AF9F5E4}"/>
              </a:ext>
            </a:extLst>
          </p:cNvPr>
          <p:cNvSpPr/>
          <p:nvPr/>
        </p:nvSpPr>
        <p:spPr>
          <a:xfrm>
            <a:off x="1777186" y="2406579"/>
            <a:ext cx="0" cy="2828679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custDash>
              <a:ds d="200000" sp="200000"/>
            </a:custDash>
            <a:miter lim="400000"/>
          </a:ln>
        </p:spPr>
        <p:txBody>
          <a:bodyPr tIns="91439" bIns="9143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8C9097"/>
                </a:solidFill>
              </a:defRPr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8C9097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3" name="稿定-9">
            <a:extLst>
              <a:ext uri="{FF2B5EF4-FFF2-40B4-BE49-F238E27FC236}">
                <a16:creationId xmlns:a16="http://schemas.microsoft.com/office/drawing/2014/main" id="{DA13CF93-B060-0C35-3DBC-10BF4BF449E6}"/>
              </a:ext>
            </a:extLst>
          </p:cNvPr>
          <p:cNvSpPr/>
          <p:nvPr/>
        </p:nvSpPr>
        <p:spPr>
          <a:xfrm flipH="1">
            <a:off x="1777185" y="2584064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4" name="稿定-31">
            <a:extLst>
              <a:ext uri="{FF2B5EF4-FFF2-40B4-BE49-F238E27FC236}">
                <a16:creationId xmlns:a16="http://schemas.microsoft.com/office/drawing/2014/main" id="{DD9B4093-5E36-9843-E23B-A7E67C9A81D3}"/>
              </a:ext>
            </a:extLst>
          </p:cNvPr>
          <p:cNvSpPr/>
          <p:nvPr/>
        </p:nvSpPr>
        <p:spPr>
          <a:xfrm flipH="1">
            <a:off x="1853811" y="2849799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931416D9-7D6C-E623-D0D0-C6E14E6A7F5A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2AE366D-4EA8-95B6-1D29-F2C5B2EE16EB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9B19511-2D52-ABCC-2263-A7A3C4E1E2D0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4">
            <a:extLst>
              <a:ext uri="{FF2B5EF4-FFF2-40B4-BE49-F238E27FC236}">
                <a16:creationId xmlns:a16="http://schemas.microsoft.com/office/drawing/2014/main" id="{77513EAF-E294-2FDD-53F1-964E4DBBD628}"/>
              </a:ext>
            </a:extLst>
          </p:cNvPr>
          <p:cNvSpPr/>
          <p:nvPr/>
        </p:nvSpPr>
        <p:spPr>
          <a:xfrm>
            <a:off x="1236609" y="4026843"/>
            <a:ext cx="9386270" cy="1112957"/>
          </a:xfrm>
          <a:custGeom>
            <a:avLst/>
            <a:gdLst>
              <a:gd name="connsiteX0" fmla="*/ 0 w 10717516"/>
              <a:gd name="connsiteY0" fmla="*/ 399176 h 2395010"/>
              <a:gd name="connsiteX1" fmla="*/ 399176 w 10717516"/>
              <a:gd name="connsiteY1" fmla="*/ 0 h 2395010"/>
              <a:gd name="connsiteX2" fmla="*/ 10318340 w 10717516"/>
              <a:gd name="connsiteY2" fmla="*/ 0 h 2395010"/>
              <a:gd name="connsiteX3" fmla="*/ 10717516 w 10717516"/>
              <a:gd name="connsiteY3" fmla="*/ 399176 h 2395010"/>
              <a:gd name="connsiteX4" fmla="*/ 10717516 w 10717516"/>
              <a:gd name="connsiteY4" fmla="*/ 1995834 h 2395010"/>
              <a:gd name="connsiteX5" fmla="*/ 10318340 w 10717516"/>
              <a:gd name="connsiteY5" fmla="*/ 2395010 h 2395010"/>
              <a:gd name="connsiteX6" fmla="*/ 399176 w 10717516"/>
              <a:gd name="connsiteY6" fmla="*/ 2395010 h 2395010"/>
              <a:gd name="connsiteX7" fmla="*/ 0 w 10717516"/>
              <a:gd name="connsiteY7" fmla="*/ 1995834 h 2395010"/>
              <a:gd name="connsiteX8" fmla="*/ 0 w 10717516"/>
              <a:gd name="connsiteY8" fmla="*/ 399176 h 2395010"/>
              <a:gd name="connsiteX0" fmla="*/ 0 w 10717516"/>
              <a:gd name="connsiteY0" fmla="*/ 1995834 h 2395010"/>
              <a:gd name="connsiteX1" fmla="*/ 0 w 10717516"/>
              <a:gd name="connsiteY1" fmla="*/ 399176 h 2395010"/>
              <a:gd name="connsiteX2" fmla="*/ 399176 w 10717516"/>
              <a:gd name="connsiteY2" fmla="*/ 0 h 2395010"/>
              <a:gd name="connsiteX3" fmla="*/ 10318340 w 10717516"/>
              <a:gd name="connsiteY3" fmla="*/ 0 h 2395010"/>
              <a:gd name="connsiteX4" fmla="*/ 10717516 w 10717516"/>
              <a:gd name="connsiteY4" fmla="*/ 399176 h 2395010"/>
              <a:gd name="connsiteX5" fmla="*/ 10717516 w 10717516"/>
              <a:gd name="connsiteY5" fmla="*/ 1995834 h 2395010"/>
              <a:gd name="connsiteX6" fmla="*/ 10318340 w 10717516"/>
              <a:gd name="connsiteY6" fmla="*/ 2395010 h 2395010"/>
              <a:gd name="connsiteX7" fmla="*/ 399176 w 10717516"/>
              <a:gd name="connsiteY7" fmla="*/ 2395010 h 2395010"/>
              <a:gd name="connsiteX8" fmla="*/ 91440 w 10717516"/>
              <a:gd name="connsiteY8" fmla="*/ 2087274 h 2395010"/>
              <a:gd name="connsiteX0" fmla="*/ 0 w 10717516"/>
              <a:gd name="connsiteY0" fmla="*/ 1995834 h 2395010"/>
              <a:gd name="connsiteX1" fmla="*/ 0 w 10717516"/>
              <a:gd name="connsiteY1" fmla="*/ 399176 h 2395010"/>
              <a:gd name="connsiteX2" fmla="*/ 399176 w 10717516"/>
              <a:gd name="connsiteY2" fmla="*/ 0 h 2395010"/>
              <a:gd name="connsiteX3" fmla="*/ 10318340 w 10717516"/>
              <a:gd name="connsiteY3" fmla="*/ 0 h 2395010"/>
              <a:gd name="connsiteX4" fmla="*/ 10717516 w 10717516"/>
              <a:gd name="connsiteY4" fmla="*/ 399176 h 2395010"/>
              <a:gd name="connsiteX5" fmla="*/ 10717516 w 10717516"/>
              <a:gd name="connsiteY5" fmla="*/ 1995834 h 2395010"/>
              <a:gd name="connsiteX6" fmla="*/ 10318340 w 10717516"/>
              <a:gd name="connsiteY6" fmla="*/ 2395010 h 2395010"/>
              <a:gd name="connsiteX7" fmla="*/ 399176 w 10717516"/>
              <a:gd name="connsiteY7" fmla="*/ 2395010 h 2395010"/>
              <a:gd name="connsiteX0" fmla="*/ 0 w 10717516"/>
              <a:gd name="connsiteY0" fmla="*/ 1995834 h 2395010"/>
              <a:gd name="connsiteX1" fmla="*/ 0 w 10717516"/>
              <a:gd name="connsiteY1" fmla="*/ 399176 h 2395010"/>
              <a:gd name="connsiteX2" fmla="*/ 399176 w 10717516"/>
              <a:gd name="connsiteY2" fmla="*/ 0 h 2395010"/>
              <a:gd name="connsiteX3" fmla="*/ 10318340 w 10717516"/>
              <a:gd name="connsiteY3" fmla="*/ 0 h 2395010"/>
              <a:gd name="connsiteX4" fmla="*/ 10717516 w 10717516"/>
              <a:gd name="connsiteY4" fmla="*/ 399176 h 2395010"/>
              <a:gd name="connsiteX5" fmla="*/ 10717516 w 10717516"/>
              <a:gd name="connsiteY5" fmla="*/ 1995834 h 2395010"/>
              <a:gd name="connsiteX6" fmla="*/ 10318340 w 10717516"/>
              <a:gd name="connsiteY6" fmla="*/ 2395010 h 2395010"/>
              <a:gd name="connsiteX0" fmla="*/ 0 w 10717516"/>
              <a:gd name="connsiteY0" fmla="*/ 399176 h 2395010"/>
              <a:gd name="connsiteX1" fmla="*/ 399176 w 10717516"/>
              <a:gd name="connsiteY1" fmla="*/ 0 h 2395010"/>
              <a:gd name="connsiteX2" fmla="*/ 10318340 w 10717516"/>
              <a:gd name="connsiteY2" fmla="*/ 0 h 2395010"/>
              <a:gd name="connsiteX3" fmla="*/ 10717516 w 10717516"/>
              <a:gd name="connsiteY3" fmla="*/ 399176 h 2395010"/>
              <a:gd name="connsiteX4" fmla="*/ 10717516 w 10717516"/>
              <a:gd name="connsiteY4" fmla="*/ 1995834 h 2395010"/>
              <a:gd name="connsiteX5" fmla="*/ 10318340 w 10717516"/>
              <a:gd name="connsiteY5" fmla="*/ 2395010 h 2395010"/>
              <a:gd name="connsiteX0" fmla="*/ 0 w 10318340"/>
              <a:gd name="connsiteY0" fmla="*/ 0 h 2395010"/>
              <a:gd name="connsiteX1" fmla="*/ 9919164 w 10318340"/>
              <a:gd name="connsiteY1" fmla="*/ 0 h 2395010"/>
              <a:gd name="connsiteX2" fmla="*/ 10318340 w 10318340"/>
              <a:gd name="connsiteY2" fmla="*/ 399176 h 2395010"/>
              <a:gd name="connsiteX3" fmla="*/ 10318340 w 10318340"/>
              <a:gd name="connsiteY3" fmla="*/ 1995834 h 2395010"/>
              <a:gd name="connsiteX4" fmla="*/ 9919164 w 10318340"/>
              <a:gd name="connsiteY4" fmla="*/ 2395010 h 2395010"/>
              <a:gd name="connsiteX0" fmla="*/ 0 w 10318340"/>
              <a:gd name="connsiteY0" fmla="*/ 0 h 1995834"/>
              <a:gd name="connsiteX1" fmla="*/ 9919164 w 10318340"/>
              <a:gd name="connsiteY1" fmla="*/ 0 h 1995834"/>
              <a:gd name="connsiteX2" fmla="*/ 10318340 w 10318340"/>
              <a:gd name="connsiteY2" fmla="*/ 399176 h 1995834"/>
              <a:gd name="connsiteX3" fmla="*/ 10318340 w 10318340"/>
              <a:gd name="connsiteY3" fmla="*/ 1995834 h 1995834"/>
              <a:gd name="connsiteX0" fmla="*/ 0 w 10318340"/>
              <a:gd name="connsiteY0" fmla="*/ 0 h 1995834"/>
              <a:gd name="connsiteX1" fmla="*/ 9919164 w 10318340"/>
              <a:gd name="connsiteY1" fmla="*/ 0 h 1995834"/>
              <a:gd name="connsiteX2" fmla="*/ 10318340 w 10318340"/>
              <a:gd name="connsiteY2" fmla="*/ 399176 h 1995834"/>
              <a:gd name="connsiteX3" fmla="*/ 10318340 w 10318340"/>
              <a:gd name="connsiteY3" fmla="*/ 1995834 h 1995834"/>
              <a:gd name="connsiteX0" fmla="*/ 0 w 10318340"/>
              <a:gd name="connsiteY0" fmla="*/ 0 h 1995834"/>
              <a:gd name="connsiteX1" fmla="*/ 9919164 w 10318340"/>
              <a:gd name="connsiteY1" fmla="*/ 0 h 1995834"/>
              <a:gd name="connsiteX2" fmla="*/ 10318340 w 10318340"/>
              <a:gd name="connsiteY2" fmla="*/ 399176 h 1995834"/>
              <a:gd name="connsiteX3" fmla="*/ 10306766 w 10318340"/>
              <a:gd name="connsiteY3" fmla="*/ 1096701 h 1995834"/>
              <a:gd name="connsiteX4" fmla="*/ 10318340 w 10318340"/>
              <a:gd name="connsiteY4" fmla="*/ 1995834 h 1995834"/>
              <a:gd name="connsiteX0" fmla="*/ 0 w 10318340"/>
              <a:gd name="connsiteY0" fmla="*/ 0 h 1096701"/>
              <a:gd name="connsiteX1" fmla="*/ 9919164 w 10318340"/>
              <a:gd name="connsiteY1" fmla="*/ 0 h 1096701"/>
              <a:gd name="connsiteX2" fmla="*/ 10318340 w 10318340"/>
              <a:gd name="connsiteY2" fmla="*/ 399176 h 1096701"/>
              <a:gd name="connsiteX3" fmla="*/ 10306766 w 10318340"/>
              <a:gd name="connsiteY3" fmla="*/ 1096701 h 1096701"/>
              <a:gd name="connsiteX0" fmla="*/ 0 w 10337246"/>
              <a:gd name="connsiteY0" fmla="*/ 0 h 1078413"/>
              <a:gd name="connsiteX1" fmla="*/ 9919164 w 10337246"/>
              <a:gd name="connsiteY1" fmla="*/ 0 h 1078413"/>
              <a:gd name="connsiteX2" fmla="*/ 10318340 w 10337246"/>
              <a:gd name="connsiteY2" fmla="*/ 399176 h 1078413"/>
              <a:gd name="connsiteX3" fmla="*/ 10337246 w 10337246"/>
              <a:gd name="connsiteY3" fmla="*/ 1078413 h 1078413"/>
              <a:gd name="connsiteX0" fmla="*/ 0 w 10331150"/>
              <a:gd name="connsiteY0" fmla="*/ 0 h 1102797"/>
              <a:gd name="connsiteX1" fmla="*/ 9919164 w 10331150"/>
              <a:gd name="connsiteY1" fmla="*/ 0 h 1102797"/>
              <a:gd name="connsiteX2" fmla="*/ 10318340 w 10331150"/>
              <a:gd name="connsiteY2" fmla="*/ 399176 h 1102797"/>
              <a:gd name="connsiteX3" fmla="*/ 10331150 w 10331150"/>
              <a:gd name="connsiteY3" fmla="*/ 1102797 h 1102797"/>
              <a:gd name="connsiteX0" fmla="*/ 0 w 9386270"/>
              <a:gd name="connsiteY0" fmla="*/ 0 h 1112957"/>
              <a:gd name="connsiteX1" fmla="*/ 8974284 w 9386270"/>
              <a:gd name="connsiteY1" fmla="*/ 10160 h 1112957"/>
              <a:gd name="connsiteX2" fmla="*/ 9373460 w 9386270"/>
              <a:gd name="connsiteY2" fmla="*/ 409336 h 1112957"/>
              <a:gd name="connsiteX3" fmla="*/ 9386270 w 9386270"/>
              <a:gd name="connsiteY3" fmla="*/ 1112957 h 1112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86270" h="1112957">
                <a:moveTo>
                  <a:pt x="0" y="0"/>
                </a:moveTo>
                <a:lnTo>
                  <a:pt x="8974284" y="10160"/>
                </a:lnTo>
                <a:cubicBezTo>
                  <a:pt x="9194743" y="10160"/>
                  <a:pt x="9373460" y="188877"/>
                  <a:pt x="9373460" y="409336"/>
                </a:cubicBezTo>
                <a:lnTo>
                  <a:pt x="9386270" y="1112957"/>
                </a:lnTo>
              </a:path>
            </a:pathLst>
          </a:custGeom>
          <a:noFill/>
          <a:ln w="190500" cap="rnd">
            <a:solidFill>
              <a:srgbClr val="3361F5"/>
            </a:solidFill>
            <a:round/>
          </a:ln>
          <a:effectLst>
            <a:outerShdw blurRad="381000" sx="103000" sy="103000" algn="ctr" rotWithShape="0">
              <a:srgbClr val="3361F5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Arial" panose="020F0502020204030204"/>
              <a:ea typeface="微软雅黑"/>
            </a:endParaRPr>
          </a:p>
        </p:txBody>
      </p:sp>
      <p:sp>
        <p:nvSpPr>
          <p:cNvPr id="6" name="gaoding-5">
            <a:extLst>
              <a:ext uri="{FF2B5EF4-FFF2-40B4-BE49-F238E27FC236}">
                <a16:creationId xmlns:a16="http://schemas.microsoft.com/office/drawing/2014/main" id="{28FB4CA2-1C1D-35AA-BFE5-CE4810C565CF}"/>
              </a:ext>
            </a:extLst>
          </p:cNvPr>
          <p:cNvSpPr/>
          <p:nvPr/>
        </p:nvSpPr>
        <p:spPr>
          <a:xfrm flipV="1">
            <a:off x="10297553" y="5139800"/>
            <a:ext cx="629920" cy="426720"/>
          </a:xfrm>
          <a:prstGeom prst="triangl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7" name="gaoding-6">
            <a:extLst>
              <a:ext uri="{FF2B5EF4-FFF2-40B4-BE49-F238E27FC236}">
                <a16:creationId xmlns:a16="http://schemas.microsoft.com/office/drawing/2014/main" id="{3C7DAC2C-170E-0540-6B36-B6B840E25A55}"/>
              </a:ext>
            </a:extLst>
          </p:cNvPr>
          <p:cNvSpPr/>
          <p:nvPr/>
        </p:nvSpPr>
        <p:spPr>
          <a:xfrm>
            <a:off x="10297553" y="2063640"/>
            <a:ext cx="629920" cy="426720"/>
          </a:xfrm>
          <a:prstGeom prst="triangle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8" name="gaoding-7">
            <a:extLst>
              <a:ext uri="{FF2B5EF4-FFF2-40B4-BE49-F238E27FC236}">
                <a16:creationId xmlns:a16="http://schemas.microsoft.com/office/drawing/2014/main" id="{B751EC1C-54E4-1C46-52F0-95F571F7FB8C}"/>
              </a:ext>
            </a:extLst>
          </p:cNvPr>
          <p:cNvSpPr/>
          <p:nvPr/>
        </p:nvSpPr>
        <p:spPr>
          <a:xfrm flipV="1">
            <a:off x="1236609" y="2481636"/>
            <a:ext cx="9386270" cy="1112957"/>
          </a:xfrm>
          <a:custGeom>
            <a:avLst/>
            <a:gdLst>
              <a:gd name="connsiteX0" fmla="*/ 0 w 10717516"/>
              <a:gd name="connsiteY0" fmla="*/ 399176 h 2395010"/>
              <a:gd name="connsiteX1" fmla="*/ 399176 w 10717516"/>
              <a:gd name="connsiteY1" fmla="*/ 0 h 2395010"/>
              <a:gd name="connsiteX2" fmla="*/ 10318340 w 10717516"/>
              <a:gd name="connsiteY2" fmla="*/ 0 h 2395010"/>
              <a:gd name="connsiteX3" fmla="*/ 10717516 w 10717516"/>
              <a:gd name="connsiteY3" fmla="*/ 399176 h 2395010"/>
              <a:gd name="connsiteX4" fmla="*/ 10717516 w 10717516"/>
              <a:gd name="connsiteY4" fmla="*/ 1995834 h 2395010"/>
              <a:gd name="connsiteX5" fmla="*/ 10318340 w 10717516"/>
              <a:gd name="connsiteY5" fmla="*/ 2395010 h 2395010"/>
              <a:gd name="connsiteX6" fmla="*/ 399176 w 10717516"/>
              <a:gd name="connsiteY6" fmla="*/ 2395010 h 2395010"/>
              <a:gd name="connsiteX7" fmla="*/ 0 w 10717516"/>
              <a:gd name="connsiteY7" fmla="*/ 1995834 h 2395010"/>
              <a:gd name="connsiteX8" fmla="*/ 0 w 10717516"/>
              <a:gd name="connsiteY8" fmla="*/ 399176 h 2395010"/>
              <a:gd name="connsiteX0" fmla="*/ 0 w 10717516"/>
              <a:gd name="connsiteY0" fmla="*/ 1995834 h 2395010"/>
              <a:gd name="connsiteX1" fmla="*/ 0 w 10717516"/>
              <a:gd name="connsiteY1" fmla="*/ 399176 h 2395010"/>
              <a:gd name="connsiteX2" fmla="*/ 399176 w 10717516"/>
              <a:gd name="connsiteY2" fmla="*/ 0 h 2395010"/>
              <a:gd name="connsiteX3" fmla="*/ 10318340 w 10717516"/>
              <a:gd name="connsiteY3" fmla="*/ 0 h 2395010"/>
              <a:gd name="connsiteX4" fmla="*/ 10717516 w 10717516"/>
              <a:gd name="connsiteY4" fmla="*/ 399176 h 2395010"/>
              <a:gd name="connsiteX5" fmla="*/ 10717516 w 10717516"/>
              <a:gd name="connsiteY5" fmla="*/ 1995834 h 2395010"/>
              <a:gd name="connsiteX6" fmla="*/ 10318340 w 10717516"/>
              <a:gd name="connsiteY6" fmla="*/ 2395010 h 2395010"/>
              <a:gd name="connsiteX7" fmla="*/ 399176 w 10717516"/>
              <a:gd name="connsiteY7" fmla="*/ 2395010 h 2395010"/>
              <a:gd name="connsiteX8" fmla="*/ 91440 w 10717516"/>
              <a:gd name="connsiteY8" fmla="*/ 2087274 h 2395010"/>
              <a:gd name="connsiteX0" fmla="*/ 0 w 10717516"/>
              <a:gd name="connsiteY0" fmla="*/ 1995834 h 2395010"/>
              <a:gd name="connsiteX1" fmla="*/ 0 w 10717516"/>
              <a:gd name="connsiteY1" fmla="*/ 399176 h 2395010"/>
              <a:gd name="connsiteX2" fmla="*/ 399176 w 10717516"/>
              <a:gd name="connsiteY2" fmla="*/ 0 h 2395010"/>
              <a:gd name="connsiteX3" fmla="*/ 10318340 w 10717516"/>
              <a:gd name="connsiteY3" fmla="*/ 0 h 2395010"/>
              <a:gd name="connsiteX4" fmla="*/ 10717516 w 10717516"/>
              <a:gd name="connsiteY4" fmla="*/ 399176 h 2395010"/>
              <a:gd name="connsiteX5" fmla="*/ 10717516 w 10717516"/>
              <a:gd name="connsiteY5" fmla="*/ 1995834 h 2395010"/>
              <a:gd name="connsiteX6" fmla="*/ 10318340 w 10717516"/>
              <a:gd name="connsiteY6" fmla="*/ 2395010 h 2395010"/>
              <a:gd name="connsiteX7" fmla="*/ 399176 w 10717516"/>
              <a:gd name="connsiteY7" fmla="*/ 2395010 h 2395010"/>
              <a:gd name="connsiteX0" fmla="*/ 0 w 10717516"/>
              <a:gd name="connsiteY0" fmla="*/ 1995834 h 2395010"/>
              <a:gd name="connsiteX1" fmla="*/ 0 w 10717516"/>
              <a:gd name="connsiteY1" fmla="*/ 399176 h 2395010"/>
              <a:gd name="connsiteX2" fmla="*/ 399176 w 10717516"/>
              <a:gd name="connsiteY2" fmla="*/ 0 h 2395010"/>
              <a:gd name="connsiteX3" fmla="*/ 10318340 w 10717516"/>
              <a:gd name="connsiteY3" fmla="*/ 0 h 2395010"/>
              <a:gd name="connsiteX4" fmla="*/ 10717516 w 10717516"/>
              <a:gd name="connsiteY4" fmla="*/ 399176 h 2395010"/>
              <a:gd name="connsiteX5" fmla="*/ 10717516 w 10717516"/>
              <a:gd name="connsiteY5" fmla="*/ 1995834 h 2395010"/>
              <a:gd name="connsiteX6" fmla="*/ 10318340 w 10717516"/>
              <a:gd name="connsiteY6" fmla="*/ 2395010 h 2395010"/>
              <a:gd name="connsiteX0" fmla="*/ 0 w 10717516"/>
              <a:gd name="connsiteY0" fmla="*/ 399176 h 2395010"/>
              <a:gd name="connsiteX1" fmla="*/ 399176 w 10717516"/>
              <a:gd name="connsiteY1" fmla="*/ 0 h 2395010"/>
              <a:gd name="connsiteX2" fmla="*/ 10318340 w 10717516"/>
              <a:gd name="connsiteY2" fmla="*/ 0 h 2395010"/>
              <a:gd name="connsiteX3" fmla="*/ 10717516 w 10717516"/>
              <a:gd name="connsiteY3" fmla="*/ 399176 h 2395010"/>
              <a:gd name="connsiteX4" fmla="*/ 10717516 w 10717516"/>
              <a:gd name="connsiteY4" fmla="*/ 1995834 h 2395010"/>
              <a:gd name="connsiteX5" fmla="*/ 10318340 w 10717516"/>
              <a:gd name="connsiteY5" fmla="*/ 2395010 h 2395010"/>
              <a:gd name="connsiteX0" fmla="*/ 0 w 10318340"/>
              <a:gd name="connsiteY0" fmla="*/ 0 h 2395010"/>
              <a:gd name="connsiteX1" fmla="*/ 9919164 w 10318340"/>
              <a:gd name="connsiteY1" fmla="*/ 0 h 2395010"/>
              <a:gd name="connsiteX2" fmla="*/ 10318340 w 10318340"/>
              <a:gd name="connsiteY2" fmla="*/ 399176 h 2395010"/>
              <a:gd name="connsiteX3" fmla="*/ 10318340 w 10318340"/>
              <a:gd name="connsiteY3" fmla="*/ 1995834 h 2395010"/>
              <a:gd name="connsiteX4" fmla="*/ 9919164 w 10318340"/>
              <a:gd name="connsiteY4" fmla="*/ 2395010 h 2395010"/>
              <a:gd name="connsiteX0" fmla="*/ 0 w 10318340"/>
              <a:gd name="connsiteY0" fmla="*/ 0 h 1995834"/>
              <a:gd name="connsiteX1" fmla="*/ 9919164 w 10318340"/>
              <a:gd name="connsiteY1" fmla="*/ 0 h 1995834"/>
              <a:gd name="connsiteX2" fmla="*/ 10318340 w 10318340"/>
              <a:gd name="connsiteY2" fmla="*/ 399176 h 1995834"/>
              <a:gd name="connsiteX3" fmla="*/ 10318340 w 10318340"/>
              <a:gd name="connsiteY3" fmla="*/ 1995834 h 1995834"/>
              <a:gd name="connsiteX0" fmla="*/ 0 w 10318340"/>
              <a:gd name="connsiteY0" fmla="*/ 0 h 1995834"/>
              <a:gd name="connsiteX1" fmla="*/ 9919164 w 10318340"/>
              <a:gd name="connsiteY1" fmla="*/ 0 h 1995834"/>
              <a:gd name="connsiteX2" fmla="*/ 10318340 w 10318340"/>
              <a:gd name="connsiteY2" fmla="*/ 399176 h 1995834"/>
              <a:gd name="connsiteX3" fmla="*/ 10318340 w 10318340"/>
              <a:gd name="connsiteY3" fmla="*/ 1995834 h 1995834"/>
              <a:gd name="connsiteX0" fmla="*/ 0 w 10318340"/>
              <a:gd name="connsiteY0" fmla="*/ 0 h 1995834"/>
              <a:gd name="connsiteX1" fmla="*/ 9919164 w 10318340"/>
              <a:gd name="connsiteY1" fmla="*/ 0 h 1995834"/>
              <a:gd name="connsiteX2" fmla="*/ 10318340 w 10318340"/>
              <a:gd name="connsiteY2" fmla="*/ 399176 h 1995834"/>
              <a:gd name="connsiteX3" fmla="*/ 10306766 w 10318340"/>
              <a:gd name="connsiteY3" fmla="*/ 1096701 h 1995834"/>
              <a:gd name="connsiteX4" fmla="*/ 10318340 w 10318340"/>
              <a:gd name="connsiteY4" fmla="*/ 1995834 h 1995834"/>
              <a:gd name="connsiteX0" fmla="*/ 0 w 10318340"/>
              <a:gd name="connsiteY0" fmla="*/ 0 h 1096701"/>
              <a:gd name="connsiteX1" fmla="*/ 9919164 w 10318340"/>
              <a:gd name="connsiteY1" fmla="*/ 0 h 1096701"/>
              <a:gd name="connsiteX2" fmla="*/ 10318340 w 10318340"/>
              <a:gd name="connsiteY2" fmla="*/ 399176 h 1096701"/>
              <a:gd name="connsiteX3" fmla="*/ 10306766 w 10318340"/>
              <a:gd name="connsiteY3" fmla="*/ 1096701 h 1096701"/>
              <a:gd name="connsiteX0" fmla="*/ 0 w 10337246"/>
              <a:gd name="connsiteY0" fmla="*/ 0 h 1078413"/>
              <a:gd name="connsiteX1" fmla="*/ 9919164 w 10337246"/>
              <a:gd name="connsiteY1" fmla="*/ 0 h 1078413"/>
              <a:gd name="connsiteX2" fmla="*/ 10318340 w 10337246"/>
              <a:gd name="connsiteY2" fmla="*/ 399176 h 1078413"/>
              <a:gd name="connsiteX3" fmla="*/ 10337246 w 10337246"/>
              <a:gd name="connsiteY3" fmla="*/ 1078413 h 1078413"/>
              <a:gd name="connsiteX0" fmla="*/ 0 w 10331150"/>
              <a:gd name="connsiteY0" fmla="*/ 0 h 1102797"/>
              <a:gd name="connsiteX1" fmla="*/ 9919164 w 10331150"/>
              <a:gd name="connsiteY1" fmla="*/ 0 h 1102797"/>
              <a:gd name="connsiteX2" fmla="*/ 10318340 w 10331150"/>
              <a:gd name="connsiteY2" fmla="*/ 399176 h 1102797"/>
              <a:gd name="connsiteX3" fmla="*/ 10331150 w 10331150"/>
              <a:gd name="connsiteY3" fmla="*/ 1102797 h 1102797"/>
              <a:gd name="connsiteX0" fmla="*/ 0 w 9386270"/>
              <a:gd name="connsiteY0" fmla="*/ 0 h 1112957"/>
              <a:gd name="connsiteX1" fmla="*/ 8974284 w 9386270"/>
              <a:gd name="connsiteY1" fmla="*/ 10160 h 1112957"/>
              <a:gd name="connsiteX2" fmla="*/ 9373460 w 9386270"/>
              <a:gd name="connsiteY2" fmla="*/ 409336 h 1112957"/>
              <a:gd name="connsiteX3" fmla="*/ 9386270 w 9386270"/>
              <a:gd name="connsiteY3" fmla="*/ 1112957 h 1112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86270" h="1112957">
                <a:moveTo>
                  <a:pt x="0" y="0"/>
                </a:moveTo>
                <a:lnTo>
                  <a:pt x="8974284" y="10160"/>
                </a:lnTo>
                <a:cubicBezTo>
                  <a:pt x="9194743" y="10160"/>
                  <a:pt x="9373460" y="188877"/>
                  <a:pt x="9373460" y="409336"/>
                </a:cubicBezTo>
                <a:lnTo>
                  <a:pt x="9386270" y="1112957"/>
                </a:lnTo>
              </a:path>
            </a:pathLst>
          </a:custGeom>
          <a:noFill/>
          <a:ln w="190500" cap="rnd">
            <a:solidFill>
              <a:srgbClr val="3361F5"/>
            </a:solidFill>
            <a:round/>
          </a:ln>
          <a:effectLst>
            <a:outerShdw blurRad="381000" sx="103000" sy="103000" algn="ctr" rotWithShape="0">
              <a:srgbClr val="3361F5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62" name="稿定-9">
            <a:extLst>
              <a:ext uri="{FF2B5EF4-FFF2-40B4-BE49-F238E27FC236}">
                <a16:creationId xmlns:a16="http://schemas.microsoft.com/office/drawing/2014/main" id="{4596A905-928D-F704-82E0-A85B3910A646}"/>
              </a:ext>
            </a:extLst>
          </p:cNvPr>
          <p:cNvSpPr/>
          <p:nvPr/>
        </p:nvSpPr>
        <p:spPr>
          <a:xfrm flipH="1">
            <a:off x="1704272" y="2272966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19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3" name="稿定-9">
            <a:extLst>
              <a:ext uri="{FF2B5EF4-FFF2-40B4-BE49-F238E27FC236}">
                <a16:creationId xmlns:a16="http://schemas.microsoft.com/office/drawing/2014/main" id="{1AF0753F-7108-5CF4-3A91-7718062315E0}"/>
              </a:ext>
            </a:extLst>
          </p:cNvPr>
          <p:cNvSpPr/>
          <p:nvPr/>
        </p:nvSpPr>
        <p:spPr>
          <a:xfrm flipH="1">
            <a:off x="1777185" y="4616607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4" name="稿定-31">
            <a:extLst>
              <a:ext uri="{FF2B5EF4-FFF2-40B4-BE49-F238E27FC236}">
                <a16:creationId xmlns:a16="http://schemas.microsoft.com/office/drawing/2014/main" id="{AFF488C7-7824-A218-E54D-33BCFDC2F7D5}"/>
              </a:ext>
            </a:extLst>
          </p:cNvPr>
          <p:cNvSpPr/>
          <p:nvPr/>
        </p:nvSpPr>
        <p:spPr>
          <a:xfrm flipH="1">
            <a:off x="1853811" y="4882342"/>
            <a:ext cx="1366685" cy="3529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5" name="稿定-9">
            <a:extLst>
              <a:ext uri="{FF2B5EF4-FFF2-40B4-BE49-F238E27FC236}">
                <a16:creationId xmlns:a16="http://schemas.microsoft.com/office/drawing/2014/main" id="{BD0C695B-044D-000B-E778-AF06CF063B97}"/>
              </a:ext>
            </a:extLst>
          </p:cNvPr>
          <p:cNvSpPr/>
          <p:nvPr/>
        </p:nvSpPr>
        <p:spPr>
          <a:xfrm flipH="1">
            <a:off x="1704272" y="4315557"/>
            <a:ext cx="800379" cy="33656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2019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215560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1" descr="图片包含 室内, 桌子, 监控, 电脑&#10;&#10;描述已自动生成">
            <a:extLst>
              <a:ext uri="{FF2B5EF4-FFF2-40B4-BE49-F238E27FC236}">
                <a16:creationId xmlns:a16="http://schemas.microsoft.com/office/drawing/2014/main" id="{0410C316-F99F-4770-A224-5D21FB4FAE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99" b="9099"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5" name="矩形 2">
            <a:extLst>
              <a:ext uri="{FF2B5EF4-FFF2-40B4-BE49-F238E27FC236}">
                <a16:creationId xmlns:a16="http://schemas.microsoft.com/office/drawing/2014/main" id="{B4A24D95-92EA-46C6-B8E8-7D85E22F049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" name="圆角矩形 1">
            <a:extLst>
              <a:ext uri="{FF2B5EF4-FFF2-40B4-BE49-F238E27FC236}">
                <a16:creationId xmlns:a16="http://schemas.microsoft.com/office/drawing/2014/main" id="{81CE6E59-959C-42EA-B1C5-DFF036410D69}"/>
              </a:ext>
            </a:extLst>
          </p:cNvPr>
          <p:cNvSpPr/>
          <p:nvPr/>
        </p:nvSpPr>
        <p:spPr>
          <a:xfrm>
            <a:off x="942856" y="3300634"/>
            <a:ext cx="10345610" cy="96812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" name="圆角矩形 2">
            <a:extLst>
              <a:ext uri="{FF2B5EF4-FFF2-40B4-BE49-F238E27FC236}">
                <a16:creationId xmlns:a16="http://schemas.microsoft.com/office/drawing/2014/main" id="{DD7C11FB-31AC-4EBE-9F14-BC251284A785}"/>
              </a:ext>
            </a:extLst>
          </p:cNvPr>
          <p:cNvSpPr/>
          <p:nvPr/>
        </p:nvSpPr>
        <p:spPr>
          <a:xfrm>
            <a:off x="852138" y="3225760"/>
            <a:ext cx="10527046" cy="1117868"/>
          </a:xfrm>
          <a:prstGeom prst="roundRect">
            <a:avLst>
              <a:gd name="adj" fmla="val 50000"/>
            </a:avLst>
          </a:prstGeom>
          <a:ln w="19050">
            <a:solidFill>
              <a:schemeClr val="accent1"/>
            </a:solidFill>
            <a:miter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6" name="圆形">
            <a:extLst>
              <a:ext uri="{FF2B5EF4-FFF2-40B4-BE49-F238E27FC236}">
                <a16:creationId xmlns:a16="http://schemas.microsoft.com/office/drawing/2014/main" id="{060523D5-2407-442C-915F-88DBC645E956}"/>
              </a:ext>
            </a:extLst>
          </p:cNvPr>
          <p:cNvSpPr/>
          <p:nvPr/>
        </p:nvSpPr>
        <p:spPr>
          <a:xfrm>
            <a:off x="1090605" y="3416016"/>
            <a:ext cx="737353" cy="737356"/>
          </a:xfrm>
          <a:prstGeom prst="ellipse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1" name="圆形">
            <a:extLst>
              <a:ext uri="{FF2B5EF4-FFF2-40B4-BE49-F238E27FC236}">
                <a16:creationId xmlns:a16="http://schemas.microsoft.com/office/drawing/2014/main" id="{27160500-EF13-44AD-BEEC-05F2AC33605B}"/>
              </a:ext>
            </a:extLst>
          </p:cNvPr>
          <p:cNvSpPr/>
          <p:nvPr/>
        </p:nvSpPr>
        <p:spPr>
          <a:xfrm>
            <a:off x="2953157" y="3416016"/>
            <a:ext cx="737353" cy="737356"/>
          </a:xfrm>
          <a:prstGeom prst="ellipse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4" name="圆形">
            <a:extLst>
              <a:ext uri="{FF2B5EF4-FFF2-40B4-BE49-F238E27FC236}">
                <a16:creationId xmlns:a16="http://schemas.microsoft.com/office/drawing/2014/main" id="{9EA2CBF6-3ECE-415A-8189-9C581A5F66B2}"/>
              </a:ext>
            </a:extLst>
          </p:cNvPr>
          <p:cNvSpPr/>
          <p:nvPr/>
        </p:nvSpPr>
        <p:spPr>
          <a:xfrm>
            <a:off x="4815709" y="3416016"/>
            <a:ext cx="737353" cy="737356"/>
          </a:xfrm>
          <a:prstGeom prst="ellipse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7" name="圆形">
            <a:extLst>
              <a:ext uri="{FF2B5EF4-FFF2-40B4-BE49-F238E27FC236}">
                <a16:creationId xmlns:a16="http://schemas.microsoft.com/office/drawing/2014/main" id="{EFD9151D-7375-4941-81E1-413258923E53}"/>
              </a:ext>
            </a:extLst>
          </p:cNvPr>
          <p:cNvSpPr/>
          <p:nvPr/>
        </p:nvSpPr>
        <p:spPr>
          <a:xfrm>
            <a:off x="6678261" y="3416016"/>
            <a:ext cx="737353" cy="737356"/>
          </a:xfrm>
          <a:prstGeom prst="ellipse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0" name="圆形">
            <a:extLst>
              <a:ext uri="{FF2B5EF4-FFF2-40B4-BE49-F238E27FC236}">
                <a16:creationId xmlns:a16="http://schemas.microsoft.com/office/drawing/2014/main" id="{F6D9FA10-D0F2-46D8-B3D9-D8E695F25A7C}"/>
              </a:ext>
            </a:extLst>
          </p:cNvPr>
          <p:cNvSpPr/>
          <p:nvPr/>
        </p:nvSpPr>
        <p:spPr>
          <a:xfrm>
            <a:off x="8540813" y="3416016"/>
            <a:ext cx="737353" cy="737356"/>
          </a:xfrm>
          <a:prstGeom prst="ellipse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2" name="箭头: V 形 31">
            <a:extLst>
              <a:ext uri="{FF2B5EF4-FFF2-40B4-BE49-F238E27FC236}">
                <a16:creationId xmlns:a16="http://schemas.microsoft.com/office/drawing/2014/main" id="{7BB19017-529C-400E-B781-55BD7BE68682}"/>
              </a:ext>
            </a:extLst>
          </p:cNvPr>
          <p:cNvSpPr/>
          <p:nvPr/>
        </p:nvSpPr>
        <p:spPr>
          <a:xfrm>
            <a:off x="2073025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3" name="箭头: V 形 32">
            <a:extLst>
              <a:ext uri="{FF2B5EF4-FFF2-40B4-BE49-F238E27FC236}">
                <a16:creationId xmlns:a16="http://schemas.microsoft.com/office/drawing/2014/main" id="{7F0F6021-4CF6-4673-B3AE-B88C38A30DB0}"/>
              </a:ext>
            </a:extLst>
          </p:cNvPr>
          <p:cNvSpPr/>
          <p:nvPr/>
        </p:nvSpPr>
        <p:spPr>
          <a:xfrm>
            <a:off x="2197871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4" name="箭头: V 形 33">
            <a:extLst>
              <a:ext uri="{FF2B5EF4-FFF2-40B4-BE49-F238E27FC236}">
                <a16:creationId xmlns:a16="http://schemas.microsoft.com/office/drawing/2014/main" id="{1B3F53C5-1022-4424-9493-EDDE5F62B957}"/>
              </a:ext>
            </a:extLst>
          </p:cNvPr>
          <p:cNvSpPr/>
          <p:nvPr/>
        </p:nvSpPr>
        <p:spPr>
          <a:xfrm>
            <a:off x="2322717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5" name="箭头: V 形 34">
            <a:extLst>
              <a:ext uri="{FF2B5EF4-FFF2-40B4-BE49-F238E27FC236}">
                <a16:creationId xmlns:a16="http://schemas.microsoft.com/office/drawing/2014/main" id="{7C7BD262-AF5D-423D-A8D0-4B49E472169D}"/>
              </a:ext>
            </a:extLst>
          </p:cNvPr>
          <p:cNvSpPr/>
          <p:nvPr/>
        </p:nvSpPr>
        <p:spPr>
          <a:xfrm>
            <a:off x="2447563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6" name="箭头: V 形 35">
            <a:extLst>
              <a:ext uri="{FF2B5EF4-FFF2-40B4-BE49-F238E27FC236}">
                <a16:creationId xmlns:a16="http://schemas.microsoft.com/office/drawing/2014/main" id="{67868E95-8D7B-4201-83DC-C70038CCD39D}"/>
              </a:ext>
            </a:extLst>
          </p:cNvPr>
          <p:cNvSpPr/>
          <p:nvPr/>
        </p:nvSpPr>
        <p:spPr>
          <a:xfrm>
            <a:off x="2572408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9" name="箭头: V 形 38">
            <a:extLst>
              <a:ext uri="{FF2B5EF4-FFF2-40B4-BE49-F238E27FC236}">
                <a16:creationId xmlns:a16="http://schemas.microsoft.com/office/drawing/2014/main" id="{FF14342A-9896-4C6C-9ABB-C4070AED9D57}"/>
              </a:ext>
            </a:extLst>
          </p:cNvPr>
          <p:cNvSpPr/>
          <p:nvPr/>
        </p:nvSpPr>
        <p:spPr>
          <a:xfrm>
            <a:off x="3935577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0" name="箭头: V 形 39">
            <a:extLst>
              <a:ext uri="{FF2B5EF4-FFF2-40B4-BE49-F238E27FC236}">
                <a16:creationId xmlns:a16="http://schemas.microsoft.com/office/drawing/2014/main" id="{36A78DDB-A633-4057-BDD7-A0B7E35B3A7B}"/>
              </a:ext>
            </a:extLst>
          </p:cNvPr>
          <p:cNvSpPr/>
          <p:nvPr/>
        </p:nvSpPr>
        <p:spPr>
          <a:xfrm>
            <a:off x="4060423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1" name="箭头: V 形 40">
            <a:extLst>
              <a:ext uri="{FF2B5EF4-FFF2-40B4-BE49-F238E27FC236}">
                <a16:creationId xmlns:a16="http://schemas.microsoft.com/office/drawing/2014/main" id="{97B59708-32C4-4ADA-BFB5-34CA6BF799E6}"/>
              </a:ext>
            </a:extLst>
          </p:cNvPr>
          <p:cNvSpPr/>
          <p:nvPr/>
        </p:nvSpPr>
        <p:spPr>
          <a:xfrm>
            <a:off x="4185269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2" name="箭头: V 形 41">
            <a:extLst>
              <a:ext uri="{FF2B5EF4-FFF2-40B4-BE49-F238E27FC236}">
                <a16:creationId xmlns:a16="http://schemas.microsoft.com/office/drawing/2014/main" id="{9F2E7BB7-6E30-4695-84E4-0802675C7BC7}"/>
              </a:ext>
            </a:extLst>
          </p:cNvPr>
          <p:cNvSpPr/>
          <p:nvPr/>
        </p:nvSpPr>
        <p:spPr>
          <a:xfrm>
            <a:off x="4310115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3" name="箭头: V 形 42">
            <a:extLst>
              <a:ext uri="{FF2B5EF4-FFF2-40B4-BE49-F238E27FC236}">
                <a16:creationId xmlns:a16="http://schemas.microsoft.com/office/drawing/2014/main" id="{C3985D0A-AEAC-4FCA-BB36-65CC63D74CA5}"/>
              </a:ext>
            </a:extLst>
          </p:cNvPr>
          <p:cNvSpPr/>
          <p:nvPr/>
        </p:nvSpPr>
        <p:spPr>
          <a:xfrm>
            <a:off x="4434960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5" name="箭头: V 形 44">
            <a:extLst>
              <a:ext uri="{FF2B5EF4-FFF2-40B4-BE49-F238E27FC236}">
                <a16:creationId xmlns:a16="http://schemas.microsoft.com/office/drawing/2014/main" id="{880C8036-0869-42E5-9565-AB778B054CAD}"/>
              </a:ext>
            </a:extLst>
          </p:cNvPr>
          <p:cNvSpPr/>
          <p:nvPr/>
        </p:nvSpPr>
        <p:spPr>
          <a:xfrm>
            <a:off x="5798129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6" name="箭头: V 形 45">
            <a:extLst>
              <a:ext uri="{FF2B5EF4-FFF2-40B4-BE49-F238E27FC236}">
                <a16:creationId xmlns:a16="http://schemas.microsoft.com/office/drawing/2014/main" id="{E2DE56DB-F7B2-4768-BDC0-D2E7F7EDCB49}"/>
              </a:ext>
            </a:extLst>
          </p:cNvPr>
          <p:cNvSpPr/>
          <p:nvPr/>
        </p:nvSpPr>
        <p:spPr>
          <a:xfrm>
            <a:off x="5922975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7" name="箭头: V 形 46">
            <a:extLst>
              <a:ext uri="{FF2B5EF4-FFF2-40B4-BE49-F238E27FC236}">
                <a16:creationId xmlns:a16="http://schemas.microsoft.com/office/drawing/2014/main" id="{D71B1195-17B2-4ADF-AA58-37A44AB78EDF}"/>
              </a:ext>
            </a:extLst>
          </p:cNvPr>
          <p:cNvSpPr/>
          <p:nvPr/>
        </p:nvSpPr>
        <p:spPr>
          <a:xfrm>
            <a:off x="6047821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8" name="箭头: V 形 47">
            <a:extLst>
              <a:ext uri="{FF2B5EF4-FFF2-40B4-BE49-F238E27FC236}">
                <a16:creationId xmlns:a16="http://schemas.microsoft.com/office/drawing/2014/main" id="{807F13A9-5621-4865-B2B2-5F00AA40596B}"/>
              </a:ext>
            </a:extLst>
          </p:cNvPr>
          <p:cNvSpPr/>
          <p:nvPr/>
        </p:nvSpPr>
        <p:spPr>
          <a:xfrm>
            <a:off x="6172667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9" name="箭头: V 形 48">
            <a:extLst>
              <a:ext uri="{FF2B5EF4-FFF2-40B4-BE49-F238E27FC236}">
                <a16:creationId xmlns:a16="http://schemas.microsoft.com/office/drawing/2014/main" id="{AF90CD71-9118-4867-B7C8-2FA6A5F9FBE1}"/>
              </a:ext>
            </a:extLst>
          </p:cNvPr>
          <p:cNvSpPr/>
          <p:nvPr/>
        </p:nvSpPr>
        <p:spPr>
          <a:xfrm>
            <a:off x="6297512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1" name="箭头: V 形 50">
            <a:extLst>
              <a:ext uri="{FF2B5EF4-FFF2-40B4-BE49-F238E27FC236}">
                <a16:creationId xmlns:a16="http://schemas.microsoft.com/office/drawing/2014/main" id="{A23D1225-9D94-41E7-8696-4B3990C773F4}"/>
              </a:ext>
            </a:extLst>
          </p:cNvPr>
          <p:cNvSpPr/>
          <p:nvPr/>
        </p:nvSpPr>
        <p:spPr>
          <a:xfrm>
            <a:off x="7660681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2" name="箭头: V 形 51">
            <a:extLst>
              <a:ext uri="{FF2B5EF4-FFF2-40B4-BE49-F238E27FC236}">
                <a16:creationId xmlns:a16="http://schemas.microsoft.com/office/drawing/2014/main" id="{550980A1-B010-4BAE-A8F2-BBA1DB170EFB}"/>
              </a:ext>
            </a:extLst>
          </p:cNvPr>
          <p:cNvSpPr/>
          <p:nvPr/>
        </p:nvSpPr>
        <p:spPr>
          <a:xfrm>
            <a:off x="7785527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3" name="箭头: V 形 52">
            <a:extLst>
              <a:ext uri="{FF2B5EF4-FFF2-40B4-BE49-F238E27FC236}">
                <a16:creationId xmlns:a16="http://schemas.microsoft.com/office/drawing/2014/main" id="{3B65ACB4-CF5B-470C-9541-80143FA0D755}"/>
              </a:ext>
            </a:extLst>
          </p:cNvPr>
          <p:cNvSpPr/>
          <p:nvPr/>
        </p:nvSpPr>
        <p:spPr>
          <a:xfrm>
            <a:off x="7910373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4" name="箭头: V 形 53">
            <a:extLst>
              <a:ext uri="{FF2B5EF4-FFF2-40B4-BE49-F238E27FC236}">
                <a16:creationId xmlns:a16="http://schemas.microsoft.com/office/drawing/2014/main" id="{9A579421-ED87-481F-B24F-E3B50AD15348}"/>
              </a:ext>
            </a:extLst>
          </p:cNvPr>
          <p:cNvSpPr/>
          <p:nvPr/>
        </p:nvSpPr>
        <p:spPr>
          <a:xfrm>
            <a:off x="8035219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5" name="箭头: V 形 54">
            <a:extLst>
              <a:ext uri="{FF2B5EF4-FFF2-40B4-BE49-F238E27FC236}">
                <a16:creationId xmlns:a16="http://schemas.microsoft.com/office/drawing/2014/main" id="{ECC34410-A069-4669-961F-D0CD5D20AF6B}"/>
              </a:ext>
            </a:extLst>
          </p:cNvPr>
          <p:cNvSpPr/>
          <p:nvPr/>
        </p:nvSpPr>
        <p:spPr>
          <a:xfrm>
            <a:off x="8160064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7" name="圆形">
            <a:extLst>
              <a:ext uri="{FF2B5EF4-FFF2-40B4-BE49-F238E27FC236}">
                <a16:creationId xmlns:a16="http://schemas.microsoft.com/office/drawing/2014/main" id="{3FBBAC4D-3CFE-4D09-8661-9F64D7E63C09}"/>
              </a:ext>
            </a:extLst>
          </p:cNvPr>
          <p:cNvSpPr/>
          <p:nvPr/>
        </p:nvSpPr>
        <p:spPr>
          <a:xfrm>
            <a:off x="10403365" y="3416016"/>
            <a:ext cx="737353" cy="737356"/>
          </a:xfrm>
          <a:prstGeom prst="ellipse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0" name="箭头: V 形 69">
            <a:extLst>
              <a:ext uri="{FF2B5EF4-FFF2-40B4-BE49-F238E27FC236}">
                <a16:creationId xmlns:a16="http://schemas.microsoft.com/office/drawing/2014/main" id="{29E53250-E7E2-4ECF-BD5C-AEB5D3EF220A}"/>
              </a:ext>
            </a:extLst>
          </p:cNvPr>
          <p:cNvSpPr/>
          <p:nvPr/>
        </p:nvSpPr>
        <p:spPr>
          <a:xfrm>
            <a:off x="9523233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1" name="箭头: V 形 70">
            <a:extLst>
              <a:ext uri="{FF2B5EF4-FFF2-40B4-BE49-F238E27FC236}">
                <a16:creationId xmlns:a16="http://schemas.microsoft.com/office/drawing/2014/main" id="{93D46839-3648-4F48-9EF1-AD073899D493}"/>
              </a:ext>
            </a:extLst>
          </p:cNvPr>
          <p:cNvSpPr/>
          <p:nvPr/>
        </p:nvSpPr>
        <p:spPr>
          <a:xfrm>
            <a:off x="9648079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2" name="箭头: V 形 71">
            <a:extLst>
              <a:ext uri="{FF2B5EF4-FFF2-40B4-BE49-F238E27FC236}">
                <a16:creationId xmlns:a16="http://schemas.microsoft.com/office/drawing/2014/main" id="{2ED1B96E-4D9A-47B8-BEB6-6BA8E62B1B76}"/>
              </a:ext>
            </a:extLst>
          </p:cNvPr>
          <p:cNvSpPr/>
          <p:nvPr/>
        </p:nvSpPr>
        <p:spPr>
          <a:xfrm>
            <a:off x="9772925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3" name="箭头: V 形 72">
            <a:extLst>
              <a:ext uri="{FF2B5EF4-FFF2-40B4-BE49-F238E27FC236}">
                <a16:creationId xmlns:a16="http://schemas.microsoft.com/office/drawing/2014/main" id="{E186310A-4668-45F9-ACAF-6701015B16E8}"/>
              </a:ext>
            </a:extLst>
          </p:cNvPr>
          <p:cNvSpPr/>
          <p:nvPr/>
        </p:nvSpPr>
        <p:spPr>
          <a:xfrm>
            <a:off x="9897771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4" name="箭头: V 形 73">
            <a:extLst>
              <a:ext uri="{FF2B5EF4-FFF2-40B4-BE49-F238E27FC236}">
                <a16:creationId xmlns:a16="http://schemas.microsoft.com/office/drawing/2014/main" id="{B2AE2F76-B598-460A-B8F5-C947AA192F56}"/>
              </a:ext>
            </a:extLst>
          </p:cNvPr>
          <p:cNvSpPr/>
          <p:nvPr/>
        </p:nvSpPr>
        <p:spPr>
          <a:xfrm>
            <a:off x="10022616" y="3716853"/>
            <a:ext cx="135682" cy="13568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8C1E61F9-CA0F-4151-9B34-EBA0D3E14D66}"/>
              </a:ext>
            </a:extLst>
          </p:cNvPr>
          <p:cNvCxnSpPr/>
          <p:nvPr/>
        </p:nvCxnSpPr>
        <p:spPr>
          <a:xfrm flipV="1">
            <a:off x="1409700" y="1654773"/>
            <a:ext cx="0" cy="1562060"/>
          </a:xfrm>
          <a:prstGeom prst="line">
            <a:avLst/>
          </a:prstGeom>
          <a:ln w="1270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稿定PPT-0-1">
            <a:extLst>
              <a:ext uri="{FF2B5EF4-FFF2-40B4-BE49-F238E27FC236}">
                <a16:creationId xmlns:a16="http://schemas.microsoft.com/office/drawing/2014/main" id="{71D6F36B-B89D-4A00-B193-8EE28DC43F1F}"/>
              </a:ext>
            </a:extLst>
          </p:cNvPr>
          <p:cNvSpPr txBox="1"/>
          <p:nvPr/>
        </p:nvSpPr>
        <p:spPr>
          <a:xfrm>
            <a:off x="1571385" y="1555258"/>
            <a:ext cx="1265434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defPPr>
              <a:defRPr lang="zh-CN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82A3F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60" name="稿定PPT-10-2">
            <a:extLst>
              <a:ext uri="{FF2B5EF4-FFF2-40B4-BE49-F238E27FC236}">
                <a16:creationId xmlns:a16="http://schemas.microsoft.com/office/drawing/2014/main" id="{919E290F-D47C-4DF7-98AE-44EA47D6ACE9}"/>
              </a:ext>
            </a:extLst>
          </p:cNvPr>
          <p:cNvSpPr txBox="1"/>
          <p:nvPr/>
        </p:nvSpPr>
        <p:spPr>
          <a:xfrm>
            <a:off x="1571385" y="1885683"/>
            <a:ext cx="2441285" cy="11162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2644228B-69B8-4AE5-B2B4-6BC7CDF44BD8}"/>
              </a:ext>
            </a:extLst>
          </p:cNvPr>
          <p:cNvCxnSpPr/>
          <p:nvPr/>
        </p:nvCxnSpPr>
        <p:spPr>
          <a:xfrm flipV="1">
            <a:off x="5184385" y="1654773"/>
            <a:ext cx="0" cy="1562060"/>
          </a:xfrm>
          <a:prstGeom prst="line">
            <a:avLst/>
          </a:prstGeom>
          <a:ln w="1270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稿定PPT-0-1">
            <a:extLst>
              <a:ext uri="{FF2B5EF4-FFF2-40B4-BE49-F238E27FC236}">
                <a16:creationId xmlns:a16="http://schemas.microsoft.com/office/drawing/2014/main" id="{171C921A-7C46-47FE-8ACF-47CD906AB60D}"/>
              </a:ext>
            </a:extLst>
          </p:cNvPr>
          <p:cNvSpPr txBox="1"/>
          <p:nvPr/>
        </p:nvSpPr>
        <p:spPr>
          <a:xfrm>
            <a:off x="5346070" y="1555258"/>
            <a:ext cx="1265434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defPPr>
              <a:defRPr lang="zh-CN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82A3F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65" name="稿定PPT-10-2">
            <a:extLst>
              <a:ext uri="{FF2B5EF4-FFF2-40B4-BE49-F238E27FC236}">
                <a16:creationId xmlns:a16="http://schemas.microsoft.com/office/drawing/2014/main" id="{96A22F01-A237-446E-87D5-20CFE9D8794C}"/>
              </a:ext>
            </a:extLst>
          </p:cNvPr>
          <p:cNvSpPr txBox="1"/>
          <p:nvPr/>
        </p:nvSpPr>
        <p:spPr>
          <a:xfrm>
            <a:off x="5346070" y="1885683"/>
            <a:ext cx="2441285" cy="11162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0F88C70F-EE22-45E1-9779-2A7425E3F63A}"/>
              </a:ext>
            </a:extLst>
          </p:cNvPr>
          <p:cNvCxnSpPr/>
          <p:nvPr/>
        </p:nvCxnSpPr>
        <p:spPr>
          <a:xfrm flipV="1">
            <a:off x="8901598" y="1654773"/>
            <a:ext cx="0" cy="1562060"/>
          </a:xfrm>
          <a:prstGeom prst="line">
            <a:avLst/>
          </a:prstGeom>
          <a:ln w="1270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稿定PPT-0-1">
            <a:extLst>
              <a:ext uri="{FF2B5EF4-FFF2-40B4-BE49-F238E27FC236}">
                <a16:creationId xmlns:a16="http://schemas.microsoft.com/office/drawing/2014/main" id="{F5B3DDDC-E856-48A7-A7BF-4087CA678084}"/>
              </a:ext>
            </a:extLst>
          </p:cNvPr>
          <p:cNvSpPr txBox="1"/>
          <p:nvPr/>
        </p:nvSpPr>
        <p:spPr>
          <a:xfrm>
            <a:off x="9063283" y="1555258"/>
            <a:ext cx="1265434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defPPr>
              <a:defRPr lang="zh-CN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82A3F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79" name="稿定PPT-10-2">
            <a:extLst>
              <a:ext uri="{FF2B5EF4-FFF2-40B4-BE49-F238E27FC236}">
                <a16:creationId xmlns:a16="http://schemas.microsoft.com/office/drawing/2014/main" id="{73049708-11C0-46F9-A534-C5E63DDBBDE6}"/>
              </a:ext>
            </a:extLst>
          </p:cNvPr>
          <p:cNvSpPr txBox="1"/>
          <p:nvPr/>
        </p:nvSpPr>
        <p:spPr>
          <a:xfrm>
            <a:off x="9063283" y="1885683"/>
            <a:ext cx="2441285" cy="11162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103" name="直接连接符 102">
            <a:extLst>
              <a:ext uri="{FF2B5EF4-FFF2-40B4-BE49-F238E27FC236}">
                <a16:creationId xmlns:a16="http://schemas.microsoft.com/office/drawing/2014/main" id="{22ADD232-49A8-4DBA-A1AE-F88F4016F212}"/>
              </a:ext>
            </a:extLst>
          </p:cNvPr>
          <p:cNvCxnSpPr>
            <a:cxnSpLocks/>
          </p:cNvCxnSpPr>
          <p:nvPr/>
        </p:nvCxnSpPr>
        <p:spPr>
          <a:xfrm flipH="1">
            <a:off x="10789871" y="4343742"/>
            <a:ext cx="0" cy="1562060"/>
          </a:xfrm>
          <a:prstGeom prst="line">
            <a:avLst/>
          </a:prstGeom>
          <a:ln w="1270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稿定PPT-0-1">
            <a:extLst>
              <a:ext uri="{FF2B5EF4-FFF2-40B4-BE49-F238E27FC236}">
                <a16:creationId xmlns:a16="http://schemas.microsoft.com/office/drawing/2014/main" id="{FB816AF2-371A-4FD9-AE1D-98B47A5A89A9}"/>
              </a:ext>
            </a:extLst>
          </p:cNvPr>
          <p:cNvSpPr txBox="1"/>
          <p:nvPr/>
        </p:nvSpPr>
        <p:spPr>
          <a:xfrm flipH="1">
            <a:off x="9362752" y="4675849"/>
            <a:ext cx="1265434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defPPr>
              <a:defRPr lang="zh-CN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82A3F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105" name="稿定PPT-10-2">
            <a:extLst>
              <a:ext uri="{FF2B5EF4-FFF2-40B4-BE49-F238E27FC236}">
                <a16:creationId xmlns:a16="http://schemas.microsoft.com/office/drawing/2014/main" id="{75A3F6F4-5DF7-4BE6-A6FE-54808481B563}"/>
              </a:ext>
            </a:extLst>
          </p:cNvPr>
          <p:cNvSpPr txBox="1"/>
          <p:nvPr/>
        </p:nvSpPr>
        <p:spPr>
          <a:xfrm flipH="1">
            <a:off x="8186901" y="5006274"/>
            <a:ext cx="2441285" cy="11162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9380AC1F-5EC6-4D97-9BC6-6D4AD4FE2AD4}"/>
              </a:ext>
            </a:extLst>
          </p:cNvPr>
          <p:cNvCxnSpPr>
            <a:cxnSpLocks/>
          </p:cNvCxnSpPr>
          <p:nvPr/>
        </p:nvCxnSpPr>
        <p:spPr>
          <a:xfrm flipH="1">
            <a:off x="7015186" y="4343742"/>
            <a:ext cx="0" cy="1562060"/>
          </a:xfrm>
          <a:prstGeom prst="line">
            <a:avLst/>
          </a:prstGeom>
          <a:ln w="1270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稿定PPT-0-1">
            <a:extLst>
              <a:ext uri="{FF2B5EF4-FFF2-40B4-BE49-F238E27FC236}">
                <a16:creationId xmlns:a16="http://schemas.microsoft.com/office/drawing/2014/main" id="{83A29499-167D-48E5-A0B7-F15F73C8FBCB}"/>
              </a:ext>
            </a:extLst>
          </p:cNvPr>
          <p:cNvSpPr txBox="1"/>
          <p:nvPr/>
        </p:nvSpPr>
        <p:spPr>
          <a:xfrm flipH="1">
            <a:off x="5588067" y="4675849"/>
            <a:ext cx="1265434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defPPr>
              <a:defRPr lang="zh-CN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82A3F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102" name="稿定PPT-10-2">
            <a:extLst>
              <a:ext uri="{FF2B5EF4-FFF2-40B4-BE49-F238E27FC236}">
                <a16:creationId xmlns:a16="http://schemas.microsoft.com/office/drawing/2014/main" id="{05A5BE07-9F9A-4213-8587-73D8E00BC994}"/>
              </a:ext>
            </a:extLst>
          </p:cNvPr>
          <p:cNvSpPr txBox="1"/>
          <p:nvPr/>
        </p:nvSpPr>
        <p:spPr>
          <a:xfrm flipH="1">
            <a:off x="4412216" y="5006274"/>
            <a:ext cx="2441285" cy="11162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cxnSp>
        <p:nvCxnSpPr>
          <p:cNvPr id="97" name="直接连接符 96">
            <a:extLst>
              <a:ext uri="{FF2B5EF4-FFF2-40B4-BE49-F238E27FC236}">
                <a16:creationId xmlns:a16="http://schemas.microsoft.com/office/drawing/2014/main" id="{67280211-224E-46AC-B23C-160B668D9EC3}"/>
              </a:ext>
            </a:extLst>
          </p:cNvPr>
          <p:cNvCxnSpPr>
            <a:cxnSpLocks/>
          </p:cNvCxnSpPr>
          <p:nvPr/>
        </p:nvCxnSpPr>
        <p:spPr>
          <a:xfrm flipH="1">
            <a:off x="3297973" y="4343742"/>
            <a:ext cx="0" cy="1562060"/>
          </a:xfrm>
          <a:prstGeom prst="line">
            <a:avLst/>
          </a:prstGeom>
          <a:ln w="1270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稿定PPT-0-1">
            <a:extLst>
              <a:ext uri="{FF2B5EF4-FFF2-40B4-BE49-F238E27FC236}">
                <a16:creationId xmlns:a16="http://schemas.microsoft.com/office/drawing/2014/main" id="{56BDFE51-3188-43E6-AB28-2C79A3CAA4B0}"/>
              </a:ext>
            </a:extLst>
          </p:cNvPr>
          <p:cNvSpPr txBox="1"/>
          <p:nvPr/>
        </p:nvSpPr>
        <p:spPr>
          <a:xfrm flipH="1">
            <a:off x="1870854" y="4675849"/>
            <a:ext cx="1265434" cy="38132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defPPr>
              <a:defRPr lang="zh-CN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20X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82A3F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99" name="稿定PPT-10-2">
            <a:extLst>
              <a:ext uri="{FF2B5EF4-FFF2-40B4-BE49-F238E27FC236}">
                <a16:creationId xmlns:a16="http://schemas.microsoft.com/office/drawing/2014/main" id="{66E89C86-5B9F-4050-8A96-9277B2374FC5}"/>
              </a:ext>
            </a:extLst>
          </p:cNvPr>
          <p:cNvSpPr txBox="1"/>
          <p:nvPr/>
        </p:nvSpPr>
        <p:spPr>
          <a:xfrm flipH="1">
            <a:off x="695003" y="5006274"/>
            <a:ext cx="2441285" cy="11162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93" name="稿定PPT-1-1">
            <a:extLst>
              <a:ext uri="{FF2B5EF4-FFF2-40B4-BE49-F238E27FC236}">
                <a16:creationId xmlns:a16="http://schemas.microsoft.com/office/drawing/2014/main" id="{CAA82D99-2FC7-4A27-86B0-D4735B50EF00}"/>
              </a:ext>
            </a:extLst>
          </p:cNvPr>
          <p:cNvSpPr txBox="1"/>
          <p:nvPr/>
        </p:nvSpPr>
        <p:spPr>
          <a:xfrm>
            <a:off x="855619" y="466323"/>
            <a:ext cx="3781482" cy="4156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海量素材持续更新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82A3F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94" name="稿定PPT-1-2">
            <a:extLst>
              <a:ext uri="{FF2B5EF4-FFF2-40B4-BE49-F238E27FC236}">
                <a16:creationId xmlns:a16="http://schemas.microsoft.com/office/drawing/2014/main" id="{B54EA77E-EF15-435C-9211-E8AF90A885B8}"/>
              </a:ext>
            </a:extLst>
          </p:cNvPr>
          <p:cNvSpPr txBox="1"/>
          <p:nvPr/>
        </p:nvSpPr>
        <p:spPr>
          <a:xfrm>
            <a:off x="855619" y="837441"/>
            <a:ext cx="6173302" cy="2276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A3F"/>
                </a:solidFill>
                <a:effectLst/>
                <a:uLnTx/>
                <a:uFillTx/>
                <a:latin typeface="Roboto Light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95" name="缺角矩形 1">
            <a:extLst>
              <a:ext uri="{FF2B5EF4-FFF2-40B4-BE49-F238E27FC236}">
                <a16:creationId xmlns:a16="http://schemas.microsoft.com/office/drawing/2014/main" id="{70C242F7-4F2E-4355-9688-69F73C34391E}"/>
              </a:ext>
            </a:extLst>
          </p:cNvPr>
          <p:cNvSpPr/>
          <p:nvPr/>
        </p:nvSpPr>
        <p:spPr>
          <a:xfrm>
            <a:off x="485408" y="575469"/>
            <a:ext cx="227013" cy="227013"/>
          </a:xfrm>
          <a:prstGeom prst="plaque">
            <a:avLst>
              <a:gd name="adj" fmla="val 3500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6" name="椭圆 1">
            <a:extLst>
              <a:ext uri="{FF2B5EF4-FFF2-40B4-BE49-F238E27FC236}">
                <a16:creationId xmlns:a16="http://schemas.microsoft.com/office/drawing/2014/main" id="{7FF8E478-43B1-4347-AFCF-5A8CBC70BD1C}"/>
              </a:ext>
            </a:extLst>
          </p:cNvPr>
          <p:cNvSpPr/>
          <p:nvPr/>
        </p:nvSpPr>
        <p:spPr>
          <a:xfrm>
            <a:off x="675978" y="575469"/>
            <a:ext cx="37255" cy="3725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2" name="椭圆 2">
            <a:extLst>
              <a:ext uri="{FF2B5EF4-FFF2-40B4-BE49-F238E27FC236}">
                <a16:creationId xmlns:a16="http://schemas.microsoft.com/office/drawing/2014/main" id="{8A144D12-2955-4A2B-A2A5-81C1104E95FF}"/>
              </a:ext>
            </a:extLst>
          </p:cNvPr>
          <p:cNvSpPr/>
          <p:nvPr/>
        </p:nvSpPr>
        <p:spPr>
          <a:xfrm>
            <a:off x="484597" y="765227"/>
            <a:ext cx="37255" cy="3725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3" name="直角三角形 1">
            <a:extLst>
              <a:ext uri="{FF2B5EF4-FFF2-40B4-BE49-F238E27FC236}">
                <a16:creationId xmlns:a16="http://schemas.microsoft.com/office/drawing/2014/main" id="{A24EC9FD-360A-492B-ACC8-EFB5D3D95360}"/>
              </a:ext>
            </a:extLst>
          </p:cNvPr>
          <p:cNvSpPr/>
          <p:nvPr/>
        </p:nvSpPr>
        <p:spPr>
          <a:xfrm flipV="1">
            <a:off x="484597" y="575469"/>
            <a:ext cx="37255" cy="37255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4" name="直角三角形 2">
            <a:extLst>
              <a:ext uri="{FF2B5EF4-FFF2-40B4-BE49-F238E27FC236}">
                <a16:creationId xmlns:a16="http://schemas.microsoft.com/office/drawing/2014/main" id="{57B15B98-8FF6-4310-BE64-0F4F15C2A502}"/>
              </a:ext>
            </a:extLst>
          </p:cNvPr>
          <p:cNvSpPr/>
          <p:nvPr/>
        </p:nvSpPr>
        <p:spPr>
          <a:xfrm flipH="1">
            <a:off x="675978" y="765227"/>
            <a:ext cx="37255" cy="37255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7" name="1">
            <a:extLst>
              <a:ext uri="{FF2B5EF4-FFF2-40B4-BE49-F238E27FC236}">
                <a16:creationId xmlns:a16="http://schemas.microsoft.com/office/drawing/2014/main" id="{57F51909-DD92-4BE9-8E38-6D5FE7D27F41}"/>
              </a:ext>
            </a:extLst>
          </p:cNvPr>
          <p:cNvSpPr txBox="1"/>
          <p:nvPr/>
        </p:nvSpPr>
        <p:spPr>
          <a:xfrm>
            <a:off x="1144595" y="3584047"/>
            <a:ext cx="629372" cy="430887"/>
          </a:xfrm>
          <a:prstGeom prst="rect">
            <a:avLst/>
          </a:prstGeom>
          <a:noFill/>
          <a:extLst>
            <a:ext uri="{C572A759-6A51-4108-AA02-DFA0A04FC94B}">
              <ma14:wrappingTextBoxFlag xmlns=""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01</a:t>
            </a:r>
            <a:endParaRPr kumimoji="0" sz="2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2" name="1">
            <a:extLst>
              <a:ext uri="{FF2B5EF4-FFF2-40B4-BE49-F238E27FC236}">
                <a16:creationId xmlns:a16="http://schemas.microsoft.com/office/drawing/2014/main" id="{AB0C48E4-FD32-47EB-82AB-C1B22FC22CA7}"/>
              </a:ext>
            </a:extLst>
          </p:cNvPr>
          <p:cNvSpPr txBox="1"/>
          <p:nvPr/>
        </p:nvSpPr>
        <p:spPr>
          <a:xfrm>
            <a:off x="3007147" y="3584047"/>
            <a:ext cx="629372" cy="430887"/>
          </a:xfrm>
          <a:prstGeom prst="rect">
            <a:avLst/>
          </a:prstGeom>
          <a:noFill/>
          <a:extLst>
            <a:ext uri="{C572A759-6A51-4108-AA02-DFA0A04FC94B}">
              <ma14:wrappingTextBoxFlag xmlns=""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02</a:t>
            </a:r>
            <a:endParaRPr kumimoji="0" sz="2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5" name="1">
            <a:extLst>
              <a:ext uri="{FF2B5EF4-FFF2-40B4-BE49-F238E27FC236}">
                <a16:creationId xmlns:a16="http://schemas.microsoft.com/office/drawing/2014/main" id="{89DAF759-670A-4C83-9C7C-5D208A60FDCD}"/>
              </a:ext>
            </a:extLst>
          </p:cNvPr>
          <p:cNvSpPr txBox="1"/>
          <p:nvPr/>
        </p:nvSpPr>
        <p:spPr>
          <a:xfrm>
            <a:off x="4869699" y="3584047"/>
            <a:ext cx="629372" cy="430887"/>
          </a:xfrm>
          <a:prstGeom prst="rect">
            <a:avLst/>
          </a:prstGeom>
          <a:noFill/>
          <a:extLst>
            <a:ext uri="{C572A759-6A51-4108-AA02-DFA0A04FC94B}">
              <ma14:wrappingTextBoxFlag xmlns=""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03</a:t>
            </a:r>
            <a:endParaRPr kumimoji="0" sz="2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8" name="1">
            <a:extLst>
              <a:ext uri="{FF2B5EF4-FFF2-40B4-BE49-F238E27FC236}">
                <a16:creationId xmlns:a16="http://schemas.microsoft.com/office/drawing/2014/main" id="{02BE5C79-AE01-4436-AB13-4E5316EB8434}"/>
              </a:ext>
            </a:extLst>
          </p:cNvPr>
          <p:cNvSpPr txBox="1"/>
          <p:nvPr/>
        </p:nvSpPr>
        <p:spPr>
          <a:xfrm>
            <a:off x="6732251" y="3584047"/>
            <a:ext cx="629372" cy="430887"/>
          </a:xfrm>
          <a:prstGeom prst="rect">
            <a:avLst/>
          </a:prstGeom>
          <a:noFill/>
          <a:extLst>
            <a:ext uri="{C572A759-6A51-4108-AA02-DFA0A04FC94B}">
              <ma14:wrappingTextBoxFlag xmlns=""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04</a:t>
            </a:r>
            <a:endParaRPr kumimoji="0" sz="2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1" name="1">
            <a:extLst>
              <a:ext uri="{FF2B5EF4-FFF2-40B4-BE49-F238E27FC236}">
                <a16:creationId xmlns:a16="http://schemas.microsoft.com/office/drawing/2014/main" id="{F9F26081-45EA-4627-8219-56CAFBD857EF}"/>
              </a:ext>
            </a:extLst>
          </p:cNvPr>
          <p:cNvSpPr txBox="1"/>
          <p:nvPr/>
        </p:nvSpPr>
        <p:spPr>
          <a:xfrm>
            <a:off x="8594803" y="3584047"/>
            <a:ext cx="629372" cy="430887"/>
          </a:xfrm>
          <a:prstGeom prst="rect">
            <a:avLst/>
          </a:prstGeom>
          <a:noFill/>
          <a:extLst>
            <a:ext uri="{C572A759-6A51-4108-AA02-DFA0A04FC94B}">
              <ma14:wrappingTextBoxFlag xmlns=""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05</a:t>
            </a:r>
            <a:endParaRPr kumimoji="0" sz="2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8" name="1">
            <a:extLst>
              <a:ext uri="{FF2B5EF4-FFF2-40B4-BE49-F238E27FC236}">
                <a16:creationId xmlns:a16="http://schemas.microsoft.com/office/drawing/2014/main" id="{3E116EE4-AD8B-49FE-91B8-9A7255605BE4}"/>
              </a:ext>
            </a:extLst>
          </p:cNvPr>
          <p:cNvSpPr txBox="1"/>
          <p:nvPr/>
        </p:nvSpPr>
        <p:spPr>
          <a:xfrm>
            <a:off x="10457355" y="3584047"/>
            <a:ext cx="629372" cy="430887"/>
          </a:xfrm>
          <a:prstGeom prst="rect">
            <a:avLst/>
          </a:prstGeom>
          <a:noFill/>
          <a:extLst>
            <a:ext uri="{C572A759-6A51-4108-AA02-DFA0A04FC94B}">
              <ma14:wrappingTextBoxFlag xmlns=""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4800">
                <a:gradFill flip="none" rotWithShape="1">
                  <a:gsLst>
                    <a:gs pos="0">
                      <a:schemeClr val="accent1"/>
                    </a:gs>
                    <a:gs pos="80000">
                      <a:schemeClr val="accent4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2A3F"/>
                    </a:gs>
                    <a:gs pos="80000">
                      <a:srgbClr val="1F245E">
                        <a:alpha val="0"/>
                      </a:srgbClr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Roboto Black"/>
                <a:ea typeface="OPPOSans L" panose="00020600040101010101" pitchFamily="18" charset="-122"/>
                <a:cs typeface="+mn-cs"/>
              </a:rPr>
              <a:t>06</a:t>
            </a:r>
            <a:endParaRPr kumimoji="0" sz="2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2A3F"/>
                  </a:gs>
                  <a:gs pos="80000">
                    <a:srgbClr val="1F245E">
                      <a:alpha val="0"/>
                    </a:srgbClr>
                  </a:gs>
                </a:gsLst>
                <a:lin ang="5400000" scaled="1"/>
                <a:tileRect/>
              </a:gradFill>
              <a:effectLst/>
              <a:uLnTx/>
              <a:uFillTx/>
              <a:latin typeface="Roboto Black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543626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组合 45">
            <a:extLst>
              <a:ext uri="{FF2B5EF4-FFF2-40B4-BE49-F238E27FC236}">
                <a16:creationId xmlns:a16="http://schemas.microsoft.com/office/drawing/2014/main" id="{A358175B-4A22-4E9E-AB9D-4C097A37CCA0}"/>
              </a:ext>
            </a:extLst>
          </p:cNvPr>
          <p:cNvGrpSpPr/>
          <p:nvPr/>
        </p:nvGrpSpPr>
        <p:grpSpPr>
          <a:xfrm>
            <a:off x="-3" y="0"/>
            <a:ext cx="12192003" cy="6858000"/>
            <a:chOff x="-3" y="0"/>
            <a:chExt cx="12192003" cy="6858000"/>
          </a:xfrm>
        </p:grpSpPr>
        <p:sp>
          <p:nvSpPr>
            <p:cNvPr id="47" name="矩形: 圆角 46">
              <a:extLst>
                <a:ext uri="{FF2B5EF4-FFF2-40B4-BE49-F238E27FC236}">
                  <a16:creationId xmlns:a16="http://schemas.microsoft.com/office/drawing/2014/main" id="{FE1A1452-1076-415C-BFAB-87B2BA8CDB28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oundRect">
              <a:avLst>
                <a:gd name="adj" fmla="val 0"/>
              </a:avLst>
            </a:prstGeom>
            <a:blipFill dpi="0" rotWithShape="1">
              <a:blip r:embed="rId2">
                <a:alphaModFix amt="5000"/>
              </a:blip>
              <a:srcRect/>
              <a:stretch>
                <a:fillRect t="-12953" b="-12953"/>
              </a:stretch>
            </a:blipFill>
            <a:ln w="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R"/>
                <a:ea typeface="OPPOSans R"/>
                <a:cs typeface="+mn-cs"/>
              </a:endParaRPr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C5F1C248-2FCB-43B7-A229-1AE9EF5F7515}"/>
                </a:ext>
              </a:extLst>
            </p:cNvPr>
            <p:cNvSpPr txBox="1"/>
            <p:nvPr/>
          </p:nvSpPr>
          <p:spPr>
            <a:xfrm>
              <a:off x="673101" y="476238"/>
              <a:ext cx="6100389" cy="35610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锐字云字库综艺GB"/>
                  <a:ea typeface="+mj-ea"/>
                  <a:cs typeface="+mn-cs"/>
                </a:rPr>
                <a:t>设计师</a:t>
              </a:r>
              <a:r>
                <a:rPr kumimoji="0" lang="en-US" altLang="zh-CN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锐字云字库综艺GB"/>
                  <a:ea typeface="+mj-ea"/>
                  <a:cs typeface="+mn-cs"/>
                </a:rPr>
                <a:t>PPT</a:t>
              </a:r>
              <a:r>
                <a:rPr kumimoji="0" lang="zh-CN" alt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锐字云字库综艺GB"/>
                  <a:ea typeface="+mj-ea"/>
                  <a:cs typeface="+mn-cs"/>
                </a:rPr>
                <a:t>，海量素材持续更新</a:t>
              </a:r>
              <a:endPara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锐字云字库综艺GB"/>
                <a:ea typeface="+mj-ea"/>
                <a:cs typeface="+mn-cs"/>
              </a:endParaRPr>
            </a:p>
          </p:txBody>
        </p:sp>
        <p:sp>
          <p:nvSpPr>
            <p:cNvPr id="88" name="文本框 87">
              <a:extLst>
                <a:ext uri="{FF2B5EF4-FFF2-40B4-BE49-F238E27FC236}">
                  <a16:creationId xmlns:a16="http://schemas.microsoft.com/office/drawing/2014/main" id="{16EC3D04-1034-4709-898E-1138D743261F}"/>
                </a:ext>
              </a:extLst>
            </p:cNvPr>
            <p:cNvSpPr txBox="1"/>
            <p:nvPr/>
          </p:nvSpPr>
          <p:spPr>
            <a:xfrm>
              <a:off x="673100" y="869397"/>
              <a:ext cx="6100390" cy="184666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OPPOSans R"/>
                  <a:ea typeface="微软雅黑"/>
                  <a:cs typeface="+mn-cs"/>
                </a:rPr>
                <a:t>Mandamus mediocrem reprehendunt eum eu, cu pertinax ocurreret his. 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OPPOSans R"/>
                <a:ea typeface="微软雅黑"/>
                <a:cs typeface="+mn-cs"/>
              </a:endParaRPr>
            </a:p>
          </p:txBody>
        </p: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6D2C645A-5421-4B65-88AC-E376F7AA0863}"/>
                </a:ext>
              </a:extLst>
            </p:cNvPr>
            <p:cNvGrpSpPr/>
            <p:nvPr/>
          </p:nvGrpSpPr>
          <p:grpSpPr>
            <a:xfrm>
              <a:off x="0" y="5988602"/>
              <a:ext cx="12192000" cy="869397"/>
              <a:chOff x="0" y="5181104"/>
              <a:chExt cx="12192000" cy="1807276"/>
            </a:xfrm>
          </p:grpSpPr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79F0C25A-2019-420F-8DD9-F9C8F8135211}"/>
                  </a:ext>
                </a:extLst>
              </p:cNvPr>
              <p:cNvSpPr/>
              <p:nvPr/>
            </p:nvSpPr>
            <p:spPr>
              <a:xfrm>
                <a:off x="0" y="5181104"/>
                <a:ext cx="12192000" cy="1477042"/>
              </a:xfrm>
              <a:custGeom>
                <a:avLst/>
                <a:gdLst>
                  <a:gd name="connsiteX0" fmla="*/ 0 w 12192000"/>
                  <a:gd name="connsiteY0" fmla="*/ 0 h 2548005"/>
                  <a:gd name="connsiteX1" fmla="*/ 168614 w 12192000"/>
                  <a:gd name="connsiteY1" fmla="*/ 119903 h 2548005"/>
                  <a:gd name="connsiteX2" fmla="*/ 6096001 w 12192000"/>
                  <a:gd name="connsiteY2" fmla="*/ 1930469 h 2548005"/>
                  <a:gd name="connsiteX3" fmla="*/ 12023389 w 12192000"/>
                  <a:gd name="connsiteY3" fmla="*/ 119903 h 2548005"/>
                  <a:gd name="connsiteX4" fmla="*/ 12192000 w 12192000"/>
                  <a:gd name="connsiteY4" fmla="*/ 1 h 2548005"/>
                  <a:gd name="connsiteX5" fmla="*/ 12192000 w 12192000"/>
                  <a:gd name="connsiteY5" fmla="*/ 2548005 h 2548005"/>
                  <a:gd name="connsiteX6" fmla="*/ 0 w 12192000"/>
                  <a:gd name="connsiteY6" fmla="*/ 2548005 h 2548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192000" h="2548005">
                    <a:moveTo>
                      <a:pt x="0" y="0"/>
                    </a:moveTo>
                    <a:lnTo>
                      <a:pt x="168614" y="119903"/>
                    </a:lnTo>
                    <a:cubicBezTo>
                      <a:pt x="1860621" y="1263000"/>
                      <a:pt x="3900363" y="1930469"/>
                      <a:pt x="6096001" y="1930469"/>
                    </a:cubicBezTo>
                    <a:cubicBezTo>
                      <a:pt x="8291639" y="1930469"/>
                      <a:pt x="10331382" y="1263000"/>
                      <a:pt x="12023389" y="119903"/>
                    </a:cubicBezTo>
                    <a:lnTo>
                      <a:pt x="12192000" y="1"/>
                    </a:lnTo>
                    <a:lnTo>
                      <a:pt x="12192000" y="2548005"/>
                    </a:lnTo>
                    <a:lnTo>
                      <a:pt x="0" y="2548005"/>
                    </a:lnTo>
                    <a:close/>
                  </a:path>
                </a:pathLst>
              </a:custGeom>
              <a:solidFill>
                <a:schemeClr val="accent2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3D27F318-D86A-45A1-9101-C331A9AF3682}"/>
                  </a:ext>
                </a:extLst>
              </p:cNvPr>
              <p:cNvSpPr/>
              <p:nvPr/>
            </p:nvSpPr>
            <p:spPr>
              <a:xfrm>
                <a:off x="0" y="5362696"/>
                <a:ext cx="12192000" cy="1477042"/>
              </a:xfrm>
              <a:custGeom>
                <a:avLst/>
                <a:gdLst>
                  <a:gd name="connsiteX0" fmla="*/ 0 w 12192000"/>
                  <a:gd name="connsiteY0" fmla="*/ 0 h 2548005"/>
                  <a:gd name="connsiteX1" fmla="*/ 168614 w 12192000"/>
                  <a:gd name="connsiteY1" fmla="*/ 119903 h 2548005"/>
                  <a:gd name="connsiteX2" fmla="*/ 6096001 w 12192000"/>
                  <a:gd name="connsiteY2" fmla="*/ 1930469 h 2548005"/>
                  <a:gd name="connsiteX3" fmla="*/ 12023389 w 12192000"/>
                  <a:gd name="connsiteY3" fmla="*/ 119903 h 2548005"/>
                  <a:gd name="connsiteX4" fmla="*/ 12192000 w 12192000"/>
                  <a:gd name="connsiteY4" fmla="*/ 1 h 2548005"/>
                  <a:gd name="connsiteX5" fmla="*/ 12192000 w 12192000"/>
                  <a:gd name="connsiteY5" fmla="*/ 2548005 h 2548005"/>
                  <a:gd name="connsiteX6" fmla="*/ 0 w 12192000"/>
                  <a:gd name="connsiteY6" fmla="*/ 2548005 h 2548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192000" h="2548005">
                    <a:moveTo>
                      <a:pt x="0" y="0"/>
                    </a:moveTo>
                    <a:lnTo>
                      <a:pt x="168614" y="119903"/>
                    </a:lnTo>
                    <a:cubicBezTo>
                      <a:pt x="1860621" y="1263000"/>
                      <a:pt x="3900363" y="1930469"/>
                      <a:pt x="6096001" y="1930469"/>
                    </a:cubicBezTo>
                    <a:cubicBezTo>
                      <a:pt x="8291639" y="1930469"/>
                      <a:pt x="10331382" y="1263000"/>
                      <a:pt x="12023389" y="119903"/>
                    </a:cubicBezTo>
                    <a:lnTo>
                      <a:pt x="12192000" y="1"/>
                    </a:lnTo>
                    <a:lnTo>
                      <a:pt x="12192000" y="2548005"/>
                    </a:lnTo>
                    <a:lnTo>
                      <a:pt x="0" y="2548005"/>
                    </a:lnTo>
                    <a:close/>
                  </a:path>
                </a:pathLst>
              </a:cu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902FF3D8-6F56-442F-B947-F5DD8DE84347}"/>
                  </a:ext>
                </a:extLst>
              </p:cNvPr>
              <p:cNvSpPr/>
              <p:nvPr/>
            </p:nvSpPr>
            <p:spPr>
              <a:xfrm>
                <a:off x="0" y="5511338"/>
                <a:ext cx="12192000" cy="1477042"/>
              </a:xfrm>
              <a:custGeom>
                <a:avLst/>
                <a:gdLst>
                  <a:gd name="connsiteX0" fmla="*/ 0 w 12192000"/>
                  <a:gd name="connsiteY0" fmla="*/ 0 h 2548005"/>
                  <a:gd name="connsiteX1" fmla="*/ 168614 w 12192000"/>
                  <a:gd name="connsiteY1" fmla="*/ 119903 h 2548005"/>
                  <a:gd name="connsiteX2" fmla="*/ 6096001 w 12192000"/>
                  <a:gd name="connsiteY2" fmla="*/ 1930469 h 2548005"/>
                  <a:gd name="connsiteX3" fmla="*/ 12023389 w 12192000"/>
                  <a:gd name="connsiteY3" fmla="*/ 119903 h 2548005"/>
                  <a:gd name="connsiteX4" fmla="*/ 12192000 w 12192000"/>
                  <a:gd name="connsiteY4" fmla="*/ 1 h 2548005"/>
                  <a:gd name="connsiteX5" fmla="*/ 12192000 w 12192000"/>
                  <a:gd name="connsiteY5" fmla="*/ 2548005 h 2548005"/>
                  <a:gd name="connsiteX6" fmla="*/ 0 w 12192000"/>
                  <a:gd name="connsiteY6" fmla="*/ 2548005 h 2548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192000" h="2548005">
                    <a:moveTo>
                      <a:pt x="0" y="0"/>
                    </a:moveTo>
                    <a:lnTo>
                      <a:pt x="168614" y="119903"/>
                    </a:lnTo>
                    <a:cubicBezTo>
                      <a:pt x="1860621" y="1263000"/>
                      <a:pt x="3900363" y="1930469"/>
                      <a:pt x="6096001" y="1930469"/>
                    </a:cubicBezTo>
                    <a:cubicBezTo>
                      <a:pt x="8291639" y="1930469"/>
                      <a:pt x="10331382" y="1263000"/>
                      <a:pt x="12023389" y="119903"/>
                    </a:cubicBezTo>
                    <a:lnTo>
                      <a:pt x="12192000" y="1"/>
                    </a:lnTo>
                    <a:lnTo>
                      <a:pt x="12192000" y="2548005"/>
                    </a:lnTo>
                    <a:lnTo>
                      <a:pt x="0" y="2548005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53000">
                    <a:schemeClr val="accent1">
                      <a:lumMod val="80000"/>
                      <a:lumOff val="20000"/>
                    </a:schemeClr>
                  </a:gs>
                  <a:gs pos="100000">
                    <a:schemeClr val="accent1">
                      <a:lumMod val="90000"/>
                      <a:lumOff val="10000"/>
                    </a:schemeClr>
                  </a:gs>
                </a:gsLst>
                <a:lin ang="10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</p:grpSp>
        <p:grpSp>
          <p:nvGrpSpPr>
            <p:cNvPr id="90" name="组合 89">
              <a:extLst>
                <a:ext uri="{FF2B5EF4-FFF2-40B4-BE49-F238E27FC236}">
                  <a16:creationId xmlns:a16="http://schemas.microsoft.com/office/drawing/2014/main" id="{B3B25AFB-DE2C-4BE5-B486-6A8491E6B3E5}"/>
                </a:ext>
              </a:extLst>
            </p:cNvPr>
            <p:cNvGrpSpPr/>
            <p:nvPr/>
          </p:nvGrpSpPr>
          <p:grpSpPr>
            <a:xfrm>
              <a:off x="11048334" y="676853"/>
              <a:ext cx="470565" cy="128425"/>
              <a:chOff x="11048334" y="6264275"/>
              <a:chExt cx="470565" cy="128425"/>
            </a:xfrm>
          </p:grpSpPr>
          <p:sp>
            <p:nvSpPr>
              <p:cNvPr id="95" name="椭圆 94">
                <a:extLst>
                  <a:ext uri="{FF2B5EF4-FFF2-40B4-BE49-F238E27FC236}">
                    <a16:creationId xmlns:a16="http://schemas.microsoft.com/office/drawing/2014/main" id="{DD81EB16-C8D7-4C96-94B6-6FEB993BCC83}"/>
                  </a:ext>
                </a:extLst>
              </p:cNvPr>
              <p:cNvSpPr/>
              <p:nvPr/>
            </p:nvSpPr>
            <p:spPr>
              <a:xfrm>
                <a:off x="11390474" y="6264275"/>
                <a:ext cx="128425" cy="128425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53000">
                    <a:schemeClr val="accent1">
                      <a:lumMod val="80000"/>
                      <a:lumOff val="20000"/>
                    </a:schemeClr>
                  </a:gs>
                  <a:gs pos="100000">
                    <a:schemeClr val="accent1">
                      <a:lumMod val="90000"/>
                      <a:lumOff val="10000"/>
                    </a:schemeClr>
                  </a:gs>
                </a:gsLst>
                <a:lin ang="10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rmAutofit fontScale="25000" lnSpcReduction="20000"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  <p:sp>
            <p:nvSpPr>
              <p:cNvPr id="96" name="椭圆 95">
                <a:extLst>
                  <a:ext uri="{FF2B5EF4-FFF2-40B4-BE49-F238E27FC236}">
                    <a16:creationId xmlns:a16="http://schemas.microsoft.com/office/drawing/2014/main" id="{0C7757F8-3D36-43AD-8E14-54E472015350}"/>
                  </a:ext>
                </a:extLst>
              </p:cNvPr>
              <p:cNvSpPr/>
              <p:nvPr/>
            </p:nvSpPr>
            <p:spPr>
              <a:xfrm>
                <a:off x="11219404" y="6264275"/>
                <a:ext cx="128425" cy="128425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53000">
                    <a:schemeClr val="accent1">
                      <a:lumMod val="80000"/>
                      <a:lumOff val="20000"/>
                    </a:schemeClr>
                  </a:gs>
                  <a:gs pos="100000">
                    <a:schemeClr val="accent1">
                      <a:lumMod val="90000"/>
                      <a:lumOff val="10000"/>
                    </a:schemeClr>
                  </a:gs>
                </a:gsLst>
                <a:lin ang="10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rmAutofit fontScale="25000" lnSpcReduction="20000"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  <p:sp>
            <p:nvSpPr>
              <p:cNvPr id="97" name="椭圆 96">
                <a:extLst>
                  <a:ext uri="{FF2B5EF4-FFF2-40B4-BE49-F238E27FC236}">
                    <a16:creationId xmlns:a16="http://schemas.microsoft.com/office/drawing/2014/main" id="{AFAF942F-2EC3-4F9F-8E3D-E2730871ED1B}"/>
                  </a:ext>
                </a:extLst>
              </p:cNvPr>
              <p:cNvSpPr/>
              <p:nvPr/>
            </p:nvSpPr>
            <p:spPr>
              <a:xfrm>
                <a:off x="11048334" y="6264275"/>
                <a:ext cx="128425" cy="128425"/>
              </a:xfrm>
              <a:prstGeom prst="ellipse">
                <a:avLst/>
              </a:prstGeom>
              <a:gradFill>
                <a:gsLst>
                  <a:gs pos="0">
                    <a:schemeClr val="accent3">
                      <a:lumMod val="60000"/>
                      <a:lumOff val="40000"/>
                    </a:schemeClr>
                  </a:gs>
                  <a:gs pos="53000">
                    <a:schemeClr val="accent3">
                      <a:lumMod val="80000"/>
                      <a:lumOff val="20000"/>
                    </a:schemeClr>
                  </a:gs>
                  <a:gs pos="100000">
                    <a:schemeClr val="accent3">
                      <a:lumMod val="90000"/>
                      <a:lumOff val="10000"/>
                    </a:schemeClr>
                  </a:gs>
                </a:gsLst>
                <a:lin ang="10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</p:grpSp>
        <p:grpSp>
          <p:nvGrpSpPr>
            <p:cNvPr id="91" name="组合 90">
              <a:extLst>
                <a:ext uri="{FF2B5EF4-FFF2-40B4-BE49-F238E27FC236}">
                  <a16:creationId xmlns:a16="http://schemas.microsoft.com/office/drawing/2014/main" id="{FC0046D5-C526-4582-A0FC-6E8D65ACA899}"/>
                </a:ext>
              </a:extLst>
            </p:cNvPr>
            <p:cNvGrpSpPr/>
            <p:nvPr/>
          </p:nvGrpSpPr>
          <p:grpSpPr>
            <a:xfrm>
              <a:off x="-3" y="453430"/>
              <a:ext cx="630457" cy="575269"/>
              <a:chOff x="2127248" y="3944647"/>
              <a:chExt cx="630457" cy="575269"/>
            </a:xfrm>
          </p:grpSpPr>
          <p:sp>
            <p:nvSpPr>
              <p:cNvPr id="92" name="矩形: 圆顶角 141">
                <a:extLst>
                  <a:ext uri="{FF2B5EF4-FFF2-40B4-BE49-F238E27FC236}">
                    <a16:creationId xmlns:a16="http://schemas.microsoft.com/office/drawing/2014/main" id="{5CE201C9-3B5A-4D45-BC43-AFD344FF72CF}"/>
                  </a:ext>
                </a:extLst>
              </p:cNvPr>
              <p:cNvSpPr/>
              <p:nvPr/>
            </p:nvSpPr>
            <p:spPr>
              <a:xfrm rot="16200000" flipV="1">
                <a:off x="2154843" y="3917054"/>
                <a:ext cx="575269" cy="630455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  <p:sp>
            <p:nvSpPr>
              <p:cNvPr id="93" name="矩形: 圆顶角 92">
                <a:extLst>
                  <a:ext uri="{FF2B5EF4-FFF2-40B4-BE49-F238E27FC236}">
                    <a16:creationId xmlns:a16="http://schemas.microsoft.com/office/drawing/2014/main" id="{97B453FD-31F6-4D80-AF31-0729A9E626D2}"/>
                  </a:ext>
                </a:extLst>
              </p:cNvPr>
              <p:cNvSpPr/>
              <p:nvPr/>
            </p:nvSpPr>
            <p:spPr>
              <a:xfrm rot="16200000" flipV="1">
                <a:off x="2132940" y="4017741"/>
                <a:ext cx="417697" cy="42908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53000">
                    <a:schemeClr val="accent1">
                      <a:lumMod val="80000"/>
                      <a:lumOff val="20000"/>
                    </a:schemeClr>
                  </a:gs>
                  <a:gs pos="100000">
                    <a:schemeClr val="accent1">
                      <a:lumMod val="90000"/>
                      <a:lumOff val="10000"/>
                    </a:schemeClr>
                  </a:gs>
                </a:gsLst>
                <a:lin ang="10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  <p:sp>
            <p:nvSpPr>
              <p:cNvPr id="94" name="矩形: 圆顶角 141">
                <a:extLst>
                  <a:ext uri="{FF2B5EF4-FFF2-40B4-BE49-F238E27FC236}">
                    <a16:creationId xmlns:a16="http://schemas.microsoft.com/office/drawing/2014/main" id="{1D0C6105-4E14-4119-BC68-31B6B5F4C06A}"/>
                  </a:ext>
                </a:extLst>
              </p:cNvPr>
              <p:cNvSpPr/>
              <p:nvPr/>
            </p:nvSpPr>
            <p:spPr>
              <a:xfrm rot="16200000" flipV="1">
                <a:off x="2145709" y="3969534"/>
                <a:ext cx="488577" cy="525495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POSans R"/>
                  <a:ea typeface="OPPOSans R"/>
                  <a:cs typeface="+mn-cs"/>
                </a:endParaRPr>
              </a:p>
            </p:txBody>
          </p:sp>
        </p:grpSp>
      </p:grp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F3319A35-D319-4197-B364-EAF54ADB3D7B}"/>
              </a:ext>
            </a:extLst>
          </p:cNvPr>
          <p:cNvSpPr/>
          <p:nvPr/>
        </p:nvSpPr>
        <p:spPr>
          <a:xfrm>
            <a:off x="8880875" y="2788653"/>
            <a:ext cx="463546" cy="2084232"/>
          </a:xfrm>
          <a:prstGeom prst="roundRect">
            <a:avLst>
              <a:gd name="adj" fmla="val 50000"/>
            </a:avLst>
          </a:prstGeom>
          <a:solidFill>
            <a:schemeClr val="accent2">
              <a:alpha val="30000"/>
            </a:schemeClr>
          </a:solidFill>
          <a:ln w="19050" cap="rnd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阿里巴巴普惠体 B" panose="00020600040101010101" pitchFamily="18" charset="-122"/>
              <a:cs typeface="+mn-cs"/>
            </a:endParaRPr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4C508B96-4F1D-4BF0-835F-D2D54ABED2CC}"/>
              </a:ext>
            </a:extLst>
          </p:cNvPr>
          <p:cNvSpPr/>
          <p:nvPr/>
        </p:nvSpPr>
        <p:spPr>
          <a:xfrm>
            <a:off x="6869822" y="2788653"/>
            <a:ext cx="463546" cy="2084232"/>
          </a:xfrm>
          <a:prstGeom prst="roundRect">
            <a:avLst>
              <a:gd name="adj" fmla="val 50000"/>
            </a:avLst>
          </a:prstGeom>
          <a:solidFill>
            <a:schemeClr val="accent2">
              <a:alpha val="30000"/>
            </a:schemeClr>
          </a:solidFill>
          <a:ln w="19050" cap="rnd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阿里巴巴普惠体 B" panose="00020600040101010101" pitchFamily="18" charset="-122"/>
              <a:cs typeface="+mn-cs"/>
            </a:endParaRP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DAF710B6-F8A7-48B5-BAF5-CCB5A5F6B5CD}"/>
              </a:ext>
            </a:extLst>
          </p:cNvPr>
          <p:cNvSpPr/>
          <p:nvPr/>
        </p:nvSpPr>
        <p:spPr>
          <a:xfrm>
            <a:off x="4858773" y="2788653"/>
            <a:ext cx="463546" cy="2084232"/>
          </a:xfrm>
          <a:prstGeom prst="roundRect">
            <a:avLst>
              <a:gd name="adj" fmla="val 50000"/>
            </a:avLst>
          </a:prstGeom>
          <a:solidFill>
            <a:schemeClr val="accent2">
              <a:alpha val="30000"/>
            </a:schemeClr>
          </a:solidFill>
          <a:ln w="19050" cap="rnd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阿里巴巴普惠体 B" panose="00020600040101010101" pitchFamily="18" charset="-122"/>
              <a:cs typeface="+mn-cs"/>
            </a:endParaRPr>
          </a:p>
        </p:txBody>
      </p: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6E2E6311-E5D5-4A41-BA45-089366E8B08A}"/>
              </a:ext>
            </a:extLst>
          </p:cNvPr>
          <p:cNvSpPr/>
          <p:nvPr/>
        </p:nvSpPr>
        <p:spPr>
          <a:xfrm>
            <a:off x="2847119" y="2788653"/>
            <a:ext cx="463546" cy="2084232"/>
          </a:xfrm>
          <a:prstGeom prst="roundRect">
            <a:avLst>
              <a:gd name="adj" fmla="val 50000"/>
            </a:avLst>
          </a:prstGeom>
          <a:solidFill>
            <a:schemeClr val="accent2">
              <a:alpha val="30000"/>
            </a:schemeClr>
          </a:solidFill>
          <a:ln w="19050" cap="rnd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阿里巴巴普惠体 B" panose="00020600040101010101" pitchFamily="18" charset="-122"/>
              <a:ea typeface="Lantinghei SC Demibold" charset="-122"/>
              <a:cs typeface="Lantinghei SC Demibold" charset="-122"/>
            </a:endParaRPr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D9A86874-70B8-45CF-93B1-84616D9FBE72}"/>
              </a:ext>
            </a:extLst>
          </p:cNvPr>
          <p:cNvSpPr/>
          <p:nvPr/>
        </p:nvSpPr>
        <p:spPr>
          <a:xfrm>
            <a:off x="828676" y="2768449"/>
            <a:ext cx="2490446" cy="46746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gradFill flip="none" rotWithShape="1">
              <a:gsLst>
                <a:gs pos="30000">
                  <a:schemeClr val="accent2">
                    <a:alpha val="44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</a:ln>
          <a:effectLst>
            <a:outerShdw blurRad="228600" sx="98000" sy="98000" algn="ctr" rotWithShape="0">
              <a:schemeClr val="accent2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更快更轻松</a:t>
            </a:r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C9267989-9632-49E1-B345-C6B162FEC877}"/>
              </a:ext>
            </a:extLst>
          </p:cNvPr>
          <p:cNvSpPr/>
          <p:nvPr/>
        </p:nvSpPr>
        <p:spPr>
          <a:xfrm>
            <a:off x="8872878" y="2768449"/>
            <a:ext cx="2490446" cy="46746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gradFill flip="none" rotWithShape="1">
              <a:gsLst>
                <a:gs pos="30000">
                  <a:schemeClr val="accent2">
                    <a:alpha val="44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</a:ln>
          <a:effectLst>
            <a:outerShdw blurRad="228600" sx="98000" sy="98000" algn="ctr" rotWithShape="0">
              <a:schemeClr val="accent2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更快更轻松</a:t>
            </a: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48A12ED2-CCC9-4129-B4AD-784A78BACA21}"/>
              </a:ext>
            </a:extLst>
          </p:cNvPr>
          <p:cNvSpPr/>
          <p:nvPr/>
        </p:nvSpPr>
        <p:spPr>
          <a:xfrm>
            <a:off x="4850776" y="2768449"/>
            <a:ext cx="2490446" cy="46746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gradFill flip="none" rotWithShape="1">
              <a:gsLst>
                <a:gs pos="30000">
                  <a:schemeClr val="accent2">
                    <a:alpha val="44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</a:ln>
          <a:effectLst>
            <a:outerShdw blurRad="228600" sx="98000" sy="98000" algn="ctr" rotWithShape="0">
              <a:schemeClr val="accent2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更快更轻松</a:t>
            </a:r>
          </a:p>
        </p:txBody>
      </p: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897E1F15-5068-475C-95FB-832E8E339CFD}"/>
              </a:ext>
            </a:extLst>
          </p:cNvPr>
          <p:cNvSpPr/>
          <p:nvPr/>
        </p:nvSpPr>
        <p:spPr>
          <a:xfrm>
            <a:off x="2839726" y="4418711"/>
            <a:ext cx="2490446" cy="46746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gradFill flip="none" rotWithShape="1">
              <a:gsLst>
                <a:gs pos="30000">
                  <a:schemeClr val="accent2">
                    <a:alpha val="44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</a:ln>
          <a:effectLst>
            <a:outerShdw blurRad="228600" sx="98000" sy="98000" algn="ctr" rotWithShape="0">
              <a:schemeClr val="accent2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更快更轻松</a:t>
            </a: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666D1357-C536-4733-9330-9D0B74BD82AC}"/>
              </a:ext>
            </a:extLst>
          </p:cNvPr>
          <p:cNvSpPr/>
          <p:nvPr/>
        </p:nvSpPr>
        <p:spPr>
          <a:xfrm>
            <a:off x="6861827" y="4418711"/>
            <a:ext cx="2490446" cy="46746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gradFill flip="none" rotWithShape="1">
              <a:gsLst>
                <a:gs pos="30000">
                  <a:schemeClr val="accent2">
                    <a:alpha val="44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</a:ln>
          <a:effectLst>
            <a:outerShdw blurRad="228600" sx="98000" sy="98000" algn="ctr" rotWithShape="0">
              <a:schemeClr val="accent2">
                <a:alpha val="2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69B7">
                        <a:lumMod val="60000"/>
                        <a:lumOff val="40000"/>
                      </a:srgbClr>
                    </a:gs>
                    <a:gs pos="53000">
                      <a:srgbClr val="0069B7">
                        <a:lumMod val="80000"/>
                        <a:lumOff val="20000"/>
                      </a:srgbClr>
                    </a:gs>
                    <a:gs pos="100000">
                      <a:srgbClr val="0069B7">
                        <a:lumMod val="90000"/>
                        <a:lumOff val="10000"/>
                      </a:srgbClr>
                    </a:gs>
                  </a:gsLst>
                  <a:lin ang="10800000" scaled="0"/>
                </a:gra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更快更轻松</a:t>
            </a:r>
          </a:p>
        </p:txBody>
      </p:sp>
      <p:sp>
        <p:nvSpPr>
          <p:cNvPr id="35" name="Rectangle 3">
            <a:extLst>
              <a:ext uri="{FF2B5EF4-FFF2-40B4-BE49-F238E27FC236}">
                <a16:creationId xmlns:a16="http://schemas.microsoft.com/office/drawing/2014/main" id="{6078C3EE-3705-49B4-B11A-EEA96D831F27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891897" y="1861760"/>
            <a:ext cx="2367253" cy="70487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5BACA2F3-2722-4CED-BA00-32EF6A02DBDD}"/>
              </a:ext>
            </a:extLst>
          </p:cNvPr>
          <p:cNvSpPr/>
          <p:nvPr/>
        </p:nvSpPr>
        <p:spPr>
          <a:xfrm>
            <a:off x="7891247" y="3664527"/>
            <a:ext cx="102071" cy="37754"/>
          </a:xfrm>
          <a:custGeom>
            <a:avLst/>
            <a:gdLst>
              <a:gd name="connsiteX0" fmla="*/ 23813 w 28575"/>
              <a:gd name="connsiteY0" fmla="*/ 9525 h 9525"/>
              <a:gd name="connsiteX1" fmla="*/ 28575 w 28575"/>
              <a:gd name="connsiteY1" fmla="*/ 4763 h 9525"/>
              <a:gd name="connsiteX2" fmla="*/ 23813 w 28575"/>
              <a:gd name="connsiteY2" fmla="*/ 0 h 9525"/>
              <a:gd name="connsiteX3" fmla="*/ 19050 w 28575"/>
              <a:gd name="connsiteY3" fmla="*/ 4763 h 9525"/>
              <a:gd name="connsiteX4" fmla="*/ 23813 w 28575"/>
              <a:gd name="connsiteY4" fmla="*/ 9525 h 9525"/>
              <a:gd name="connsiteX5" fmla="*/ 9525 w 28575"/>
              <a:gd name="connsiteY5" fmla="*/ 4763 h 9525"/>
              <a:gd name="connsiteX6" fmla="*/ 4763 w 28575"/>
              <a:gd name="connsiteY6" fmla="*/ 9525 h 9525"/>
              <a:gd name="connsiteX7" fmla="*/ 0 w 28575"/>
              <a:gd name="connsiteY7" fmla="*/ 4763 h 9525"/>
              <a:gd name="connsiteX8" fmla="*/ 4763 w 28575"/>
              <a:gd name="connsiteY8" fmla="*/ 0 h 9525"/>
              <a:gd name="connsiteX9" fmla="*/ 9525 w 28575"/>
              <a:gd name="connsiteY9" fmla="*/ 4763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575" h="9525">
                <a:moveTo>
                  <a:pt x="23813" y="9525"/>
                </a:moveTo>
                <a:cubicBezTo>
                  <a:pt x="26443" y="9525"/>
                  <a:pt x="28575" y="7393"/>
                  <a:pt x="28575" y="4763"/>
                </a:cubicBezTo>
                <a:cubicBezTo>
                  <a:pt x="28575" y="2132"/>
                  <a:pt x="26443" y="0"/>
                  <a:pt x="23813" y="0"/>
                </a:cubicBezTo>
                <a:cubicBezTo>
                  <a:pt x="21182" y="0"/>
                  <a:pt x="19050" y="2132"/>
                  <a:pt x="19050" y="4763"/>
                </a:cubicBezTo>
                <a:cubicBezTo>
                  <a:pt x="19050" y="7393"/>
                  <a:pt x="21182" y="9525"/>
                  <a:pt x="23813" y="9525"/>
                </a:cubicBezTo>
                <a:close/>
                <a:moveTo>
                  <a:pt x="9525" y="4763"/>
                </a:moveTo>
                <a:cubicBezTo>
                  <a:pt x="9525" y="7393"/>
                  <a:pt x="7393" y="9525"/>
                  <a:pt x="4763" y="9525"/>
                </a:cubicBezTo>
                <a:cubicBezTo>
                  <a:pt x="2132" y="9525"/>
                  <a:pt x="0" y="7393"/>
                  <a:pt x="0" y="4763"/>
                </a:cubicBezTo>
                <a:cubicBezTo>
                  <a:pt x="0" y="2132"/>
                  <a:pt x="2132" y="0"/>
                  <a:pt x="4763" y="0"/>
                </a:cubicBezTo>
                <a:cubicBezTo>
                  <a:pt x="7393" y="0"/>
                  <a:pt x="9525" y="2132"/>
                  <a:pt x="9525" y="4763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9" name="任意多边形: 形状 58">
            <a:extLst>
              <a:ext uri="{FF2B5EF4-FFF2-40B4-BE49-F238E27FC236}">
                <a16:creationId xmlns:a16="http://schemas.microsoft.com/office/drawing/2014/main" id="{575B3AED-6E98-4C69-B622-9B5A388176F4}"/>
              </a:ext>
            </a:extLst>
          </p:cNvPr>
          <p:cNvSpPr/>
          <p:nvPr/>
        </p:nvSpPr>
        <p:spPr>
          <a:xfrm>
            <a:off x="7823200" y="3589020"/>
            <a:ext cx="544376" cy="453043"/>
          </a:xfrm>
          <a:custGeom>
            <a:avLst/>
            <a:gdLst>
              <a:gd name="connsiteX0" fmla="*/ 0 w 152400"/>
              <a:gd name="connsiteY0" fmla="*/ 19050 h 114300"/>
              <a:gd name="connsiteX1" fmla="*/ 19050 w 152400"/>
              <a:gd name="connsiteY1" fmla="*/ 0 h 114300"/>
              <a:gd name="connsiteX2" fmla="*/ 133350 w 152400"/>
              <a:gd name="connsiteY2" fmla="*/ 0 h 114300"/>
              <a:gd name="connsiteX3" fmla="*/ 152400 w 152400"/>
              <a:gd name="connsiteY3" fmla="*/ 19050 h 114300"/>
              <a:gd name="connsiteX4" fmla="*/ 152400 w 152400"/>
              <a:gd name="connsiteY4" fmla="*/ 28575 h 114300"/>
              <a:gd name="connsiteX5" fmla="*/ 133350 w 152400"/>
              <a:gd name="connsiteY5" fmla="*/ 47625 h 114300"/>
              <a:gd name="connsiteX6" fmla="*/ 80963 w 152400"/>
              <a:gd name="connsiteY6" fmla="*/ 47625 h 114300"/>
              <a:gd name="connsiteX7" fmla="*/ 80963 w 152400"/>
              <a:gd name="connsiteY7" fmla="*/ 76200 h 114300"/>
              <a:gd name="connsiteX8" fmla="*/ 95250 w 152400"/>
              <a:gd name="connsiteY8" fmla="*/ 90488 h 114300"/>
              <a:gd name="connsiteX9" fmla="*/ 147638 w 152400"/>
              <a:gd name="connsiteY9" fmla="*/ 90488 h 114300"/>
              <a:gd name="connsiteX10" fmla="*/ 152400 w 152400"/>
              <a:gd name="connsiteY10" fmla="*/ 95250 h 114300"/>
              <a:gd name="connsiteX11" fmla="*/ 147638 w 152400"/>
              <a:gd name="connsiteY11" fmla="*/ 100013 h 114300"/>
              <a:gd name="connsiteX12" fmla="*/ 95250 w 152400"/>
              <a:gd name="connsiteY12" fmla="*/ 100013 h 114300"/>
              <a:gd name="connsiteX13" fmla="*/ 80963 w 152400"/>
              <a:gd name="connsiteY13" fmla="*/ 114300 h 114300"/>
              <a:gd name="connsiteX14" fmla="*/ 71438 w 152400"/>
              <a:gd name="connsiteY14" fmla="*/ 114300 h 114300"/>
              <a:gd name="connsiteX15" fmla="*/ 57150 w 152400"/>
              <a:gd name="connsiteY15" fmla="*/ 100013 h 114300"/>
              <a:gd name="connsiteX16" fmla="*/ 4763 w 152400"/>
              <a:gd name="connsiteY16" fmla="*/ 100013 h 114300"/>
              <a:gd name="connsiteX17" fmla="*/ 0 w 152400"/>
              <a:gd name="connsiteY17" fmla="*/ 95250 h 114300"/>
              <a:gd name="connsiteX18" fmla="*/ 4763 w 152400"/>
              <a:gd name="connsiteY18" fmla="*/ 90488 h 114300"/>
              <a:gd name="connsiteX19" fmla="*/ 57150 w 152400"/>
              <a:gd name="connsiteY19" fmla="*/ 90488 h 114300"/>
              <a:gd name="connsiteX20" fmla="*/ 71438 w 152400"/>
              <a:gd name="connsiteY20" fmla="*/ 76200 h 114300"/>
              <a:gd name="connsiteX21" fmla="*/ 71438 w 152400"/>
              <a:gd name="connsiteY21" fmla="*/ 47625 h 114300"/>
              <a:gd name="connsiteX22" fmla="*/ 19050 w 152400"/>
              <a:gd name="connsiteY22" fmla="*/ 47625 h 114300"/>
              <a:gd name="connsiteX23" fmla="*/ 0 w 152400"/>
              <a:gd name="connsiteY23" fmla="*/ 28575 h 114300"/>
              <a:gd name="connsiteX24" fmla="*/ 0 w 152400"/>
              <a:gd name="connsiteY24" fmla="*/ 19050 h 114300"/>
              <a:gd name="connsiteX25" fmla="*/ 9525 w 152400"/>
              <a:gd name="connsiteY25" fmla="*/ 19050 h 114300"/>
              <a:gd name="connsiteX26" fmla="*/ 9525 w 152400"/>
              <a:gd name="connsiteY26" fmla="*/ 28575 h 114300"/>
              <a:gd name="connsiteX27" fmla="*/ 19050 w 152400"/>
              <a:gd name="connsiteY27" fmla="*/ 38100 h 114300"/>
              <a:gd name="connsiteX28" fmla="*/ 133350 w 152400"/>
              <a:gd name="connsiteY28" fmla="*/ 38100 h 114300"/>
              <a:gd name="connsiteX29" fmla="*/ 142875 w 152400"/>
              <a:gd name="connsiteY29" fmla="*/ 28575 h 114300"/>
              <a:gd name="connsiteX30" fmla="*/ 142875 w 152400"/>
              <a:gd name="connsiteY30" fmla="*/ 19050 h 114300"/>
              <a:gd name="connsiteX31" fmla="*/ 133350 w 152400"/>
              <a:gd name="connsiteY31" fmla="*/ 9525 h 114300"/>
              <a:gd name="connsiteX32" fmla="*/ 19050 w 152400"/>
              <a:gd name="connsiteY32" fmla="*/ 9525 h 114300"/>
              <a:gd name="connsiteX33" fmla="*/ 9525 w 152400"/>
              <a:gd name="connsiteY33" fmla="*/ 19050 h 114300"/>
              <a:gd name="connsiteX34" fmla="*/ 66675 w 152400"/>
              <a:gd name="connsiteY34" fmla="*/ 90488 h 114300"/>
              <a:gd name="connsiteX35" fmla="*/ 66675 w 152400"/>
              <a:gd name="connsiteY35" fmla="*/ 100013 h 114300"/>
              <a:gd name="connsiteX36" fmla="*/ 71438 w 152400"/>
              <a:gd name="connsiteY36" fmla="*/ 104775 h 114300"/>
              <a:gd name="connsiteX37" fmla="*/ 80963 w 152400"/>
              <a:gd name="connsiteY37" fmla="*/ 104775 h 114300"/>
              <a:gd name="connsiteX38" fmla="*/ 85725 w 152400"/>
              <a:gd name="connsiteY38" fmla="*/ 100013 h 114300"/>
              <a:gd name="connsiteX39" fmla="*/ 85725 w 152400"/>
              <a:gd name="connsiteY39" fmla="*/ 90488 h 114300"/>
              <a:gd name="connsiteX40" fmla="*/ 80963 w 152400"/>
              <a:gd name="connsiteY40" fmla="*/ 85725 h 114300"/>
              <a:gd name="connsiteX41" fmla="*/ 71438 w 152400"/>
              <a:gd name="connsiteY41" fmla="*/ 85725 h 114300"/>
              <a:gd name="connsiteX42" fmla="*/ 66675 w 152400"/>
              <a:gd name="connsiteY42" fmla="*/ 90488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52400" h="114300">
                <a:moveTo>
                  <a:pt x="0" y="19050"/>
                </a:moveTo>
                <a:cubicBezTo>
                  <a:pt x="0" y="8529"/>
                  <a:pt x="8529" y="0"/>
                  <a:pt x="19050" y="0"/>
                </a:cubicBezTo>
                <a:lnTo>
                  <a:pt x="133350" y="0"/>
                </a:lnTo>
                <a:cubicBezTo>
                  <a:pt x="143871" y="0"/>
                  <a:pt x="152400" y="8529"/>
                  <a:pt x="152400" y="19050"/>
                </a:cubicBezTo>
                <a:lnTo>
                  <a:pt x="152400" y="28575"/>
                </a:lnTo>
                <a:cubicBezTo>
                  <a:pt x="152400" y="39096"/>
                  <a:pt x="143871" y="47625"/>
                  <a:pt x="133350" y="47625"/>
                </a:cubicBezTo>
                <a:lnTo>
                  <a:pt x="80963" y="47625"/>
                </a:lnTo>
                <a:lnTo>
                  <a:pt x="80963" y="76200"/>
                </a:lnTo>
                <a:cubicBezTo>
                  <a:pt x="88853" y="76200"/>
                  <a:pt x="95250" y="82597"/>
                  <a:pt x="95250" y="90488"/>
                </a:cubicBezTo>
                <a:lnTo>
                  <a:pt x="147638" y="90488"/>
                </a:lnTo>
                <a:cubicBezTo>
                  <a:pt x="150267" y="90488"/>
                  <a:pt x="152400" y="92620"/>
                  <a:pt x="152400" y="95250"/>
                </a:cubicBezTo>
                <a:cubicBezTo>
                  <a:pt x="152400" y="97880"/>
                  <a:pt x="150267" y="100013"/>
                  <a:pt x="147638" y="100013"/>
                </a:cubicBezTo>
                <a:lnTo>
                  <a:pt x="95250" y="100013"/>
                </a:lnTo>
                <a:cubicBezTo>
                  <a:pt x="95250" y="107903"/>
                  <a:pt x="88853" y="114300"/>
                  <a:pt x="80963" y="114300"/>
                </a:cubicBezTo>
                <a:lnTo>
                  <a:pt x="71438" y="114300"/>
                </a:lnTo>
                <a:cubicBezTo>
                  <a:pt x="63547" y="114300"/>
                  <a:pt x="57150" y="107903"/>
                  <a:pt x="57150" y="100013"/>
                </a:cubicBezTo>
                <a:lnTo>
                  <a:pt x="4763" y="100013"/>
                </a:lnTo>
                <a:cubicBezTo>
                  <a:pt x="2132" y="100013"/>
                  <a:pt x="0" y="97880"/>
                  <a:pt x="0" y="95250"/>
                </a:cubicBezTo>
                <a:cubicBezTo>
                  <a:pt x="0" y="92620"/>
                  <a:pt x="2132" y="90488"/>
                  <a:pt x="4763" y="90488"/>
                </a:cubicBezTo>
                <a:lnTo>
                  <a:pt x="57150" y="90488"/>
                </a:lnTo>
                <a:cubicBezTo>
                  <a:pt x="57150" y="82597"/>
                  <a:pt x="63547" y="76200"/>
                  <a:pt x="71438" y="76200"/>
                </a:cubicBezTo>
                <a:lnTo>
                  <a:pt x="71438" y="47625"/>
                </a:lnTo>
                <a:lnTo>
                  <a:pt x="19050" y="47625"/>
                </a:lnTo>
                <a:cubicBezTo>
                  <a:pt x="8529" y="47625"/>
                  <a:pt x="0" y="39096"/>
                  <a:pt x="0" y="28575"/>
                </a:cubicBezTo>
                <a:lnTo>
                  <a:pt x="0" y="19050"/>
                </a:lnTo>
                <a:close/>
                <a:moveTo>
                  <a:pt x="9525" y="19050"/>
                </a:moveTo>
                <a:lnTo>
                  <a:pt x="9525" y="28575"/>
                </a:lnTo>
                <a:cubicBezTo>
                  <a:pt x="9525" y="33835"/>
                  <a:pt x="13790" y="38100"/>
                  <a:pt x="19050" y="38100"/>
                </a:cubicBezTo>
                <a:lnTo>
                  <a:pt x="133350" y="38100"/>
                </a:lnTo>
                <a:cubicBezTo>
                  <a:pt x="138611" y="38100"/>
                  <a:pt x="142875" y="33835"/>
                  <a:pt x="142875" y="28575"/>
                </a:cubicBezTo>
                <a:lnTo>
                  <a:pt x="142875" y="19050"/>
                </a:lnTo>
                <a:cubicBezTo>
                  <a:pt x="142875" y="13790"/>
                  <a:pt x="138611" y="9525"/>
                  <a:pt x="133350" y="9525"/>
                </a:cubicBezTo>
                <a:lnTo>
                  <a:pt x="19050" y="9525"/>
                </a:lnTo>
                <a:cubicBezTo>
                  <a:pt x="13790" y="9525"/>
                  <a:pt x="9525" y="13790"/>
                  <a:pt x="9525" y="19050"/>
                </a:cubicBezTo>
                <a:close/>
                <a:moveTo>
                  <a:pt x="66675" y="90488"/>
                </a:moveTo>
                <a:lnTo>
                  <a:pt x="66675" y="100013"/>
                </a:lnTo>
                <a:cubicBezTo>
                  <a:pt x="66675" y="102642"/>
                  <a:pt x="68807" y="104775"/>
                  <a:pt x="71438" y="104775"/>
                </a:cubicBezTo>
                <a:lnTo>
                  <a:pt x="80963" y="104775"/>
                </a:lnTo>
                <a:cubicBezTo>
                  <a:pt x="83593" y="104775"/>
                  <a:pt x="85725" y="102642"/>
                  <a:pt x="85725" y="100013"/>
                </a:cubicBezTo>
                <a:lnTo>
                  <a:pt x="85725" y="90488"/>
                </a:lnTo>
                <a:cubicBezTo>
                  <a:pt x="85725" y="87858"/>
                  <a:pt x="83593" y="85725"/>
                  <a:pt x="80963" y="85725"/>
                </a:cubicBezTo>
                <a:lnTo>
                  <a:pt x="71438" y="85725"/>
                </a:lnTo>
                <a:cubicBezTo>
                  <a:pt x="68807" y="85725"/>
                  <a:pt x="66675" y="87858"/>
                  <a:pt x="66675" y="90488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87920078-5B52-41EA-AE60-B6E9701B4610}"/>
              </a:ext>
            </a:extLst>
          </p:cNvPr>
          <p:cNvSpPr/>
          <p:nvPr/>
        </p:nvSpPr>
        <p:spPr>
          <a:xfrm>
            <a:off x="9886799" y="3576320"/>
            <a:ext cx="418194" cy="418194"/>
          </a:xfrm>
          <a:custGeom>
            <a:avLst/>
            <a:gdLst>
              <a:gd name="connsiteX0" fmla="*/ 0 w 418194"/>
              <a:gd name="connsiteY0" fmla="*/ 87124 h 418194"/>
              <a:gd name="connsiteX1" fmla="*/ 17425 w 418194"/>
              <a:gd name="connsiteY1" fmla="*/ 104549 h 418194"/>
              <a:gd name="connsiteX2" fmla="*/ 400769 w 418194"/>
              <a:gd name="connsiteY2" fmla="*/ 104549 h 418194"/>
              <a:gd name="connsiteX3" fmla="*/ 418194 w 418194"/>
              <a:gd name="connsiteY3" fmla="*/ 87124 h 418194"/>
              <a:gd name="connsiteX4" fmla="*/ 400769 w 418194"/>
              <a:gd name="connsiteY4" fmla="*/ 69699 h 418194"/>
              <a:gd name="connsiteX5" fmla="*/ 17425 w 418194"/>
              <a:gd name="connsiteY5" fmla="*/ 69699 h 418194"/>
              <a:gd name="connsiteX6" fmla="*/ 0 w 418194"/>
              <a:gd name="connsiteY6" fmla="*/ 87124 h 418194"/>
              <a:gd name="connsiteX7" fmla="*/ 69699 w 418194"/>
              <a:gd name="connsiteY7" fmla="*/ 17425 h 418194"/>
              <a:gd name="connsiteX8" fmla="*/ 87124 w 418194"/>
              <a:gd name="connsiteY8" fmla="*/ 34850 h 418194"/>
              <a:gd name="connsiteX9" fmla="*/ 331070 w 418194"/>
              <a:gd name="connsiteY9" fmla="*/ 34850 h 418194"/>
              <a:gd name="connsiteX10" fmla="*/ 348495 w 418194"/>
              <a:gd name="connsiteY10" fmla="*/ 17425 h 418194"/>
              <a:gd name="connsiteX11" fmla="*/ 331070 w 418194"/>
              <a:gd name="connsiteY11" fmla="*/ 0 h 418194"/>
              <a:gd name="connsiteX12" fmla="*/ 87124 w 418194"/>
              <a:gd name="connsiteY12" fmla="*/ 0 h 418194"/>
              <a:gd name="connsiteX13" fmla="*/ 69699 w 418194"/>
              <a:gd name="connsiteY13" fmla="*/ 17425 h 418194"/>
              <a:gd name="connsiteX14" fmla="*/ 166058 w 418194"/>
              <a:gd name="connsiteY14" fmla="*/ 211746 h 418194"/>
              <a:gd name="connsiteX15" fmla="*/ 142047 w 418194"/>
              <a:gd name="connsiteY15" fmla="*/ 217287 h 418194"/>
              <a:gd name="connsiteX16" fmla="*/ 139398 w 418194"/>
              <a:gd name="connsiteY16" fmla="*/ 226522 h 418194"/>
              <a:gd name="connsiteX17" fmla="*/ 139398 w 418194"/>
              <a:gd name="connsiteY17" fmla="*/ 400769 h 418194"/>
              <a:gd name="connsiteX18" fmla="*/ 156823 w 418194"/>
              <a:gd name="connsiteY18" fmla="*/ 418194 h 418194"/>
              <a:gd name="connsiteX19" fmla="*/ 166058 w 418194"/>
              <a:gd name="connsiteY19" fmla="*/ 415545 h 418194"/>
              <a:gd name="connsiteX20" fmla="*/ 305456 w 418194"/>
              <a:gd name="connsiteY20" fmla="*/ 328422 h 418194"/>
              <a:gd name="connsiteX21" fmla="*/ 310997 w 418194"/>
              <a:gd name="connsiteY21" fmla="*/ 304410 h 418194"/>
              <a:gd name="connsiteX22" fmla="*/ 305456 w 418194"/>
              <a:gd name="connsiteY22" fmla="*/ 298869 h 418194"/>
              <a:gd name="connsiteX23" fmla="*/ 166058 w 418194"/>
              <a:gd name="connsiteY23" fmla="*/ 211746 h 418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18194" h="418194">
                <a:moveTo>
                  <a:pt x="0" y="87124"/>
                </a:moveTo>
                <a:cubicBezTo>
                  <a:pt x="0" y="96747"/>
                  <a:pt x="7801" y="104549"/>
                  <a:pt x="17425" y="104549"/>
                </a:cubicBezTo>
                <a:lnTo>
                  <a:pt x="400769" y="104549"/>
                </a:lnTo>
                <a:cubicBezTo>
                  <a:pt x="410391" y="104549"/>
                  <a:pt x="418194" y="96747"/>
                  <a:pt x="418194" y="87124"/>
                </a:cubicBezTo>
                <a:cubicBezTo>
                  <a:pt x="418194" y="77500"/>
                  <a:pt x="410391" y="69699"/>
                  <a:pt x="400769" y="69699"/>
                </a:cubicBezTo>
                <a:lnTo>
                  <a:pt x="17425" y="69699"/>
                </a:lnTo>
                <a:cubicBezTo>
                  <a:pt x="7801" y="69699"/>
                  <a:pt x="0" y="77500"/>
                  <a:pt x="0" y="87124"/>
                </a:cubicBezTo>
                <a:close/>
                <a:moveTo>
                  <a:pt x="69699" y="17425"/>
                </a:moveTo>
                <a:cubicBezTo>
                  <a:pt x="69699" y="27048"/>
                  <a:pt x="77500" y="34850"/>
                  <a:pt x="87124" y="34850"/>
                </a:cubicBezTo>
                <a:lnTo>
                  <a:pt x="331070" y="34850"/>
                </a:lnTo>
                <a:cubicBezTo>
                  <a:pt x="340692" y="34850"/>
                  <a:pt x="348495" y="27048"/>
                  <a:pt x="348495" y="17425"/>
                </a:cubicBezTo>
                <a:cubicBezTo>
                  <a:pt x="348495" y="7801"/>
                  <a:pt x="340692" y="0"/>
                  <a:pt x="331070" y="0"/>
                </a:cubicBezTo>
                <a:lnTo>
                  <a:pt x="87124" y="0"/>
                </a:lnTo>
                <a:cubicBezTo>
                  <a:pt x="77500" y="0"/>
                  <a:pt x="69699" y="7801"/>
                  <a:pt x="69699" y="17425"/>
                </a:cubicBezTo>
                <a:close/>
                <a:moveTo>
                  <a:pt x="166058" y="211746"/>
                </a:moveTo>
                <a:cubicBezTo>
                  <a:pt x="157897" y="206645"/>
                  <a:pt x="147147" y="209126"/>
                  <a:pt x="142047" y="217287"/>
                </a:cubicBezTo>
                <a:cubicBezTo>
                  <a:pt x="140316" y="220056"/>
                  <a:pt x="139398" y="223256"/>
                  <a:pt x="139398" y="226522"/>
                </a:cubicBezTo>
                <a:lnTo>
                  <a:pt x="139398" y="400769"/>
                </a:lnTo>
                <a:cubicBezTo>
                  <a:pt x="139398" y="410391"/>
                  <a:pt x="147199" y="418194"/>
                  <a:pt x="156823" y="418194"/>
                </a:cubicBezTo>
                <a:cubicBezTo>
                  <a:pt x="160089" y="418194"/>
                  <a:pt x="163288" y="417277"/>
                  <a:pt x="166058" y="415545"/>
                </a:cubicBezTo>
                <a:lnTo>
                  <a:pt x="305456" y="328422"/>
                </a:lnTo>
                <a:cubicBezTo>
                  <a:pt x="313618" y="323321"/>
                  <a:pt x="316099" y="312571"/>
                  <a:pt x="310997" y="304410"/>
                </a:cubicBezTo>
                <a:cubicBezTo>
                  <a:pt x="309596" y="302167"/>
                  <a:pt x="307700" y="300272"/>
                  <a:pt x="305456" y="298869"/>
                </a:cubicBezTo>
                <a:lnTo>
                  <a:pt x="166058" y="21174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052D5694-BE09-4A8E-A5FC-F213478D38FC}"/>
              </a:ext>
            </a:extLst>
          </p:cNvPr>
          <p:cNvSpPr/>
          <p:nvPr/>
        </p:nvSpPr>
        <p:spPr>
          <a:xfrm>
            <a:off x="9817100" y="3715718"/>
            <a:ext cx="557592" cy="348495"/>
          </a:xfrm>
          <a:custGeom>
            <a:avLst/>
            <a:gdLst>
              <a:gd name="connsiteX0" fmla="*/ 52274 w 557592"/>
              <a:gd name="connsiteY0" fmla="*/ 348495 h 348495"/>
              <a:gd name="connsiteX1" fmla="*/ 0 w 557592"/>
              <a:gd name="connsiteY1" fmla="*/ 296221 h 348495"/>
              <a:gd name="connsiteX2" fmla="*/ 0 w 557592"/>
              <a:gd name="connsiteY2" fmla="*/ 52274 h 348495"/>
              <a:gd name="connsiteX3" fmla="*/ 52274 w 557592"/>
              <a:gd name="connsiteY3" fmla="*/ 0 h 348495"/>
              <a:gd name="connsiteX4" fmla="*/ 505318 w 557592"/>
              <a:gd name="connsiteY4" fmla="*/ 0 h 348495"/>
              <a:gd name="connsiteX5" fmla="*/ 557592 w 557592"/>
              <a:gd name="connsiteY5" fmla="*/ 52274 h 348495"/>
              <a:gd name="connsiteX6" fmla="*/ 557592 w 557592"/>
              <a:gd name="connsiteY6" fmla="*/ 296221 h 348495"/>
              <a:gd name="connsiteX7" fmla="*/ 505318 w 557592"/>
              <a:gd name="connsiteY7" fmla="*/ 348495 h 348495"/>
              <a:gd name="connsiteX8" fmla="*/ 52274 w 557592"/>
              <a:gd name="connsiteY8" fmla="*/ 348495 h 348495"/>
              <a:gd name="connsiteX9" fmla="*/ 505318 w 557592"/>
              <a:gd name="connsiteY9" fmla="*/ 313646 h 348495"/>
              <a:gd name="connsiteX10" fmla="*/ 522743 w 557592"/>
              <a:gd name="connsiteY10" fmla="*/ 296221 h 348495"/>
              <a:gd name="connsiteX11" fmla="*/ 522743 w 557592"/>
              <a:gd name="connsiteY11" fmla="*/ 52274 h 348495"/>
              <a:gd name="connsiteX12" fmla="*/ 505318 w 557592"/>
              <a:gd name="connsiteY12" fmla="*/ 34850 h 348495"/>
              <a:gd name="connsiteX13" fmla="*/ 52274 w 557592"/>
              <a:gd name="connsiteY13" fmla="*/ 34850 h 348495"/>
              <a:gd name="connsiteX14" fmla="*/ 34850 w 557592"/>
              <a:gd name="connsiteY14" fmla="*/ 52274 h 348495"/>
              <a:gd name="connsiteX15" fmla="*/ 34850 w 557592"/>
              <a:gd name="connsiteY15" fmla="*/ 296221 h 348495"/>
              <a:gd name="connsiteX16" fmla="*/ 52274 w 557592"/>
              <a:gd name="connsiteY16" fmla="*/ 313646 h 348495"/>
              <a:gd name="connsiteX17" fmla="*/ 505318 w 557592"/>
              <a:gd name="connsiteY17" fmla="*/ 313646 h 348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7592" h="348495">
                <a:moveTo>
                  <a:pt x="52274" y="348495"/>
                </a:moveTo>
                <a:cubicBezTo>
                  <a:pt x="23404" y="348495"/>
                  <a:pt x="0" y="325090"/>
                  <a:pt x="0" y="296221"/>
                </a:cubicBezTo>
                <a:lnTo>
                  <a:pt x="0" y="52274"/>
                </a:lnTo>
                <a:cubicBezTo>
                  <a:pt x="0" y="23404"/>
                  <a:pt x="23404" y="0"/>
                  <a:pt x="52274" y="0"/>
                </a:cubicBezTo>
                <a:lnTo>
                  <a:pt x="505318" y="0"/>
                </a:lnTo>
                <a:cubicBezTo>
                  <a:pt x="534187" y="0"/>
                  <a:pt x="557592" y="23404"/>
                  <a:pt x="557592" y="52274"/>
                </a:cubicBezTo>
                <a:lnTo>
                  <a:pt x="557592" y="296221"/>
                </a:lnTo>
                <a:cubicBezTo>
                  <a:pt x="557592" y="325090"/>
                  <a:pt x="534187" y="348495"/>
                  <a:pt x="505318" y="348495"/>
                </a:cubicBezTo>
                <a:lnTo>
                  <a:pt x="52274" y="348495"/>
                </a:lnTo>
                <a:close/>
                <a:moveTo>
                  <a:pt x="505318" y="313646"/>
                </a:moveTo>
                <a:cubicBezTo>
                  <a:pt x="514940" y="313646"/>
                  <a:pt x="522743" y="305843"/>
                  <a:pt x="522743" y="296221"/>
                </a:cubicBezTo>
                <a:lnTo>
                  <a:pt x="522743" y="52274"/>
                </a:lnTo>
                <a:cubicBezTo>
                  <a:pt x="522743" y="42651"/>
                  <a:pt x="514940" y="34850"/>
                  <a:pt x="505318" y="34850"/>
                </a:cubicBezTo>
                <a:lnTo>
                  <a:pt x="52274" y="34850"/>
                </a:lnTo>
                <a:cubicBezTo>
                  <a:pt x="42651" y="34850"/>
                  <a:pt x="34850" y="42651"/>
                  <a:pt x="34850" y="52274"/>
                </a:cubicBezTo>
                <a:lnTo>
                  <a:pt x="34850" y="296221"/>
                </a:lnTo>
                <a:cubicBezTo>
                  <a:pt x="34850" y="305843"/>
                  <a:pt x="42651" y="313646"/>
                  <a:pt x="52274" y="313646"/>
                </a:cubicBezTo>
                <a:lnTo>
                  <a:pt x="505318" y="31364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35CA4CC1-E676-4908-B97C-16210C9E1200}"/>
              </a:ext>
            </a:extLst>
          </p:cNvPr>
          <p:cNvSpPr/>
          <p:nvPr/>
        </p:nvSpPr>
        <p:spPr>
          <a:xfrm>
            <a:off x="6187244" y="3706268"/>
            <a:ext cx="104548" cy="69699"/>
          </a:xfrm>
          <a:custGeom>
            <a:avLst/>
            <a:gdLst>
              <a:gd name="connsiteX0" fmla="*/ 0 w 104548"/>
              <a:gd name="connsiteY0" fmla="*/ 17425 h 69699"/>
              <a:gd name="connsiteX1" fmla="*/ 17425 w 104548"/>
              <a:gd name="connsiteY1" fmla="*/ 0 h 69699"/>
              <a:gd name="connsiteX2" fmla="*/ 87124 w 104548"/>
              <a:gd name="connsiteY2" fmla="*/ 0 h 69699"/>
              <a:gd name="connsiteX3" fmla="*/ 104549 w 104548"/>
              <a:gd name="connsiteY3" fmla="*/ 17425 h 69699"/>
              <a:gd name="connsiteX4" fmla="*/ 104549 w 104548"/>
              <a:gd name="connsiteY4" fmla="*/ 52274 h 69699"/>
              <a:gd name="connsiteX5" fmla="*/ 87124 w 104548"/>
              <a:gd name="connsiteY5" fmla="*/ 69699 h 69699"/>
              <a:gd name="connsiteX6" fmla="*/ 17425 w 104548"/>
              <a:gd name="connsiteY6" fmla="*/ 69699 h 69699"/>
              <a:gd name="connsiteX7" fmla="*/ 0 w 104548"/>
              <a:gd name="connsiteY7" fmla="*/ 52274 h 69699"/>
              <a:gd name="connsiteX8" fmla="*/ 0 w 104548"/>
              <a:gd name="connsiteY8" fmla="*/ 17425 h 6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548" h="69699">
                <a:moveTo>
                  <a:pt x="0" y="17425"/>
                </a:moveTo>
                <a:cubicBezTo>
                  <a:pt x="0" y="7801"/>
                  <a:pt x="7803" y="0"/>
                  <a:pt x="17425" y="0"/>
                </a:cubicBezTo>
                <a:lnTo>
                  <a:pt x="87124" y="0"/>
                </a:lnTo>
                <a:cubicBezTo>
                  <a:pt x="96746" y="0"/>
                  <a:pt x="104549" y="7801"/>
                  <a:pt x="104549" y="17425"/>
                </a:cubicBezTo>
                <a:lnTo>
                  <a:pt x="104549" y="52274"/>
                </a:lnTo>
                <a:cubicBezTo>
                  <a:pt x="104549" y="61898"/>
                  <a:pt x="96746" y="69699"/>
                  <a:pt x="87124" y="69699"/>
                </a:cubicBezTo>
                <a:lnTo>
                  <a:pt x="17425" y="69699"/>
                </a:lnTo>
                <a:cubicBezTo>
                  <a:pt x="7803" y="69699"/>
                  <a:pt x="0" y="61898"/>
                  <a:pt x="0" y="52274"/>
                </a:cubicBezTo>
                <a:lnTo>
                  <a:pt x="0" y="17425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6D6C54EB-8A6A-48D6-92AE-B30EAD2613BC}"/>
              </a:ext>
            </a:extLst>
          </p:cNvPr>
          <p:cNvSpPr/>
          <p:nvPr/>
        </p:nvSpPr>
        <p:spPr>
          <a:xfrm>
            <a:off x="5803900" y="3601720"/>
            <a:ext cx="557592" cy="418194"/>
          </a:xfrm>
          <a:custGeom>
            <a:avLst/>
            <a:gdLst>
              <a:gd name="connsiteX0" fmla="*/ 69699 w 557592"/>
              <a:gd name="connsiteY0" fmla="*/ 0 h 418194"/>
              <a:gd name="connsiteX1" fmla="*/ 0 w 557592"/>
              <a:gd name="connsiteY1" fmla="*/ 69699 h 418194"/>
              <a:gd name="connsiteX2" fmla="*/ 0 w 557592"/>
              <a:gd name="connsiteY2" fmla="*/ 348495 h 418194"/>
              <a:gd name="connsiteX3" fmla="*/ 69699 w 557592"/>
              <a:gd name="connsiteY3" fmla="*/ 418194 h 418194"/>
              <a:gd name="connsiteX4" fmla="*/ 487893 w 557592"/>
              <a:gd name="connsiteY4" fmla="*/ 418194 h 418194"/>
              <a:gd name="connsiteX5" fmla="*/ 557592 w 557592"/>
              <a:gd name="connsiteY5" fmla="*/ 348495 h 418194"/>
              <a:gd name="connsiteX6" fmla="*/ 557592 w 557592"/>
              <a:gd name="connsiteY6" fmla="*/ 69699 h 418194"/>
              <a:gd name="connsiteX7" fmla="*/ 487893 w 557592"/>
              <a:gd name="connsiteY7" fmla="*/ 0 h 418194"/>
              <a:gd name="connsiteX8" fmla="*/ 69699 w 557592"/>
              <a:gd name="connsiteY8" fmla="*/ 0 h 418194"/>
              <a:gd name="connsiteX9" fmla="*/ 522743 w 557592"/>
              <a:gd name="connsiteY9" fmla="*/ 69699 h 418194"/>
              <a:gd name="connsiteX10" fmla="*/ 522743 w 557592"/>
              <a:gd name="connsiteY10" fmla="*/ 243947 h 418194"/>
              <a:gd name="connsiteX11" fmla="*/ 34850 w 557592"/>
              <a:gd name="connsiteY11" fmla="*/ 243947 h 418194"/>
              <a:gd name="connsiteX12" fmla="*/ 34850 w 557592"/>
              <a:gd name="connsiteY12" fmla="*/ 69699 h 418194"/>
              <a:gd name="connsiteX13" fmla="*/ 69699 w 557592"/>
              <a:gd name="connsiteY13" fmla="*/ 34850 h 418194"/>
              <a:gd name="connsiteX14" fmla="*/ 487893 w 557592"/>
              <a:gd name="connsiteY14" fmla="*/ 34850 h 418194"/>
              <a:gd name="connsiteX15" fmla="*/ 522743 w 557592"/>
              <a:gd name="connsiteY15" fmla="*/ 69699 h 418194"/>
              <a:gd name="connsiteX16" fmla="*/ 487893 w 557592"/>
              <a:gd name="connsiteY16" fmla="*/ 383345 h 418194"/>
              <a:gd name="connsiteX17" fmla="*/ 69699 w 557592"/>
              <a:gd name="connsiteY17" fmla="*/ 383345 h 418194"/>
              <a:gd name="connsiteX18" fmla="*/ 34850 w 557592"/>
              <a:gd name="connsiteY18" fmla="*/ 348495 h 418194"/>
              <a:gd name="connsiteX19" fmla="*/ 34850 w 557592"/>
              <a:gd name="connsiteY19" fmla="*/ 313646 h 418194"/>
              <a:gd name="connsiteX20" fmla="*/ 522743 w 557592"/>
              <a:gd name="connsiteY20" fmla="*/ 313646 h 418194"/>
              <a:gd name="connsiteX21" fmla="*/ 522743 w 557592"/>
              <a:gd name="connsiteY21" fmla="*/ 348495 h 418194"/>
              <a:gd name="connsiteX22" fmla="*/ 487893 w 557592"/>
              <a:gd name="connsiteY22" fmla="*/ 383345 h 418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57592" h="418194">
                <a:moveTo>
                  <a:pt x="69699" y="0"/>
                </a:moveTo>
                <a:cubicBezTo>
                  <a:pt x="31205" y="0"/>
                  <a:pt x="0" y="31205"/>
                  <a:pt x="0" y="69699"/>
                </a:cubicBezTo>
                <a:lnTo>
                  <a:pt x="0" y="348495"/>
                </a:lnTo>
                <a:cubicBezTo>
                  <a:pt x="0" y="386990"/>
                  <a:pt x="31205" y="418194"/>
                  <a:pt x="69699" y="418194"/>
                </a:cubicBezTo>
                <a:lnTo>
                  <a:pt x="487893" y="418194"/>
                </a:lnTo>
                <a:cubicBezTo>
                  <a:pt x="526388" y="418194"/>
                  <a:pt x="557592" y="386990"/>
                  <a:pt x="557592" y="348495"/>
                </a:cubicBezTo>
                <a:lnTo>
                  <a:pt x="557592" y="69699"/>
                </a:lnTo>
                <a:cubicBezTo>
                  <a:pt x="557592" y="31205"/>
                  <a:pt x="526388" y="0"/>
                  <a:pt x="487893" y="0"/>
                </a:cubicBezTo>
                <a:lnTo>
                  <a:pt x="69699" y="0"/>
                </a:lnTo>
                <a:close/>
                <a:moveTo>
                  <a:pt x="522743" y="69699"/>
                </a:moveTo>
                <a:lnTo>
                  <a:pt x="522743" y="243947"/>
                </a:lnTo>
                <a:lnTo>
                  <a:pt x="34850" y="243947"/>
                </a:lnTo>
                <a:lnTo>
                  <a:pt x="34850" y="69699"/>
                </a:lnTo>
                <a:cubicBezTo>
                  <a:pt x="34850" y="50452"/>
                  <a:pt x="50452" y="34850"/>
                  <a:pt x="69699" y="34850"/>
                </a:cubicBezTo>
                <a:lnTo>
                  <a:pt x="487893" y="34850"/>
                </a:lnTo>
                <a:cubicBezTo>
                  <a:pt x="507140" y="34850"/>
                  <a:pt x="522743" y="50452"/>
                  <a:pt x="522743" y="69699"/>
                </a:cubicBezTo>
                <a:close/>
                <a:moveTo>
                  <a:pt x="487893" y="383345"/>
                </a:moveTo>
                <a:lnTo>
                  <a:pt x="69699" y="383345"/>
                </a:lnTo>
                <a:cubicBezTo>
                  <a:pt x="50452" y="383345"/>
                  <a:pt x="34850" y="367742"/>
                  <a:pt x="34850" y="348495"/>
                </a:cubicBezTo>
                <a:lnTo>
                  <a:pt x="34850" y="313646"/>
                </a:lnTo>
                <a:lnTo>
                  <a:pt x="522743" y="313646"/>
                </a:lnTo>
                <a:lnTo>
                  <a:pt x="522743" y="348495"/>
                </a:lnTo>
                <a:cubicBezTo>
                  <a:pt x="522743" y="367742"/>
                  <a:pt x="507140" y="383345"/>
                  <a:pt x="487893" y="383345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E447C81E-6BC0-46EF-9B91-125AB8C7BF30}"/>
              </a:ext>
            </a:extLst>
          </p:cNvPr>
          <p:cNvSpPr/>
          <p:nvPr/>
        </p:nvSpPr>
        <p:spPr>
          <a:xfrm>
            <a:off x="1923493" y="3745851"/>
            <a:ext cx="278813" cy="209088"/>
          </a:xfrm>
          <a:custGeom>
            <a:avLst/>
            <a:gdLst>
              <a:gd name="connsiteX0" fmla="*/ 271756 w 278813"/>
              <a:gd name="connsiteY0" fmla="*/ 96559 h 209088"/>
              <a:gd name="connsiteX1" fmla="*/ 160865 w 278813"/>
              <a:gd name="connsiteY1" fmla="*/ 165213 h 209088"/>
              <a:gd name="connsiteX2" fmla="*/ 139398 w 278813"/>
              <a:gd name="connsiteY2" fmla="*/ 152249 h 209088"/>
              <a:gd name="connsiteX3" fmla="*/ 139398 w 278813"/>
              <a:gd name="connsiteY3" fmla="*/ 125450 h 209088"/>
              <a:gd name="connsiteX4" fmla="*/ 0 w 278813"/>
              <a:gd name="connsiteY4" fmla="*/ 209088 h 209088"/>
              <a:gd name="connsiteX5" fmla="*/ 139398 w 278813"/>
              <a:gd name="connsiteY5" fmla="*/ 41811 h 209088"/>
              <a:gd name="connsiteX6" fmla="*/ 139398 w 278813"/>
              <a:gd name="connsiteY6" fmla="*/ 15012 h 209088"/>
              <a:gd name="connsiteX7" fmla="*/ 160865 w 278813"/>
              <a:gd name="connsiteY7" fmla="*/ 2082 h 209088"/>
              <a:gd name="connsiteX8" fmla="*/ 271756 w 278813"/>
              <a:gd name="connsiteY8" fmla="*/ 70701 h 209088"/>
              <a:gd name="connsiteX9" fmla="*/ 271756 w 278813"/>
              <a:gd name="connsiteY9" fmla="*/ 96559 h 209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8813" h="209088">
                <a:moveTo>
                  <a:pt x="271756" y="96559"/>
                </a:moveTo>
                <a:lnTo>
                  <a:pt x="160865" y="165213"/>
                </a:lnTo>
                <a:cubicBezTo>
                  <a:pt x="151456" y="170998"/>
                  <a:pt x="139398" y="163958"/>
                  <a:pt x="139398" y="152249"/>
                </a:cubicBezTo>
                <a:lnTo>
                  <a:pt x="139398" y="125450"/>
                </a:lnTo>
                <a:cubicBezTo>
                  <a:pt x="139398" y="125450"/>
                  <a:pt x="49800" y="114995"/>
                  <a:pt x="0" y="209088"/>
                </a:cubicBezTo>
                <a:cubicBezTo>
                  <a:pt x="19899" y="41811"/>
                  <a:pt x="109532" y="41811"/>
                  <a:pt x="139398" y="41811"/>
                </a:cubicBezTo>
                <a:lnTo>
                  <a:pt x="139398" y="15012"/>
                </a:lnTo>
                <a:cubicBezTo>
                  <a:pt x="139398" y="3302"/>
                  <a:pt x="151456" y="-3737"/>
                  <a:pt x="160865" y="2082"/>
                </a:cubicBezTo>
                <a:lnTo>
                  <a:pt x="271756" y="70701"/>
                </a:lnTo>
                <a:cubicBezTo>
                  <a:pt x="281166" y="76486"/>
                  <a:pt x="281166" y="90774"/>
                  <a:pt x="271756" y="96559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F5234729-BFFC-4E02-934E-B7487957527C}"/>
              </a:ext>
            </a:extLst>
          </p:cNvPr>
          <p:cNvSpPr/>
          <p:nvPr/>
        </p:nvSpPr>
        <p:spPr>
          <a:xfrm>
            <a:off x="1790700" y="3589020"/>
            <a:ext cx="544376" cy="453043"/>
          </a:xfrm>
          <a:custGeom>
            <a:avLst/>
            <a:gdLst>
              <a:gd name="connsiteX0" fmla="*/ 10819 w 544376"/>
              <a:gd name="connsiteY0" fmla="*/ 69699 h 453043"/>
              <a:gd name="connsiteX1" fmla="*/ 12213 w 544376"/>
              <a:gd name="connsiteY1" fmla="*/ 100018 h 453043"/>
              <a:gd name="connsiteX2" fmla="*/ 295 w 544376"/>
              <a:gd name="connsiteY2" fmla="*/ 145706 h 453043"/>
              <a:gd name="connsiteX3" fmla="*/ 22494 w 544376"/>
              <a:gd name="connsiteY3" fmla="*/ 389652 h 453043"/>
              <a:gd name="connsiteX4" fmla="*/ 91879 w 544376"/>
              <a:gd name="connsiteY4" fmla="*/ 453044 h 453043"/>
              <a:gd name="connsiteX5" fmla="*/ 452502 w 544376"/>
              <a:gd name="connsiteY5" fmla="*/ 453044 h 453043"/>
              <a:gd name="connsiteX6" fmla="*/ 521887 w 544376"/>
              <a:gd name="connsiteY6" fmla="*/ 389652 h 453043"/>
              <a:gd name="connsiteX7" fmla="*/ 544086 w 544376"/>
              <a:gd name="connsiteY7" fmla="*/ 145706 h 453043"/>
              <a:gd name="connsiteX8" fmla="*/ 480981 w 544376"/>
              <a:gd name="connsiteY8" fmla="*/ 69985 h 453043"/>
              <a:gd name="connsiteX9" fmla="*/ 474666 w 544376"/>
              <a:gd name="connsiteY9" fmla="*/ 69699 h 453043"/>
              <a:gd name="connsiteX10" fmla="*/ 335895 w 544376"/>
              <a:gd name="connsiteY10" fmla="*/ 69699 h 453043"/>
              <a:gd name="connsiteX11" fmla="*/ 286618 w 544376"/>
              <a:gd name="connsiteY11" fmla="*/ 49277 h 453043"/>
              <a:gd name="connsiteX12" fmla="*/ 257763 w 544376"/>
              <a:gd name="connsiteY12" fmla="*/ 20422 h 453043"/>
              <a:gd name="connsiteX13" fmla="*/ 208485 w 544376"/>
              <a:gd name="connsiteY13" fmla="*/ 0 h 453043"/>
              <a:gd name="connsiteX14" fmla="*/ 80518 w 544376"/>
              <a:gd name="connsiteY14" fmla="*/ 0 h 453043"/>
              <a:gd name="connsiteX15" fmla="*/ 10819 w 544376"/>
              <a:gd name="connsiteY15" fmla="*/ 69699 h 453043"/>
              <a:gd name="connsiteX16" fmla="*/ 35005 w 544376"/>
              <a:gd name="connsiteY16" fmla="*/ 142534 h 453043"/>
              <a:gd name="connsiteX17" fmla="*/ 66576 w 544376"/>
              <a:gd name="connsiteY17" fmla="*/ 104690 h 453043"/>
              <a:gd name="connsiteX18" fmla="*/ 69715 w 544376"/>
              <a:gd name="connsiteY18" fmla="*/ 104549 h 453043"/>
              <a:gd name="connsiteX19" fmla="*/ 474666 w 544376"/>
              <a:gd name="connsiteY19" fmla="*/ 104549 h 453043"/>
              <a:gd name="connsiteX20" fmla="*/ 509519 w 544376"/>
              <a:gd name="connsiteY20" fmla="*/ 139396 h 453043"/>
              <a:gd name="connsiteX21" fmla="*/ 509376 w 544376"/>
              <a:gd name="connsiteY21" fmla="*/ 142534 h 453043"/>
              <a:gd name="connsiteX22" fmla="*/ 487212 w 544376"/>
              <a:gd name="connsiteY22" fmla="*/ 386481 h 453043"/>
              <a:gd name="connsiteX23" fmla="*/ 452502 w 544376"/>
              <a:gd name="connsiteY23" fmla="*/ 418194 h 453043"/>
              <a:gd name="connsiteX24" fmla="*/ 91879 w 544376"/>
              <a:gd name="connsiteY24" fmla="*/ 418194 h 453043"/>
              <a:gd name="connsiteX25" fmla="*/ 57204 w 544376"/>
              <a:gd name="connsiteY25" fmla="*/ 386481 h 453043"/>
              <a:gd name="connsiteX26" fmla="*/ 35005 w 544376"/>
              <a:gd name="connsiteY26" fmla="*/ 142534 h 453043"/>
              <a:gd name="connsiteX27" fmla="*/ 208485 w 544376"/>
              <a:gd name="connsiteY27" fmla="*/ 34850 h 453043"/>
              <a:gd name="connsiteX28" fmla="*/ 233124 w 544376"/>
              <a:gd name="connsiteY28" fmla="*/ 45060 h 453043"/>
              <a:gd name="connsiteX29" fmla="*/ 257763 w 544376"/>
              <a:gd name="connsiteY29" fmla="*/ 69699 h 453043"/>
              <a:gd name="connsiteX30" fmla="*/ 69715 w 544376"/>
              <a:gd name="connsiteY30" fmla="*/ 69699 h 453043"/>
              <a:gd name="connsiteX31" fmla="*/ 45913 w 544376"/>
              <a:gd name="connsiteY31" fmla="*/ 73881 h 453043"/>
              <a:gd name="connsiteX32" fmla="*/ 45669 w 544376"/>
              <a:gd name="connsiteY32" fmla="*/ 69002 h 453043"/>
              <a:gd name="connsiteX33" fmla="*/ 80518 w 544376"/>
              <a:gd name="connsiteY33" fmla="*/ 34850 h 453043"/>
              <a:gd name="connsiteX34" fmla="*/ 208485 w 544376"/>
              <a:gd name="connsiteY34" fmla="*/ 34850 h 453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44376" h="453043">
                <a:moveTo>
                  <a:pt x="10819" y="69699"/>
                </a:moveTo>
                <a:lnTo>
                  <a:pt x="12213" y="100018"/>
                </a:lnTo>
                <a:cubicBezTo>
                  <a:pt x="3019" y="113385"/>
                  <a:pt x="-1199" y="129551"/>
                  <a:pt x="295" y="145706"/>
                </a:cubicBezTo>
                <a:lnTo>
                  <a:pt x="22494" y="389652"/>
                </a:lnTo>
                <a:cubicBezTo>
                  <a:pt x="25755" y="425544"/>
                  <a:pt x="55840" y="453030"/>
                  <a:pt x="91879" y="453044"/>
                </a:cubicBezTo>
                <a:lnTo>
                  <a:pt x="452502" y="453044"/>
                </a:lnTo>
                <a:cubicBezTo>
                  <a:pt x="488540" y="453030"/>
                  <a:pt x="518625" y="425544"/>
                  <a:pt x="521887" y="389652"/>
                </a:cubicBezTo>
                <a:lnTo>
                  <a:pt x="544086" y="145706"/>
                </a:lnTo>
                <a:cubicBezTo>
                  <a:pt x="547571" y="107370"/>
                  <a:pt x="519315" y="73469"/>
                  <a:pt x="480981" y="69985"/>
                </a:cubicBezTo>
                <a:cubicBezTo>
                  <a:pt x="478883" y="69794"/>
                  <a:pt x="476774" y="69699"/>
                  <a:pt x="474666" y="69699"/>
                </a:cubicBezTo>
                <a:lnTo>
                  <a:pt x="335895" y="69699"/>
                </a:lnTo>
                <a:cubicBezTo>
                  <a:pt x="317411" y="69695"/>
                  <a:pt x="299686" y="62349"/>
                  <a:pt x="286618" y="49277"/>
                </a:cubicBezTo>
                <a:lnTo>
                  <a:pt x="257763" y="20422"/>
                </a:lnTo>
                <a:cubicBezTo>
                  <a:pt x="244694" y="7350"/>
                  <a:pt x="226969" y="4"/>
                  <a:pt x="208485" y="0"/>
                </a:cubicBezTo>
                <a:lnTo>
                  <a:pt x="80518" y="0"/>
                </a:lnTo>
                <a:cubicBezTo>
                  <a:pt x="42024" y="0"/>
                  <a:pt x="10819" y="31205"/>
                  <a:pt x="10819" y="69699"/>
                </a:cubicBezTo>
                <a:close/>
                <a:moveTo>
                  <a:pt x="35005" y="142534"/>
                </a:moveTo>
                <a:cubicBezTo>
                  <a:pt x="33272" y="123366"/>
                  <a:pt x="47408" y="106422"/>
                  <a:pt x="66576" y="104690"/>
                </a:cubicBezTo>
                <a:cubicBezTo>
                  <a:pt x="67620" y="104596"/>
                  <a:pt x="68667" y="104549"/>
                  <a:pt x="69715" y="104549"/>
                </a:cubicBezTo>
                <a:lnTo>
                  <a:pt x="474666" y="104549"/>
                </a:lnTo>
                <a:cubicBezTo>
                  <a:pt x="493913" y="104547"/>
                  <a:pt x="509515" y="120149"/>
                  <a:pt x="509519" y="139396"/>
                </a:cubicBezTo>
                <a:cubicBezTo>
                  <a:pt x="509519" y="140444"/>
                  <a:pt x="509470" y="141491"/>
                  <a:pt x="509376" y="142534"/>
                </a:cubicBezTo>
                <a:lnTo>
                  <a:pt x="487212" y="386481"/>
                </a:lnTo>
                <a:cubicBezTo>
                  <a:pt x="485588" y="404439"/>
                  <a:pt x="470533" y="418194"/>
                  <a:pt x="452502" y="418194"/>
                </a:cubicBezTo>
                <a:lnTo>
                  <a:pt x="91879" y="418194"/>
                </a:lnTo>
                <a:cubicBezTo>
                  <a:pt x="73860" y="418177"/>
                  <a:pt x="58825" y="404425"/>
                  <a:pt x="57204" y="386481"/>
                </a:cubicBezTo>
                <a:lnTo>
                  <a:pt x="35005" y="142534"/>
                </a:lnTo>
                <a:close/>
                <a:moveTo>
                  <a:pt x="208485" y="34850"/>
                </a:moveTo>
                <a:cubicBezTo>
                  <a:pt x="217727" y="34852"/>
                  <a:pt x="226590" y="38524"/>
                  <a:pt x="233124" y="45060"/>
                </a:cubicBezTo>
                <a:lnTo>
                  <a:pt x="257763" y="69699"/>
                </a:lnTo>
                <a:lnTo>
                  <a:pt x="69715" y="69699"/>
                </a:lnTo>
                <a:cubicBezTo>
                  <a:pt x="61351" y="69699"/>
                  <a:pt x="53335" y="71163"/>
                  <a:pt x="45913" y="73881"/>
                </a:cubicBezTo>
                <a:lnTo>
                  <a:pt x="45669" y="69002"/>
                </a:lnTo>
                <a:cubicBezTo>
                  <a:pt x="46048" y="50028"/>
                  <a:pt x="61540" y="34846"/>
                  <a:pt x="80518" y="34850"/>
                </a:cubicBezTo>
                <a:lnTo>
                  <a:pt x="208485" y="3485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0" name="图形 9">
            <a:extLst>
              <a:ext uri="{FF2B5EF4-FFF2-40B4-BE49-F238E27FC236}">
                <a16:creationId xmlns:a16="http://schemas.microsoft.com/office/drawing/2014/main" id="{7CB72099-4761-4581-8BA5-011E2600DD19}"/>
              </a:ext>
            </a:extLst>
          </p:cNvPr>
          <p:cNvSpPr>
            <a:spLocks/>
          </p:cNvSpPr>
          <p:nvPr/>
        </p:nvSpPr>
        <p:spPr>
          <a:xfrm>
            <a:off x="3797300" y="3589020"/>
            <a:ext cx="544376" cy="453043"/>
          </a:xfrm>
          <a:custGeom>
            <a:avLst/>
            <a:gdLst>
              <a:gd name="connsiteX0" fmla="*/ 0 w 152400"/>
              <a:gd name="connsiteY0" fmla="*/ 0 h 152400"/>
              <a:gd name="connsiteX1" fmla="*/ 9525 w 152400"/>
              <a:gd name="connsiteY1" fmla="*/ 0 h 152400"/>
              <a:gd name="connsiteX2" fmla="*/ 9525 w 152400"/>
              <a:gd name="connsiteY2" fmla="*/ 142875 h 152400"/>
              <a:gd name="connsiteX3" fmla="*/ 152400 w 152400"/>
              <a:gd name="connsiteY3" fmla="*/ 142875 h 152400"/>
              <a:gd name="connsiteX4" fmla="*/ 152400 w 152400"/>
              <a:gd name="connsiteY4" fmla="*/ 152400 h 152400"/>
              <a:gd name="connsiteX5" fmla="*/ 0 w 152400"/>
              <a:gd name="connsiteY5" fmla="*/ 152400 h 152400"/>
              <a:gd name="connsiteX6" fmla="*/ 0 w 152400"/>
              <a:gd name="connsiteY6" fmla="*/ 0 h 152400"/>
              <a:gd name="connsiteX7" fmla="*/ 95250 w 152400"/>
              <a:gd name="connsiteY7" fmla="*/ 33338 h 152400"/>
              <a:gd name="connsiteX8" fmla="*/ 100013 w 152400"/>
              <a:gd name="connsiteY8" fmla="*/ 28575 h 152400"/>
              <a:gd name="connsiteX9" fmla="*/ 138113 w 152400"/>
              <a:gd name="connsiteY9" fmla="*/ 28575 h 152400"/>
              <a:gd name="connsiteX10" fmla="*/ 142875 w 152400"/>
              <a:gd name="connsiteY10" fmla="*/ 33338 h 152400"/>
              <a:gd name="connsiteX11" fmla="*/ 142875 w 152400"/>
              <a:gd name="connsiteY11" fmla="*/ 71438 h 152400"/>
              <a:gd name="connsiteX12" fmla="*/ 138113 w 152400"/>
              <a:gd name="connsiteY12" fmla="*/ 76200 h 152400"/>
              <a:gd name="connsiteX13" fmla="*/ 133350 w 152400"/>
              <a:gd name="connsiteY13" fmla="*/ 71438 h 152400"/>
              <a:gd name="connsiteX14" fmla="*/ 133350 w 152400"/>
              <a:gd name="connsiteY14" fmla="*/ 46673 h 152400"/>
              <a:gd name="connsiteX15" fmla="*/ 98936 w 152400"/>
              <a:gd name="connsiteY15" fmla="*/ 88744 h 152400"/>
              <a:gd name="connsiteX16" fmla="*/ 92234 w 152400"/>
              <a:gd name="connsiteY16" fmla="*/ 89410 h 152400"/>
              <a:gd name="connsiteX17" fmla="*/ 91888 w 152400"/>
              <a:gd name="connsiteY17" fmla="*/ 89097 h 152400"/>
              <a:gd name="connsiteX18" fmla="*/ 67247 w 152400"/>
              <a:gd name="connsiteY18" fmla="*/ 64456 h 152400"/>
              <a:gd name="connsiteX19" fmla="*/ 32423 w 152400"/>
              <a:gd name="connsiteY19" fmla="*/ 112338 h 152400"/>
              <a:gd name="connsiteX20" fmla="*/ 25736 w 152400"/>
              <a:gd name="connsiteY20" fmla="*/ 113137 h 152400"/>
              <a:gd name="connsiteX21" fmla="*/ 24727 w 152400"/>
              <a:gd name="connsiteY21" fmla="*/ 106737 h 152400"/>
              <a:gd name="connsiteX22" fmla="*/ 62827 w 152400"/>
              <a:gd name="connsiteY22" fmla="*/ 54350 h 152400"/>
              <a:gd name="connsiteX23" fmla="*/ 69479 w 152400"/>
              <a:gd name="connsiteY23" fmla="*/ 53293 h 152400"/>
              <a:gd name="connsiteX24" fmla="*/ 70047 w 152400"/>
              <a:gd name="connsiteY24" fmla="*/ 53778 h 152400"/>
              <a:gd name="connsiteX25" fmla="*/ 94898 w 152400"/>
              <a:gd name="connsiteY25" fmla="*/ 78638 h 152400"/>
              <a:gd name="connsiteX26" fmla="*/ 128064 w 152400"/>
              <a:gd name="connsiteY26" fmla="*/ 38100 h 152400"/>
              <a:gd name="connsiteX27" fmla="*/ 100013 w 152400"/>
              <a:gd name="connsiteY27" fmla="*/ 38100 h 152400"/>
              <a:gd name="connsiteX28" fmla="*/ 95250 w 152400"/>
              <a:gd name="connsiteY28" fmla="*/ 333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52400" h="152400">
                <a:moveTo>
                  <a:pt x="0" y="0"/>
                </a:moveTo>
                <a:lnTo>
                  <a:pt x="9525" y="0"/>
                </a:lnTo>
                <a:lnTo>
                  <a:pt x="9525" y="142875"/>
                </a:lnTo>
                <a:lnTo>
                  <a:pt x="152400" y="142875"/>
                </a:lnTo>
                <a:lnTo>
                  <a:pt x="152400" y="152400"/>
                </a:lnTo>
                <a:lnTo>
                  <a:pt x="0" y="152400"/>
                </a:lnTo>
                <a:lnTo>
                  <a:pt x="0" y="0"/>
                </a:lnTo>
                <a:close/>
                <a:moveTo>
                  <a:pt x="95250" y="33338"/>
                </a:moveTo>
                <a:cubicBezTo>
                  <a:pt x="95250" y="30707"/>
                  <a:pt x="97383" y="28575"/>
                  <a:pt x="100013" y="28575"/>
                </a:cubicBezTo>
                <a:lnTo>
                  <a:pt x="138113" y="28575"/>
                </a:lnTo>
                <a:cubicBezTo>
                  <a:pt x="140742" y="28575"/>
                  <a:pt x="142875" y="30707"/>
                  <a:pt x="142875" y="33338"/>
                </a:cubicBezTo>
                <a:lnTo>
                  <a:pt x="142875" y="71438"/>
                </a:lnTo>
                <a:cubicBezTo>
                  <a:pt x="142875" y="74068"/>
                  <a:pt x="140742" y="76200"/>
                  <a:pt x="138113" y="76200"/>
                </a:cubicBezTo>
                <a:cubicBezTo>
                  <a:pt x="135483" y="76200"/>
                  <a:pt x="133350" y="74068"/>
                  <a:pt x="133350" y="71438"/>
                </a:cubicBezTo>
                <a:lnTo>
                  <a:pt x="133350" y="46673"/>
                </a:lnTo>
                <a:lnTo>
                  <a:pt x="98936" y="88744"/>
                </a:lnTo>
                <a:cubicBezTo>
                  <a:pt x="97269" y="90779"/>
                  <a:pt x="94269" y="91077"/>
                  <a:pt x="92234" y="89410"/>
                </a:cubicBezTo>
                <a:cubicBezTo>
                  <a:pt x="92114" y="89311"/>
                  <a:pt x="91998" y="89207"/>
                  <a:pt x="91888" y="89097"/>
                </a:cubicBezTo>
                <a:lnTo>
                  <a:pt x="67247" y="64456"/>
                </a:lnTo>
                <a:lnTo>
                  <a:pt x="32423" y="112338"/>
                </a:lnTo>
                <a:cubicBezTo>
                  <a:pt x="30797" y="114406"/>
                  <a:pt x="27803" y="114763"/>
                  <a:pt x="25736" y="113137"/>
                </a:cubicBezTo>
                <a:cubicBezTo>
                  <a:pt x="23776" y="111597"/>
                  <a:pt x="23337" y="108806"/>
                  <a:pt x="24727" y="106737"/>
                </a:cubicBezTo>
                <a:lnTo>
                  <a:pt x="62827" y="54350"/>
                </a:lnTo>
                <a:cubicBezTo>
                  <a:pt x="64372" y="52221"/>
                  <a:pt x="67350" y="51748"/>
                  <a:pt x="69479" y="53293"/>
                </a:cubicBezTo>
                <a:cubicBezTo>
                  <a:pt x="69681" y="53440"/>
                  <a:pt x="69870" y="53602"/>
                  <a:pt x="70047" y="53778"/>
                </a:cubicBezTo>
                <a:lnTo>
                  <a:pt x="94898" y="78638"/>
                </a:lnTo>
                <a:lnTo>
                  <a:pt x="128064" y="38100"/>
                </a:lnTo>
                <a:lnTo>
                  <a:pt x="100013" y="38100"/>
                </a:lnTo>
                <a:cubicBezTo>
                  <a:pt x="97383" y="38100"/>
                  <a:pt x="95250" y="35968"/>
                  <a:pt x="95250" y="33338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41" name="文本框 4">
            <a:extLst>
              <a:ext uri="{FF2B5EF4-FFF2-40B4-BE49-F238E27FC236}">
                <a16:creationId xmlns:a16="http://schemas.microsoft.com/office/drawing/2014/main" id="{C7047730-8220-47E3-BED0-96BD758F9CB5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4912371" y="1861760"/>
            <a:ext cx="2367253" cy="70487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42" name="文本框 2">
            <a:extLst>
              <a:ext uri="{FF2B5EF4-FFF2-40B4-BE49-F238E27FC236}">
                <a16:creationId xmlns:a16="http://schemas.microsoft.com/office/drawing/2014/main" id="{1BE227F4-D59E-452C-A4B3-3878800047A3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8932845" y="1861760"/>
            <a:ext cx="2367253" cy="70487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43" name="文本框 3">
            <a:extLst>
              <a:ext uri="{FF2B5EF4-FFF2-40B4-BE49-F238E27FC236}">
                <a16:creationId xmlns:a16="http://schemas.microsoft.com/office/drawing/2014/main" id="{CE0A6AC9-2DB4-4B39-BEAD-9E9D7DD15947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2901323" y="4886178"/>
            <a:ext cx="2367253" cy="70487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44" name="文本框 1">
            <a:extLst>
              <a:ext uri="{FF2B5EF4-FFF2-40B4-BE49-F238E27FC236}">
                <a16:creationId xmlns:a16="http://schemas.microsoft.com/office/drawing/2014/main" id="{0323C58F-6130-4199-BA96-3515FDE42036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6923424" y="4896187"/>
            <a:ext cx="2367253" cy="70487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POSans R"/>
                <a:ea typeface="OPPOSans R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2" name="箭头: 下 1">
            <a:extLst>
              <a:ext uri="{FF2B5EF4-FFF2-40B4-BE49-F238E27FC236}">
                <a16:creationId xmlns:a16="http://schemas.microsoft.com/office/drawing/2014/main" id="{7E604739-1F19-48AA-99DC-D36465C17D69}"/>
              </a:ext>
            </a:extLst>
          </p:cNvPr>
          <p:cNvSpPr/>
          <p:nvPr/>
        </p:nvSpPr>
        <p:spPr>
          <a:xfrm>
            <a:off x="2979050" y="3715599"/>
            <a:ext cx="199685" cy="230341"/>
          </a:xfrm>
          <a:prstGeom prst="downArrow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 fontScale="4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1" name="箭头: 下 60">
            <a:extLst>
              <a:ext uri="{FF2B5EF4-FFF2-40B4-BE49-F238E27FC236}">
                <a16:creationId xmlns:a16="http://schemas.microsoft.com/office/drawing/2014/main" id="{6DBA8223-67E6-4EB9-8A9E-31C590186BB1}"/>
              </a:ext>
            </a:extLst>
          </p:cNvPr>
          <p:cNvSpPr/>
          <p:nvPr/>
        </p:nvSpPr>
        <p:spPr>
          <a:xfrm flipV="1">
            <a:off x="4990704" y="3715599"/>
            <a:ext cx="199685" cy="230341"/>
          </a:xfrm>
          <a:prstGeom prst="downArrow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 fontScale="4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2" name="箭头: 下 61">
            <a:extLst>
              <a:ext uri="{FF2B5EF4-FFF2-40B4-BE49-F238E27FC236}">
                <a16:creationId xmlns:a16="http://schemas.microsoft.com/office/drawing/2014/main" id="{9385DEF0-6848-4B5F-970D-821300B01243}"/>
              </a:ext>
            </a:extLst>
          </p:cNvPr>
          <p:cNvSpPr/>
          <p:nvPr/>
        </p:nvSpPr>
        <p:spPr>
          <a:xfrm>
            <a:off x="7001753" y="3715599"/>
            <a:ext cx="199685" cy="230341"/>
          </a:xfrm>
          <a:prstGeom prst="downArrow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 fontScale="4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3" name="箭头: 下 62">
            <a:extLst>
              <a:ext uri="{FF2B5EF4-FFF2-40B4-BE49-F238E27FC236}">
                <a16:creationId xmlns:a16="http://schemas.microsoft.com/office/drawing/2014/main" id="{66BC2151-C13F-452A-8430-4D90C727DFC0}"/>
              </a:ext>
            </a:extLst>
          </p:cNvPr>
          <p:cNvSpPr/>
          <p:nvPr/>
        </p:nvSpPr>
        <p:spPr>
          <a:xfrm flipV="1">
            <a:off x="9012806" y="3715599"/>
            <a:ext cx="199685" cy="230341"/>
          </a:xfrm>
          <a:prstGeom prst="downArrow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rmAutofit fontScale="4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R"/>
              <a:ea typeface="OPPOSans R"/>
              <a:cs typeface="+mn-cs"/>
            </a:endParaRPr>
          </a:p>
        </p:txBody>
      </p:sp>
      <p:sp>
        <p:nvSpPr>
          <p:cNvPr id="66" name="椭圆 65">
            <a:extLst>
              <a:ext uri="{FF2B5EF4-FFF2-40B4-BE49-F238E27FC236}">
                <a16:creationId xmlns:a16="http://schemas.microsoft.com/office/drawing/2014/main" id="{BD6F0B12-8316-42EB-9498-F7E58E96AE1A}"/>
              </a:ext>
            </a:extLst>
          </p:cNvPr>
          <p:cNvSpPr/>
          <p:nvPr/>
        </p:nvSpPr>
        <p:spPr>
          <a:xfrm>
            <a:off x="2911884" y="2597637"/>
            <a:ext cx="334016" cy="334016"/>
          </a:xfrm>
          <a:prstGeom prst="ellipse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53000">
                <a:schemeClr val="accent3">
                  <a:lumMod val="80000"/>
                  <a:lumOff val="20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01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锐字云字库综艺GB"/>
              <a:ea typeface="+mj-ea"/>
              <a:cs typeface="+mn-cs"/>
            </a:endParaRPr>
          </a:p>
        </p:txBody>
      </p:sp>
      <p:sp>
        <p:nvSpPr>
          <p:cNvPr id="67" name="椭圆 66">
            <a:extLst>
              <a:ext uri="{FF2B5EF4-FFF2-40B4-BE49-F238E27FC236}">
                <a16:creationId xmlns:a16="http://schemas.microsoft.com/office/drawing/2014/main" id="{5EA791CB-CEB0-4420-A0BB-F06F93A2EE85}"/>
              </a:ext>
            </a:extLst>
          </p:cNvPr>
          <p:cNvSpPr/>
          <p:nvPr/>
        </p:nvSpPr>
        <p:spPr>
          <a:xfrm>
            <a:off x="6934587" y="2597637"/>
            <a:ext cx="334016" cy="334016"/>
          </a:xfrm>
          <a:prstGeom prst="ellipse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53000">
                <a:schemeClr val="accent3">
                  <a:lumMod val="80000"/>
                  <a:lumOff val="20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03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锐字云字库综艺GB"/>
              <a:ea typeface="+mj-ea"/>
              <a:cs typeface="+mn-cs"/>
            </a:endParaRPr>
          </a:p>
        </p:txBody>
      </p:sp>
      <p:sp>
        <p:nvSpPr>
          <p:cNvPr id="68" name="椭圆 67">
            <a:extLst>
              <a:ext uri="{FF2B5EF4-FFF2-40B4-BE49-F238E27FC236}">
                <a16:creationId xmlns:a16="http://schemas.microsoft.com/office/drawing/2014/main" id="{0C4F9B82-14C5-4E58-A7C6-5026437F6C0D}"/>
              </a:ext>
            </a:extLst>
          </p:cNvPr>
          <p:cNvSpPr/>
          <p:nvPr/>
        </p:nvSpPr>
        <p:spPr>
          <a:xfrm>
            <a:off x="10968125" y="2597637"/>
            <a:ext cx="334016" cy="334016"/>
          </a:xfrm>
          <a:prstGeom prst="ellipse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53000">
                <a:schemeClr val="accent3">
                  <a:lumMod val="80000"/>
                  <a:lumOff val="20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05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锐字云字库综艺GB"/>
              <a:ea typeface="+mj-ea"/>
              <a:cs typeface="+mn-cs"/>
            </a:endParaRPr>
          </a:p>
        </p:txBody>
      </p:sp>
      <p:sp>
        <p:nvSpPr>
          <p:cNvPr id="69" name="椭圆 68">
            <a:extLst>
              <a:ext uri="{FF2B5EF4-FFF2-40B4-BE49-F238E27FC236}">
                <a16:creationId xmlns:a16="http://schemas.microsoft.com/office/drawing/2014/main" id="{9963B4DE-9D59-4E94-B09A-F7C752E5FE17}"/>
              </a:ext>
            </a:extLst>
          </p:cNvPr>
          <p:cNvSpPr/>
          <p:nvPr/>
        </p:nvSpPr>
        <p:spPr>
          <a:xfrm>
            <a:off x="4923538" y="4255306"/>
            <a:ext cx="334016" cy="334016"/>
          </a:xfrm>
          <a:prstGeom prst="ellipse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53000">
                <a:schemeClr val="accent3">
                  <a:lumMod val="80000"/>
                  <a:lumOff val="20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02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锐字云字库综艺GB"/>
              <a:ea typeface="+mj-ea"/>
              <a:cs typeface="+mn-cs"/>
            </a:endParaRPr>
          </a:p>
        </p:txBody>
      </p:sp>
      <p:sp>
        <p:nvSpPr>
          <p:cNvPr id="70" name="椭圆 69">
            <a:extLst>
              <a:ext uri="{FF2B5EF4-FFF2-40B4-BE49-F238E27FC236}">
                <a16:creationId xmlns:a16="http://schemas.microsoft.com/office/drawing/2014/main" id="{4A4A1050-5F78-4A85-8998-DC80635F3C58}"/>
              </a:ext>
            </a:extLst>
          </p:cNvPr>
          <p:cNvSpPr/>
          <p:nvPr/>
        </p:nvSpPr>
        <p:spPr>
          <a:xfrm>
            <a:off x="8945640" y="4255306"/>
            <a:ext cx="334016" cy="334016"/>
          </a:xfrm>
          <a:prstGeom prst="ellipse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53000">
                <a:schemeClr val="accent3">
                  <a:lumMod val="80000"/>
                  <a:lumOff val="20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锐字云字库综艺GB"/>
                <a:ea typeface="+mj-ea"/>
                <a:cs typeface="+mn-cs"/>
              </a:rPr>
              <a:t>04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锐字云字库综艺GB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657757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>
            <a:extLst>
              <a:ext uri="{FF2B5EF4-FFF2-40B4-BE49-F238E27FC236}">
                <a16:creationId xmlns:a16="http://schemas.microsoft.com/office/drawing/2014/main" id="{10901E62-6AF2-4E1B-AFA1-C8CE771D2219}"/>
              </a:ext>
            </a:extLst>
          </p:cNvPr>
          <p:cNvSpPr/>
          <p:nvPr/>
        </p:nvSpPr>
        <p:spPr>
          <a:xfrm>
            <a:off x="1126847" y="1732127"/>
            <a:ext cx="10107038" cy="914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5CB739D7-DD43-4FAE-B162-59F9D4706B22}"/>
              </a:ext>
            </a:extLst>
          </p:cNvPr>
          <p:cNvSpPr/>
          <p:nvPr/>
        </p:nvSpPr>
        <p:spPr>
          <a:xfrm>
            <a:off x="1126847" y="5321634"/>
            <a:ext cx="10107038" cy="38910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2E1BD521-6D6B-4EF9-B16A-A611616B5B45}"/>
              </a:ext>
            </a:extLst>
          </p:cNvPr>
          <p:cNvSpPr/>
          <p:nvPr/>
        </p:nvSpPr>
        <p:spPr>
          <a:xfrm rot="5400000">
            <a:off x="2796761" y="2520072"/>
            <a:ext cx="3336589" cy="2558374"/>
          </a:xfrm>
          <a:custGeom>
            <a:avLst/>
            <a:gdLst>
              <a:gd name="connsiteX0" fmla="*/ 0 w 3336589"/>
              <a:gd name="connsiteY0" fmla="*/ 2558374 h 2558374"/>
              <a:gd name="connsiteX1" fmla="*/ 0 w 3336589"/>
              <a:gd name="connsiteY1" fmla="*/ 1021404 h 2558374"/>
              <a:gd name="connsiteX2" fmla="*/ 1 w 3336589"/>
              <a:gd name="connsiteY2" fmla="*/ 1021404 h 2558374"/>
              <a:gd name="connsiteX3" fmla="*/ 1697490 w 3336589"/>
              <a:gd name="connsiteY3" fmla="*/ 0 h 2558374"/>
              <a:gd name="connsiteX4" fmla="*/ 3336589 w 3336589"/>
              <a:gd name="connsiteY4" fmla="*/ 1021404 h 2558374"/>
              <a:gd name="connsiteX5" fmla="*/ 3336587 w 3336589"/>
              <a:gd name="connsiteY5" fmla="*/ 1021404 h 2558374"/>
              <a:gd name="connsiteX6" fmla="*/ 3336587 w 3336589"/>
              <a:gd name="connsiteY6" fmla="*/ 2558374 h 2558374"/>
              <a:gd name="connsiteX7" fmla="*/ 3326181 w 3336589"/>
              <a:gd name="connsiteY7" fmla="*/ 2558374 h 2558374"/>
              <a:gd name="connsiteX8" fmla="*/ 1697489 w 3336589"/>
              <a:gd name="connsiteY8" fmla="*/ 1543455 h 2558374"/>
              <a:gd name="connsiteX9" fmla="*/ 10778 w 3336589"/>
              <a:gd name="connsiteY9" fmla="*/ 2558374 h 2558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589" h="2558374">
                <a:moveTo>
                  <a:pt x="0" y="2558374"/>
                </a:moveTo>
                <a:lnTo>
                  <a:pt x="0" y="1021404"/>
                </a:lnTo>
                <a:lnTo>
                  <a:pt x="1" y="1021404"/>
                </a:lnTo>
                <a:lnTo>
                  <a:pt x="1697490" y="0"/>
                </a:lnTo>
                <a:lnTo>
                  <a:pt x="3336589" y="1021404"/>
                </a:lnTo>
                <a:lnTo>
                  <a:pt x="3336587" y="1021404"/>
                </a:lnTo>
                <a:lnTo>
                  <a:pt x="3336587" y="2558374"/>
                </a:lnTo>
                <a:lnTo>
                  <a:pt x="3326181" y="2558374"/>
                </a:lnTo>
                <a:lnTo>
                  <a:pt x="1697489" y="1543455"/>
                </a:lnTo>
                <a:lnTo>
                  <a:pt x="10778" y="2558374"/>
                </a:lnTo>
                <a:close/>
              </a:path>
            </a:pathLst>
          </a:cu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959E1DE3-2462-49E7-A9D4-D7890E9A01BE}"/>
              </a:ext>
            </a:extLst>
          </p:cNvPr>
          <p:cNvSpPr/>
          <p:nvPr/>
        </p:nvSpPr>
        <p:spPr>
          <a:xfrm rot="5400000">
            <a:off x="1091178" y="2520073"/>
            <a:ext cx="3336589" cy="2558374"/>
          </a:xfrm>
          <a:custGeom>
            <a:avLst/>
            <a:gdLst>
              <a:gd name="connsiteX0" fmla="*/ 0 w 3336589"/>
              <a:gd name="connsiteY0" fmla="*/ 2558374 h 2558374"/>
              <a:gd name="connsiteX1" fmla="*/ 0 w 3336589"/>
              <a:gd name="connsiteY1" fmla="*/ 1021404 h 2558374"/>
              <a:gd name="connsiteX2" fmla="*/ 1 w 3336589"/>
              <a:gd name="connsiteY2" fmla="*/ 1021404 h 2558374"/>
              <a:gd name="connsiteX3" fmla="*/ 1697490 w 3336589"/>
              <a:gd name="connsiteY3" fmla="*/ 0 h 2558374"/>
              <a:gd name="connsiteX4" fmla="*/ 3336589 w 3336589"/>
              <a:gd name="connsiteY4" fmla="*/ 1021404 h 2558374"/>
              <a:gd name="connsiteX5" fmla="*/ 3336587 w 3336589"/>
              <a:gd name="connsiteY5" fmla="*/ 1021404 h 2558374"/>
              <a:gd name="connsiteX6" fmla="*/ 3336587 w 3336589"/>
              <a:gd name="connsiteY6" fmla="*/ 2558374 h 2558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36589" h="2558374">
                <a:moveTo>
                  <a:pt x="0" y="2558374"/>
                </a:moveTo>
                <a:lnTo>
                  <a:pt x="0" y="1021404"/>
                </a:lnTo>
                <a:lnTo>
                  <a:pt x="1" y="1021404"/>
                </a:lnTo>
                <a:lnTo>
                  <a:pt x="1697490" y="0"/>
                </a:lnTo>
                <a:lnTo>
                  <a:pt x="3336589" y="1021404"/>
                </a:lnTo>
                <a:lnTo>
                  <a:pt x="3336587" y="1021404"/>
                </a:lnTo>
                <a:lnTo>
                  <a:pt x="3336587" y="2558374"/>
                </a:lnTo>
                <a:close/>
              </a:path>
            </a:pathLst>
          </a:cu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2EE1DE7-0B44-4A30-B35E-ECCAE2C5B8EF}"/>
              </a:ext>
            </a:extLst>
          </p:cNvPr>
          <p:cNvSpPr/>
          <p:nvPr/>
        </p:nvSpPr>
        <p:spPr>
          <a:xfrm rot="5400000">
            <a:off x="4502344" y="2520071"/>
            <a:ext cx="3336589" cy="2558374"/>
          </a:xfrm>
          <a:custGeom>
            <a:avLst/>
            <a:gdLst>
              <a:gd name="connsiteX0" fmla="*/ 0 w 3336589"/>
              <a:gd name="connsiteY0" fmla="*/ 2558374 h 2558374"/>
              <a:gd name="connsiteX1" fmla="*/ 0 w 3336589"/>
              <a:gd name="connsiteY1" fmla="*/ 1021404 h 2558374"/>
              <a:gd name="connsiteX2" fmla="*/ 1 w 3336589"/>
              <a:gd name="connsiteY2" fmla="*/ 1021404 h 2558374"/>
              <a:gd name="connsiteX3" fmla="*/ 1697490 w 3336589"/>
              <a:gd name="connsiteY3" fmla="*/ 0 h 2558374"/>
              <a:gd name="connsiteX4" fmla="*/ 3336589 w 3336589"/>
              <a:gd name="connsiteY4" fmla="*/ 1021404 h 2558374"/>
              <a:gd name="connsiteX5" fmla="*/ 3336587 w 3336589"/>
              <a:gd name="connsiteY5" fmla="*/ 1021404 h 2558374"/>
              <a:gd name="connsiteX6" fmla="*/ 3336587 w 3336589"/>
              <a:gd name="connsiteY6" fmla="*/ 2558374 h 2558374"/>
              <a:gd name="connsiteX7" fmla="*/ 3326181 w 3336589"/>
              <a:gd name="connsiteY7" fmla="*/ 2558374 h 2558374"/>
              <a:gd name="connsiteX8" fmla="*/ 1697489 w 3336589"/>
              <a:gd name="connsiteY8" fmla="*/ 1543455 h 2558374"/>
              <a:gd name="connsiteX9" fmla="*/ 10778 w 3336589"/>
              <a:gd name="connsiteY9" fmla="*/ 2558374 h 2558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589" h="2558374">
                <a:moveTo>
                  <a:pt x="0" y="2558374"/>
                </a:moveTo>
                <a:lnTo>
                  <a:pt x="0" y="1021404"/>
                </a:lnTo>
                <a:lnTo>
                  <a:pt x="1" y="1021404"/>
                </a:lnTo>
                <a:lnTo>
                  <a:pt x="1697490" y="0"/>
                </a:lnTo>
                <a:lnTo>
                  <a:pt x="3336589" y="1021404"/>
                </a:lnTo>
                <a:lnTo>
                  <a:pt x="3336587" y="1021404"/>
                </a:lnTo>
                <a:lnTo>
                  <a:pt x="3336587" y="2558374"/>
                </a:lnTo>
                <a:lnTo>
                  <a:pt x="3326181" y="2558374"/>
                </a:lnTo>
                <a:lnTo>
                  <a:pt x="1697489" y="1543455"/>
                </a:lnTo>
                <a:lnTo>
                  <a:pt x="10778" y="2558374"/>
                </a:lnTo>
                <a:close/>
              </a:path>
            </a:pathLst>
          </a:cu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DAF7321F-9FD4-42A6-A933-881C417F3C5E}"/>
              </a:ext>
            </a:extLst>
          </p:cNvPr>
          <p:cNvSpPr/>
          <p:nvPr/>
        </p:nvSpPr>
        <p:spPr>
          <a:xfrm rot="5400000">
            <a:off x="6207928" y="2520071"/>
            <a:ext cx="3336589" cy="2558374"/>
          </a:xfrm>
          <a:custGeom>
            <a:avLst/>
            <a:gdLst>
              <a:gd name="connsiteX0" fmla="*/ 0 w 3336589"/>
              <a:gd name="connsiteY0" fmla="*/ 2558374 h 2558374"/>
              <a:gd name="connsiteX1" fmla="*/ 0 w 3336589"/>
              <a:gd name="connsiteY1" fmla="*/ 1021404 h 2558374"/>
              <a:gd name="connsiteX2" fmla="*/ 1 w 3336589"/>
              <a:gd name="connsiteY2" fmla="*/ 1021404 h 2558374"/>
              <a:gd name="connsiteX3" fmla="*/ 1697490 w 3336589"/>
              <a:gd name="connsiteY3" fmla="*/ 0 h 2558374"/>
              <a:gd name="connsiteX4" fmla="*/ 3336589 w 3336589"/>
              <a:gd name="connsiteY4" fmla="*/ 1021404 h 2558374"/>
              <a:gd name="connsiteX5" fmla="*/ 3336587 w 3336589"/>
              <a:gd name="connsiteY5" fmla="*/ 1021404 h 2558374"/>
              <a:gd name="connsiteX6" fmla="*/ 3336587 w 3336589"/>
              <a:gd name="connsiteY6" fmla="*/ 2558374 h 2558374"/>
              <a:gd name="connsiteX7" fmla="*/ 3326181 w 3336589"/>
              <a:gd name="connsiteY7" fmla="*/ 2558374 h 2558374"/>
              <a:gd name="connsiteX8" fmla="*/ 1697489 w 3336589"/>
              <a:gd name="connsiteY8" fmla="*/ 1543455 h 2558374"/>
              <a:gd name="connsiteX9" fmla="*/ 10778 w 3336589"/>
              <a:gd name="connsiteY9" fmla="*/ 2558374 h 2558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589" h="2558374">
                <a:moveTo>
                  <a:pt x="0" y="2558374"/>
                </a:moveTo>
                <a:lnTo>
                  <a:pt x="0" y="1021404"/>
                </a:lnTo>
                <a:lnTo>
                  <a:pt x="1" y="1021404"/>
                </a:lnTo>
                <a:lnTo>
                  <a:pt x="1697490" y="0"/>
                </a:lnTo>
                <a:lnTo>
                  <a:pt x="3336589" y="1021404"/>
                </a:lnTo>
                <a:lnTo>
                  <a:pt x="3336587" y="1021404"/>
                </a:lnTo>
                <a:lnTo>
                  <a:pt x="3336587" y="2558374"/>
                </a:lnTo>
                <a:lnTo>
                  <a:pt x="3326181" y="2558374"/>
                </a:lnTo>
                <a:lnTo>
                  <a:pt x="1697489" y="1543455"/>
                </a:lnTo>
                <a:lnTo>
                  <a:pt x="10778" y="2558374"/>
                </a:lnTo>
                <a:close/>
              </a:path>
            </a:pathLst>
          </a:cu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E282C6A8-68C8-4DFC-B495-662D3AC997E0}"/>
              </a:ext>
            </a:extLst>
          </p:cNvPr>
          <p:cNvSpPr/>
          <p:nvPr/>
        </p:nvSpPr>
        <p:spPr>
          <a:xfrm>
            <a:off x="8302619" y="2130963"/>
            <a:ext cx="2558375" cy="3336590"/>
          </a:xfrm>
          <a:custGeom>
            <a:avLst/>
            <a:gdLst>
              <a:gd name="connsiteX0" fmla="*/ 1423479 w 2558375"/>
              <a:gd name="connsiteY0" fmla="*/ 0 h 3336590"/>
              <a:gd name="connsiteX1" fmla="*/ 2558375 w 2558375"/>
              <a:gd name="connsiteY1" fmla="*/ 0 h 3336590"/>
              <a:gd name="connsiteX2" fmla="*/ 2558375 w 2558375"/>
              <a:gd name="connsiteY2" fmla="*/ 3336590 h 3336590"/>
              <a:gd name="connsiteX3" fmla="*/ 1423479 w 2558375"/>
              <a:gd name="connsiteY3" fmla="*/ 3336590 h 3336590"/>
              <a:gd name="connsiteX4" fmla="*/ 1423479 w 2558375"/>
              <a:gd name="connsiteY4" fmla="*/ 3336588 h 3336590"/>
              <a:gd name="connsiteX5" fmla="*/ 0 w 2558375"/>
              <a:gd name="connsiteY5" fmla="*/ 3336588 h 3336590"/>
              <a:gd name="connsiteX6" fmla="*/ 0 w 2558375"/>
              <a:gd name="connsiteY6" fmla="*/ 3326182 h 3336590"/>
              <a:gd name="connsiteX7" fmla="*/ 1014920 w 2558375"/>
              <a:gd name="connsiteY7" fmla="*/ 1697490 h 3336590"/>
              <a:gd name="connsiteX8" fmla="*/ 0 w 2558375"/>
              <a:gd name="connsiteY8" fmla="*/ 10779 h 3336590"/>
              <a:gd name="connsiteX9" fmla="*/ 0 w 2558375"/>
              <a:gd name="connsiteY9" fmla="*/ 1 h 3336590"/>
              <a:gd name="connsiteX10" fmla="*/ 1423479 w 2558375"/>
              <a:gd name="connsiteY10" fmla="*/ 1 h 3336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58375" h="3336590">
                <a:moveTo>
                  <a:pt x="1423479" y="0"/>
                </a:moveTo>
                <a:lnTo>
                  <a:pt x="2558375" y="0"/>
                </a:lnTo>
                <a:lnTo>
                  <a:pt x="2558375" y="3336590"/>
                </a:lnTo>
                <a:lnTo>
                  <a:pt x="1423479" y="3336590"/>
                </a:lnTo>
                <a:lnTo>
                  <a:pt x="1423479" y="3336588"/>
                </a:lnTo>
                <a:lnTo>
                  <a:pt x="0" y="3336588"/>
                </a:lnTo>
                <a:lnTo>
                  <a:pt x="0" y="3326182"/>
                </a:lnTo>
                <a:lnTo>
                  <a:pt x="1014920" y="1697490"/>
                </a:lnTo>
                <a:lnTo>
                  <a:pt x="0" y="10779"/>
                </a:lnTo>
                <a:lnTo>
                  <a:pt x="0" y="1"/>
                </a:lnTo>
                <a:lnTo>
                  <a:pt x="1423479" y="1"/>
                </a:lnTo>
                <a:close/>
              </a:path>
            </a:pathLst>
          </a:cu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007B6FD3-728B-45C9-82B7-A6E1D4423C1D}"/>
              </a:ext>
            </a:extLst>
          </p:cNvPr>
          <p:cNvSpPr/>
          <p:nvPr/>
        </p:nvSpPr>
        <p:spPr>
          <a:xfrm>
            <a:off x="1480285" y="2130963"/>
            <a:ext cx="376137" cy="333659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05FABD39-8134-40E8-A085-8F40F350FDC1}"/>
              </a:ext>
            </a:extLst>
          </p:cNvPr>
          <p:cNvSpPr/>
          <p:nvPr/>
        </p:nvSpPr>
        <p:spPr>
          <a:xfrm>
            <a:off x="10484855" y="2130963"/>
            <a:ext cx="376137" cy="333659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5718AFC2-69CC-4D69-8D8C-7D6803506C65}"/>
              </a:ext>
            </a:extLst>
          </p:cNvPr>
          <p:cNvSpPr txBox="1"/>
          <p:nvPr/>
        </p:nvSpPr>
        <p:spPr>
          <a:xfrm>
            <a:off x="5170394" y="576302"/>
            <a:ext cx="183896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研究意义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DC249EA5-75AD-4F41-B159-8302796173A2}"/>
              </a:ext>
            </a:extLst>
          </p:cNvPr>
          <p:cNvSpPr txBox="1"/>
          <p:nvPr/>
        </p:nvSpPr>
        <p:spPr>
          <a:xfrm>
            <a:off x="5080844" y="1147260"/>
            <a:ext cx="219507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Research meaning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C7BC9466-9659-4727-85D8-3F8E5A4551DD}"/>
              </a:ext>
            </a:extLst>
          </p:cNvPr>
          <p:cNvSpPr/>
          <p:nvPr/>
        </p:nvSpPr>
        <p:spPr>
          <a:xfrm flipH="1" flipV="1">
            <a:off x="-692846" y="-712634"/>
            <a:ext cx="1989256" cy="198925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861CA042-8728-457B-9E18-9DDD0B7A722C}"/>
              </a:ext>
            </a:extLst>
          </p:cNvPr>
          <p:cNvSpPr/>
          <p:nvPr/>
        </p:nvSpPr>
        <p:spPr>
          <a:xfrm flipH="1" flipV="1">
            <a:off x="-470872" y="-564997"/>
            <a:ext cx="1989256" cy="1989256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840DDB2B-6B2A-45D0-8707-0BA4C9F3446D}"/>
              </a:ext>
            </a:extLst>
          </p:cNvPr>
          <p:cNvSpPr/>
          <p:nvPr/>
        </p:nvSpPr>
        <p:spPr>
          <a:xfrm>
            <a:off x="11086385" y="6356554"/>
            <a:ext cx="1589874" cy="1210759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512B733F-B9FF-4141-9388-D120ADA80F70}"/>
              </a:ext>
            </a:extLst>
          </p:cNvPr>
          <p:cNvSpPr txBox="1"/>
          <p:nvPr/>
        </p:nvSpPr>
        <p:spPr>
          <a:xfrm>
            <a:off x="2475451" y="4852000"/>
            <a:ext cx="70696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1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BFE1D88B-7098-457B-BDD7-AF04BE2CED6B}"/>
              </a:ext>
            </a:extLst>
          </p:cNvPr>
          <p:cNvSpPr txBox="1"/>
          <p:nvPr/>
        </p:nvSpPr>
        <p:spPr>
          <a:xfrm>
            <a:off x="4111572" y="4867131"/>
            <a:ext cx="70696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2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88F36798-5B4B-4E02-8188-1FD069ACEA84}"/>
              </a:ext>
            </a:extLst>
          </p:cNvPr>
          <p:cNvSpPr txBox="1"/>
          <p:nvPr/>
        </p:nvSpPr>
        <p:spPr>
          <a:xfrm>
            <a:off x="5744241" y="4859565"/>
            <a:ext cx="70696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3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B17561A4-1799-4D8D-95BC-B6196BC0A4AE}"/>
              </a:ext>
            </a:extLst>
          </p:cNvPr>
          <p:cNvSpPr txBox="1"/>
          <p:nvPr/>
        </p:nvSpPr>
        <p:spPr>
          <a:xfrm>
            <a:off x="7449826" y="4867131"/>
            <a:ext cx="70696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4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60FE418-460E-44C8-AF6D-E0BA75286A45}"/>
              </a:ext>
            </a:extLst>
          </p:cNvPr>
          <p:cNvSpPr txBox="1"/>
          <p:nvPr/>
        </p:nvSpPr>
        <p:spPr>
          <a:xfrm>
            <a:off x="9727632" y="4859565"/>
            <a:ext cx="70696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5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1AF4E57-F612-457B-BA54-1238C4B5E8D2}"/>
              </a:ext>
            </a:extLst>
          </p:cNvPr>
          <p:cNvSpPr txBox="1"/>
          <p:nvPr/>
        </p:nvSpPr>
        <p:spPr>
          <a:xfrm>
            <a:off x="2094253" y="3198671"/>
            <a:ext cx="1137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转型升级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2ADC16F-DABD-4105-820C-9EFA7FAE90CF}"/>
              </a:ext>
            </a:extLst>
          </p:cNvPr>
          <p:cNvSpPr txBox="1"/>
          <p:nvPr/>
        </p:nvSpPr>
        <p:spPr>
          <a:xfrm>
            <a:off x="2094253" y="3603024"/>
            <a:ext cx="1431869" cy="5766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传统媒介或新型媒介转型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F5FF160B-6A0D-46FC-A252-6283F0D1E1E0}"/>
              </a:ext>
            </a:extLst>
          </p:cNvPr>
          <p:cNvSpPr txBox="1"/>
          <p:nvPr/>
        </p:nvSpPr>
        <p:spPr>
          <a:xfrm>
            <a:off x="4258583" y="3063651"/>
            <a:ext cx="1137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赢得市场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1F70D4E4-497C-405D-B23C-759363C28AB4}"/>
              </a:ext>
            </a:extLst>
          </p:cNvPr>
          <p:cNvSpPr txBox="1"/>
          <p:nvPr/>
        </p:nvSpPr>
        <p:spPr>
          <a:xfrm>
            <a:off x="4258583" y="3468004"/>
            <a:ext cx="1269521" cy="8720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传统纸媒的发展也能赢得市场空间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6FC5B6D0-728C-4DED-8248-8AC3255ED46C}"/>
              </a:ext>
            </a:extLst>
          </p:cNvPr>
          <p:cNvSpPr txBox="1"/>
          <p:nvPr/>
        </p:nvSpPr>
        <p:spPr>
          <a:xfrm>
            <a:off x="5969273" y="3063651"/>
            <a:ext cx="1137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共同进步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771F04AD-595F-4E61-9A43-4A7985FF003A}"/>
              </a:ext>
            </a:extLst>
          </p:cNvPr>
          <p:cNvSpPr txBox="1"/>
          <p:nvPr/>
        </p:nvSpPr>
        <p:spPr>
          <a:xfrm>
            <a:off x="5969273" y="3468004"/>
            <a:ext cx="1269521" cy="8720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促进媒介行业全面发展共同进步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5B978744-D6CB-4DDA-99E8-2E65C33F56DE}"/>
              </a:ext>
            </a:extLst>
          </p:cNvPr>
          <p:cNvSpPr txBox="1"/>
          <p:nvPr/>
        </p:nvSpPr>
        <p:spPr>
          <a:xfrm>
            <a:off x="7669750" y="3162225"/>
            <a:ext cx="1137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事业贡献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95D31872-2E46-47FF-91DA-255975AA36C0}"/>
              </a:ext>
            </a:extLst>
          </p:cNvPr>
          <p:cNvSpPr txBox="1"/>
          <p:nvPr/>
        </p:nvSpPr>
        <p:spPr>
          <a:xfrm>
            <a:off x="7669750" y="3566578"/>
            <a:ext cx="1269521" cy="5766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新闻传播事业做出贡献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5CA4D4B4-BDCE-4F0D-9166-93F2822147C2}"/>
              </a:ext>
            </a:extLst>
          </p:cNvPr>
          <p:cNvSpPr txBox="1"/>
          <p:nvPr/>
        </p:nvSpPr>
        <p:spPr>
          <a:xfrm>
            <a:off x="9316312" y="3072773"/>
            <a:ext cx="11370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社会发展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40792BFD-C670-4E5D-882A-EB13F642A86C}"/>
              </a:ext>
            </a:extLst>
          </p:cNvPr>
          <p:cNvSpPr txBox="1"/>
          <p:nvPr/>
        </p:nvSpPr>
        <p:spPr>
          <a:xfrm>
            <a:off x="9389735" y="3477126"/>
            <a:ext cx="1196098" cy="8720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媒体发展，推动社会发展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6075621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任意多边形: 形状 1">
            <a:extLst>
              <a:ext uri="{FF2B5EF4-FFF2-40B4-BE49-F238E27FC236}">
                <a16:creationId xmlns:a16="http://schemas.microsoft.com/office/drawing/2014/main" id="{B1846F4D-3B07-4D6E-BFB2-841F3BF5518A}"/>
              </a:ext>
            </a:extLst>
          </p:cNvPr>
          <p:cNvSpPr/>
          <p:nvPr/>
        </p:nvSpPr>
        <p:spPr>
          <a:xfrm>
            <a:off x="1" y="0"/>
            <a:ext cx="3619539" cy="6858000"/>
          </a:xfrm>
          <a:custGeom>
            <a:avLst/>
            <a:gdLst>
              <a:gd name="connsiteX0" fmla="*/ 0 w 3619539"/>
              <a:gd name="connsiteY0" fmla="*/ 457200 h 6858000"/>
              <a:gd name="connsiteX1" fmla="*/ 3527610 w 3619539"/>
              <a:gd name="connsiteY1" fmla="*/ 6799088 h 6858000"/>
              <a:gd name="connsiteX2" fmla="*/ 3619539 w 3619539"/>
              <a:gd name="connsiteY2" fmla="*/ 6858000 h 6858000"/>
              <a:gd name="connsiteX3" fmla="*/ 0 w 3619539"/>
              <a:gd name="connsiteY3" fmla="*/ 6858000 h 6858000"/>
              <a:gd name="connsiteX4" fmla="*/ 0 w 3619539"/>
              <a:gd name="connsiteY4" fmla="*/ 0 h 6858000"/>
              <a:gd name="connsiteX5" fmla="*/ 15641 w 3619539"/>
              <a:gd name="connsiteY5" fmla="*/ 0 h 6858000"/>
              <a:gd name="connsiteX6" fmla="*/ 11427 w 3619539"/>
              <a:gd name="connsiteY6" fmla="*/ 49939 h 6858000"/>
              <a:gd name="connsiteX7" fmla="*/ 0 w 3619539"/>
              <a:gd name="connsiteY7" fmla="*/ 4572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539" h="6858000">
                <a:moveTo>
                  <a:pt x="0" y="457200"/>
                </a:moveTo>
                <a:cubicBezTo>
                  <a:pt x="0" y="3052401"/>
                  <a:pt x="1386134" y="5355847"/>
                  <a:pt x="3527610" y="6799088"/>
                </a:cubicBezTo>
                <a:lnTo>
                  <a:pt x="3619539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5641" y="0"/>
                </a:lnTo>
                <a:lnTo>
                  <a:pt x="11427" y="49939"/>
                </a:lnTo>
                <a:cubicBezTo>
                  <a:pt x="3840" y="184829"/>
                  <a:pt x="0" y="320611"/>
                  <a:pt x="0" y="457200"/>
                </a:cubicBezTo>
                <a:close/>
              </a:path>
            </a:pathLst>
          </a:custGeom>
          <a:gradFill flip="none" rotWithShape="1">
            <a:gsLst>
              <a:gs pos="35000">
                <a:schemeClr val="accent2"/>
              </a:gs>
              <a:gs pos="10000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" name="任意多边形: 形状 2">
            <a:extLst>
              <a:ext uri="{FF2B5EF4-FFF2-40B4-BE49-F238E27FC236}">
                <a16:creationId xmlns:a16="http://schemas.microsoft.com/office/drawing/2014/main" id="{B18FB4E7-E1AB-4106-BBE5-D86735A44D0D}"/>
              </a:ext>
            </a:extLst>
          </p:cNvPr>
          <p:cNvSpPr/>
          <p:nvPr/>
        </p:nvSpPr>
        <p:spPr>
          <a:xfrm flipH="1" flipV="1">
            <a:off x="8572463" y="0"/>
            <a:ext cx="3619539" cy="6858000"/>
          </a:xfrm>
          <a:custGeom>
            <a:avLst/>
            <a:gdLst>
              <a:gd name="connsiteX0" fmla="*/ 0 w 3619539"/>
              <a:gd name="connsiteY0" fmla="*/ 457200 h 6858000"/>
              <a:gd name="connsiteX1" fmla="*/ 3527610 w 3619539"/>
              <a:gd name="connsiteY1" fmla="*/ 6799088 h 6858000"/>
              <a:gd name="connsiteX2" fmla="*/ 3619539 w 3619539"/>
              <a:gd name="connsiteY2" fmla="*/ 6858000 h 6858000"/>
              <a:gd name="connsiteX3" fmla="*/ 0 w 3619539"/>
              <a:gd name="connsiteY3" fmla="*/ 6858000 h 6858000"/>
              <a:gd name="connsiteX4" fmla="*/ 0 w 3619539"/>
              <a:gd name="connsiteY4" fmla="*/ 0 h 6858000"/>
              <a:gd name="connsiteX5" fmla="*/ 15641 w 3619539"/>
              <a:gd name="connsiteY5" fmla="*/ 0 h 6858000"/>
              <a:gd name="connsiteX6" fmla="*/ 11427 w 3619539"/>
              <a:gd name="connsiteY6" fmla="*/ 49939 h 6858000"/>
              <a:gd name="connsiteX7" fmla="*/ 0 w 3619539"/>
              <a:gd name="connsiteY7" fmla="*/ 4572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539" h="6858000">
                <a:moveTo>
                  <a:pt x="0" y="457200"/>
                </a:moveTo>
                <a:cubicBezTo>
                  <a:pt x="0" y="3052401"/>
                  <a:pt x="1386134" y="5355847"/>
                  <a:pt x="3527610" y="6799088"/>
                </a:cubicBezTo>
                <a:lnTo>
                  <a:pt x="3619539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5641" y="0"/>
                </a:lnTo>
                <a:lnTo>
                  <a:pt x="11427" y="49939"/>
                </a:lnTo>
                <a:cubicBezTo>
                  <a:pt x="3840" y="184829"/>
                  <a:pt x="0" y="320611"/>
                  <a:pt x="0" y="457200"/>
                </a:cubicBezTo>
                <a:close/>
              </a:path>
            </a:pathLst>
          </a:custGeom>
          <a:gradFill flip="none" rotWithShape="1">
            <a:gsLst>
              <a:gs pos="35000">
                <a:schemeClr val="accent2"/>
              </a:gs>
              <a:gs pos="10000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7" name="文本框 1">
            <a:extLst>
              <a:ext uri="{FF2B5EF4-FFF2-40B4-BE49-F238E27FC236}">
                <a16:creationId xmlns:a16="http://schemas.microsoft.com/office/drawing/2014/main" id="{61461C07-6358-4560-A5BC-6D81045FE3E6}"/>
              </a:ext>
            </a:extLst>
          </p:cNvPr>
          <p:cNvSpPr txBox="1"/>
          <p:nvPr/>
        </p:nvSpPr>
        <p:spPr>
          <a:xfrm>
            <a:off x="917837" y="2179763"/>
            <a:ext cx="1798973" cy="125225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9C9A607B-75FA-4A8C-8FD1-C9F608B7721B}"/>
              </a:ext>
            </a:extLst>
          </p:cNvPr>
          <p:cNvSpPr/>
          <p:nvPr/>
        </p:nvSpPr>
        <p:spPr>
          <a:xfrm>
            <a:off x="917837" y="1598718"/>
            <a:ext cx="1135975" cy="46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alpha val="50000"/>
                </a:schemeClr>
              </a:gs>
            </a:gsLst>
            <a:lin ang="2700000" scaled="0"/>
          </a:gradFill>
          <a:ln>
            <a:noFill/>
          </a:ln>
          <a:effectLst>
            <a:outerShdw blurRad="76200" dist="50800" dir="5400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+mn-cs"/>
            </a:endParaRPr>
          </a:p>
        </p:txBody>
      </p:sp>
      <p:sp>
        <p:nvSpPr>
          <p:cNvPr id="83" name="文本框 2">
            <a:extLst>
              <a:ext uri="{FF2B5EF4-FFF2-40B4-BE49-F238E27FC236}">
                <a16:creationId xmlns:a16="http://schemas.microsoft.com/office/drawing/2014/main" id="{08ABFA15-EB6D-4491-A30B-C8A90BA2A601}"/>
              </a:ext>
            </a:extLst>
          </p:cNvPr>
          <p:cNvSpPr txBox="1"/>
          <p:nvPr/>
        </p:nvSpPr>
        <p:spPr>
          <a:xfrm>
            <a:off x="8327992" y="3014223"/>
            <a:ext cx="1887357" cy="125225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借助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9C74D664-C2FC-43FF-A6BC-4BADE776E8DA}"/>
              </a:ext>
            </a:extLst>
          </p:cNvPr>
          <p:cNvSpPr/>
          <p:nvPr/>
        </p:nvSpPr>
        <p:spPr>
          <a:xfrm>
            <a:off x="8327992" y="2433178"/>
            <a:ext cx="1135975" cy="46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alpha val="50000"/>
                </a:schemeClr>
              </a:gs>
            </a:gsLst>
            <a:lin ang="2700000" scaled="0"/>
          </a:gradFill>
          <a:ln>
            <a:noFill/>
          </a:ln>
          <a:effectLst>
            <a:outerShdw blurRad="76200" dist="50800" dir="54000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+mn-cs"/>
            </a:endParaRPr>
          </a:p>
        </p:txBody>
      </p:sp>
      <p:sp>
        <p:nvSpPr>
          <p:cNvPr id="86" name="文本框 3">
            <a:extLst>
              <a:ext uri="{FF2B5EF4-FFF2-40B4-BE49-F238E27FC236}">
                <a16:creationId xmlns:a16="http://schemas.microsoft.com/office/drawing/2014/main" id="{5D64F804-EC67-4450-AD9B-46C9CD00CC82}"/>
              </a:ext>
            </a:extLst>
          </p:cNvPr>
          <p:cNvSpPr txBox="1"/>
          <p:nvPr/>
        </p:nvSpPr>
        <p:spPr>
          <a:xfrm>
            <a:off x="1864935" y="4190495"/>
            <a:ext cx="1754603" cy="125225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丰富的信息图表覆盖并列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流程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层级等多种逻辑关系，帮助有效梳理页面内容。</a:t>
            </a:r>
          </a:p>
        </p:txBody>
      </p:sp>
      <p:sp>
        <p:nvSpPr>
          <p:cNvPr id="87" name="矩形: 圆角 86">
            <a:extLst>
              <a:ext uri="{FF2B5EF4-FFF2-40B4-BE49-F238E27FC236}">
                <a16:creationId xmlns:a16="http://schemas.microsoft.com/office/drawing/2014/main" id="{2C1BD0B2-C294-406F-A6BE-94753DA16CA2}"/>
              </a:ext>
            </a:extLst>
          </p:cNvPr>
          <p:cNvSpPr/>
          <p:nvPr/>
        </p:nvSpPr>
        <p:spPr>
          <a:xfrm>
            <a:off x="1864935" y="3609450"/>
            <a:ext cx="1135975" cy="46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alpha val="50000"/>
                </a:schemeClr>
              </a:gs>
            </a:gsLst>
            <a:lin ang="2700000" scaled="0"/>
          </a:gradFill>
          <a:ln>
            <a:noFill/>
          </a:ln>
          <a:effectLst>
            <a:outerShdw blurRad="76200" dist="50800" dir="54000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+mn-cs"/>
            </a:endParaRPr>
          </a:p>
        </p:txBody>
      </p:sp>
      <p:sp>
        <p:nvSpPr>
          <p:cNvPr id="89" name="文本框 4">
            <a:extLst>
              <a:ext uri="{FF2B5EF4-FFF2-40B4-BE49-F238E27FC236}">
                <a16:creationId xmlns:a16="http://schemas.microsoft.com/office/drawing/2014/main" id="{0F4D1E5D-FAF8-4172-A5FC-301919B8C604}"/>
              </a:ext>
            </a:extLst>
          </p:cNvPr>
          <p:cNvSpPr txBox="1"/>
          <p:nvPr/>
        </p:nvSpPr>
        <p:spPr>
          <a:xfrm>
            <a:off x="10056397" y="4957306"/>
            <a:ext cx="1837628" cy="125225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思源黑体 CN Light" panose="020B0300000000000000" pitchFamily="34" charset="-122"/>
                <a:ea typeface="思源黑体 CN Light" panose="020B0300000000000000" pitchFamily="34" charset="-122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不论你是销售、策划、学生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爱好者，都能在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找到适合的模板。</a:t>
            </a:r>
          </a:p>
        </p:txBody>
      </p:sp>
      <p:sp>
        <p:nvSpPr>
          <p:cNvPr id="90" name="矩形: 圆角 89">
            <a:extLst>
              <a:ext uri="{FF2B5EF4-FFF2-40B4-BE49-F238E27FC236}">
                <a16:creationId xmlns:a16="http://schemas.microsoft.com/office/drawing/2014/main" id="{98ACA3A0-9973-4A2D-8276-7CFEA977EB39}"/>
              </a:ext>
            </a:extLst>
          </p:cNvPr>
          <p:cNvSpPr/>
          <p:nvPr/>
        </p:nvSpPr>
        <p:spPr>
          <a:xfrm>
            <a:off x="10056396" y="4376261"/>
            <a:ext cx="1135975" cy="46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alpha val="50000"/>
                </a:schemeClr>
              </a:gs>
            </a:gsLst>
            <a:lin ang="2700000" scaled="0"/>
          </a:gradFill>
          <a:ln>
            <a:noFill/>
          </a:ln>
          <a:effectLst>
            <a:outerShdw blurRad="76200" dist="50800" dir="5400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+mn-cs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97449DDE-D4B2-4202-B4A9-554DD61C8FB3}"/>
              </a:ext>
            </a:extLst>
          </p:cNvPr>
          <p:cNvSpPr/>
          <p:nvPr/>
        </p:nvSpPr>
        <p:spPr>
          <a:xfrm>
            <a:off x="2829999" y="1398539"/>
            <a:ext cx="7552232" cy="4644572"/>
          </a:xfrm>
          <a:custGeom>
            <a:avLst/>
            <a:gdLst>
              <a:gd name="connsiteX0" fmla="*/ 1008408 w 7554351"/>
              <a:gd name="connsiteY0" fmla="*/ 0 h 4644572"/>
              <a:gd name="connsiteX1" fmla="*/ 282694 w 7554351"/>
              <a:gd name="connsiteY1" fmla="*/ 711200 h 4644572"/>
              <a:gd name="connsiteX2" fmla="*/ 5159494 w 7554351"/>
              <a:gd name="connsiteY2" fmla="*/ 1451429 h 4644572"/>
              <a:gd name="connsiteX3" fmla="*/ 689094 w 7554351"/>
              <a:gd name="connsiteY3" fmla="*/ 3164115 h 4644572"/>
              <a:gd name="connsiteX4" fmla="*/ 7554351 w 7554351"/>
              <a:gd name="connsiteY4" fmla="*/ 4644572 h 4644572"/>
              <a:gd name="connsiteX0" fmla="*/ 1006289 w 7552232"/>
              <a:gd name="connsiteY0" fmla="*/ 0 h 4644572"/>
              <a:gd name="connsiteX1" fmla="*/ 280575 w 7552232"/>
              <a:gd name="connsiteY1" fmla="*/ 711200 h 4644572"/>
              <a:gd name="connsiteX2" fmla="*/ 5128346 w 7552232"/>
              <a:gd name="connsiteY2" fmla="*/ 1436914 h 4644572"/>
              <a:gd name="connsiteX3" fmla="*/ 686975 w 7552232"/>
              <a:gd name="connsiteY3" fmla="*/ 3164115 h 4644572"/>
              <a:gd name="connsiteX4" fmla="*/ 7552232 w 7552232"/>
              <a:gd name="connsiteY4" fmla="*/ 4644572 h 4644572"/>
              <a:gd name="connsiteX0" fmla="*/ 1006289 w 7552232"/>
              <a:gd name="connsiteY0" fmla="*/ 0 h 4644572"/>
              <a:gd name="connsiteX1" fmla="*/ 280575 w 7552232"/>
              <a:gd name="connsiteY1" fmla="*/ 711200 h 4644572"/>
              <a:gd name="connsiteX2" fmla="*/ 5128346 w 7552232"/>
              <a:gd name="connsiteY2" fmla="*/ 1436914 h 4644572"/>
              <a:gd name="connsiteX3" fmla="*/ 686975 w 7552232"/>
              <a:gd name="connsiteY3" fmla="*/ 3164115 h 4644572"/>
              <a:gd name="connsiteX4" fmla="*/ 7552232 w 7552232"/>
              <a:gd name="connsiteY4" fmla="*/ 4644572 h 4644572"/>
              <a:gd name="connsiteX0" fmla="*/ 1006289 w 7552232"/>
              <a:gd name="connsiteY0" fmla="*/ 0 h 4644572"/>
              <a:gd name="connsiteX1" fmla="*/ 280575 w 7552232"/>
              <a:gd name="connsiteY1" fmla="*/ 711200 h 4644572"/>
              <a:gd name="connsiteX2" fmla="*/ 5128346 w 7552232"/>
              <a:gd name="connsiteY2" fmla="*/ 1436914 h 4644572"/>
              <a:gd name="connsiteX3" fmla="*/ 1194975 w 7552232"/>
              <a:gd name="connsiteY3" fmla="*/ 3048000 h 4644572"/>
              <a:gd name="connsiteX4" fmla="*/ 7552232 w 7552232"/>
              <a:gd name="connsiteY4" fmla="*/ 4644572 h 4644572"/>
              <a:gd name="connsiteX0" fmla="*/ 1006289 w 7552232"/>
              <a:gd name="connsiteY0" fmla="*/ 0 h 4644572"/>
              <a:gd name="connsiteX1" fmla="*/ 280575 w 7552232"/>
              <a:gd name="connsiteY1" fmla="*/ 711200 h 4644572"/>
              <a:gd name="connsiteX2" fmla="*/ 5128346 w 7552232"/>
              <a:gd name="connsiteY2" fmla="*/ 1436914 h 4644572"/>
              <a:gd name="connsiteX3" fmla="*/ 1194975 w 7552232"/>
              <a:gd name="connsiteY3" fmla="*/ 3048000 h 4644572"/>
              <a:gd name="connsiteX4" fmla="*/ 7552232 w 7552232"/>
              <a:gd name="connsiteY4" fmla="*/ 4644572 h 4644572"/>
              <a:gd name="connsiteX0" fmla="*/ 1006289 w 7552232"/>
              <a:gd name="connsiteY0" fmla="*/ 0 h 4644572"/>
              <a:gd name="connsiteX1" fmla="*/ 280575 w 7552232"/>
              <a:gd name="connsiteY1" fmla="*/ 711200 h 4644572"/>
              <a:gd name="connsiteX2" fmla="*/ 5128346 w 7552232"/>
              <a:gd name="connsiteY2" fmla="*/ 1436914 h 4644572"/>
              <a:gd name="connsiteX3" fmla="*/ 1194975 w 7552232"/>
              <a:gd name="connsiteY3" fmla="*/ 3048000 h 4644572"/>
              <a:gd name="connsiteX4" fmla="*/ 7552232 w 7552232"/>
              <a:gd name="connsiteY4" fmla="*/ 4644572 h 4644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52232" h="4644572">
                <a:moveTo>
                  <a:pt x="1006289" y="0"/>
                </a:moveTo>
                <a:cubicBezTo>
                  <a:pt x="297508" y="234647"/>
                  <a:pt x="-406435" y="471714"/>
                  <a:pt x="280575" y="711200"/>
                </a:cubicBezTo>
                <a:cubicBezTo>
                  <a:pt x="967585" y="950686"/>
                  <a:pt x="5063032" y="655561"/>
                  <a:pt x="5128346" y="1436914"/>
                </a:cubicBezTo>
                <a:cubicBezTo>
                  <a:pt x="5193660" y="2218267"/>
                  <a:pt x="936136" y="2194076"/>
                  <a:pt x="1194975" y="3048000"/>
                </a:cubicBezTo>
                <a:cubicBezTo>
                  <a:pt x="1453814" y="3901924"/>
                  <a:pt x="4319175" y="4170439"/>
                  <a:pt x="7552232" y="4644572"/>
                </a:cubicBezTo>
              </a:path>
            </a:pathLst>
          </a:custGeom>
          <a:noFill/>
          <a:ln w="63500" cap="rnd">
            <a:gradFill flip="none" rotWithShape="1">
              <a:gsLst>
                <a:gs pos="50000">
                  <a:schemeClr val="accent1"/>
                </a:gs>
                <a:gs pos="21000">
                  <a:schemeClr val="accent2"/>
                </a:gs>
                <a:gs pos="95000">
                  <a:schemeClr val="accent1">
                    <a:alpha val="2000"/>
                  </a:schemeClr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DA0515B9-7F38-4121-80BC-70FDA1B7B83F}"/>
              </a:ext>
            </a:extLst>
          </p:cNvPr>
          <p:cNvSpPr/>
          <p:nvPr/>
        </p:nvSpPr>
        <p:spPr>
          <a:xfrm>
            <a:off x="2761811" y="1832717"/>
            <a:ext cx="180000" cy="18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6E4AB800-8139-43E2-A6A7-E9451FE3F3FD}"/>
              </a:ext>
            </a:extLst>
          </p:cNvPr>
          <p:cNvSpPr/>
          <p:nvPr/>
        </p:nvSpPr>
        <p:spPr>
          <a:xfrm>
            <a:off x="2806811" y="1877717"/>
            <a:ext cx="90000" cy="9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4" name="椭圆 73">
            <a:extLst>
              <a:ext uri="{FF2B5EF4-FFF2-40B4-BE49-F238E27FC236}">
                <a16:creationId xmlns:a16="http://schemas.microsoft.com/office/drawing/2014/main" id="{52D2EA62-DEE3-4202-A1C6-7BB5D8F930A4}"/>
              </a:ext>
            </a:extLst>
          </p:cNvPr>
          <p:cNvSpPr/>
          <p:nvPr/>
        </p:nvSpPr>
        <p:spPr>
          <a:xfrm>
            <a:off x="7864055" y="2711919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5" name="椭圆 74">
            <a:extLst>
              <a:ext uri="{FF2B5EF4-FFF2-40B4-BE49-F238E27FC236}">
                <a16:creationId xmlns:a16="http://schemas.microsoft.com/office/drawing/2014/main" id="{B7809545-D32E-489A-BDCA-3BC124EC0141}"/>
              </a:ext>
            </a:extLst>
          </p:cNvPr>
          <p:cNvSpPr/>
          <p:nvPr/>
        </p:nvSpPr>
        <p:spPr>
          <a:xfrm>
            <a:off x="7909055" y="2756919"/>
            <a:ext cx="90000" cy="9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7" name="椭圆 76">
            <a:extLst>
              <a:ext uri="{FF2B5EF4-FFF2-40B4-BE49-F238E27FC236}">
                <a16:creationId xmlns:a16="http://schemas.microsoft.com/office/drawing/2014/main" id="{4F5B0FD5-79D6-4082-8CD0-248E33BFF840}"/>
              </a:ext>
            </a:extLst>
          </p:cNvPr>
          <p:cNvSpPr/>
          <p:nvPr/>
        </p:nvSpPr>
        <p:spPr>
          <a:xfrm>
            <a:off x="3934609" y="4286260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DF873E24-953E-4217-A455-17735AD68A62}"/>
              </a:ext>
            </a:extLst>
          </p:cNvPr>
          <p:cNvSpPr/>
          <p:nvPr/>
        </p:nvSpPr>
        <p:spPr>
          <a:xfrm>
            <a:off x="3979609" y="4331260"/>
            <a:ext cx="90000" cy="9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0" name="椭圆 79">
            <a:extLst>
              <a:ext uri="{FF2B5EF4-FFF2-40B4-BE49-F238E27FC236}">
                <a16:creationId xmlns:a16="http://schemas.microsoft.com/office/drawing/2014/main" id="{1849F8CB-892A-4ADD-9FE3-1899D4C28A05}"/>
              </a:ext>
            </a:extLst>
          </p:cNvPr>
          <p:cNvSpPr/>
          <p:nvPr/>
        </p:nvSpPr>
        <p:spPr>
          <a:xfrm>
            <a:off x="10315420" y="5953111"/>
            <a:ext cx="180000" cy="18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81" name="椭圆 80">
            <a:extLst>
              <a:ext uri="{FF2B5EF4-FFF2-40B4-BE49-F238E27FC236}">
                <a16:creationId xmlns:a16="http://schemas.microsoft.com/office/drawing/2014/main" id="{00862287-E320-42A8-B880-8886F821A928}"/>
              </a:ext>
            </a:extLst>
          </p:cNvPr>
          <p:cNvSpPr/>
          <p:nvPr/>
        </p:nvSpPr>
        <p:spPr>
          <a:xfrm>
            <a:off x="10360420" y="5998111"/>
            <a:ext cx="90000" cy="9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6" name="文本框01">
            <a:extLst>
              <a:ext uri="{FF2B5EF4-FFF2-40B4-BE49-F238E27FC236}">
                <a16:creationId xmlns:a16="http://schemas.microsoft.com/office/drawing/2014/main" id="{1DD34878-83F6-4D19-90A1-B12FFB3760B0}"/>
              </a:ext>
            </a:extLst>
          </p:cNvPr>
          <p:cNvSpPr txBox="1"/>
          <p:nvPr/>
        </p:nvSpPr>
        <p:spPr>
          <a:xfrm>
            <a:off x="559939" y="685214"/>
            <a:ext cx="3485265" cy="58192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3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01C3FF"/>
                    </a:gs>
                    <a:gs pos="100000">
                      <a:srgbClr val="0077FF"/>
                    </a:gs>
                  </a:gsLst>
                  <a:lin ang="270000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01C3FF"/>
                    </a:gs>
                    <a:gs pos="100000">
                      <a:srgbClr val="0077FF"/>
                    </a:gs>
                  </a:gsLst>
                  <a:lin ang="270000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5000">
                      <a:srgbClr val="01C3FF"/>
                    </a:gs>
                    <a:gs pos="100000">
                      <a:srgbClr val="0077FF"/>
                    </a:gs>
                  </a:gsLst>
                  <a:lin ang="2700000" scaled="0"/>
                </a:gra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海量素材持续更新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+mn-cs"/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DABDF1B2-CD1B-4D01-A002-4CFC1F16B98E}"/>
              </a:ext>
            </a:extLst>
          </p:cNvPr>
          <p:cNvSpPr/>
          <p:nvPr/>
        </p:nvSpPr>
        <p:spPr>
          <a:xfrm>
            <a:off x="361169" y="701145"/>
            <a:ext cx="77866" cy="77866"/>
          </a:xfrm>
          <a:prstGeom prst="ellipse">
            <a:avLst/>
          </a:prstGeom>
          <a:gradFill flip="none" rotWithShape="1">
            <a:gsLst>
              <a:gs pos="35000">
                <a:schemeClr val="accent2"/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CEFD93B4-AC3F-4576-9381-7B7A2AC123CF}"/>
              </a:ext>
            </a:extLst>
          </p:cNvPr>
          <p:cNvSpPr/>
          <p:nvPr/>
        </p:nvSpPr>
        <p:spPr>
          <a:xfrm>
            <a:off x="361169" y="794944"/>
            <a:ext cx="77866" cy="77866"/>
          </a:xfrm>
          <a:prstGeom prst="ellipse">
            <a:avLst/>
          </a:prstGeom>
          <a:gradFill flip="none" rotWithShape="1">
            <a:gsLst>
              <a:gs pos="35000">
                <a:schemeClr val="accent2"/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460A12F-65A7-40D0-80F1-39E04C20A826}"/>
              </a:ext>
            </a:extLst>
          </p:cNvPr>
          <p:cNvSpPr/>
          <p:nvPr/>
        </p:nvSpPr>
        <p:spPr>
          <a:xfrm>
            <a:off x="361169" y="888743"/>
            <a:ext cx="77866" cy="202872"/>
          </a:xfrm>
          <a:prstGeom prst="rect">
            <a:avLst/>
          </a:prstGeom>
          <a:gradFill flip="none" rotWithShape="1">
            <a:gsLst>
              <a:gs pos="35000">
                <a:schemeClr val="accent2"/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819620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85000">
              <a:schemeClr val="bg1">
                <a:alpha val="0"/>
              </a:schemeClr>
            </a:gs>
            <a:gs pos="15000">
              <a:schemeClr val="bg1">
                <a:alpha val="10000"/>
              </a:schemeClr>
            </a:gs>
            <a:gs pos="50000">
              <a:schemeClr val="bg1"/>
            </a:gs>
            <a:gs pos="0">
              <a:schemeClr val="accent1">
                <a:alpha val="30000"/>
              </a:schemeClr>
            </a:gs>
            <a:gs pos="100000">
              <a:schemeClr val="accent1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FB5A77CB-5718-4BC6-9695-8B1DFEA22F7D}"/>
              </a:ext>
            </a:extLst>
          </p:cNvPr>
          <p:cNvCxnSpPr>
            <a:cxnSpLocks/>
          </p:cNvCxnSpPr>
          <p:nvPr/>
        </p:nvCxnSpPr>
        <p:spPr>
          <a:xfrm rot="5400000">
            <a:off x="1248012" y="3475139"/>
            <a:ext cx="540000" cy="0"/>
          </a:xfrm>
          <a:prstGeom prst="line">
            <a:avLst/>
          </a:prstGeom>
          <a:ln>
            <a:headEnd type="diamond"/>
            <a:tailEnd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>
            <a:extLst>
              <a:ext uri="{FF2B5EF4-FFF2-40B4-BE49-F238E27FC236}">
                <a16:creationId xmlns:a16="http://schemas.microsoft.com/office/drawing/2014/main" id="{1AC6960C-9C4C-4148-A6FA-9BC9BFA4D619}"/>
              </a:ext>
            </a:extLst>
          </p:cNvPr>
          <p:cNvSpPr txBox="1"/>
          <p:nvPr/>
        </p:nvSpPr>
        <p:spPr>
          <a:xfrm>
            <a:off x="820612" y="1746494"/>
            <a:ext cx="13948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bg1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9979"/>
                </a:solidFill>
                <a:effectLst/>
                <a:uLnTx/>
                <a:uFillTx/>
                <a:ea typeface="思源宋体 Medium" panose="02020500000000000000" pitchFamily="18" charset="-122"/>
                <a:cs typeface="+mn-cs"/>
              </a:rPr>
              <a:t>20XX.05.2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9979"/>
              </a:solidFill>
              <a:effectLst/>
              <a:uLnTx/>
              <a:uFillTx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37" name="稿定PPT-11-2">
            <a:extLst>
              <a:ext uri="{FF2B5EF4-FFF2-40B4-BE49-F238E27FC236}">
                <a16:creationId xmlns:a16="http://schemas.microsoft.com/office/drawing/2014/main" id="{5DBF3102-BAF3-4BD7-B920-C84A65B6DEAF}"/>
              </a:ext>
            </a:extLst>
          </p:cNvPr>
          <p:cNvSpPr txBox="1"/>
          <p:nvPr/>
        </p:nvSpPr>
        <p:spPr>
          <a:xfrm>
            <a:off x="384336" y="2040719"/>
            <a:ext cx="2267353" cy="931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accent6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不论你是销售、策划、学生、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爱好者，都能在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找到适合的模板。</a:t>
            </a:r>
          </a:p>
        </p:txBody>
      </p: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25B26B1E-7404-4564-9B34-14DEF6609E85}"/>
              </a:ext>
            </a:extLst>
          </p:cNvPr>
          <p:cNvCxnSpPr>
            <a:cxnSpLocks/>
          </p:cNvCxnSpPr>
          <p:nvPr/>
        </p:nvCxnSpPr>
        <p:spPr>
          <a:xfrm rot="16200000" flipV="1">
            <a:off x="3080079" y="4059228"/>
            <a:ext cx="540000" cy="0"/>
          </a:xfrm>
          <a:prstGeom prst="line">
            <a:avLst/>
          </a:prstGeom>
          <a:ln>
            <a:headEnd type="diamond"/>
            <a:tailEnd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48">
            <a:extLst>
              <a:ext uri="{FF2B5EF4-FFF2-40B4-BE49-F238E27FC236}">
                <a16:creationId xmlns:a16="http://schemas.microsoft.com/office/drawing/2014/main" id="{16AC1F55-E682-4E24-99DF-578204757BCB}"/>
              </a:ext>
            </a:extLst>
          </p:cNvPr>
          <p:cNvSpPr txBox="1"/>
          <p:nvPr/>
        </p:nvSpPr>
        <p:spPr>
          <a:xfrm>
            <a:off x="2652679" y="4476293"/>
            <a:ext cx="13948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bg1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9979"/>
                </a:solidFill>
                <a:effectLst/>
                <a:uLnTx/>
                <a:uFillTx/>
                <a:ea typeface="思源宋体 Medium" panose="02020500000000000000" pitchFamily="18" charset="-122"/>
                <a:cs typeface="+mn-cs"/>
              </a:rPr>
              <a:t>20XX.05.2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9979"/>
              </a:solidFill>
              <a:effectLst/>
              <a:uLnTx/>
              <a:uFillTx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50" name="稿定PPT-11-2">
            <a:extLst>
              <a:ext uri="{FF2B5EF4-FFF2-40B4-BE49-F238E27FC236}">
                <a16:creationId xmlns:a16="http://schemas.microsoft.com/office/drawing/2014/main" id="{CBF0157E-AC30-445D-B762-4E95C44DA407}"/>
              </a:ext>
            </a:extLst>
          </p:cNvPr>
          <p:cNvSpPr txBox="1"/>
          <p:nvPr/>
        </p:nvSpPr>
        <p:spPr>
          <a:xfrm>
            <a:off x="2216403" y="4770518"/>
            <a:ext cx="2267353" cy="931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accent6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不论你是销售、策划、学生、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爱好者，都能在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找到适合的模板。</a:t>
            </a:r>
          </a:p>
        </p:txBody>
      </p: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26DB13F2-5414-40D5-80CA-754F116A8771}"/>
              </a:ext>
            </a:extLst>
          </p:cNvPr>
          <p:cNvCxnSpPr>
            <a:cxnSpLocks/>
          </p:cNvCxnSpPr>
          <p:nvPr/>
        </p:nvCxnSpPr>
        <p:spPr>
          <a:xfrm rot="5400000">
            <a:off x="4911156" y="3475139"/>
            <a:ext cx="540000" cy="0"/>
          </a:xfrm>
          <a:prstGeom prst="line">
            <a:avLst/>
          </a:prstGeom>
          <a:ln>
            <a:solidFill>
              <a:schemeClr val="accent4"/>
            </a:solidFill>
            <a:headEnd type="diamond"/>
            <a:tailEnd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文本框 64">
            <a:extLst>
              <a:ext uri="{FF2B5EF4-FFF2-40B4-BE49-F238E27FC236}">
                <a16:creationId xmlns:a16="http://schemas.microsoft.com/office/drawing/2014/main" id="{F4FF0864-EBCE-4E6F-B908-F29CDE35DB4E}"/>
              </a:ext>
            </a:extLst>
          </p:cNvPr>
          <p:cNvSpPr txBox="1"/>
          <p:nvPr/>
        </p:nvSpPr>
        <p:spPr>
          <a:xfrm>
            <a:off x="4483756" y="1746494"/>
            <a:ext cx="13948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bg1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Medium" panose="02020500000000000000" pitchFamily="18" charset="-122"/>
                <a:cs typeface="+mn-cs"/>
              </a:rPr>
              <a:t>20XX.05.2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66" name="稿定PPT-11-2">
            <a:extLst>
              <a:ext uri="{FF2B5EF4-FFF2-40B4-BE49-F238E27FC236}">
                <a16:creationId xmlns:a16="http://schemas.microsoft.com/office/drawing/2014/main" id="{ED3DA380-D1D2-46A6-89EC-A052315AEEDD}"/>
              </a:ext>
            </a:extLst>
          </p:cNvPr>
          <p:cNvSpPr txBox="1"/>
          <p:nvPr/>
        </p:nvSpPr>
        <p:spPr>
          <a:xfrm>
            <a:off x="4047480" y="2040719"/>
            <a:ext cx="2267353" cy="931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accent6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不论你是销售、策划、学生、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爱好者，都能在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找到适合的模板。</a:t>
            </a:r>
          </a:p>
        </p:txBody>
      </p: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D0FE6A19-B5D0-45F2-9DA9-C3E5F6449BD3}"/>
              </a:ext>
            </a:extLst>
          </p:cNvPr>
          <p:cNvCxnSpPr>
            <a:cxnSpLocks/>
          </p:cNvCxnSpPr>
          <p:nvPr/>
        </p:nvCxnSpPr>
        <p:spPr>
          <a:xfrm rot="16200000" flipV="1">
            <a:off x="6743223" y="4059228"/>
            <a:ext cx="540000" cy="0"/>
          </a:xfrm>
          <a:prstGeom prst="line">
            <a:avLst/>
          </a:prstGeom>
          <a:ln>
            <a:solidFill>
              <a:schemeClr val="accent4"/>
            </a:solidFill>
            <a:headEnd type="diamond"/>
            <a:tailEnd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文本框 58">
            <a:extLst>
              <a:ext uri="{FF2B5EF4-FFF2-40B4-BE49-F238E27FC236}">
                <a16:creationId xmlns:a16="http://schemas.microsoft.com/office/drawing/2014/main" id="{E5A9F344-A6D2-4581-953A-C7D8B2C9946F}"/>
              </a:ext>
            </a:extLst>
          </p:cNvPr>
          <p:cNvSpPr txBox="1"/>
          <p:nvPr/>
        </p:nvSpPr>
        <p:spPr>
          <a:xfrm>
            <a:off x="6315823" y="4476293"/>
            <a:ext cx="13948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bg1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ea typeface="思源宋体 Medium" panose="02020500000000000000" pitchFamily="18" charset="-122"/>
                <a:cs typeface="+mn-cs"/>
              </a:rPr>
              <a:t>20XX.05.2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465867"/>
              </a:solidFill>
              <a:effectLst/>
              <a:uLnTx/>
              <a:uFillTx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60" name="稿定PPT-11-2">
            <a:extLst>
              <a:ext uri="{FF2B5EF4-FFF2-40B4-BE49-F238E27FC236}">
                <a16:creationId xmlns:a16="http://schemas.microsoft.com/office/drawing/2014/main" id="{9787D659-A34E-4BEF-98BD-42BA640E6D4D}"/>
              </a:ext>
            </a:extLst>
          </p:cNvPr>
          <p:cNvSpPr txBox="1"/>
          <p:nvPr/>
        </p:nvSpPr>
        <p:spPr>
          <a:xfrm>
            <a:off x="5879547" y="4770518"/>
            <a:ext cx="2267353" cy="931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accent6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不论你是销售、策划、学生、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爱好者，都能在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找到适合的模板。</a:t>
            </a:r>
          </a:p>
        </p:txBody>
      </p:sp>
      <p:cxnSp>
        <p:nvCxnSpPr>
          <p:cNvPr id="82" name="直接连接符 81">
            <a:extLst>
              <a:ext uri="{FF2B5EF4-FFF2-40B4-BE49-F238E27FC236}">
                <a16:creationId xmlns:a16="http://schemas.microsoft.com/office/drawing/2014/main" id="{EDFF7F90-215C-4DFC-9C71-0BFC23767D92}"/>
              </a:ext>
            </a:extLst>
          </p:cNvPr>
          <p:cNvCxnSpPr>
            <a:cxnSpLocks/>
          </p:cNvCxnSpPr>
          <p:nvPr/>
        </p:nvCxnSpPr>
        <p:spPr>
          <a:xfrm rot="5400000">
            <a:off x="8574300" y="3475139"/>
            <a:ext cx="540000" cy="0"/>
          </a:xfrm>
          <a:prstGeom prst="line">
            <a:avLst/>
          </a:prstGeom>
          <a:ln>
            <a:headEnd type="diamond"/>
            <a:tailEnd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>
            <a:extLst>
              <a:ext uri="{FF2B5EF4-FFF2-40B4-BE49-F238E27FC236}">
                <a16:creationId xmlns:a16="http://schemas.microsoft.com/office/drawing/2014/main" id="{EF11A149-A432-4057-9888-E811F36DE09B}"/>
              </a:ext>
            </a:extLst>
          </p:cNvPr>
          <p:cNvSpPr txBox="1"/>
          <p:nvPr/>
        </p:nvSpPr>
        <p:spPr>
          <a:xfrm>
            <a:off x="8146900" y="1746494"/>
            <a:ext cx="13948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bg1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9979"/>
                </a:solidFill>
                <a:effectLst/>
                <a:uLnTx/>
                <a:uFillTx/>
                <a:ea typeface="思源宋体 Medium" panose="02020500000000000000" pitchFamily="18" charset="-122"/>
                <a:cs typeface="+mn-cs"/>
              </a:rPr>
              <a:t>20XX.05.2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9979"/>
              </a:solidFill>
              <a:effectLst/>
              <a:uLnTx/>
              <a:uFillTx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81" name="稿定PPT-11-2">
            <a:extLst>
              <a:ext uri="{FF2B5EF4-FFF2-40B4-BE49-F238E27FC236}">
                <a16:creationId xmlns:a16="http://schemas.microsoft.com/office/drawing/2014/main" id="{C0E250AC-ECA5-4F8B-BCFF-3875895CE9ED}"/>
              </a:ext>
            </a:extLst>
          </p:cNvPr>
          <p:cNvSpPr txBox="1"/>
          <p:nvPr/>
        </p:nvSpPr>
        <p:spPr>
          <a:xfrm>
            <a:off x="7710624" y="2040719"/>
            <a:ext cx="2267353" cy="931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accent6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不论你是销售、策划、学生、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爱好者，都能在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找到适合的模板。</a:t>
            </a:r>
          </a:p>
        </p:txBody>
      </p: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35D07CD6-088A-4E38-B889-A847E9E1E711}"/>
              </a:ext>
            </a:extLst>
          </p:cNvPr>
          <p:cNvCxnSpPr>
            <a:cxnSpLocks/>
          </p:cNvCxnSpPr>
          <p:nvPr/>
        </p:nvCxnSpPr>
        <p:spPr>
          <a:xfrm rot="16200000" flipV="1">
            <a:off x="10406367" y="4059228"/>
            <a:ext cx="540000" cy="0"/>
          </a:xfrm>
          <a:prstGeom prst="line">
            <a:avLst/>
          </a:prstGeom>
          <a:ln>
            <a:headEnd type="diamond"/>
            <a:tailEnd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文本框 73">
            <a:extLst>
              <a:ext uri="{FF2B5EF4-FFF2-40B4-BE49-F238E27FC236}">
                <a16:creationId xmlns:a16="http://schemas.microsoft.com/office/drawing/2014/main" id="{D1B1C372-92F6-440A-A03F-897F370A84FF}"/>
              </a:ext>
            </a:extLst>
          </p:cNvPr>
          <p:cNvSpPr txBox="1"/>
          <p:nvPr/>
        </p:nvSpPr>
        <p:spPr>
          <a:xfrm>
            <a:off x="9978967" y="4476293"/>
            <a:ext cx="13948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solidFill>
                  <a:schemeClr val="bg1"/>
                </a:solidFill>
                <a:latin typeface="思源宋体 Medium" panose="02020500000000000000" pitchFamily="18" charset="-122"/>
                <a:ea typeface="思源宋体 Medium" panose="02020500000000000000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9979"/>
                </a:solidFill>
                <a:effectLst/>
                <a:uLnTx/>
                <a:uFillTx/>
                <a:ea typeface="思源宋体 Medium" panose="02020500000000000000" pitchFamily="18" charset="-122"/>
                <a:cs typeface="+mn-cs"/>
              </a:rPr>
              <a:t>20XX.05.2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9979"/>
              </a:solidFill>
              <a:effectLst/>
              <a:uLnTx/>
              <a:uFillTx/>
              <a:ea typeface="思源宋体 Medium" panose="02020500000000000000" pitchFamily="18" charset="-122"/>
              <a:cs typeface="+mn-cs"/>
            </a:endParaRPr>
          </a:p>
        </p:txBody>
      </p:sp>
      <p:sp>
        <p:nvSpPr>
          <p:cNvPr id="75" name="稿定PPT-11-2">
            <a:extLst>
              <a:ext uri="{FF2B5EF4-FFF2-40B4-BE49-F238E27FC236}">
                <a16:creationId xmlns:a16="http://schemas.microsoft.com/office/drawing/2014/main" id="{F7CA5E6A-6591-4EE2-9D7A-DCA870F9A998}"/>
              </a:ext>
            </a:extLst>
          </p:cNvPr>
          <p:cNvSpPr txBox="1"/>
          <p:nvPr/>
        </p:nvSpPr>
        <p:spPr>
          <a:xfrm>
            <a:off x="9542691" y="4770518"/>
            <a:ext cx="2267353" cy="931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accent6"/>
                </a:solidFill>
                <a:latin typeface="+mn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不论你是销售、策划、学生、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爱好者，都能在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Light" panose="02020300000000000000" pitchFamily="18" charset="-122"/>
                <a:ea typeface="思源宋体 Light" panose="02020300000000000000" pitchFamily="18" charset="-122"/>
                <a:cs typeface="+mn-cs"/>
              </a:rPr>
              <a:t>找到适合的模板。</a:t>
            </a: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48349D37-2CE4-4827-8629-286B93F9D5EC}"/>
              </a:ext>
            </a:extLst>
          </p:cNvPr>
          <p:cNvSpPr/>
          <p:nvPr/>
        </p:nvSpPr>
        <p:spPr>
          <a:xfrm>
            <a:off x="-1185144" y="3387994"/>
            <a:ext cx="1727200" cy="754743"/>
          </a:xfrm>
          <a:prstGeom prst="round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3280EE75-1689-44D1-9DE1-6B2E6B001529}"/>
              </a:ext>
            </a:extLst>
          </p:cNvPr>
          <p:cNvSpPr/>
          <p:nvPr/>
        </p:nvSpPr>
        <p:spPr>
          <a:xfrm>
            <a:off x="11649944" y="3387994"/>
            <a:ext cx="1727200" cy="754743"/>
          </a:xfrm>
          <a:prstGeom prst="round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DA52E5EF-88D2-44DE-B1B0-3C0EB6E82187}"/>
              </a:ext>
            </a:extLst>
          </p:cNvPr>
          <p:cNvSpPr/>
          <p:nvPr/>
        </p:nvSpPr>
        <p:spPr>
          <a:xfrm>
            <a:off x="648440" y="3387994"/>
            <a:ext cx="1727200" cy="754743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  <a:effectLst>
            <a:outerShdw blurRad="381000" dist="127000" dir="5400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海量素材</a:t>
            </a: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E8228DAE-595F-48CF-9AAC-CCF6ACFEA464}"/>
              </a:ext>
            </a:extLst>
          </p:cNvPr>
          <p:cNvSpPr/>
          <p:nvPr/>
        </p:nvSpPr>
        <p:spPr>
          <a:xfrm>
            <a:off x="2482024" y="3387994"/>
            <a:ext cx="1727200" cy="754743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  <a:effectLst>
            <a:outerShdw blurRad="381000" dist="127000" dir="5400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持续更新</a:t>
            </a: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236608E5-3166-4E14-938F-B0B58E3A5D60}"/>
              </a:ext>
            </a:extLst>
          </p:cNvPr>
          <p:cNvSpPr/>
          <p:nvPr/>
        </p:nvSpPr>
        <p:spPr>
          <a:xfrm>
            <a:off x="4315608" y="3387994"/>
            <a:ext cx="1727200" cy="754743"/>
          </a:xfrm>
          <a:prstGeom prst="round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18900000" scaled="0"/>
          </a:gradFill>
          <a:ln>
            <a:noFill/>
          </a:ln>
          <a:effectLst>
            <a:outerShdw blurRad="381000" dist="127000" dir="5400000" algn="ctr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海量素材</a:t>
            </a:r>
          </a:p>
        </p:txBody>
      </p:sp>
      <p:sp>
        <p:nvSpPr>
          <p:cNvPr id="62" name="矩形: 圆角 61">
            <a:extLst>
              <a:ext uri="{FF2B5EF4-FFF2-40B4-BE49-F238E27FC236}">
                <a16:creationId xmlns:a16="http://schemas.microsoft.com/office/drawing/2014/main" id="{0B6EB754-26B4-4277-A296-CBD00FC22890}"/>
              </a:ext>
            </a:extLst>
          </p:cNvPr>
          <p:cNvSpPr/>
          <p:nvPr/>
        </p:nvSpPr>
        <p:spPr>
          <a:xfrm>
            <a:off x="6149192" y="3387994"/>
            <a:ext cx="1727200" cy="754743"/>
          </a:xfrm>
          <a:prstGeom prst="round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18900000" scaled="0"/>
          </a:gradFill>
          <a:ln>
            <a:noFill/>
          </a:ln>
          <a:effectLst>
            <a:outerShdw blurRad="381000" dist="127000" dir="5400000" algn="ctr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65867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持续更新</a:t>
            </a:r>
          </a:p>
        </p:txBody>
      </p: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862E4A62-08FD-45F8-B515-3786CB5C686C}"/>
              </a:ext>
            </a:extLst>
          </p:cNvPr>
          <p:cNvSpPr/>
          <p:nvPr/>
        </p:nvSpPr>
        <p:spPr>
          <a:xfrm>
            <a:off x="7982776" y="3387994"/>
            <a:ext cx="1727200" cy="754743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  <a:effectLst>
            <a:outerShdw blurRad="381000" dist="127000" dir="5400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海量素材</a:t>
            </a:r>
          </a:p>
        </p:txBody>
      </p:sp>
      <p:sp>
        <p:nvSpPr>
          <p:cNvPr id="77" name="矩形: 圆角 76">
            <a:extLst>
              <a:ext uri="{FF2B5EF4-FFF2-40B4-BE49-F238E27FC236}">
                <a16:creationId xmlns:a16="http://schemas.microsoft.com/office/drawing/2014/main" id="{055A011D-CE05-4DF1-AFA4-66DF6C6D16A0}"/>
              </a:ext>
            </a:extLst>
          </p:cNvPr>
          <p:cNvSpPr/>
          <p:nvPr/>
        </p:nvSpPr>
        <p:spPr>
          <a:xfrm>
            <a:off x="9816360" y="3387994"/>
            <a:ext cx="1727200" cy="754743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  <a:effectLst>
            <a:outerShdw blurRad="381000" dist="127000" dir="54000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Medium" panose="02020500000000000000" pitchFamily="18" charset="-122"/>
                <a:ea typeface="思源宋体 Medium" panose="02020500000000000000" pitchFamily="18" charset="-122"/>
                <a:cs typeface="+mn-cs"/>
              </a:rPr>
              <a:t>持续更新</a:t>
            </a:r>
          </a:p>
        </p:txBody>
      </p:sp>
      <p:sp>
        <p:nvSpPr>
          <p:cNvPr id="51" name="稿定PPT-1">
            <a:extLst>
              <a:ext uri="{FF2B5EF4-FFF2-40B4-BE49-F238E27FC236}">
                <a16:creationId xmlns:a16="http://schemas.microsoft.com/office/drawing/2014/main" id="{35066FA5-ED7C-42C9-BFD5-7C1028F1A2D8}"/>
              </a:ext>
            </a:extLst>
          </p:cNvPr>
          <p:cNvSpPr txBox="1"/>
          <p:nvPr/>
        </p:nvSpPr>
        <p:spPr>
          <a:xfrm>
            <a:off x="793916" y="476356"/>
            <a:ext cx="3781482" cy="34687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，海量素材持续更新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2" name="稿定PPT-2">
            <a:extLst>
              <a:ext uri="{FF2B5EF4-FFF2-40B4-BE49-F238E27FC236}">
                <a16:creationId xmlns:a16="http://schemas.microsoft.com/office/drawing/2014/main" id="{C9EA60F5-66AE-4734-8389-5C5881D68FB4}"/>
              </a:ext>
            </a:extLst>
          </p:cNvPr>
          <p:cNvSpPr txBox="1"/>
          <p:nvPr/>
        </p:nvSpPr>
        <p:spPr>
          <a:xfrm>
            <a:off x="793916" y="794342"/>
            <a:ext cx="5494713" cy="2650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54" name="平行四边形 1">
            <a:extLst>
              <a:ext uri="{FF2B5EF4-FFF2-40B4-BE49-F238E27FC236}">
                <a16:creationId xmlns:a16="http://schemas.microsoft.com/office/drawing/2014/main" id="{E6A5417B-BB93-449D-9B05-823F129718DB}"/>
              </a:ext>
            </a:extLst>
          </p:cNvPr>
          <p:cNvSpPr/>
          <p:nvPr/>
        </p:nvSpPr>
        <p:spPr>
          <a:xfrm rot="5400000">
            <a:off x="342916" y="683320"/>
            <a:ext cx="263882" cy="59121"/>
          </a:xfrm>
          <a:prstGeom prst="parallelogram">
            <a:avLst>
              <a:gd name="adj" fmla="val 7622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55" name="平行四边形 2">
            <a:extLst>
              <a:ext uri="{FF2B5EF4-FFF2-40B4-BE49-F238E27FC236}">
                <a16:creationId xmlns:a16="http://schemas.microsoft.com/office/drawing/2014/main" id="{D577E222-EA92-4206-83DF-214D1B813694}"/>
              </a:ext>
            </a:extLst>
          </p:cNvPr>
          <p:cNvSpPr/>
          <p:nvPr/>
        </p:nvSpPr>
        <p:spPr>
          <a:xfrm rot="16200000" flipH="1">
            <a:off x="402038" y="660548"/>
            <a:ext cx="263882" cy="59121"/>
          </a:xfrm>
          <a:prstGeom prst="parallelogram">
            <a:avLst>
              <a:gd name="adj" fmla="val 7622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56" name="平行四边形 3">
            <a:extLst>
              <a:ext uri="{FF2B5EF4-FFF2-40B4-BE49-F238E27FC236}">
                <a16:creationId xmlns:a16="http://schemas.microsoft.com/office/drawing/2014/main" id="{3704A1A7-8B14-4CB9-9921-14C1E15E92B2}"/>
              </a:ext>
            </a:extLst>
          </p:cNvPr>
          <p:cNvSpPr/>
          <p:nvPr/>
        </p:nvSpPr>
        <p:spPr>
          <a:xfrm rot="5400000">
            <a:off x="461159" y="683320"/>
            <a:ext cx="263882" cy="59121"/>
          </a:xfrm>
          <a:prstGeom prst="parallelogram">
            <a:avLst>
              <a:gd name="adj" fmla="val 7622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  <p:sp>
        <p:nvSpPr>
          <p:cNvPr id="57" name="平行四边形 4">
            <a:extLst>
              <a:ext uri="{FF2B5EF4-FFF2-40B4-BE49-F238E27FC236}">
                <a16:creationId xmlns:a16="http://schemas.microsoft.com/office/drawing/2014/main" id="{8EA7311F-784E-4B92-AD67-F0BD6D90EF06}"/>
              </a:ext>
            </a:extLst>
          </p:cNvPr>
          <p:cNvSpPr/>
          <p:nvPr/>
        </p:nvSpPr>
        <p:spPr>
          <a:xfrm rot="16200000" flipH="1">
            <a:off x="520280" y="660548"/>
            <a:ext cx="263882" cy="59121"/>
          </a:xfrm>
          <a:prstGeom prst="parallelogram">
            <a:avLst>
              <a:gd name="adj" fmla="val 7622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思源宋体 Light" panose="02020300000000000000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977749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6127E46A-EDED-48FA-8642-6B84BF6282D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1" name="任意多边形: 形状 1">
            <a:extLst>
              <a:ext uri="{FF2B5EF4-FFF2-40B4-BE49-F238E27FC236}">
                <a16:creationId xmlns:a16="http://schemas.microsoft.com/office/drawing/2014/main" id="{1ECA8B9A-53BA-4FAA-B813-D3C03B429E97}"/>
              </a:ext>
            </a:extLst>
          </p:cNvPr>
          <p:cNvSpPr/>
          <p:nvPr/>
        </p:nvSpPr>
        <p:spPr>
          <a:xfrm>
            <a:off x="0" y="5907356"/>
            <a:ext cx="12192000" cy="1369744"/>
          </a:xfrm>
          <a:custGeom>
            <a:avLst/>
            <a:gdLst>
              <a:gd name="connsiteX0" fmla="*/ 12192000 w 12192000"/>
              <a:gd name="connsiteY0" fmla="*/ 0 h 1369744"/>
              <a:gd name="connsiteX1" fmla="*/ 12192000 w 12192000"/>
              <a:gd name="connsiteY1" fmla="*/ 1369744 h 1369744"/>
              <a:gd name="connsiteX2" fmla="*/ 0 w 12192000"/>
              <a:gd name="connsiteY2" fmla="*/ 1369744 h 1369744"/>
              <a:gd name="connsiteX3" fmla="*/ 0 w 12192000"/>
              <a:gd name="connsiteY3" fmla="*/ 0 h 1369744"/>
              <a:gd name="connsiteX4" fmla="*/ 120769 w 12192000"/>
              <a:gd name="connsiteY4" fmla="*/ 29981 h 1369744"/>
              <a:gd name="connsiteX5" fmla="*/ 6096000 w 12192000"/>
              <a:gd name="connsiteY5" fmla="*/ 635898 h 1369744"/>
              <a:gd name="connsiteX6" fmla="*/ 12071231 w 12192000"/>
              <a:gd name="connsiteY6" fmla="*/ 29981 h 1369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369744">
                <a:moveTo>
                  <a:pt x="12192000" y="0"/>
                </a:moveTo>
                <a:lnTo>
                  <a:pt x="12192000" y="1369744"/>
                </a:lnTo>
                <a:lnTo>
                  <a:pt x="0" y="1369744"/>
                </a:lnTo>
                <a:lnTo>
                  <a:pt x="0" y="0"/>
                </a:lnTo>
                <a:lnTo>
                  <a:pt x="120769" y="29981"/>
                </a:lnTo>
                <a:cubicBezTo>
                  <a:pt x="1826433" y="412526"/>
                  <a:pt x="3882640" y="635898"/>
                  <a:pt x="6096000" y="635898"/>
                </a:cubicBezTo>
                <a:cubicBezTo>
                  <a:pt x="8309361" y="635898"/>
                  <a:pt x="10365567" y="412526"/>
                  <a:pt x="12071231" y="29981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2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" name="任意多边形: 形状 1">
            <a:extLst>
              <a:ext uri="{FF2B5EF4-FFF2-40B4-BE49-F238E27FC236}">
                <a16:creationId xmlns:a16="http://schemas.microsoft.com/office/drawing/2014/main" id="{252690F3-8D46-4F29-8D65-C3411168279C}"/>
              </a:ext>
            </a:extLst>
          </p:cNvPr>
          <p:cNvSpPr/>
          <p:nvPr/>
        </p:nvSpPr>
        <p:spPr>
          <a:xfrm>
            <a:off x="-234950" y="3252614"/>
            <a:ext cx="12661900" cy="718861"/>
          </a:xfrm>
          <a:custGeom>
            <a:avLst/>
            <a:gdLst>
              <a:gd name="connsiteX0" fmla="*/ 0 w 12661900"/>
              <a:gd name="connsiteY0" fmla="*/ 673100 h 723943"/>
              <a:gd name="connsiteX1" fmla="*/ 1752600 w 12661900"/>
              <a:gd name="connsiteY1" fmla="*/ 12700 h 723943"/>
              <a:gd name="connsiteX2" fmla="*/ 3619500 w 12661900"/>
              <a:gd name="connsiteY2" fmla="*/ 723900 h 723943"/>
              <a:gd name="connsiteX3" fmla="*/ 5359400 w 12661900"/>
              <a:gd name="connsiteY3" fmla="*/ 25400 h 723943"/>
              <a:gd name="connsiteX4" fmla="*/ 7200900 w 12661900"/>
              <a:gd name="connsiteY4" fmla="*/ 711200 h 723943"/>
              <a:gd name="connsiteX5" fmla="*/ 8966200 w 12661900"/>
              <a:gd name="connsiteY5" fmla="*/ 38100 h 723943"/>
              <a:gd name="connsiteX6" fmla="*/ 10820400 w 12661900"/>
              <a:gd name="connsiteY6" fmla="*/ 723900 h 723943"/>
              <a:gd name="connsiteX7" fmla="*/ 12661900 w 12661900"/>
              <a:gd name="connsiteY7" fmla="*/ 0 h 723943"/>
              <a:gd name="connsiteX0" fmla="*/ 0 w 12661900"/>
              <a:gd name="connsiteY0" fmla="*/ 680724 h 731564"/>
              <a:gd name="connsiteX1" fmla="*/ 1752600 w 12661900"/>
              <a:gd name="connsiteY1" fmla="*/ 20324 h 731564"/>
              <a:gd name="connsiteX2" fmla="*/ 3619500 w 12661900"/>
              <a:gd name="connsiteY2" fmla="*/ 731524 h 731564"/>
              <a:gd name="connsiteX3" fmla="*/ 5359400 w 12661900"/>
              <a:gd name="connsiteY3" fmla="*/ 3302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4 h 731564"/>
              <a:gd name="connsiteX1" fmla="*/ 1752600 w 12661900"/>
              <a:gd name="connsiteY1" fmla="*/ 20324 h 731564"/>
              <a:gd name="connsiteX2" fmla="*/ 3619500 w 12661900"/>
              <a:gd name="connsiteY2" fmla="*/ 731524 h 731564"/>
              <a:gd name="connsiteX3" fmla="*/ 5359400 w 12661900"/>
              <a:gd name="connsiteY3" fmla="*/ 3302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4 h 731564"/>
              <a:gd name="connsiteX1" fmla="*/ 1752600 w 12661900"/>
              <a:gd name="connsiteY1" fmla="*/ 20324 h 731564"/>
              <a:gd name="connsiteX2" fmla="*/ 3619500 w 12661900"/>
              <a:gd name="connsiteY2" fmla="*/ 731524 h 731564"/>
              <a:gd name="connsiteX3" fmla="*/ 5374640 w 12661900"/>
              <a:gd name="connsiteY3" fmla="*/ 1016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4 h 731564"/>
              <a:gd name="connsiteX1" fmla="*/ 1783080 w 12661900"/>
              <a:gd name="connsiteY1" fmla="*/ 5084 h 731564"/>
              <a:gd name="connsiteX2" fmla="*/ 3619500 w 12661900"/>
              <a:gd name="connsiteY2" fmla="*/ 731524 h 731564"/>
              <a:gd name="connsiteX3" fmla="*/ 5374640 w 12661900"/>
              <a:gd name="connsiteY3" fmla="*/ 1016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4 h 731564"/>
              <a:gd name="connsiteX1" fmla="*/ 1783080 w 12661900"/>
              <a:gd name="connsiteY1" fmla="*/ 5084 h 731564"/>
              <a:gd name="connsiteX2" fmla="*/ 3619500 w 12661900"/>
              <a:gd name="connsiteY2" fmla="*/ 716284 h 731564"/>
              <a:gd name="connsiteX3" fmla="*/ 5374640 w 12661900"/>
              <a:gd name="connsiteY3" fmla="*/ 1016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0 h 718861"/>
              <a:gd name="connsiteX1" fmla="*/ 1783080 w 12661900"/>
              <a:gd name="connsiteY1" fmla="*/ 5080 h 718861"/>
              <a:gd name="connsiteX2" fmla="*/ 3619500 w 12661900"/>
              <a:gd name="connsiteY2" fmla="*/ 716280 h 718861"/>
              <a:gd name="connsiteX3" fmla="*/ 5374640 w 12661900"/>
              <a:gd name="connsiteY3" fmla="*/ 10160 h 718861"/>
              <a:gd name="connsiteX4" fmla="*/ 7200900 w 12661900"/>
              <a:gd name="connsiteY4" fmla="*/ 718820 h 718861"/>
              <a:gd name="connsiteX5" fmla="*/ 8973820 w 12661900"/>
              <a:gd name="connsiteY5" fmla="*/ 0 h 718861"/>
              <a:gd name="connsiteX6" fmla="*/ 10845800 w 12661900"/>
              <a:gd name="connsiteY6" fmla="*/ 718820 h 718861"/>
              <a:gd name="connsiteX7" fmla="*/ 12661900 w 12661900"/>
              <a:gd name="connsiteY7" fmla="*/ 7620 h 718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61900" h="718861">
                <a:moveTo>
                  <a:pt x="0" y="680720"/>
                </a:moveTo>
                <a:cubicBezTo>
                  <a:pt x="574675" y="346286"/>
                  <a:pt x="1179830" y="-847"/>
                  <a:pt x="1783080" y="5080"/>
                </a:cubicBezTo>
                <a:cubicBezTo>
                  <a:pt x="2386330" y="11007"/>
                  <a:pt x="3020907" y="715433"/>
                  <a:pt x="3619500" y="716280"/>
                </a:cubicBezTo>
                <a:cubicBezTo>
                  <a:pt x="4218093" y="717127"/>
                  <a:pt x="4777740" y="9737"/>
                  <a:pt x="5374640" y="10160"/>
                </a:cubicBezTo>
                <a:cubicBezTo>
                  <a:pt x="5971540" y="10583"/>
                  <a:pt x="6601037" y="720513"/>
                  <a:pt x="7200900" y="718820"/>
                </a:cubicBezTo>
                <a:cubicBezTo>
                  <a:pt x="7800763" y="717127"/>
                  <a:pt x="8366337" y="0"/>
                  <a:pt x="8973820" y="0"/>
                </a:cubicBezTo>
                <a:cubicBezTo>
                  <a:pt x="9581303" y="0"/>
                  <a:pt x="10229850" y="725170"/>
                  <a:pt x="10845800" y="718820"/>
                </a:cubicBezTo>
                <a:cubicBezTo>
                  <a:pt x="11461750" y="712470"/>
                  <a:pt x="12049125" y="366395"/>
                  <a:pt x="12661900" y="7620"/>
                </a:cubicBezTo>
              </a:path>
            </a:pathLst>
          </a:custGeom>
          <a:noFill/>
          <a:ln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" name="任意多边形: 形状 2">
            <a:extLst>
              <a:ext uri="{FF2B5EF4-FFF2-40B4-BE49-F238E27FC236}">
                <a16:creationId xmlns:a16="http://schemas.microsoft.com/office/drawing/2014/main" id="{217E8FFA-54A5-4121-807B-E9C410A5065A}"/>
              </a:ext>
            </a:extLst>
          </p:cNvPr>
          <p:cNvSpPr/>
          <p:nvPr/>
        </p:nvSpPr>
        <p:spPr>
          <a:xfrm flipV="1">
            <a:off x="-234950" y="3252614"/>
            <a:ext cx="12661900" cy="718861"/>
          </a:xfrm>
          <a:custGeom>
            <a:avLst/>
            <a:gdLst>
              <a:gd name="connsiteX0" fmla="*/ 0 w 12661900"/>
              <a:gd name="connsiteY0" fmla="*/ 673100 h 723943"/>
              <a:gd name="connsiteX1" fmla="*/ 1752600 w 12661900"/>
              <a:gd name="connsiteY1" fmla="*/ 12700 h 723943"/>
              <a:gd name="connsiteX2" fmla="*/ 3619500 w 12661900"/>
              <a:gd name="connsiteY2" fmla="*/ 723900 h 723943"/>
              <a:gd name="connsiteX3" fmla="*/ 5359400 w 12661900"/>
              <a:gd name="connsiteY3" fmla="*/ 25400 h 723943"/>
              <a:gd name="connsiteX4" fmla="*/ 7200900 w 12661900"/>
              <a:gd name="connsiteY4" fmla="*/ 711200 h 723943"/>
              <a:gd name="connsiteX5" fmla="*/ 8966200 w 12661900"/>
              <a:gd name="connsiteY5" fmla="*/ 38100 h 723943"/>
              <a:gd name="connsiteX6" fmla="*/ 10820400 w 12661900"/>
              <a:gd name="connsiteY6" fmla="*/ 723900 h 723943"/>
              <a:gd name="connsiteX7" fmla="*/ 12661900 w 12661900"/>
              <a:gd name="connsiteY7" fmla="*/ 0 h 723943"/>
              <a:gd name="connsiteX0" fmla="*/ 0 w 12661900"/>
              <a:gd name="connsiteY0" fmla="*/ 680724 h 731564"/>
              <a:gd name="connsiteX1" fmla="*/ 1752600 w 12661900"/>
              <a:gd name="connsiteY1" fmla="*/ 20324 h 731564"/>
              <a:gd name="connsiteX2" fmla="*/ 3619500 w 12661900"/>
              <a:gd name="connsiteY2" fmla="*/ 731524 h 731564"/>
              <a:gd name="connsiteX3" fmla="*/ 5359400 w 12661900"/>
              <a:gd name="connsiteY3" fmla="*/ 3302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4 h 731564"/>
              <a:gd name="connsiteX1" fmla="*/ 1752600 w 12661900"/>
              <a:gd name="connsiteY1" fmla="*/ 20324 h 731564"/>
              <a:gd name="connsiteX2" fmla="*/ 3619500 w 12661900"/>
              <a:gd name="connsiteY2" fmla="*/ 731524 h 731564"/>
              <a:gd name="connsiteX3" fmla="*/ 5359400 w 12661900"/>
              <a:gd name="connsiteY3" fmla="*/ 3302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4 h 731564"/>
              <a:gd name="connsiteX1" fmla="*/ 1752600 w 12661900"/>
              <a:gd name="connsiteY1" fmla="*/ 20324 h 731564"/>
              <a:gd name="connsiteX2" fmla="*/ 3619500 w 12661900"/>
              <a:gd name="connsiteY2" fmla="*/ 731524 h 731564"/>
              <a:gd name="connsiteX3" fmla="*/ 5374640 w 12661900"/>
              <a:gd name="connsiteY3" fmla="*/ 1016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4 h 731564"/>
              <a:gd name="connsiteX1" fmla="*/ 1783080 w 12661900"/>
              <a:gd name="connsiteY1" fmla="*/ 5084 h 731564"/>
              <a:gd name="connsiteX2" fmla="*/ 3619500 w 12661900"/>
              <a:gd name="connsiteY2" fmla="*/ 731524 h 731564"/>
              <a:gd name="connsiteX3" fmla="*/ 5374640 w 12661900"/>
              <a:gd name="connsiteY3" fmla="*/ 1016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4 h 731564"/>
              <a:gd name="connsiteX1" fmla="*/ 1783080 w 12661900"/>
              <a:gd name="connsiteY1" fmla="*/ 5084 h 731564"/>
              <a:gd name="connsiteX2" fmla="*/ 3619500 w 12661900"/>
              <a:gd name="connsiteY2" fmla="*/ 716284 h 731564"/>
              <a:gd name="connsiteX3" fmla="*/ 5374640 w 12661900"/>
              <a:gd name="connsiteY3" fmla="*/ 10164 h 731564"/>
              <a:gd name="connsiteX4" fmla="*/ 7200900 w 12661900"/>
              <a:gd name="connsiteY4" fmla="*/ 718824 h 731564"/>
              <a:gd name="connsiteX5" fmla="*/ 8973820 w 12661900"/>
              <a:gd name="connsiteY5" fmla="*/ 4 h 731564"/>
              <a:gd name="connsiteX6" fmla="*/ 10820400 w 12661900"/>
              <a:gd name="connsiteY6" fmla="*/ 731524 h 731564"/>
              <a:gd name="connsiteX7" fmla="*/ 12661900 w 12661900"/>
              <a:gd name="connsiteY7" fmla="*/ 7624 h 731564"/>
              <a:gd name="connsiteX0" fmla="*/ 0 w 12661900"/>
              <a:gd name="connsiteY0" fmla="*/ 680720 h 718861"/>
              <a:gd name="connsiteX1" fmla="*/ 1783080 w 12661900"/>
              <a:gd name="connsiteY1" fmla="*/ 5080 h 718861"/>
              <a:gd name="connsiteX2" fmla="*/ 3619500 w 12661900"/>
              <a:gd name="connsiteY2" fmla="*/ 716280 h 718861"/>
              <a:gd name="connsiteX3" fmla="*/ 5374640 w 12661900"/>
              <a:gd name="connsiteY3" fmla="*/ 10160 h 718861"/>
              <a:gd name="connsiteX4" fmla="*/ 7200900 w 12661900"/>
              <a:gd name="connsiteY4" fmla="*/ 718820 h 718861"/>
              <a:gd name="connsiteX5" fmla="*/ 8973820 w 12661900"/>
              <a:gd name="connsiteY5" fmla="*/ 0 h 718861"/>
              <a:gd name="connsiteX6" fmla="*/ 10845800 w 12661900"/>
              <a:gd name="connsiteY6" fmla="*/ 718820 h 718861"/>
              <a:gd name="connsiteX7" fmla="*/ 12661900 w 12661900"/>
              <a:gd name="connsiteY7" fmla="*/ 7620 h 718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61900" h="718861">
                <a:moveTo>
                  <a:pt x="0" y="680720"/>
                </a:moveTo>
                <a:cubicBezTo>
                  <a:pt x="574675" y="346286"/>
                  <a:pt x="1179830" y="-847"/>
                  <a:pt x="1783080" y="5080"/>
                </a:cubicBezTo>
                <a:cubicBezTo>
                  <a:pt x="2386330" y="11007"/>
                  <a:pt x="3020907" y="715433"/>
                  <a:pt x="3619500" y="716280"/>
                </a:cubicBezTo>
                <a:cubicBezTo>
                  <a:pt x="4218093" y="717127"/>
                  <a:pt x="4777740" y="9737"/>
                  <a:pt x="5374640" y="10160"/>
                </a:cubicBezTo>
                <a:cubicBezTo>
                  <a:pt x="5971540" y="10583"/>
                  <a:pt x="6601037" y="720513"/>
                  <a:pt x="7200900" y="718820"/>
                </a:cubicBezTo>
                <a:cubicBezTo>
                  <a:pt x="7800763" y="717127"/>
                  <a:pt x="8366337" y="0"/>
                  <a:pt x="8973820" y="0"/>
                </a:cubicBezTo>
                <a:cubicBezTo>
                  <a:pt x="9581303" y="0"/>
                  <a:pt x="10229850" y="725170"/>
                  <a:pt x="10845800" y="718820"/>
                </a:cubicBezTo>
                <a:cubicBezTo>
                  <a:pt x="11461750" y="712470"/>
                  <a:pt x="12049125" y="366395"/>
                  <a:pt x="12661900" y="7620"/>
                </a:cubicBezTo>
              </a:path>
            </a:pathLst>
          </a:custGeom>
          <a:noFill/>
          <a:ln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D1A7B79E-46A1-4718-B36F-FA451B3491FD}"/>
              </a:ext>
            </a:extLst>
          </p:cNvPr>
          <p:cNvSpPr txBox="1"/>
          <p:nvPr/>
        </p:nvSpPr>
        <p:spPr>
          <a:xfrm>
            <a:off x="1640321" y="1776423"/>
            <a:ext cx="20798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21" name="稿定PPT-14-2">
            <a:extLst>
              <a:ext uri="{FF2B5EF4-FFF2-40B4-BE49-F238E27FC236}">
                <a16:creationId xmlns:a16="http://schemas.microsoft.com/office/drawing/2014/main" id="{578235A0-731F-4430-9F6F-3D3ACF1662E0}"/>
              </a:ext>
            </a:extLst>
          </p:cNvPr>
          <p:cNvSpPr txBox="1"/>
          <p:nvPr/>
        </p:nvSpPr>
        <p:spPr>
          <a:xfrm>
            <a:off x="1640321" y="2114977"/>
            <a:ext cx="2654328" cy="80643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C5F0F2DD-1602-4E26-AFE8-D7636F2D3390}"/>
              </a:ext>
            </a:extLst>
          </p:cNvPr>
          <p:cNvCxnSpPr>
            <a:cxnSpLocks/>
          </p:cNvCxnSpPr>
          <p:nvPr/>
        </p:nvCxnSpPr>
        <p:spPr>
          <a:xfrm flipV="1">
            <a:off x="1460472" y="1852855"/>
            <a:ext cx="0" cy="1296814"/>
          </a:xfrm>
          <a:prstGeom prst="line">
            <a:avLst/>
          </a:prstGeom>
          <a:ln w="28575" cap="rnd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椭圆 7">
            <a:extLst>
              <a:ext uri="{FF2B5EF4-FFF2-40B4-BE49-F238E27FC236}">
                <a16:creationId xmlns:a16="http://schemas.microsoft.com/office/drawing/2014/main" id="{26D024E5-7FB3-4379-85F6-BA39AB949863}"/>
              </a:ext>
            </a:extLst>
          </p:cNvPr>
          <p:cNvSpPr/>
          <p:nvPr/>
        </p:nvSpPr>
        <p:spPr>
          <a:xfrm>
            <a:off x="1365222" y="3149669"/>
            <a:ext cx="190500" cy="190500"/>
          </a:xfrm>
          <a:prstGeom prst="ellipse">
            <a:avLst/>
          </a:prstGeom>
          <a:solidFill>
            <a:schemeClr val="bg1"/>
          </a:solidFill>
          <a:ln w="6350">
            <a:gradFill>
              <a:gsLst>
                <a:gs pos="0">
                  <a:schemeClr val="accent1"/>
                </a:gs>
                <a:gs pos="46000">
                  <a:schemeClr val="accent2"/>
                </a:gs>
                <a:gs pos="91000">
                  <a:schemeClr val="accent1">
                    <a:lumMod val="60000"/>
                    <a:lumOff val="40000"/>
                  </a:schemeClr>
                </a:gs>
              </a:gsLst>
              <a:lin ang="189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022F7C42-B334-4A16-B68F-2812E58AAC88}"/>
              </a:ext>
            </a:extLst>
          </p:cNvPr>
          <p:cNvSpPr/>
          <p:nvPr/>
        </p:nvSpPr>
        <p:spPr>
          <a:xfrm>
            <a:off x="1403323" y="3187770"/>
            <a:ext cx="114299" cy="114299"/>
          </a:xfrm>
          <a:prstGeom prst="ellipse">
            <a:avLst/>
          </a:prstGeom>
          <a:gradFill>
            <a:gsLst>
              <a:gs pos="0">
                <a:schemeClr val="accent1"/>
              </a:gs>
              <a:gs pos="91000">
                <a:schemeClr val="accent1">
                  <a:lumMod val="60000"/>
                  <a:lumOff val="40000"/>
                </a:schemeClr>
              </a:gs>
              <a:gs pos="46000">
                <a:schemeClr val="accent2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E8A90292-D8C0-479F-99B5-C617127F6BDB}"/>
              </a:ext>
            </a:extLst>
          </p:cNvPr>
          <p:cNvCxnSpPr>
            <a:cxnSpLocks/>
          </p:cNvCxnSpPr>
          <p:nvPr/>
        </p:nvCxnSpPr>
        <p:spPr>
          <a:xfrm>
            <a:off x="3346422" y="4072578"/>
            <a:ext cx="0" cy="1296814"/>
          </a:xfrm>
          <a:prstGeom prst="line">
            <a:avLst/>
          </a:prstGeom>
          <a:ln w="28575" cap="rnd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椭圆 34">
            <a:extLst>
              <a:ext uri="{FF2B5EF4-FFF2-40B4-BE49-F238E27FC236}">
                <a16:creationId xmlns:a16="http://schemas.microsoft.com/office/drawing/2014/main" id="{C54B0AA3-B49A-4B5B-B9DB-385DF1B1142B}"/>
              </a:ext>
            </a:extLst>
          </p:cNvPr>
          <p:cNvSpPr/>
          <p:nvPr/>
        </p:nvSpPr>
        <p:spPr>
          <a:xfrm flipV="1">
            <a:off x="3251172" y="3882078"/>
            <a:ext cx="190500" cy="190500"/>
          </a:xfrm>
          <a:prstGeom prst="ellipse">
            <a:avLst/>
          </a:prstGeom>
          <a:solidFill>
            <a:schemeClr val="bg1"/>
          </a:solidFill>
          <a:ln w="6350">
            <a:gradFill>
              <a:gsLst>
                <a:gs pos="0">
                  <a:schemeClr val="accent1"/>
                </a:gs>
                <a:gs pos="46000">
                  <a:schemeClr val="accent2"/>
                </a:gs>
                <a:gs pos="91000">
                  <a:schemeClr val="accent1">
                    <a:lumMod val="60000"/>
                    <a:lumOff val="40000"/>
                  </a:schemeClr>
                </a:gs>
              </a:gsLst>
              <a:lin ang="189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7A63141D-ADDB-4C13-9065-596BB7C179BF}"/>
              </a:ext>
            </a:extLst>
          </p:cNvPr>
          <p:cNvSpPr/>
          <p:nvPr/>
        </p:nvSpPr>
        <p:spPr>
          <a:xfrm flipV="1">
            <a:off x="3289273" y="3920178"/>
            <a:ext cx="114299" cy="114299"/>
          </a:xfrm>
          <a:prstGeom prst="ellipse">
            <a:avLst/>
          </a:prstGeom>
          <a:gradFill>
            <a:gsLst>
              <a:gs pos="0">
                <a:schemeClr val="accent1"/>
              </a:gs>
              <a:gs pos="91000">
                <a:schemeClr val="accent1">
                  <a:lumMod val="60000"/>
                  <a:lumOff val="40000"/>
                </a:schemeClr>
              </a:gs>
              <a:gs pos="46000">
                <a:schemeClr val="accent2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1396B319-5CD2-4B10-979F-DF59BDDA0278}"/>
              </a:ext>
            </a:extLst>
          </p:cNvPr>
          <p:cNvSpPr txBox="1"/>
          <p:nvPr/>
        </p:nvSpPr>
        <p:spPr>
          <a:xfrm>
            <a:off x="3494699" y="4228204"/>
            <a:ext cx="20798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39" name="稿定PPT-14-2">
            <a:extLst>
              <a:ext uri="{FF2B5EF4-FFF2-40B4-BE49-F238E27FC236}">
                <a16:creationId xmlns:a16="http://schemas.microsoft.com/office/drawing/2014/main" id="{6FD72032-9319-4F5E-BCCA-CD5F70FACC1F}"/>
              </a:ext>
            </a:extLst>
          </p:cNvPr>
          <p:cNvSpPr txBox="1"/>
          <p:nvPr/>
        </p:nvSpPr>
        <p:spPr>
          <a:xfrm>
            <a:off x="3494699" y="4566758"/>
            <a:ext cx="2654328" cy="80643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199E04AF-FF29-4DF5-B28F-EDCBD61961A2}"/>
              </a:ext>
            </a:extLst>
          </p:cNvPr>
          <p:cNvSpPr txBox="1"/>
          <p:nvPr/>
        </p:nvSpPr>
        <p:spPr>
          <a:xfrm>
            <a:off x="5297921" y="1776423"/>
            <a:ext cx="20798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49" name="稿定PPT-14-2">
            <a:extLst>
              <a:ext uri="{FF2B5EF4-FFF2-40B4-BE49-F238E27FC236}">
                <a16:creationId xmlns:a16="http://schemas.microsoft.com/office/drawing/2014/main" id="{CEC4FE16-E7BB-4386-90AD-A7015D86AB98}"/>
              </a:ext>
            </a:extLst>
          </p:cNvPr>
          <p:cNvSpPr txBox="1"/>
          <p:nvPr/>
        </p:nvSpPr>
        <p:spPr>
          <a:xfrm>
            <a:off x="5297921" y="2114977"/>
            <a:ext cx="2654328" cy="80643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BFBB788A-D06B-4996-9271-0F9B149D7E24}"/>
              </a:ext>
            </a:extLst>
          </p:cNvPr>
          <p:cNvCxnSpPr>
            <a:cxnSpLocks/>
          </p:cNvCxnSpPr>
          <p:nvPr/>
        </p:nvCxnSpPr>
        <p:spPr>
          <a:xfrm flipV="1">
            <a:off x="5118072" y="1852855"/>
            <a:ext cx="0" cy="1296814"/>
          </a:xfrm>
          <a:prstGeom prst="line">
            <a:avLst/>
          </a:prstGeom>
          <a:ln w="28575" cap="rnd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椭圆 45">
            <a:extLst>
              <a:ext uri="{FF2B5EF4-FFF2-40B4-BE49-F238E27FC236}">
                <a16:creationId xmlns:a16="http://schemas.microsoft.com/office/drawing/2014/main" id="{31C04C7F-9ACF-4DB3-AC22-ABE58B19C90E}"/>
              </a:ext>
            </a:extLst>
          </p:cNvPr>
          <p:cNvSpPr/>
          <p:nvPr/>
        </p:nvSpPr>
        <p:spPr>
          <a:xfrm>
            <a:off x="5022822" y="3149669"/>
            <a:ext cx="190500" cy="190500"/>
          </a:xfrm>
          <a:prstGeom prst="ellipse">
            <a:avLst/>
          </a:prstGeom>
          <a:solidFill>
            <a:schemeClr val="bg1"/>
          </a:solidFill>
          <a:ln w="6350">
            <a:gradFill>
              <a:gsLst>
                <a:gs pos="0">
                  <a:schemeClr val="accent1"/>
                </a:gs>
                <a:gs pos="46000">
                  <a:schemeClr val="accent2"/>
                </a:gs>
                <a:gs pos="91000">
                  <a:schemeClr val="accent1">
                    <a:lumMod val="60000"/>
                    <a:lumOff val="40000"/>
                  </a:schemeClr>
                </a:gs>
              </a:gsLst>
              <a:lin ang="189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7" name="椭圆 46">
            <a:extLst>
              <a:ext uri="{FF2B5EF4-FFF2-40B4-BE49-F238E27FC236}">
                <a16:creationId xmlns:a16="http://schemas.microsoft.com/office/drawing/2014/main" id="{0710B2D1-F147-4615-9DAD-E227D026D840}"/>
              </a:ext>
            </a:extLst>
          </p:cNvPr>
          <p:cNvSpPr/>
          <p:nvPr/>
        </p:nvSpPr>
        <p:spPr>
          <a:xfrm>
            <a:off x="5060923" y="3187770"/>
            <a:ext cx="114299" cy="114299"/>
          </a:xfrm>
          <a:prstGeom prst="ellipse">
            <a:avLst/>
          </a:prstGeom>
          <a:gradFill>
            <a:gsLst>
              <a:gs pos="0">
                <a:schemeClr val="accent1"/>
              </a:gs>
              <a:gs pos="91000">
                <a:schemeClr val="accent1">
                  <a:lumMod val="60000"/>
                  <a:lumOff val="40000"/>
                </a:schemeClr>
              </a:gs>
              <a:gs pos="46000">
                <a:schemeClr val="accent2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A1D604FE-B993-4759-8C0A-2395C29D364E}"/>
              </a:ext>
            </a:extLst>
          </p:cNvPr>
          <p:cNvSpPr txBox="1"/>
          <p:nvPr/>
        </p:nvSpPr>
        <p:spPr>
          <a:xfrm>
            <a:off x="8888846" y="1776423"/>
            <a:ext cx="20798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58" name="稿定PPT-14-2">
            <a:extLst>
              <a:ext uri="{FF2B5EF4-FFF2-40B4-BE49-F238E27FC236}">
                <a16:creationId xmlns:a16="http://schemas.microsoft.com/office/drawing/2014/main" id="{CBC1CA3C-2280-4D07-9781-64E5421B129E}"/>
              </a:ext>
            </a:extLst>
          </p:cNvPr>
          <p:cNvSpPr txBox="1"/>
          <p:nvPr/>
        </p:nvSpPr>
        <p:spPr>
          <a:xfrm>
            <a:off x="8888846" y="2114977"/>
            <a:ext cx="2654328" cy="80643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F2106490-26A0-4701-994D-1F47800525FC}"/>
              </a:ext>
            </a:extLst>
          </p:cNvPr>
          <p:cNvCxnSpPr>
            <a:cxnSpLocks/>
          </p:cNvCxnSpPr>
          <p:nvPr/>
        </p:nvCxnSpPr>
        <p:spPr>
          <a:xfrm flipV="1">
            <a:off x="8708997" y="1852855"/>
            <a:ext cx="0" cy="1296814"/>
          </a:xfrm>
          <a:prstGeom prst="line">
            <a:avLst/>
          </a:prstGeom>
          <a:ln w="28575" cap="rnd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椭圆 54">
            <a:extLst>
              <a:ext uri="{FF2B5EF4-FFF2-40B4-BE49-F238E27FC236}">
                <a16:creationId xmlns:a16="http://schemas.microsoft.com/office/drawing/2014/main" id="{912E650C-E2A4-4F68-A8DB-0A20B9DA0ECD}"/>
              </a:ext>
            </a:extLst>
          </p:cNvPr>
          <p:cNvSpPr/>
          <p:nvPr/>
        </p:nvSpPr>
        <p:spPr>
          <a:xfrm>
            <a:off x="8613747" y="3149669"/>
            <a:ext cx="190500" cy="190500"/>
          </a:xfrm>
          <a:prstGeom prst="ellipse">
            <a:avLst/>
          </a:prstGeom>
          <a:solidFill>
            <a:schemeClr val="bg1"/>
          </a:solidFill>
          <a:ln w="6350">
            <a:gradFill>
              <a:gsLst>
                <a:gs pos="0">
                  <a:schemeClr val="accent1"/>
                </a:gs>
                <a:gs pos="46000">
                  <a:schemeClr val="accent2"/>
                </a:gs>
                <a:gs pos="91000">
                  <a:schemeClr val="accent1">
                    <a:lumMod val="60000"/>
                    <a:lumOff val="40000"/>
                  </a:schemeClr>
                </a:gs>
              </a:gsLst>
              <a:lin ang="189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23E67AFC-BB4A-4103-8FB9-52F45BC8A2A7}"/>
              </a:ext>
            </a:extLst>
          </p:cNvPr>
          <p:cNvSpPr/>
          <p:nvPr/>
        </p:nvSpPr>
        <p:spPr>
          <a:xfrm>
            <a:off x="8651848" y="3187770"/>
            <a:ext cx="114299" cy="114299"/>
          </a:xfrm>
          <a:prstGeom prst="ellipse">
            <a:avLst/>
          </a:prstGeom>
          <a:gradFill>
            <a:gsLst>
              <a:gs pos="0">
                <a:schemeClr val="accent1"/>
              </a:gs>
              <a:gs pos="91000">
                <a:schemeClr val="accent1">
                  <a:lumMod val="60000"/>
                  <a:lumOff val="40000"/>
                </a:schemeClr>
              </a:gs>
              <a:gs pos="46000">
                <a:schemeClr val="accent2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5AF46425-9209-4BF4-A1A2-1D4CBC49AFCB}"/>
              </a:ext>
            </a:extLst>
          </p:cNvPr>
          <p:cNvCxnSpPr>
            <a:cxnSpLocks/>
          </p:cNvCxnSpPr>
          <p:nvPr/>
        </p:nvCxnSpPr>
        <p:spPr>
          <a:xfrm>
            <a:off x="7023044" y="4072578"/>
            <a:ext cx="0" cy="1296814"/>
          </a:xfrm>
          <a:prstGeom prst="line">
            <a:avLst/>
          </a:prstGeom>
          <a:ln w="28575" cap="rnd"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椭圆 66">
            <a:extLst>
              <a:ext uri="{FF2B5EF4-FFF2-40B4-BE49-F238E27FC236}">
                <a16:creationId xmlns:a16="http://schemas.microsoft.com/office/drawing/2014/main" id="{7D62FC13-208B-43BE-9E9A-1FECD4A4471C}"/>
              </a:ext>
            </a:extLst>
          </p:cNvPr>
          <p:cNvSpPr/>
          <p:nvPr/>
        </p:nvSpPr>
        <p:spPr>
          <a:xfrm flipV="1">
            <a:off x="6927794" y="3882078"/>
            <a:ext cx="190500" cy="190500"/>
          </a:xfrm>
          <a:prstGeom prst="ellipse">
            <a:avLst/>
          </a:prstGeom>
          <a:solidFill>
            <a:schemeClr val="bg1"/>
          </a:solidFill>
          <a:ln w="6350">
            <a:gradFill>
              <a:gsLst>
                <a:gs pos="0">
                  <a:schemeClr val="accent1"/>
                </a:gs>
                <a:gs pos="46000">
                  <a:schemeClr val="accent2"/>
                </a:gs>
                <a:gs pos="91000">
                  <a:schemeClr val="accent1">
                    <a:lumMod val="60000"/>
                    <a:lumOff val="40000"/>
                  </a:schemeClr>
                </a:gs>
              </a:gsLst>
              <a:lin ang="189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8" name="椭圆 67">
            <a:extLst>
              <a:ext uri="{FF2B5EF4-FFF2-40B4-BE49-F238E27FC236}">
                <a16:creationId xmlns:a16="http://schemas.microsoft.com/office/drawing/2014/main" id="{8DCE8E0A-C8C3-45A4-B521-F25F04D932C4}"/>
              </a:ext>
            </a:extLst>
          </p:cNvPr>
          <p:cNvSpPr/>
          <p:nvPr/>
        </p:nvSpPr>
        <p:spPr>
          <a:xfrm flipV="1">
            <a:off x="6965895" y="3920178"/>
            <a:ext cx="114299" cy="114299"/>
          </a:xfrm>
          <a:prstGeom prst="ellipse">
            <a:avLst/>
          </a:prstGeom>
          <a:gradFill>
            <a:gsLst>
              <a:gs pos="0">
                <a:schemeClr val="accent1"/>
              </a:gs>
              <a:gs pos="91000">
                <a:schemeClr val="accent1">
                  <a:lumMod val="60000"/>
                  <a:lumOff val="40000"/>
                </a:schemeClr>
              </a:gs>
              <a:gs pos="46000">
                <a:schemeClr val="accent2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2C5B355F-F50B-47A6-89C9-7F4BAE272CAE}"/>
              </a:ext>
            </a:extLst>
          </p:cNvPr>
          <p:cNvSpPr txBox="1"/>
          <p:nvPr/>
        </p:nvSpPr>
        <p:spPr>
          <a:xfrm>
            <a:off x="7171321" y="4228204"/>
            <a:ext cx="20798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64" name="稿定PPT-14-2">
            <a:extLst>
              <a:ext uri="{FF2B5EF4-FFF2-40B4-BE49-F238E27FC236}">
                <a16:creationId xmlns:a16="http://schemas.microsoft.com/office/drawing/2014/main" id="{E1E84D70-C49E-418B-8937-C821CCA38673}"/>
              </a:ext>
            </a:extLst>
          </p:cNvPr>
          <p:cNvSpPr txBox="1"/>
          <p:nvPr/>
        </p:nvSpPr>
        <p:spPr>
          <a:xfrm>
            <a:off x="7171321" y="4566758"/>
            <a:ext cx="2654328" cy="80643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69" name="稿定PPT-4">
            <a:extLst>
              <a:ext uri="{FF2B5EF4-FFF2-40B4-BE49-F238E27FC236}">
                <a16:creationId xmlns:a16="http://schemas.microsoft.com/office/drawing/2014/main" id="{A6DD844F-7AEB-411C-B3FA-7D6738B5CC9A}"/>
              </a:ext>
            </a:extLst>
          </p:cNvPr>
          <p:cNvSpPr txBox="1"/>
          <p:nvPr/>
        </p:nvSpPr>
        <p:spPr>
          <a:xfrm>
            <a:off x="931995" y="591639"/>
            <a:ext cx="3418126" cy="2762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 lnSpcReduction="10000"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071161"/>
                    </a:gs>
                    <a:gs pos="100000">
                      <a:srgbClr val="0B1B9A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071161"/>
                    </a:gs>
                    <a:gs pos="100000">
                      <a:srgbClr val="0B1B9A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071161"/>
                    </a:gs>
                    <a:gs pos="100000">
                      <a:srgbClr val="0B1B9A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海量素材持续更新</a:t>
            </a:r>
            <a:endParaRPr kumimoji="0" lang="en-US" sz="19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">
                    <a:srgbClr val="071161"/>
                  </a:gs>
                  <a:gs pos="100000">
                    <a:srgbClr val="0B1B9A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70" name="稿定PPT-4">
            <a:extLst>
              <a:ext uri="{FF2B5EF4-FFF2-40B4-BE49-F238E27FC236}">
                <a16:creationId xmlns:a16="http://schemas.microsoft.com/office/drawing/2014/main" id="{E89A3368-4A96-459C-8DC5-52824994ECD0}"/>
              </a:ext>
            </a:extLst>
          </p:cNvPr>
          <p:cNvSpPr txBox="1"/>
          <p:nvPr/>
        </p:nvSpPr>
        <p:spPr>
          <a:xfrm>
            <a:off x="931995" y="876337"/>
            <a:ext cx="5096192" cy="1988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071161"/>
                    </a:gs>
                    <a:gs pos="100000">
                      <a:srgbClr val="0B1B9A"/>
                    </a:gs>
                  </a:gsLst>
                  <a:lin ang="5400000" scaled="1"/>
                </a:gra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72" name="弧形 71">
            <a:extLst>
              <a:ext uri="{FF2B5EF4-FFF2-40B4-BE49-F238E27FC236}">
                <a16:creationId xmlns:a16="http://schemas.microsoft.com/office/drawing/2014/main" id="{E3492D6A-8205-494D-8E7F-A77DBDEF5FEC}"/>
              </a:ext>
            </a:extLst>
          </p:cNvPr>
          <p:cNvSpPr/>
          <p:nvPr/>
        </p:nvSpPr>
        <p:spPr>
          <a:xfrm>
            <a:off x="520554" y="539567"/>
            <a:ext cx="276225" cy="276225"/>
          </a:xfrm>
          <a:prstGeom prst="arc">
            <a:avLst>
              <a:gd name="adj1" fmla="val 4471096"/>
              <a:gd name="adj2" fmla="val 21140000"/>
            </a:avLst>
          </a:prstGeom>
          <a:ln w="127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3" name="椭圆 72">
            <a:extLst>
              <a:ext uri="{FF2B5EF4-FFF2-40B4-BE49-F238E27FC236}">
                <a16:creationId xmlns:a16="http://schemas.microsoft.com/office/drawing/2014/main" id="{FB308D2C-021B-45D8-8B78-B906E4A4E82B}"/>
              </a:ext>
            </a:extLst>
          </p:cNvPr>
          <p:cNvSpPr/>
          <p:nvPr/>
        </p:nvSpPr>
        <p:spPr>
          <a:xfrm>
            <a:off x="745795" y="733846"/>
            <a:ext cx="50984" cy="5098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4" name="椭圆 73">
            <a:extLst>
              <a:ext uri="{FF2B5EF4-FFF2-40B4-BE49-F238E27FC236}">
                <a16:creationId xmlns:a16="http://schemas.microsoft.com/office/drawing/2014/main" id="{37A0CF8F-095A-4A89-AC92-9ADACBAB0663}"/>
              </a:ext>
            </a:extLst>
          </p:cNvPr>
          <p:cNvSpPr/>
          <p:nvPr/>
        </p:nvSpPr>
        <p:spPr>
          <a:xfrm>
            <a:off x="596403" y="615416"/>
            <a:ext cx="124527" cy="124527"/>
          </a:xfrm>
          <a:prstGeom prst="ellipse">
            <a:avLst/>
          </a:prstGeom>
          <a:solidFill>
            <a:srgbClr val="FA7E2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38924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图片 1" descr="河边的城市&#10;&#10;描述已自动生成">
            <a:extLst>
              <a:ext uri="{FF2B5EF4-FFF2-40B4-BE49-F238E27FC236}">
                <a16:creationId xmlns:a16="http://schemas.microsoft.com/office/drawing/2014/main" id="{3B5AABEC-00E1-41F0-AE17-802F67510C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2" t="62" b="15588"/>
          <a:stretch>
            <a:fillRect/>
          </a:stretch>
        </p:blipFill>
        <p:spPr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5" name="矩形 1">
            <a:extLst>
              <a:ext uri="{FF2B5EF4-FFF2-40B4-BE49-F238E27FC236}">
                <a16:creationId xmlns:a16="http://schemas.microsoft.com/office/drawing/2014/main" id="{7D8090B7-9915-4B9D-8611-96FDCD2C362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51" name="任意多边形: 形状 1">
            <a:extLst>
              <a:ext uri="{FF2B5EF4-FFF2-40B4-BE49-F238E27FC236}">
                <a16:creationId xmlns:a16="http://schemas.microsoft.com/office/drawing/2014/main" id="{35E0DD80-9ACD-4788-AEC5-2380212BC18A}"/>
              </a:ext>
            </a:extLst>
          </p:cNvPr>
          <p:cNvSpPr/>
          <p:nvPr/>
        </p:nvSpPr>
        <p:spPr>
          <a:xfrm rot="20940000">
            <a:off x="594025" y="2315139"/>
            <a:ext cx="11003950" cy="2503200"/>
          </a:xfrm>
          <a:custGeom>
            <a:avLst/>
            <a:gdLst>
              <a:gd name="connsiteX0" fmla="*/ 8675563 w 11003950"/>
              <a:gd name="connsiteY0" fmla="*/ 419508 h 2503200"/>
              <a:gd name="connsiteX1" fmla="*/ 5501974 w 11003950"/>
              <a:gd name="connsiteY1" fmla="*/ 173270 h 2503200"/>
              <a:gd name="connsiteX2" fmla="*/ 512782 w 11003950"/>
              <a:gd name="connsiteY2" fmla="*/ 1251601 h 2503200"/>
              <a:gd name="connsiteX3" fmla="*/ 5501974 w 11003950"/>
              <a:gd name="connsiteY3" fmla="*/ 2329932 h 2503200"/>
              <a:gd name="connsiteX4" fmla="*/ 10491166 w 11003950"/>
              <a:gd name="connsiteY4" fmla="*/ 1251601 h 2503200"/>
              <a:gd name="connsiteX5" fmla="*/ 8675563 w 11003950"/>
              <a:gd name="connsiteY5" fmla="*/ 419508 h 2503200"/>
              <a:gd name="connsiteX6" fmla="*/ 9001742 w 11003950"/>
              <a:gd name="connsiteY6" fmla="*/ 285804 h 2503200"/>
              <a:gd name="connsiteX7" fmla="*/ 11003950 w 11003950"/>
              <a:gd name="connsiteY7" fmla="*/ 1251600 h 2503200"/>
              <a:gd name="connsiteX8" fmla="*/ 5501975 w 11003950"/>
              <a:gd name="connsiteY8" fmla="*/ 2503200 h 2503200"/>
              <a:gd name="connsiteX9" fmla="*/ 0 w 11003950"/>
              <a:gd name="connsiteY9" fmla="*/ 1251600 h 2503200"/>
              <a:gd name="connsiteX10" fmla="*/ 5501975 w 11003950"/>
              <a:gd name="connsiteY10" fmla="*/ 0 h 2503200"/>
              <a:gd name="connsiteX11" fmla="*/ 9001742 w 11003950"/>
              <a:gd name="connsiteY11" fmla="*/ 285804 h 25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003950" h="2503200">
                <a:moveTo>
                  <a:pt x="8675563" y="419508"/>
                </a:moveTo>
                <a:cubicBezTo>
                  <a:pt x="7813137" y="265678"/>
                  <a:pt x="6707486" y="173270"/>
                  <a:pt x="5501974" y="173270"/>
                </a:cubicBezTo>
                <a:cubicBezTo>
                  <a:pt x="2746519" y="173270"/>
                  <a:pt x="512782" y="656055"/>
                  <a:pt x="512782" y="1251601"/>
                </a:cubicBezTo>
                <a:cubicBezTo>
                  <a:pt x="512782" y="1847147"/>
                  <a:pt x="2746519" y="2329932"/>
                  <a:pt x="5501974" y="2329932"/>
                </a:cubicBezTo>
                <a:cubicBezTo>
                  <a:pt x="8257429" y="2329932"/>
                  <a:pt x="10491166" y="1847147"/>
                  <a:pt x="10491166" y="1251601"/>
                </a:cubicBezTo>
                <a:cubicBezTo>
                  <a:pt x="10491166" y="916606"/>
                  <a:pt x="9784397" y="617290"/>
                  <a:pt x="8675563" y="419508"/>
                </a:cubicBezTo>
                <a:close/>
                <a:moveTo>
                  <a:pt x="9001742" y="285804"/>
                </a:moveTo>
                <a:cubicBezTo>
                  <a:pt x="10224541" y="515366"/>
                  <a:pt x="11003950" y="862777"/>
                  <a:pt x="11003950" y="1251600"/>
                </a:cubicBezTo>
                <a:cubicBezTo>
                  <a:pt x="11003950" y="1942840"/>
                  <a:pt x="8540632" y="2503200"/>
                  <a:pt x="5501975" y="2503200"/>
                </a:cubicBezTo>
                <a:cubicBezTo>
                  <a:pt x="2463318" y="2503200"/>
                  <a:pt x="0" y="1942840"/>
                  <a:pt x="0" y="1251600"/>
                </a:cubicBezTo>
                <a:cubicBezTo>
                  <a:pt x="0" y="560360"/>
                  <a:pt x="2463318" y="0"/>
                  <a:pt x="5501975" y="0"/>
                </a:cubicBezTo>
                <a:cubicBezTo>
                  <a:pt x="6831388" y="0"/>
                  <a:pt x="8050677" y="107257"/>
                  <a:pt x="9001742" y="28580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50800" dir="5400000" algn="ctr" rotWithShape="0">
              <a:schemeClr val="accent1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pic>
        <p:nvPicPr>
          <p:cNvPr id="13" name="图片 2">
            <a:extLst>
              <a:ext uri="{FF2B5EF4-FFF2-40B4-BE49-F238E27FC236}">
                <a16:creationId xmlns:a16="http://schemas.microsoft.com/office/drawing/2014/main" id="{9164AE56-03C5-4008-B01F-F4E9084C56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4686846" y="1269950"/>
            <a:ext cx="2818308" cy="4551186"/>
          </a:xfrm>
          <a:prstGeom prst="rect">
            <a:avLst/>
          </a:prstGeom>
        </p:spPr>
      </p:pic>
      <p:sp>
        <p:nvSpPr>
          <p:cNvPr id="33" name="文本框 32">
            <a:extLst>
              <a:ext uri="{FF2B5EF4-FFF2-40B4-BE49-F238E27FC236}">
                <a16:creationId xmlns:a16="http://schemas.microsoft.com/office/drawing/2014/main" id="{6F5A0E30-DD63-483F-814C-5607D77088BE}"/>
              </a:ext>
            </a:extLst>
          </p:cNvPr>
          <p:cNvSpPr txBox="1"/>
          <p:nvPr/>
        </p:nvSpPr>
        <p:spPr>
          <a:xfrm>
            <a:off x="1433103" y="4572384"/>
            <a:ext cx="841738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思源宋体 Heavy"/>
                <a:ea typeface="思源宋体 Heavy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202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35000">
                    <a:srgbClr val="2469B3"/>
                  </a:gs>
                  <a:gs pos="100000">
                    <a:srgbClr val="2690FF"/>
                  </a:gs>
                </a:gsLst>
                <a:lin ang="18900000" scaled="1"/>
                <a:tileRect/>
              </a:gradFill>
              <a:effectLst/>
              <a:uLnTx/>
              <a:uFillTx/>
              <a:latin typeface="锐字云字库大标宋GB"/>
              <a:ea typeface="+mj-ea"/>
              <a:cs typeface="+mn-cs"/>
            </a:endParaRPr>
          </a:p>
        </p:txBody>
      </p:sp>
      <p:sp>
        <p:nvSpPr>
          <p:cNvPr id="34" name="稿定PPT-6-5">
            <a:extLst>
              <a:ext uri="{FF2B5EF4-FFF2-40B4-BE49-F238E27FC236}">
                <a16:creationId xmlns:a16="http://schemas.microsoft.com/office/drawing/2014/main" id="{8C866FB2-E2F5-4892-9709-4793FBA9305D}"/>
              </a:ext>
            </a:extLst>
          </p:cNvPr>
          <p:cNvSpPr txBox="1"/>
          <p:nvPr/>
        </p:nvSpPr>
        <p:spPr>
          <a:xfrm>
            <a:off x="1433103" y="4901654"/>
            <a:ext cx="1253435" cy="52032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上千款模板素材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总有一款适合你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4F53908-3CE2-4B5E-B003-0515512B3887}"/>
              </a:ext>
            </a:extLst>
          </p:cNvPr>
          <p:cNvSpPr txBox="1"/>
          <p:nvPr/>
        </p:nvSpPr>
        <p:spPr>
          <a:xfrm>
            <a:off x="4586037" y="4835079"/>
            <a:ext cx="841738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思源宋体 Heavy"/>
                <a:ea typeface="思源宋体 Heavy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202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35000">
                    <a:srgbClr val="2469B3"/>
                  </a:gs>
                  <a:gs pos="100000">
                    <a:srgbClr val="2690FF"/>
                  </a:gs>
                </a:gsLst>
                <a:lin ang="18900000" scaled="1"/>
                <a:tileRect/>
              </a:gradFill>
              <a:effectLst/>
              <a:uLnTx/>
              <a:uFillTx/>
              <a:latin typeface="锐字云字库大标宋GB"/>
              <a:ea typeface="+mj-ea"/>
              <a:cs typeface="+mn-cs"/>
            </a:endParaRPr>
          </a:p>
        </p:txBody>
      </p:sp>
      <p:sp>
        <p:nvSpPr>
          <p:cNvPr id="37" name="稿定PPT-6-5">
            <a:extLst>
              <a:ext uri="{FF2B5EF4-FFF2-40B4-BE49-F238E27FC236}">
                <a16:creationId xmlns:a16="http://schemas.microsoft.com/office/drawing/2014/main" id="{26321056-EA3D-4AEB-8A30-EB10C7A91531}"/>
              </a:ext>
            </a:extLst>
          </p:cNvPr>
          <p:cNvSpPr txBox="1"/>
          <p:nvPr/>
        </p:nvSpPr>
        <p:spPr>
          <a:xfrm>
            <a:off x="4586037" y="5164349"/>
            <a:ext cx="1253435" cy="52032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上千款模板素材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总有一款适合你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D060DDC8-EA1E-48FF-8B39-649F88E9193D}"/>
              </a:ext>
            </a:extLst>
          </p:cNvPr>
          <p:cNvSpPr txBox="1"/>
          <p:nvPr/>
        </p:nvSpPr>
        <p:spPr>
          <a:xfrm>
            <a:off x="7738971" y="4148362"/>
            <a:ext cx="841738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思源宋体 Heavy"/>
                <a:ea typeface="思源宋体 Heavy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202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35000">
                    <a:srgbClr val="2469B3"/>
                  </a:gs>
                  <a:gs pos="100000">
                    <a:srgbClr val="2690FF"/>
                  </a:gs>
                </a:gsLst>
                <a:lin ang="18900000" scaled="1"/>
                <a:tileRect/>
              </a:gradFill>
              <a:effectLst/>
              <a:uLnTx/>
              <a:uFillTx/>
              <a:latin typeface="锐字云字库大标宋GB"/>
              <a:ea typeface="+mj-ea"/>
              <a:cs typeface="+mn-cs"/>
            </a:endParaRPr>
          </a:p>
        </p:txBody>
      </p:sp>
      <p:sp>
        <p:nvSpPr>
          <p:cNvPr id="40" name="稿定PPT-6-5">
            <a:extLst>
              <a:ext uri="{FF2B5EF4-FFF2-40B4-BE49-F238E27FC236}">
                <a16:creationId xmlns:a16="http://schemas.microsoft.com/office/drawing/2014/main" id="{DE099A4F-0C05-4EA1-900F-123C4946E642}"/>
              </a:ext>
            </a:extLst>
          </p:cNvPr>
          <p:cNvSpPr txBox="1"/>
          <p:nvPr/>
        </p:nvSpPr>
        <p:spPr>
          <a:xfrm>
            <a:off x="7738971" y="4477632"/>
            <a:ext cx="1253435" cy="52032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上千款模板素材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总有一款适合你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BE46CBAA-46A3-4BE8-BF9C-1F49EFEB7050}"/>
              </a:ext>
            </a:extLst>
          </p:cNvPr>
          <p:cNvSpPr txBox="1"/>
          <p:nvPr/>
        </p:nvSpPr>
        <p:spPr>
          <a:xfrm>
            <a:off x="3215418" y="4882677"/>
            <a:ext cx="841738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思源宋体 Heavy"/>
                <a:ea typeface="思源宋体 Heavy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202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35000">
                    <a:srgbClr val="2469B3"/>
                  </a:gs>
                  <a:gs pos="100000">
                    <a:srgbClr val="2690FF"/>
                  </a:gs>
                </a:gsLst>
                <a:lin ang="18900000" scaled="1"/>
                <a:tileRect/>
              </a:gradFill>
              <a:effectLst/>
              <a:uLnTx/>
              <a:uFillTx/>
              <a:latin typeface="锐字云字库大标宋GB"/>
              <a:ea typeface="+mj-ea"/>
              <a:cs typeface="+mn-cs"/>
            </a:endParaRPr>
          </a:p>
        </p:txBody>
      </p:sp>
      <p:sp>
        <p:nvSpPr>
          <p:cNvPr id="43" name="稿定PPT-6-5">
            <a:extLst>
              <a:ext uri="{FF2B5EF4-FFF2-40B4-BE49-F238E27FC236}">
                <a16:creationId xmlns:a16="http://schemas.microsoft.com/office/drawing/2014/main" id="{3E37AE65-D307-4081-895B-D59F9AD5E8F8}"/>
              </a:ext>
            </a:extLst>
          </p:cNvPr>
          <p:cNvSpPr txBox="1"/>
          <p:nvPr/>
        </p:nvSpPr>
        <p:spPr>
          <a:xfrm>
            <a:off x="3215419" y="5211947"/>
            <a:ext cx="841738" cy="52032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海量素材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持续更新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6C8F0E0-0643-4F9A-B171-C771631ECD7E}"/>
              </a:ext>
            </a:extLst>
          </p:cNvPr>
          <p:cNvSpPr txBox="1"/>
          <p:nvPr/>
        </p:nvSpPr>
        <p:spPr>
          <a:xfrm>
            <a:off x="6368352" y="4537481"/>
            <a:ext cx="841738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思源宋体 Heavy"/>
                <a:ea typeface="思源宋体 Heavy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202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35000">
                    <a:srgbClr val="2469B3"/>
                  </a:gs>
                  <a:gs pos="100000">
                    <a:srgbClr val="2690FF"/>
                  </a:gs>
                </a:gsLst>
                <a:lin ang="18900000" scaled="1"/>
                <a:tileRect/>
              </a:gradFill>
              <a:effectLst/>
              <a:uLnTx/>
              <a:uFillTx/>
              <a:latin typeface="锐字云字库大标宋GB"/>
              <a:ea typeface="+mj-ea"/>
              <a:cs typeface="+mn-cs"/>
            </a:endParaRPr>
          </a:p>
        </p:txBody>
      </p:sp>
      <p:sp>
        <p:nvSpPr>
          <p:cNvPr id="46" name="稿定PPT-6-5">
            <a:extLst>
              <a:ext uri="{FF2B5EF4-FFF2-40B4-BE49-F238E27FC236}">
                <a16:creationId xmlns:a16="http://schemas.microsoft.com/office/drawing/2014/main" id="{945E72D2-354F-458E-9159-00D0F01C7FA8}"/>
              </a:ext>
            </a:extLst>
          </p:cNvPr>
          <p:cNvSpPr txBox="1"/>
          <p:nvPr/>
        </p:nvSpPr>
        <p:spPr>
          <a:xfrm>
            <a:off x="6368353" y="4866751"/>
            <a:ext cx="841738" cy="52032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海量素材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持续更新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ED136939-4C74-4503-A523-B2F60A93F020}"/>
              </a:ext>
            </a:extLst>
          </p:cNvPr>
          <p:cNvSpPr txBox="1"/>
          <p:nvPr/>
        </p:nvSpPr>
        <p:spPr>
          <a:xfrm>
            <a:off x="9521284" y="3344493"/>
            <a:ext cx="841738" cy="3693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思源宋体 Heavy"/>
                <a:ea typeface="思源宋体 Heavy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35000">
                      <a:srgbClr val="2469B3"/>
                    </a:gs>
                    <a:gs pos="100000">
                      <a:srgbClr val="2690FF"/>
                    </a:gs>
                  </a:gsLst>
                  <a:lin ang="18900000" scaled="1"/>
                  <a:tileRect/>
                </a:gra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202X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35000">
                    <a:srgbClr val="2469B3"/>
                  </a:gs>
                  <a:gs pos="100000">
                    <a:srgbClr val="2690FF"/>
                  </a:gs>
                </a:gsLst>
                <a:lin ang="18900000" scaled="1"/>
                <a:tileRect/>
              </a:gradFill>
              <a:effectLst/>
              <a:uLnTx/>
              <a:uFillTx/>
              <a:latin typeface="锐字云字库大标宋GB"/>
              <a:ea typeface="+mj-ea"/>
              <a:cs typeface="+mn-cs"/>
            </a:endParaRPr>
          </a:p>
        </p:txBody>
      </p:sp>
      <p:sp>
        <p:nvSpPr>
          <p:cNvPr id="49" name="稿定PPT-6-5">
            <a:extLst>
              <a:ext uri="{FF2B5EF4-FFF2-40B4-BE49-F238E27FC236}">
                <a16:creationId xmlns:a16="http://schemas.microsoft.com/office/drawing/2014/main" id="{5F40FBE4-359F-4BF9-B41A-1F1A4A3C23FB}"/>
              </a:ext>
            </a:extLst>
          </p:cNvPr>
          <p:cNvSpPr txBox="1"/>
          <p:nvPr/>
        </p:nvSpPr>
        <p:spPr>
          <a:xfrm>
            <a:off x="9521285" y="3673763"/>
            <a:ext cx="841738" cy="52032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t" anchorCtr="0">
            <a:noAutofit/>
          </a:bodyPr>
          <a:lstStyle>
            <a:defPPr>
              <a:defRPr lang="zh-CN"/>
            </a:defPPr>
            <a:lvl1pPr algn="just">
              <a:lnSpc>
                <a:spcPct val="130000"/>
              </a:lnSpc>
              <a:buSzPct val="25000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海量素材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锐字云字库宋黑GB"/>
                <a:cs typeface="+mn-cs"/>
              </a:rPr>
              <a:t>持续更新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锐字云字库宋黑GB"/>
              <a:cs typeface="+mn-cs"/>
            </a:endParaRPr>
          </a:p>
        </p:txBody>
      </p:sp>
      <p:sp>
        <p:nvSpPr>
          <p:cNvPr id="29" name="弧形 2">
            <a:extLst>
              <a:ext uri="{FF2B5EF4-FFF2-40B4-BE49-F238E27FC236}">
                <a16:creationId xmlns:a16="http://schemas.microsoft.com/office/drawing/2014/main" id="{450FA6D6-8702-4282-A79D-BE6C31CA424E}"/>
              </a:ext>
            </a:extLst>
          </p:cNvPr>
          <p:cNvSpPr/>
          <p:nvPr/>
        </p:nvSpPr>
        <p:spPr>
          <a:xfrm rot="20942150">
            <a:off x="1990454" y="2679167"/>
            <a:ext cx="8211093" cy="1775144"/>
          </a:xfrm>
          <a:prstGeom prst="arc">
            <a:avLst>
              <a:gd name="adj1" fmla="val 17660584"/>
              <a:gd name="adj2" fmla="val 13994968"/>
            </a:avLst>
          </a:prstGeom>
          <a:noFill/>
          <a:ln w="12700" cap="flat" cmpd="sng" algn="ctr">
            <a:gradFill>
              <a:gsLst>
                <a:gs pos="0">
                  <a:schemeClr val="accent4">
                    <a:lumMod val="20000"/>
                    <a:lumOff val="80000"/>
                    <a:alpha val="0"/>
                  </a:schemeClr>
                </a:gs>
                <a:gs pos="3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思源宋体 Light"/>
              <a:cs typeface="+mn-cs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12048951-7B4D-4A3F-9248-C8A1AE5AD787}"/>
              </a:ext>
            </a:extLst>
          </p:cNvPr>
          <p:cNvSpPr/>
          <p:nvPr/>
        </p:nvSpPr>
        <p:spPr>
          <a:xfrm>
            <a:off x="1968068" y="4246711"/>
            <a:ext cx="187852" cy="1878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EFBFBB61-B0E7-4CA0-82CA-B172F56AB433}"/>
              </a:ext>
            </a:extLst>
          </p:cNvPr>
          <p:cNvSpPr/>
          <p:nvPr/>
        </p:nvSpPr>
        <p:spPr>
          <a:xfrm>
            <a:off x="2015489" y="4294132"/>
            <a:ext cx="93011" cy="930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09519E93-B33E-48CA-9DE8-14081CB12277}"/>
              </a:ext>
            </a:extLst>
          </p:cNvPr>
          <p:cNvSpPr/>
          <p:nvPr/>
        </p:nvSpPr>
        <p:spPr>
          <a:xfrm>
            <a:off x="3544100" y="4642951"/>
            <a:ext cx="187852" cy="1878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965E0B4A-B31E-41FA-96AA-212EFBE85C11}"/>
              </a:ext>
            </a:extLst>
          </p:cNvPr>
          <p:cNvSpPr/>
          <p:nvPr/>
        </p:nvSpPr>
        <p:spPr>
          <a:xfrm>
            <a:off x="3591521" y="4690372"/>
            <a:ext cx="93011" cy="930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60BEEF99-529B-428E-B71C-020CFA1F3A64}"/>
              </a:ext>
            </a:extLst>
          </p:cNvPr>
          <p:cNvSpPr/>
          <p:nvPr/>
        </p:nvSpPr>
        <p:spPr>
          <a:xfrm>
            <a:off x="5120132" y="4524963"/>
            <a:ext cx="187852" cy="1878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B1D41330-12C2-4E25-9C73-EFCCFB51E222}"/>
              </a:ext>
            </a:extLst>
          </p:cNvPr>
          <p:cNvSpPr/>
          <p:nvPr/>
        </p:nvSpPr>
        <p:spPr>
          <a:xfrm>
            <a:off x="5167553" y="4572384"/>
            <a:ext cx="93011" cy="930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4F90EEC9-118C-4F7A-8DBE-5A77D736E1D9}"/>
              </a:ext>
            </a:extLst>
          </p:cNvPr>
          <p:cNvSpPr/>
          <p:nvPr/>
        </p:nvSpPr>
        <p:spPr>
          <a:xfrm>
            <a:off x="6696164" y="4246711"/>
            <a:ext cx="187852" cy="1878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99811B8B-C4D6-42A5-B935-56F850D89E26}"/>
              </a:ext>
            </a:extLst>
          </p:cNvPr>
          <p:cNvSpPr/>
          <p:nvPr/>
        </p:nvSpPr>
        <p:spPr>
          <a:xfrm>
            <a:off x="6743585" y="4294132"/>
            <a:ext cx="93011" cy="930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8AF23453-970B-40A0-9DBB-A528372FE1BD}"/>
              </a:ext>
            </a:extLst>
          </p:cNvPr>
          <p:cNvSpPr/>
          <p:nvPr/>
        </p:nvSpPr>
        <p:spPr>
          <a:xfrm>
            <a:off x="8272196" y="3802366"/>
            <a:ext cx="187852" cy="1878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8E35F957-FAFF-445F-A4AD-0F08E76CBC73}"/>
              </a:ext>
            </a:extLst>
          </p:cNvPr>
          <p:cNvSpPr/>
          <p:nvPr/>
        </p:nvSpPr>
        <p:spPr>
          <a:xfrm>
            <a:off x="8319617" y="3849787"/>
            <a:ext cx="93011" cy="930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723624DD-31A1-4B76-8756-A97B7F3D0733}"/>
              </a:ext>
            </a:extLst>
          </p:cNvPr>
          <p:cNvSpPr/>
          <p:nvPr/>
        </p:nvSpPr>
        <p:spPr>
          <a:xfrm>
            <a:off x="9848228" y="3051409"/>
            <a:ext cx="187852" cy="1878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78363B7A-AB8D-44DC-B5E0-F3C75248FA03}"/>
              </a:ext>
            </a:extLst>
          </p:cNvPr>
          <p:cNvSpPr/>
          <p:nvPr/>
        </p:nvSpPr>
        <p:spPr>
          <a:xfrm>
            <a:off x="9895649" y="3098830"/>
            <a:ext cx="93011" cy="930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50" name="稿定PPT-1-1">
            <a:extLst>
              <a:ext uri="{FF2B5EF4-FFF2-40B4-BE49-F238E27FC236}">
                <a16:creationId xmlns:a16="http://schemas.microsoft.com/office/drawing/2014/main" id="{D027C193-0832-4A79-96C0-9E9B9077A496}"/>
              </a:ext>
            </a:extLst>
          </p:cNvPr>
          <p:cNvSpPr txBox="1"/>
          <p:nvPr/>
        </p:nvSpPr>
        <p:spPr>
          <a:xfrm>
            <a:off x="905270" y="403388"/>
            <a:ext cx="3437711" cy="58192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设计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PPT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锐字云字库大标宋GB"/>
                <a:ea typeface="+mj-ea"/>
                <a:cs typeface="+mn-cs"/>
              </a:rPr>
              <a:t>，海量素材持续更新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锐字云字库大标宋GB"/>
              <a:ea typeface="+mj-ea"/>
              <a:cs typeface="+mn-cs"/>
            </a:endParaRPr>
          </a:p>
        </p:txBody>
      </p:sp>
      <p:sp>
        <p:nvSpPr>
          <p:cNvPr id="53" name="稿定PPT-1-2">
            <a:extLst>
              <a:ext uri="{FF2B5EF4-FFF2-40B4-BE49-F238E27FC236}">
                <a16:creationId xmlns:a16="http://schemas.microsoft.com/office/drawing/2014/main" id="{228A0F79-929B-4594-8111-7D5C58C7E0D2}"/>
              </a:ext>
            </a:extLst>
          </p:cNvPr>
          <p:cNvSpPr txBox="1"/>
          <p:nvPr/>
        </p:nvSpPr>
        <p:spPr>
          <a:xfrm>
            <a:off x="971596" y="663677"/>
            <a:ext cx="4764270" cy="58192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54" name="任意多边形: 形状 1">
            <a:extLst>
              <a:ext uri="{FF2B5EF4-FFF2-40B4-BE49-F238E27FC236}">
                <a16:creationId xmlns:a16="http://schemas.microsoft.com/office/drawing/2014/main" id="{D58FA05C-0E80-4807-9964-A976347EB966}"/>
              </a:ext>
            </a:extLst>
          </p:cNvPr>
          <p:cNvSpPr/>
          <p:nvPr/>
        </p:nvSpPr>
        <p:spPr>
          <a:xfrm rot="18900000" flipH="1">
            <a:off x="554242" y="589078"/>
            <a:ext cx="179144" cy="179144"/>
          </a:xfrm>
          <a:custGeom>
            <a:avLst/>
            <a:gdLst>
              <a:gd name="connsiteX0" fmla="*/ 15024 w 307777"/>
              <a:gd name="connsiteY0" fmla="*/ 15024 h 307777"/>
              <a:gd name="connsiteX1" fmla="*/ 51297 w 307777"/>
              <a:gd name="connsiteY1" fmla="*/ 0 h 307777"/>
              <a:gd name="connsiteX2" fmla="*/ 256480 w 307777"/>
              <a:gd name="connsiteY2" fmla="*/ 0 h 307777"/>
              <a:gd name="connsiteX3" fmla="*/ 307777 w 307777"/>
              <a:gd name="connsiteY3" fmla="*/ 51297 h 307777"/>
              <a:gd name="connsiteX4" fmla="*/ 307777 w 307777"/>
              <a:gd name="connsiteY4" fmla="*/ 106137 h 307777"/>
              <a:gd name="connsiteX5" fmla="*/ 303328 w 307777"/>
              <a:gd name="connsiteY5" fmla="*/ 104294 h 307777"/>
              <a:gd name="connsiteX6" fmla="*/ 144101 w 307777"/>
              <a:gd name="connsiteY6" fmla="*/ 104294 h 307777"/>
              <a:gd name="connsiteX7" fmla="*/ 104293 w 307777"/>
              <a:gd name="connsiteY7" fmla="*/ 144102 h 307777"/>
              <a:gd name="connsiteX8" fmla="*/ 104294 w 307777"/>
              <a:gd name="connsiteY8" fmla="*/ 303328 h 307777"/>
              <a:gd name="connsiteX9" fmla="*/ 106136 w 307777"/>
              <a:gd name="connsiteY9" fmla="*/ 307777 h 307777"/>
              <a:gd name="connsiteX10" fmla="*/ 51297 w 307777"/>
              <a:gd name="connsiteY10" fmla="*/ 307777 h 307777"/>
              <a:gd name="connsiteX11" fmla="*/ 0 w 307777"/>
              <a:gd name="connsiteY11" fmla="*/ 256480 h 307777"/>
              <a:gd name="connsiteX12" fmla="*/ 0 w 307777"/>
              <a:gd name="connsiteY12" fmla="*/ 51297 h 307777"/>
              <a:gd name="connsiteX13" fmla="*/ 15024 w 307777"/>
              <a:gd name="connsiteY13" fmla="*/ 15024 h 307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7777" h="307777">
                <a:moveTo>
                  <a:pt x="15024" y="15024"/>
                </a:moveTo>
                <a:cubicBezTo>
                  <a:pt x="24307" y="5741"/>
                  <a:pt x="37132" y="0"/>
                  <a:pt x="51297" y="0"/>
                </a:cubicBezTo>
                <a:lnTo>
                  <a:pt x="256480" y="0"/>
                </a:lnTo>
                <a:cubicBezTo>
                  <a:pt x="284811" y="0"/>
                  <a:pt x="307777" y="22966"/>
                  <a:pt x="307777" y="51297"/>
                </a:cubicBezTo>
                <a:lnTo>
                  <a:pt x="307777" y="106137"/>
                </a:lnTo>
                <a:lnTo>
                  <a:pt x="303328" y="104294"/>
                </a:lnTo>
                <a:lnTo>
                  <a:pt x="144101" y="104294"/>
                </a:lnTo>
                <a:cubicBezTo>
                  <a:pt x="122117" y="104294"/>
                  <a:pt x="104294" y="122117"/>
                  <a:pt x="104293" y="144102"/>
                </a:cubicBezTo>
                <a:lnTo>
                  <a:pt x="104294" y="303328"/>
                </a:lnTo>
                <a:lnTo>
                  <a:pt x="106136" y="307777"/>
                </a:lnTo>
                <a:lnTo>
                  <a:pt x="51297" y="307777"/>
                </a:lnTo>
                <a:cubicBezTo>
                  <a:pt x="22966" y="307777"/>
                  <a:pt x="0" y="284811"/>
                  <a:pt x="0" y="256480"/>
                </a:cubicBezTo>
                <a:lnTo>
                  <a:pt x="0" y="51297"/>
                </a:lnTo>
                <a:cubicBezTo>
                  <a:pt x="0" y="37132"/>
                  <a:pt x="5741" y="24307"/>
                  <a:pt x="15024" y="15024"/>
                </a:cubicBez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56" name="任意多边形: 形状 2">
            <a:extLst>
              <a:ext uri="{FF2B5EF4-FFF2-40B4-BE49-F238E27FC236}">
                <a16:creationId xmlns:a16="http://schemas.microsoft.com/office/drawing/2014/main" id="{F4280A63-C00D-43BB-A6B2-570E1A6B3477}"/>
              </a:ext>
            </a:extLst>
          </p:cNvPr>
          <p:cNvSpPr/>
          <p:nvPr/>
        </p:nvSpPr>
        <p:spPr>
          <a:xfrm rot="2700000" flipH="1" flipV="1">
            <a:off x="481675" y="620480"/>
            <a:ext cx="179144" cy="179144"/>
          </a:xfrm>
          <a:custGeom>
            <a:avLst/>
            <a:gdLst>
              <a:gd name="connsiteX0" fmla="*/ 15024 w 307777"/>
              <a:gd name="connsiteY0" fmla="*/ 15024 h 307777"/>
              <a:gd name="connsiteX1" fmla="*/ 51297 w 307777"/>
              <a:gd name="connsiteY1" fmla="*/ 0 h 307777"/>
              <a:gd name="connsiteX2" fmla="*/ 256480 w 307777"/>
              <a:gd name="connsiteY2" fmla="*/ 0 h 307777"/>
              <a:gd name="connsiteX3" fmla="*/ 307777 w 307777"/>
              <a:gd name="connsiteY3" fmla="*/ 51297 h 307777"/>
              <a:gd name="connsiteX4" fmla="*/ 307777 w 307777"/>
              <a:gd name="connsiteY4" fmla="*/ 106137 h 307777"/>
              <a:gd name="connsiteX5" fmla="*/ 303328 w 307777"/>
              <a:gd name="connsiteY5" fmla="*/ 104294 h 307777"/>
              <a:gd name="connsiteX6" fmla="*/ 144101 w 307777"/>
              <a:gd name="connsiteY6" fmla="*/ 104294 h 307777"/>
              <a:gd name="connsiteX7" fmla="*/ 104293 w 307777"/>
              <a:gd name="connsiteY7" fmla="*/ 144102 h 307777"/>
              <a:gd name="connsiteX8" fmla="*/ 104294 w 307777"/>
              <a:gd name="connsiteY8" fmla="*/ 303328 h 307777"/>
              <a:gd name="connsiteX9" fmla="*/ 106136 w 307777"/>
              <a:gd name="connsiteY9" fmla="*/ 307777 h 307777"/>
              <a:gd name="connsiteX10" fmla="*/ 51297 w 307777"/>
              <a:gd name="connsiteY10" fmla="*/ 307777 h 307777"/>
              <a:gd name="connsiteX11" fmla="*/ 0 w 307777"/>
              <a:gd name="connsiteY11" fmla="*/ 256480 h 307777"/>
              <a:gd name="connsiteX12" fmla="*/ 0 w 307777"/>
              <a:gd name="connsiteY12" fmla="*/ 51297 h 307777"/>
              <a:gd name="connsiteX13" fmla="*/ 15024 w 307777"/>
              <a:gd name="connsiteY13" fmla="*/ 15024 h 307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7777" h="307777">
                <a:moveTo>
                  <a:pt x="15024" y="15024"/>
                </a:moveTo>
                <a:cubicBezTo>
                  <a:pt x="24307" y="5741"/>
                  <a:pt x="37132" y="0"/>
                  <a:pt x="51297" y="0"/>
                </a:cubicBezTo>
                <a:lnTo>
                  <a:pt x="256480" y="0"/>
                </a:lnTo>
                <a:cubicBezTo>
                  <a:pt x="284811" y="0"/>
                  <a:pt x="307777" y="22966"/>
                  <a:pt x="307777" y="51297"/>
                </a:cubicBezTo>
                <a:lnTo>
                  <a:pt x="307777" y="106137"/>
                </a:lnTo>
                <a:lnTo>
                  <a:pt x="303328" y="104294"/>
                </a:lnTo>
                <a:lnTo>
                  <a:pt x="144101" y="104294"/>
                </a:lnTo>
                <a:cubicBezTo>
                  <a:pt x="122117" y="104294"/>
                  <a:pt x="104294" y="122117"/>
                  <a:pt x="104293" y="144102"/>
                </a:cubicBezTo>
                <a:lnTo>
                  <a:pt x="104294" y="303328"/>
                </a:lnTo>
                <a:lnTo>
                  <a:pt x="106136" y="307777"/>
                </a:lnTo>
                <a:lnTo>
                  <a:pt x="51297" y="307777"/>
                </a:lnTo>
                <a:cubicBezTo>
                  <a:pt x="22966" y="307777"/>
                  <a:pt x="0" y="284811"/>
                  <a:pt x="0" y="256480"/>
                </a:cubicBezTo>
                <a:lnTo>
                  <a:pt x="0" y="51297"/>
                </a:lnTo>
                <a:cubicBezTo>
                  <a:pt x="0" y="37132"/>
                  <a:pt x="5741" y="24307"/>
                  <a:pt x="15024" y="15024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35505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圆: 空心 11">
            <a:extLst>
              <a:ext uri="{FF2B5EF4-FFF2-40B4-BE49-F238E27FC236}">
                <a16:creationId xmlns:a16="http://schemas.microsoft.com/office/drawing/2014/main" id="{7F9D2E9F-0F75-4ADF-AC93-F72AD2D64455}"/>
              </a:ext>
            </a:extLst>
          </p:cNvPr>
          <p:cNvSpPr/>
          <p:nvPr/>
        </p:nvSpPr>
        <p:spPr>
          <a:xfrm>
            <a:off x="1185079" y="2850799"/>
            <a:ext cx="1756800" cy="1756800"/>
          </a:xfrm>
          <a:prstGeom prst="donut">
            <a:avLst>
              <a:gd name="adj" fmla="val 10076"/>
            </a:avLst>
          </a:prstGeom>
          <a:solidFill>
            <a:schemeClr val="bg1">
              <a:lumMod val="8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3" name="圆: 空心 12">
            <a:extLst>
              <a:ext uri="{FF2B5EF4-FFF2-40B4-BE49-F238E27FC236}">
                <a16:creationId xmlns:a16="http://schemas.microsoft.com/office/drawing/2014/main" id="{3C7B1AF6-AF57-4C2D-868E-26B1B8F64781}"/>
              </a:ext>
            </a:extLst>
          </p:cNvPr>
          <p:cNvSpPr/>
          <p:nvPr/>
        </p:nvSpPr>
        <p:spPr>
          <a:xfrm>
            <a:off x="2769051" y="2850799"/>
            <a:ext cx="1756800" cy="1756800"/>
          </a:xfrm>
          <a:prstGeom prst="donut">
            <a:avLst>
              <a:gd name="adj" fmla="val 10076"/>
            </a:avLst>
          </a:prstGeom>
          <a:solidFill>
            <a:schemeClr val="bg1">
              <a:lumMod val="8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4" name="圆: 空心 13">
            <a:extLst>
              <a:ext uri="{FF2B5EF4-FFF2-40B4-BE49-F238E27FC236}">
                <a16:creationId xmlns:a16="http://schemas.microsoft.com/office/drawing/2014/main" id="{6C3326CE-F742-4043-8F9F-378C8D960D01}"/>
              </a:ext>
            </a:extLst>
          </p:cNvPr>
          <p:cNvSpPr/>
          <p:nvPr/>
        </p:nvSpPr>
        <p:spPr>
          <a:xfrm>
            <a:off x="4353023" y="2850799"/>
            <a:ext cx="1756800" cy="1756800"/>
          </a:xfrm>
          <a:prstGeom prst="donut">
            <a:avLst>
              <a:gd name="adj" fmla="val 10076"/>
            </a:avLst>
          </a:prstGeom>
          <a:solidFill>
            <a:schemeClr val="bg1">
              <a:lumMod val="8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5" name="圆: 空心 14">
            <a:extLst>
              <a:ext uri="{FF2B5EF4-FFF2-40B4-BE49-F238E27FC236}">
                <a16:creationId xmlns:a16="http://schemas.microsoft.com/office/drawing/2014/main" id="{EE06BB7A-3C9B-429A-A4E7-08E56AB90C61}"/>
              </a:ext>
            </a:extLst>
          </p:cNvPr>
          <p:cNvSpPr/>
          <p:nvPr/>
        </p:nvSpPr>
        <p:spPr>
          <a:xfrm>
            <a:off x="5936995" y="2850799"/>
            <a:ext cx="1756800" cy="1756800"/>
          </a:xfrm>
          <a:prstGeom prst="donut">
            <a:avLst>
              <a:gd name="adj" fmla="val 10076"/>
            </a:avLst>
          </a:prstGeom>
          <a:solidFill>
            <a:schemeClr val="bg1">
              <a:lumMod val="8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6" name="圆: 空心 15">
            <a:extLst>
              <a:ext uri="{FF2B5EF4-FFF2-40B4-BE49-F238E27FC236}">
                <a16:creationId xmlns:a16="http://schemas.microsoft.com/office/drawing/2014/main" id="{4C3A3CD9-F47C-4CBE-869C-E6726184DE3E}"/>
              </a:ext>
            </a:extLst>
          </p:cNvPr>
          <p:cNvSpPr/>
          <p:nvPr/>
        </p:nvSpPr>
        <p:spPr>
          <a:xfrm>
            <a:off x="7520967" y="2850799"/>
            <a:ext cx="1756800" cy="1756800"/>
          </a:xfrm>
          <a:prstGeom prst="donut">
            <a:avLst>
              <a:gd name="adj" fmla="val 10076"/>
            </a:avLst>
          </a:prstGeom>
          <a:solidFill>
            <a:schemeClr val="bg1">
              <a:lumMod val="8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7" name="圆: 空心 16">
            <a:extLst>
              <a:ext uri="{FF2B5EF4-FFF2-40B4-BE49-F238E27FC236}">
                <a16:creationId xmlns:a16="http://schemas.microsoft.com/office/drawing/2014/main" id="{B3919723-A6F6-402B-B72F-163768B149B9}"/>
              </a:ext>
            </a:extLst>
          </p:cNvPr>
          <p:cNvSpPr/>
          <p:nvPr/>
        </p:nvSpPr>
        <p:spPr>
          <a:xfrm>
            <a:off x="9104939" y="2850799"/>
            <a:ext cx="1756800" cy="1756800"/>
          </a:xfrm>
          <a:prstGeom prst="donut">
            <a:avLst>
              <a:gd name="adj" fmla="val 10076"/>
            </a:avLst>
          </a:prstGeom>
          <a:solidFill>
            <a:schemeClr val="bg1">
              <a:lumMod val="8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18" name="弧形 17">
            <a:extLst>
              <a:ext uri="{FF2B5EF4-FFF2-40B4-BE49-F238E27FC236}">
                <a16:creationId xmlns:a16="http://schemas.microsoft.com/office/drawing/2014/main" id="{75E1A78C-4BF2-4405-A807-CBCF98CC8FF4}"/>
              </a:ext>
            </a:extLst>
          </p:cNvPr>
          <p:cNvSpPr/>
          <p:nvPr/>
        </p:nvSpPr>
        <p:spPr>
          <a:xfrm>
            <a:off x="1268497" y="2933599"/>
            <a:ext cx="1591200" cy="1591200"/>
          </a:xfrm>
          <a:prstGeom prst="arc">
            <a:avLst>
              <a:gd name="adj1" fmla="val 10765585"/>
              <a:gd name="adj2" fmla="val 0"/>
            </a:avLst>
          </a:prstGeom>
          <a:ln w="203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0" name="弧形 19">
            <a:extLst>
              <a:ext uri="{FF2B5EF4-FFF2-40B4-BE49-F238E27FC236}">
                <a16:creationId xmlns:a16="http://schemas.microsoft.com/office/drawing/2014/main" id="{81171A20-9A18-47B1-9B2A-A80E2C1D3C23}"/>
              </a:ext>
            </a:extLst>
          </p:cNvPr>
          <p:cNvSpPr/>
          <p:nvPr/>
        </p:nvSpPr>
        <p:spPr>
          <a:xfrm flipV="1">
            <a:off x="2857537" y="2933599"/>
            <a:ext cx="1591200" cy="1591200"/>
          </a:xfrm>
          <a:prstGeom prst="arc">
            <a:avLst>
              <a:gd name="adj1" fmla="val 10765585"/>
              <a:gd name="adj2" fmla="val 0"/>
            </a:avLst>
          </a:prstGeom>
          <a:ln w="203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1" name="弧形 20">
            <a:extLst>
              <a:ext uri="{FF2B5EF4-FFF2-40B4-BE49-F238E27FC236}">
                <a16:creationId xmlns:a16="http://schemas.microsoft.com/office/drawing/2014/main" id="{4859720A-6367-4044-A1A0-BE3F92834712}"/>
              </a:ext>
            </a:extLst>
          </p:cNvPr>
          <p:cNvSpPr/>
          <p:nvPr/>
        </p:nvSpPr>
        <p:spPr>
          <a:xfrm>
            <a:off x="4446577" y="2933599"/>
            <a:ext cx="1591200" cy="1591200"/>
          </a:xfrm>
          <a:prstGeom prst="arc">
            <a:avLst>
              <a:gd name="adj1" fmla="val 10765585"/>
              <a:gd name="adj2" fmla="val 0"/>
            </a:avLst>
          </a:prstGeom>
          <a:ln w="203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2" name="弧形 21">
            <a:extLst>
              <a:ext uri="{FF2B5EF4-FFF2-40B4-BE49-F238E27FC236}">
                <a16:creationId xmlns:a16="http://schemas.microsoft.com/office/drawing/2014/main" id="{BDBE0436-450A-47A9-A843-B44771884592}"/>
              </a:ext>
            </a:extLst>
          </p:cNvPr>
          <p:cNvSpPr/>
          <p:nvPr/>
        </p:nvSpPr>
        <p:spPr>
          <a:xfrm flipV="1">
            <a:off x="6035617" y="2933599"/>
            <a:ext cx="1591200" cy="1591200"/>
          </a:xfrm>
          <a:prstGeom prst="arc">
            <a:avLst>
              <a:gd name="adj1" fmla="val 10765585"/>
              <a:gd name="adj2" fmla="val 0"/>
            </a:avLst>
          </a:prstGeom>
          <a:ln w="203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3" name="弧形 22">
            <a:extLst>
              <a:ext uri="{FF2B5EF4-FFF2-40B4-BE49-F238E27FC236}">
                <a16:creationId xmlns:a16="http://schemas.microsoft.com/office/drawing/2014/main" id="{4154BFF5-2583-49E6-AF93-39CBCBD80A5B}"/>
              </a:ext>
            </a:extLst>
          </p:cNvPr>
          <p:cNvSpPr/>
          <p:nvPr/>
        </p:nvSpPr>
        <p:spPr>
          <a:xfrm>
            <a:off x="7624657" y="2933599"/>
            <a:ext cx="1591200" cy="1591200"/>
          </a:xfrm>
          <a:prstGeom prst="arc">
            <a:avLst>
              <a:gd name="adj1" fmla="val 10765585"/>
              <a:gd name="adj2" fmla="val 0"/>
            </a:avLst>
          </a:prstGeom>
          <a:ln w="2032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4" name="弧形 23">
            <a:extLst>
              <a:ext uri="{FF2B5EF4-FFF2-40B4-BE49-F238E27FC236}">
                <a16:creationId xmlns:a16="http://schemas.microsoft.com/office/drawing/2014/main" id="{526F36A2-37AE-4349-B693-4BFA544366A6}"/>
              </a:ext>
            </a:extLst>
          </p:cNvPr>
          <p:cNvSpPr/>
          <p:nvPr/>
        </p:nvSpPr>
        <p:spPr>
          <a:xfrm flipV="1">
            <a:off x="9213696" y="2933599"/>
            <a:ext cx="1591200" cy="1591200"/>
          </a:xfrm>
          <a:prstGeom prst="arc">
            <a:avLst>
              <a:gd name="adj1" fmla="val 10765585"/>
              <a:gd name="adj2" fmla="val 0"/>
            </a:avLst>
          </a:prstGeom>
          <a:ln w="203200" cap="rnd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25" name="等腰三角形 24">
            <a:extLst>
              <a:ext uri="{FF2B5EF4-FFF2-40B4-BE49-F238E27FC236}">
                <a16:creationId xmlns:a16="http://schemas.microsoft.com/office/drawing/2014/main" id="{6528670B-E28C-41DF-A674-9EF2FFF305D4}"/>
              </a:ext>
            </a:extLst>
          </p:cNvPr>
          <p:cNvSpPr/>
          <p:nvPr/>
        </p:nvSpPr>
        <p:spPr>
          <a:xfrm>
            <a:off x="10598108" y="3467261"/>
            <a:ext cx="408813" cy="35242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pic>
        <p:nvPicPr>
          <p:cNvPr id="30" name="图形 29">
            <a:extLst>
              <a:ext uri="{FF2B5EF4-FFF2-40B4-BE49-F238E27FC236}">
                <a16:creationId xmlns:a16="http://schemas.microsoft.com/office/drawing/2014/main" id="{9B217860-371B-4BE5-8C55-97E83C8A79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33782" y="3359477"/>
            <a:ext cx="650977" cy="716400"/>
          </a:xfrm>
          <a:prstGeom prst="rect">
            <a:avLst/>
          </a:prstGeom>
        </p:spPr>
      </p:pic>
      <p:pic>
        <p:nvPicPr>
          <p:cNvPr id="34" name="图形 33">
            <a:extLst>
              <a:ext uri="{FF2B5EF4-FFF2-40B4-BE49-F238E27FC236}">
                <a16:creationId xmlns:a16="http://schemas.microsoft.com/office/drawing/2014/main" id="{7B62A372-4605-47B1-A73C-487F7B3281C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5950" y="3359477"/>
            <a:ext cx="593624" cy="716400"/>
          </a:xfrm>
          <a:prstGeom prst="rect">
            <a:avLst/>
          </a:prstGeom>
        </p:spPr>
      </p:pic>
      <p:pic>
        <p:nvPicPr>
          <p:cNvPr id="36" name="图形 35">
            <a:extLst>
              <a:ext uri="{FF2B5EF4-FFF2-40B4-BE49-F238E27FC236}">
                <a16:creationId xmlns:a16="http://schemas.microsoft.com/office/drawing/2014/main" id="{C267DDAD-AAA6-46F7-9344-8F781BF49A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07243" y="3359477"/>
            <a:ext cx="895410" cy="716400"/>
          </a:xfrm>
          <a:prstGeom prst="rect">
            <a:avLst/>
          </a:prstGeom>
        </p:spPr>
      </p:pic>
      <p:pic>
        <p:nvPicPr>
          <p:cNvPr id="38" name="图形 37">
            <a:extLst>
              <a:ext uri="{FF2B5EF4-FFF2-40B4-BE49-F238E27FC236}">
                <a16:creationId xmlns:a16="http://schemas.microsoft.com/office/drawing/2014/main" id="{2E5E79F7-171F-4B51-AA02-BAC506A1A72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74199" y="3359477"/>
            <a:ext cx="716400" cy="716400"/>
          </a:xfrm>
          <a:prstGeom prst="rect">
            <a:avLst/>
          </a:prstGeom>
        </p:spPr>
      </p:pic>
      <p:pic>
        <p:nvPicPr>
          <p:cNvPr id="40" name="图形 39">
            <a:extLst>
              <a:ext uri="{FF2B5EF4-FFF2-40B4-BE49-F238E27FC236}">
                <a16:creationId xmlns:a16="http://schemas.microsoft.com/office/drawing/2014/main" id="{9CE65F04-E619-4871-85F3-F603E65F70B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39130" y="3359477"/>
            <a:ext cx="761406" cy="716400"/>
          </a:xfrm>
          <a:prstGeom prst="rect">
            <a:avLst/>
          </a:prstGeom>
        </p:spPr>
      </p:pic>
      <p:pic>
        <p:nvPicPr>
          <p:cNvPr id="52" name="图形 51">
            <a:extLst>
              <a:ext uri="{FF2B5EF4-FFF2-40B4-BE49-F238E27FC236}">
                <a16:creationId xmlns:a16="http://schemas.microsoft.com/office/drawing/2014/main" id="{36201F5A-C237-446A-A6F4-EB29DABF649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19848" y="3359477"/>
            <a:ext cx="726982" cy="716400"/>
          </a:xfrm>
          <a:prstGeom prst="rect">
            <a:avLst/>
          </a:prstGeom>
        </p:spPr>
      </p:pic>
      <p:sp>
        <p:nvSpPr>
          <p:cNvPr id="54" name="文本框 53">
            <a:extLst>
              <a:ext uri="{FF2B5EF4-FFF2-40B4-BE49-F238E27FC236}">
                <a16:creationId xmlns:a16="http://schemas.microsoft.com/office/drawing/2014/main" id="{BD49DDD6-399E-4C86-BD5C-0B7F20FB5008}"/>
              </a:ext>
            </a:extLst>
          </p:cNvPr>
          <p:cNvSpPr txBox="1"/>
          <p:nvPr/>
        </p:nvSpPr>
        <p:spPr>
          <a:xfrm>
            <a:off x="1498541" y="4849427"/>
            <a:ext cx="12142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B50F6"/>
                  </a:gs>
                  <a:gs pos="100000">
                    <a:srgbClr val="04FFAB"/>
                  </a:gs>
                </a:gsLst>
                <a:lin ang="8100000" scaled="1"/>
                <a:tileRect/>
              </a:gra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5" name="稿定PPT-1-1">
            <a:extLst>
              <a:ext uri="{FF2B5EF4-FFF2-40B4-BE49-F238E27FC236}">
                <a16:creationId xmlns:a16="http://schemas.microsoft.com/office/drawing/2014/main" id="{F7908B66-3218-4ABE-864A-0196D0E20172}"/>
              </a:ext>
            </a:extLst>
          </p:cNvPr>
          <p:cNvSpPr txBox="1"/>
          <p:nvPr/>
        </p:nvSpPr>
        <p:spPr>
          <a:xfrm>
            <a:off x="1021338" y="5227454"/>
            <a:ext cx="2168627" cy="7984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242AAE1A-3EF5-49AE-8FC6-633B92FDFCEA}"/>
              </a:ext>
            </a:extLst>
          </p:cNvPr>
          <p:cNvSpPr txBox="1"/>
          <p:nvPr/>
        </p:nvSpPr>
        <p:spPr>
          <a:xfrm>
            <a:off x="4668590" y="4849427"/>
            <a:ext cx="12142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B50F6"/>
                  </a:gs>
                  <a:gs pos="100000">
                    <a:srgbClr val="04FFAB"/>
                  </a:gs>
                </a:gsLst>
                <a:lin ang="8100000" scaled="1"/>
                <a:tileRect/>
              </a:gra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59" name="稿定PPT-1-1">
            <a:extLst>
              <a:ext uri="{FF2B5EF4-FFF2-40B4-BE49-F238E27FC236}">
                <a16:creationId xmlns:a16="http://schemas.microsoft.com/office/drawing/2014/main" id="{5CC5F139-E162-457C-BD4D-5B5012FD3AA0}"/>
              </a:ext>
            </a:extLst>
          </p:cNvPr>
          <p:cNvSpPr txBox="1"/>
          <p:nvPr/>
        </p:nvSpPr>
        <p:spPr>
          <a:xfrm>
            <a:off x="4191387" y="5227454"/>
            <a:ext cx="2168627" cy="7984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23261FD6-09F8-4A51-93AD-0ECE8A4B1E35}"/>
              </a:ext>
            </a:extLst>
          </p:cNvPr>
          <p:cNvSpPr txBox="1"/>
          <p:nvPr/>
        </p:nvSpPr>
        <p:spPr>
          <a:xfrm>
            <a:off x="7838638" y="4849427"/>
            <a:ext cx="12142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B50F6"/>
                  </a:gs>
                  <a:gs pos="100000">
                    <a:srgbClr val="04FFAB"/>
                  </a:gs>
                </a:gsLst>
                <a:lin ang="8100000" scaled="1"/>
                <a:tileRect/>
              </a:gra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65" name="稿定PPT-1-1">
            <a:extLst>
              <a:ext uri="{FF2B5EF4-FFF2-40B4-BE49-F238E27FC236}">
                <a16:creationId xmlns:a16="http://schemas.microsoft.com/office/drawing/2014/main" id="{2B69AB6D-EE9A-41F2-8FD2-3D019441BCFB}"/>
              </a:ext>
            </a:extLst>
          </p:cNvPr>
          <p:cNvSpPr txBox="1"/>
          <p:nvPr/>
        </p:nvSpPr>
        <p:spPr>
          <a:xfrm>
            <a:off x="7361435" y="5227454"/>
            <a:ext cx="2168627" cy="7984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AD84527F-62C0-4A4A-A149-D5C346C39EDB}"/>
              </a:ext>
            </a:extLst>
          </p:cNvPr>
          <p:cNvSpPr txBox="1"/>
          <p:nvPr/>
        </p:nvSpPr>
        <p:spPr>
          <a:xfrm>
            <a:off x="3086722" y="1374931"/>
            <a:ext cx="12142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B50F6"/>
                  </a:gs>
                  <a:gs pos="100000">
                    <a:srgbClr val="04FFAB"/>
                  </a:gs>
                </a:gsLst>
                <a:lin ang="8100000" scaled="1"/>
                <a:tileRect/>
              </a:gra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76" name="稿定PPT-1-1">
            <a:extLst>
              <a:ext uri="{FF2B5EF4-FFF2-40B4-BE49-F238E27FC236}">
                <a16:creationId xmlns:a16="http://schemas.microsoft.com/office/drawing/2014/main" id="{64AADAC4-E385-450B-8FCD-36FFF2CA420B}"/>
              </a:ext>
            </a:extLst>
          </p:cNvPr>
          <p:cNvSpPr txBox="1"/>
          <p:nvPr/>
        </p:nvSpPr>
        <p:spPr>
          <a:xfrm>
            <a:off x="2609519" y="1752958"/>
            <a:ext cx="2168627" cy="7984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BFC68EB2-92D8-4ADA-B230-FFF429BD6E22}"/>
              </a:ext>
            </a:extLst>
          </p:cNvPr>
          <p:cNvSpPr txBox="1"/>
          <p:nvPr/>
        </p:nvSpPr>
        <p:spPr>
          <a:xfrm>
            <a:off x="6267645" y="1374931"/>
            <a:ext cx="12142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B50F6"/>
                  </a:gs>
                  <a:gs pos="100000">
                    <a:srgbClr val="04FFAB"/>
                  </a:gs>
                </a:gsLst>
                <a:lin ang="8100000" scaled="1"/>
                <a:tileRect/>
              </a:gra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74" name="稿定PPT-1-1">
            <a:extLst>
              <a:ext uri="{FF2B5EF4-FFF2-40B4-BE49-F238E27FC236}">
                <a16:creationId xmlns:a16="http://schemas.microsoft.com/office/drawing/2014/main" id="{C675ADA9-EA58-4504-915D-06A165B8105B}"/>
              </a:ext>
            </a:extLst>
          </p:cNvPr>
          <p:cNvSpPr txBox="1"/>
          <p:nvPr/>
        </p:nvSpPr>
        <p:spPr>
          <a:xfrm>
            <a:off x="5790442" y="1752958"/>
            <a:ext cx="2168627" cy="7984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CF7D509F-9965-40EE-B02A-498E6F1F31C0}"/>
              </a:ext>
            </a:extLst>
          </p:cNvPr>
          <p:cNvSpPr txBox="1"/>
          <p:nvPr/>
        </p:nvSpPr>
        <p:spPr>
          <a:xfrm>
            <a:off x="9448567" y="1374931"/>
            <a:ext cx="12142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ea"/>
                <a:ea typeface="+mj-e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B50F6"/>
                    </a:gs>
                    <a:gs pos="100000">
                      <a:srgbClr val="04FFAB"/>
                    </a:gs>
                  </a:gsLst>
                  <a:lin ang="8100000" scaled="1"/>
                  <a:tileRect/>
                </a:gra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B50F6"/>
                  </a:gs>
                  <a:gs pos="100000">
                    <a:srgbClr val="04FFAB"/>
                  </a:gs>
                </a:gsLst>
                <a:lin ang="8100000" scaled="1"/>
                <a:tileRect/>
              </a:gra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72" name="稿定PPT-1-1">
            <a:extLst>
              <a:ext uri="{FF2B5EF4-FFF2-40B4-BE49-F238E27FC236}">
                <a16:creationId xmlns:a16="http://schemas.microsoft.com/office/drawing/2014/main" id="{E3BA54A2-D872-4FF8-822A-E5FC18FE3EE9}"/>
              </a:ext>
            </a:extLst>
          </p:cNvPr>
          <p:cNvSpPr txBox="1"/>
          <p:nvPr/>
        </p:nvSpPr>
        <p:spPr>
          <a:xfrm>
            <a:off x="8971364" y="1752958"/>
            <a:ext cx="2168627" cy="7984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设计师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思源宋体 Light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42" name="稿定PPT-4">
            <a:extLst>
              <a:ext uri="{FF2B5EF4-FFF2-40B4-BE49-F238E27FC236}">
                <a16:creationId xmlns:a16="http://schemas.microsoft.com/office/drawing/2014/main" id="{DFE28E02-8483-4A07-894D-5AEB77AE74A7}"/>
              </a:ext>
            </a:extLst>
          </p:cNvPr>
          <p:cNvSpPr txBox="1"/>
          <p:nvPr/>
        </p:nvSpPr>
        <p:spPr>
          <a:xfrm>
            <a:off x="807124" y="410531"/>
            <a:ext cx="3781482" cy="5819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设计师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PPT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宋体 Heavy" panose="02020900000000000000" pitchFamily="18" charset="-122"/>
                <a:ea typeface="思源宋体 Heavy" panose="02020900000000000000" pitchFamily="18" charset="-122"/>
                <a:cs typeface="+mn-cs"/>
              </a:rPr>
              <a:t>，海量素材持续更新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Heavy" panose="02020900000000000000" pitchFamily="18" charset="-122"/>
              <a:ea typeface="思源宋体 Heavy" panose="02020900000000000000" pitchFamily="18" charset="-122"/>
              <a:cs typeface="+mn-cs"/>
            </a:endParaRPr>
          </a:p>
        </p:txBody>
      </p:sp>
      <p:sp>
        <p:nvSpPr>
          <p:cNvPr id="43" name="稿定PPT-4">
            <a:extLst>
              <a:ext uri="{FF2B5EF4-FFF2-40B4-BE49-F238E27FC236}">
                <a16:creationId xmlns:a16="http://schemas.microsoft.com/office/drawing/2014/main" id="{9BEBF4D5-ED24-455D-AC3D-C3CA6AB4B95A}"/>
              </a:ext>
            </a:extLst>
          </p:cNvPr>
          <p:cNvSpPr txBox="1"/>
          <p:nvPr/>
        </p:nvSpPr>
        <p:spPr>
          <a:xfrm>
            <a:off x="807124" y="670820"/>
            <a:ext cx="4412400" cy="5819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44" name="弧形 1">
            <a:extLst>
              <a:ext uri="{FF2B5EF4-FFF2-40B4-BE49-F238E27FC236}">
                <a16:creationId xmlns:a16="http://schemas.microsoft.com/office/drawing/2014/main" id="{C7959DC6-C7BE-4F59-B15D-500812DE88D1}"/>
              </a:ext>
            </a:extLst>
          </p:cNvPr>
          <p:cNvSpPr/>
          <p:nvPr/>
        </p:nvSpPr>
        <p:spPr>
          <a:xfrm>
            <a:off x="525462" y="581209"/>
            <a:ext cx="203856" cy="203856"/>
          </a:xfrm>
          <a:prstGeom prst="arc">
            <a:avLst>
              <a:gd name="adj1" fmla="val 6763279"/>
              <a:gd name="adj2" fmla="val 4011750"/>
            </a:avLst>
          </a:prstGeom>
          <a:ln w="127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45" name="弧形 2">
            <a:extLst>
              <a:ext uri="{FF2B5EF4-FFF2-40B4-BE49-F238E27FC236}">
                <a16:creationId xmlns:a16="http://schemas.microsoft.com/office/drawing/2014/main" id="{5CE2897D-BC7D-4CFE-A2A9-5677DCD02CE9}"/>
              </a:ext>
            </a:extLst>
          </p:cNvPr>
          <p:cNvSpPr/>
          <p:nvPr/>
        </p:nvSpPr>
        <p:spPr>
          <a:xfrm>
            <a:off x="564390" y="620137"/>
            <a:ext cx="126000" cy="126000"/>
          </a:xfrm>
          <a:prstGeom prst="arc">
            <a:avLst>
              <a:gd name="adj1" fmla="val 7687600"/>
              <a:gd name="adj2" fmla="val 3102560"/>
            </a:avLst>
          </a:prstGeom>
          <a:ln w="127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46" name="椭圆 1">
            <a:extLst>
              <a:ext uri="{FF2B5EF4-FFF2-40B4-BE49-F238E27FC236}">
                <a16:creationId xmlns:a16="http://schemas.microsoft.com/office/drawing/2014/main" id="{AFC88235-36B3-479D-9A2E-160C1B5B62AD}"/>
              </a:ext>
            </a:extLst>
          </p:cNvPr>
          <p:cNvSpPr/>
          <p:nvPr/>
        </p:nvSpPr>
        <p:spPr>
          <a:xfrm>
            <a:off x="603268" y="649271"/>
            <a:ext cx="48245" cy="48245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47" name="矩形: 圆角 1">
            <a:extLst>
              <a:ext uri="{FF2B5EF4-FFF2-40B4-BE49-F238E27FC236}">
                <a16:creationId xmlns:a16="http://schemas.microsoft.com/office/drawing/2014/main" id="{065616E6-3348-4EA3-9081-A003A0802F67}"/>
              </a:ext>
            </a:extLst>
          </p:cNvPr>
          <p:cNvSpPr/>
          <p:nvPr/>
        </p:nvSpPr>
        <p:spPr>
          <a:xfrm>
            <a:off x="603268" y="705005"/>
            <a:ext cx="48245" cy="11677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974772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 descr="城市的高楼大厦&#10;&#10;描述已自动生成">
            <a:extLst>
              <a:ext uri="{FF2B5EF4-FFF2-40B4-BE49-F238E27FC236}">
                <a16:creationId xmlns:a16="http://schemas.microsoft.com/office/drawing/2014/main" id="{5849395F-F99F-4360-937D-B591B3B5EE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254" t="2231" r="31916" b="5465"/>
          <a:stretch>
            <a:fillRect/>
          </a:stretch>
        </p:blipFill>
        <p:spPr>
          <a:xfrm>
            <a:off x="1064348" y="3706478"/>
            <a:ext cx="1565409" cy="1509862"/>
          </a:xfrm>
          <a:custGeom>
            <a:avLst/>
            <a:gdLst>
              <a:gd name="connsiteX0" fmla="*/ 0 w 2232000"/>
              <a:gd name="connsiteY0" fmla="*/ 0 h 2152800"/>
              <a:gd name="connsiteX1" fmla="*/ 2232000 w 2232000"/>
              <a:gd name="connsiteY1" fmla="*/ 0 h 2152800"/>
              <a:gd name="connsiteX2" fmla="*/ 2232000 w 2232000"/>
              <a:gd name="connsiteY2" fmla="*/ 2152800 h 2152800"/>
              <a:gd name="connsiteX3" fmla="*/ 0 w 2232000"/>
              <a:gd name="connsiteY3" fmla="*/ 2152800 h 21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2152800">
                <a:moveTo>
                  <a:pt x="0" y="0"/>
                </a:moveTo>
                <a:lnTo>
                  <a:pt x="2232000" y="0"/>
                </a:lnTo>
                <a:lnTo>
                  <a:pt x="2232000" y="2152800"/>
                </a:lnTo>
                <a:lnTo>
                  <a:pt x="0" y="2152800"/>
                </a:lnTo>
                <a:close/>
              </a:path>
            </a:pathLst>
          </a:custGeom>
        </p:spPr>
      </p:pic>
      <p:sp>
        <p:nvSpPr>
          <p:cNvPr id="45" name="矩形: 圆角 1">
            <a:extLst>
              <a:ext uri="{FF2B5EF4-FFF2-40B4-BE49-F238E27FC236}">
                <a16:creationId xmlns:a16="http://schemas.microsoft.com/office/drawing/2014/main" id="{DBFBDF94-1E9A-48BD-99E2-9B765D8FA7C0}"/>
              </a:ext>
            </a:extLst>
          </p:cNvPr>
          <p:cNvSpPr/>
          <p:nvPr/>
        </p:nvSpPr>
        <p:spPr>
          <a:xfrm>
            <a:off x="1064348" y="3706478"/>
            <a:ext cx="1565409" cy="1509862"/>
          </a:xfrm>
          <a:prstGeom prst="roundRect">
            <a:avLst>
              <a:gd name="adj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DDD74C37-39F6-4AAC-B9C3-2A57D30F74C7}"/>
              </a:ext>
            </a:extLst>
          </p:cNvPr>
          <p:cNvSpPr txBox="1"/>
          <p:nvPr/>
        </p:nvSpPr>
        <p:spPr>
          <a:xfrm>
            <a:off x="943933" y="2514444"/>
            <a:ext cx="180623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52" name="稿定PPT-14-2">
            <a:extLst>
              <a:ext uri="{FF2B5EF4-FFF2-40B4-BE49-F238E27FC236}">
                <a16:creationId xmlns:a16="http://schemas.microsoft.com/office/drawing/2014/main" id="{2559F2AF-84D6-4358-A1AE-8A7AF80C048D}"/>
              </a:ext>
            </a:extLst>
          </p:cNvPr>
          <p:cNvSpPr txBox="1"/>
          <p:nvPr/>
        </p:nvSpPr>
        <p:spPr>
          <a:xfrm>
            <a:off x="863125" y="2776736"/>
            <a:ext cx="1991753" cy="6719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借助设计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4B967837-9CB1-4F29-8A01-C97557FD7F66}"/>
              </a:ext>
            </a:extLst>
          </p:cNvPr>
          <p:cNvSpPr txBox="1"/>
          <p:nvPr/>
        </p:nvSpPr>
        <p:spPr>
          <a:xfrm>
            <a:off x="1629269" y="2092232"/>
            <a:ext cx="435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gradFill>
                  <a:gsLst>
                    <a:gs pos="30000">
                      <a:schemeClr val="accent2"/>
                    </a:gs>
                    <a:gs pos="100000">
                      <a:srgbClr val="071161"/>
                    </a:gs>
                  </a:gsLst>
                  <a:lin ang="0" scaled="1"/>
                </a:gradFill>
                <a:latin typeface="Anton" panose="000005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0000">
                      <a:srgbClr val="0B1B9A"/>
                    </a:gs>
                    <a:gs pos="100000">
                      <a:srgbClr val="071161"/>
                    </a:gs>
                  </a:gsLst>
                  <a:lin ang="18900000" scaled="0"/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1</a:t>
            </a:r>
          </a:p>
        </p:txBody>
      </p:sp>
      <p:sp>
        <p:nvSpPr>
          <p:cNvPr id="56" name="弧形 55">
            <a:extLst>
              <a:ext uri="{FF2B5EF4-FFF2-40B4-BE49-F238E27FC236}">
                <a16:creationId xmlns:a16="http://schemas.microsoft.com/office/drawing/2014/main" id="{9CF83EEC-D44A-4F3D-9351-CBD17E5B3250}"/>
              </a:ext>
            </a:extLst>
          </p:cNvPr>
          <p:cNvSpPr/>
          <p:nvPr/>
        </p:nvSpPr>
        <p:spPr>
          <a:xfrm>
            <a:off x="1631052" y="1998625"/>
            <a:ext cx="432000" cy="432000"/>
          </a:xfrm>
          <a:prstGeom prst="arc">
            <a:avLst>
              <a:gd name="adj1" fmla="val 3659895"/>
              <a:gd name="adj2" fmla="val 152401"/>
            </a:avLst>
          </a:prstGeom>
          <a:ln w="12700" cap="rnd">
            <a:gradFill>
              <a:gsLst>
                <a:gs pos="0">
                  <a:schemeClr val="accent1"/>
                </a:gs>
                <a:gs pos="58000">
                  <a:schemeClr val="accent2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05188DAF-B3D2-4281-8395-DEED758F187E}"/>
              </a:ext>
            </a:extLst>
          </p:cNvPr>
          <p:cNvSpPr/>
          <p:nvPr/>
        </p:nvSpPr>
        <p:spPr>
          <a:xfrm rot="2700000">
            <a:off x="2012322" y="2313090"/>
            <a:ext cx="36000" cy="36000"/>
          </a:xfrm>
          <a:prstGeom prst="rect">
            <a:avLst/>
          </a:prstGeom>
          <a:gradFill>
            <a:gsLst>
              <a:gs pos="0">
                <a:schemeClr val="accent1"/>
              </a:gs>
              <a:gs pos="58000">
                <a:schemeClr val="accent2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31" name="图片 30" descr="夜晚的城市建筑&#10;&#10;描述已自动生成">
            <a:extLst>
              <a:ext uri="{FF2B5EF4-FFF2-40B4-BE49-F238E27FC236}">
                <a16:creationId xmlns:a16="http://schemas.microsoft.com/office/drawing/2014/main" id="{850B8D49-B556-4692-9EF4-EA02C76A2F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188822" y="2011635"/>
            <a:ext cx="1565409" cy="1509862"/>
          </a:xfrm>
          <a:custGeom>
            <a:avLst/>
            <a:gdLst>
              <a:gd name="connsiteX0" fmla="*/ 0 w 2232000"/>
              <a:gd name="connsiteY0" fmla="*/ 0 h 2152800"/>
              <a:gd name="connsiteX1" fmla="*/ 2232000 w 2232000"/>
              <a:gd name="connsiteY1" fmla="*/ 0 h 2152800"/>
              <a:gd name="connsiteX2" fmla="*/ 2232000 w 2232000"/>
              <a:gd name="connsiteY2" fmla="*/ 2152800 h 2152800"/>
              <a:gd name="connsiteX3" fmla="*/ 0 w 2232000"/>
              <a:gd name="connsiteY3" fmla="*/ 2152800 h 21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2152800">
                <a:moveTo>
                  <a:pt x="0" y="0"/>
                </a:moveTo>
                <a:lnTo>
                  <a:pt x="2232000" y="0"/>
                </a:lnTo>
                <a:lnTo>
                  <a:pt x="2232000" y="2152800"/>
                </a:lnTo>
                <a:lnTo>
                  <a:pt x="0" y="2152800"/>
                </a:lnTo>
                <a:close/>
              </a:path>
            </a:pathLst>
          </a:custGeom>
        </p:spPr>
      </p:pic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3F2C4CF2-AAE1-4700-B4CF-E9630C0F1850}"/>
              </a:ext>
            </a:extLst>
          </p:cNvPr>
          <p:cNvSpPr/>
          <p:nvPr/>
        </p:nvSpPr>
        <p:spPr>
          <a:xfrm>
            <a:off x="3188822" y="2011635"/>
            <a:ext cx="1565409" cy="1509862"/>
          </a:xfrm>
          <a:prstGeom prst="roundRect">
            <a:avLst>
              <a:gd name="adj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26B1F376-C3DD-48B9-BC43-36154DB4A4D9}"/>
              </a:ext>
            </a:extLst>
          </p:cNvPr>
          <p:cNvSpPr txBox="1"/>
          <p:nvPr/>
        </p:nvSpPr>
        <p:spPr>
          <a:xfrm>
            <a:off x="3068407" y="4209287"/>
            <a:ext cx="180623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96" name="稿定PPT-14-2">
            <a:extLst>
              <a:ext uri="{FF2B5EF4-FFF2-40B4-BE49-F238E27FC236}">
                <a16:creationId xmlns:a16="http://schemas.microsoft.com/office/drawing/2014/main" id="{977BC13A-6B09-4BB0-B6F3-8996410FF8C0}"/>
              </a:ext>
            </a:extLst>
          </p:cNvPr>
          <p:cNvSpPr txBox="1"/>
          <p:nvPr/>
        </p:nvSpPr>
        <p:spPr>
          <a:xfrm>
            <a:off x="2987599" y="4471579"/>
            <a:ext cx="1991753" cy="6719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借助设计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98" name="文本框 97">
            <a:extLst>
              <a:ext uri="{FF2B5EF4-FFF2-40B4-BE49-F238E27FC236}">
                <a16:creationId xmlns:a16="http://schemas.microsoft.com/office/drawing/2014/main" id="{6BCD3382-2204-424E-B830-EE0793B478D5}"/>
              </a:ext>
            </a:extLst>
          </p:cNvPr>
          <p:cNvSpPr txBox="1"/>
          <p:nvPr/>
        </p:nvSpPr>
        <p:spPr>
          <a:xfrm>
            <a:off x="3753743" y="3787075"/>
            <a:ext cx="435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gradFill>
                  <a:gsLst>
                    <a:gs pos="30000">
                      <a:schemeClr val="accent2"/>
                    </a:gs>
                    <a:gs pos="100000">
                      <a:srgbClr val="071161"/>
                    </a:gs>
                  </a:gsLst>
                  <a:lin ang="0" scaled="1"/>
                </a:gradFill>
                <a:latin typeface="Anton" panose="000005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0000">
                      <a:srgbClr val="0B1B9A"/>
                    </a:gs>
                    <a:gs pos="100000">
                      <a:srgbClr val="071161"/>
                    </a:gs>
                  </a:gsLst>
                  <a:lin ang="18900000" scaled="0"/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2</a:t>
            </a:r>
          </a:p>
        </p:txBody>
      </p:sp>
      <p:sp>
        <p:nvSpPr>
          <p:cNvPr id="100" name="弧形 99">
            <a:extLst>
              <a:ext uri="{FF2B5EF4-FFF2-40B4-BE49-F238E27FC236}">
                <a16:creationId xmlns:a16="http://schemas.microsoft.com/office/drawing/2014/main" id="{1BFDB3D1-B9C5-4917-BBE7-55D04188AD57}"/>
              </a:ext>
            </a:extLst>
          </p:cNvPr>
          <p:cNvSpPr/>
          <p:nvPr/>
        </p:nvSpPr>
        <p:spPr>
          <a:xfrm>
            <a:off x="3755526" y="3693468"/>
            <a:ext cx="432000" cy="432000"/>
          </a:xfrm>
          <a:prstGeom prst="arc">
            <a:avLst>
              <a:gd name="adj1" fmla="val 3659895"/>
              <a:gd name="adj2" fmla="val 152401"/>
            </a:avLst>
          </a:prstGeom>
          <a:ln w="12700" cap="rnd">
            <a:gradFill>
              <a:gsLst>
                <a:gs pos="0">
                  <a:schemeClr val="accent1"/>
                </a:gs>
                <a:gs pos="58000">
                  <a:schemeClr val="accent2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1" name="矩形 100">
            <a:extLst>
              <a:ext uri="{FF2B5EF4-FFF2-40B4-BE49-F238E27FC236}">
                <a16:creationId xmlns:a16="http://schemas.microsoft.com/office/drawing/2014/main" id="{8715B9BD-0BC6-4C38-8508-658EDBEA1666}"/>
              </a:ext>
            </a:extLst>
          </p:cNvPr>
          <p:cNvSpPr/>
          <p:nvPr/>
        </p:nvSpPr>
        <p:spPr>
          <a:xfrm rot="2700000">
            <a:off x="4136796" y="4007933"/>
            <a:ext cx="36000" cy="36000"/>
          </a:xfrm>
          <a:prstGeom prst="rect">
            <a:avLst/>
          </a:prstGeom>
          <a:gradFill>
            <a:gsLst>
              <a:gs pos="0">
                <a:schemeClr val="accent1"/>
              </a:gs>
              <a:gs pos="58000">
                <a:schemeClr val="accent2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34" name="图片 33" descr="建筑与房屋的城市空拍图&#10;&#10;描述已自动生成">
            <a:extLst>
              <a:ext uri="{FF2B5EF4-FFF2-40B4-BE49-F238E27FC236}">
                <a16:creationId xmlns:a16="http://schemas.microsoft.com/office/drawing/2014/main" id="{1F98EE72-9208-4049-BD19-5CAC72C56E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38" t="11569" r="34938" b="3232"/>
          <a:stretch>
            <a:fillRect/>
          </a:stretch>
        </p:blipFill>
        <p:spPr>
          <a:xfrm>
            <a:off x="5313296" y="3706478"/>
            <a:ext cx="1565409" cy="1509862"/>
          </a:xfrm>
          <a:custGeom>
            <a:avLst/>
            <a:gdLst>
              <a:gd name="connsiteX0" fmla="*/ 0 w 2232000"/>
              <a:gd name="connsiteY0" fmla="*/ 0 h 2152800"/>
              <a:gd name="connsiteX1" fmla="*/ 2232000 w 2232000"/>
              <a:gd name="connsiteY1" fmla="*/ 0 h 2152800"/>
              <a:gd name="connsiteX2" fmla="*/ 2232000 w 2232000"/>
              <a:gd name="connsiteY2" fmla="*/ 2152800 h 2152800"/>
              <a:gd name="connsiteX3" fmla="*/ 0 w 2232000"/>
              <a:gd name="connsiteY3" fmla="*/ 2152800 h 21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2152800">
                <a:moveTo>
                  <a:pt x="0" y="0"/>
                </a:moveTo>
                <a:lnTo>
                  <a:pt x="2232000" y="0"/>
                </a:lnTo>
                <a:lnTo>
                  <a:pt x="2232000" y="2152800"/>
                </a:lnTo>
                <a:lnTo>
                  <a:pt x="0" y="2152800"/>
                </a:lnTo>
                <a:close/>
              </a:path>
            </a:pathLst>
          </a:custGeom>
        </p:spPr>
      </p:pic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4548784D-CD4A-4B95-ABD7-A258C56260C9}"/>
              </a:ext>
            </a:extLst>
          </p:cNvPr>
          <p:cNvSpPr/>
          <p:nvPr/>
        </p:nvSpPr>
        <p:spPr>
          <a:xfrm>
            <a:off x="5313296" y="3706478"/>
            <a:ext cx="1565409" cy="1509862"/>
          </a:xfrm>
          <a:prstGeom prst="roundRect">
            <a:avLst>
              <a:gd name="adj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3" name="文本框 102">
            <a:extLst>
              <a:ext uri="{FF2B5EF4-FFF2-40B4-BE49-F238E27FC236}">
                <a16:creationId xmlns:a16="http://schemas.microsoft.com/office/drawing/2014/main" id="{A858D146-4C63-4A7A-AF4C-2EC3CAA83F2B}"/>
              </a:ext>
            </a:extLst>
          </p:cNvPr>
          <p:cNvSpPr txBox="1"/>
          <p:nvPr/>
        </p:nvSpPr>
        <p:spPr>
          <a:xfrm>
            <a:off x="5192881" y="2514444"/>
            <a:ext cx="180623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104" name="稿定PPT-14-2">
            <a:extLst>
              <a:ext uri="{FF2B5EF4-FFF2-40B4-BE49-F238E27FC236}">
                <a16:creationId xmlns:a16="http://schemas.microsoft.com/office/drawing/2014/main" id="{5EE396CE-9A08-4A3D-8D3D-6DE5CBB1A379}"/>
              </a:ext>
            </a:extLst>
          </p:cNvPr>
          <p:cNvSpPr txBox="1"/>
          <p:nvPr/>
        </p:nvSpPr>
        <p:spPr>
          <a:xfrm>
            <a:off x="5112073" y="2776736"/>
            <a:ext cx="1991753" cy="6719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借助设计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106" name="文本框 105">
            <a:extLst>
              <a:ext uri="{FF2B5EF4-FFF2-40B4-BE49-F238E27FC236}">
                <a16:creationId xmlns:a16="http://schemas.microsoft.com/office/drawing/2014/main" id="{FF725EC4-4E24-4038-9F6A-586B8280E20A}"/>
              </a:ext>
            </a:extLst>
          </p:cNvPr>
          <p:cNvSpPr txBox="1"/>
          <p:nvPr/>
        </p:nvSpPr>
        <p:spPr>
          <a:xfrm>
            <a:off x="5878217" y="2092232"/>
            <a:ext cx="435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gradFill>
                  <a:gsLst>
                    <a:gs pos="30000">
                      <a:schemeClr val="accent2"/>
                    </a:gs>
                    <a:gs pos="100000">
                      <a:srgbClr val="071161"/>
                    </a:gs>
                  </a:gsLst>
                  <a:lin ang="0" scaled="1"/>
                </a:gradFill>
                <a:latin typeface="Anton" panose="000005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0000">
                      <a:srgbClr val="0B1B9A"/>
                    </a:gs>
                    <a:gs pos="100000">
                      <a:srgbClr val="071161"/>
                    </a:gs>
                  </a:gsLst>
                  <a:lin ang="18900000" scaled="0"/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3</a:t>
            </a:r>
          </a:p>
        </p:txBody>
      </p:sp>
      <p:sp>
        <p:nvSpPr>
          <p:cNvPr id="108" name="弧形 107">
            <a:extLst>
              <a:ext uri="{FF2B5EF4-FFF2-40B4-BE49-F238E27FC236}">
                <a16:creationId xmlns:a16="http://schemas.microsoft.com/office/drawing/2014/main" id="{5B8E285F-5C38-43B7-9425-F06846900F90}"/>
              </a:ext>
            </a:extLst>
          </p:cNvPr>
          <p:cNvSpPr/>
          <p:nvPr/>
        </p:nvSpPr>
        <p:spPr>
          <a:xfrm>
            <a:off x="5880000" y="1998625"/>
            <a:ext cx="432000" cy="432000"/>
          </a:xfrm>
          <a:prstGeom prst="arc">
            <a:avLst>
              <a:gd name="adj1" fmla="val 3659895"/>
              <a:gd name="adj2" fmla="val 152401"/>
            </a:avLst>
          </a:prstGeom>
          <a:ln w="12700" cap="rnd">
            <a:gradFill>
              <a:gsLst>
                <a:gs pos="0">
                  <a:schemeClr val="accent1"/>
                </a:gs>
                <a:gs pos="58000">
                  <a:schemeClr val="accent2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95FD848E-B9B8-431E-BA95-0485AFB92A11}"/>
              </a:ext>
            </a:extLst>
          </p:cNvPr>
          <p:cNvSpPr/>
          <p:nvPr/>
        </p:nvSpPr>
        <p:spPr>
          <a:xfrm rot="2700000">
            <a:off x="6261270" y="2313090"/>
            <a:ext cx="36000" cy="36000"/>
          </a:xfrm>
          <a:prstGeom prst="rect">
            <a:avLst/>
          </a:prstGeom>
          <a:gradFill>
            <a:gsLst>
              <a:gs pos="0">
                <a:schemeClr val="accent1"/>
              </a:gs>
              <a:gs pos="58000">
                <a:schemeClr val="accent2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39" name="图片 38" descr="夜晚建筑亮着灯的城市&#10;&#10;描述已自动生成">
            <a:extLst>
              <a:ext uri="{FF2B5EF4-FFF2-40B4-BE49-F238E27FC236}">
                <a16:creationId xmlns:a16="http://schemas.microsoft.com/office/drawing/2014/main" id="{4E2A40C2-426F-485C-BD82-1244AEDC329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1110" t="786" b="39985"/>
          <a:stretch>
            <a:fillRect/>
          </a:stretch>
        </p:blipFill>
        <p:spPr>
          <a:xfrm>
            <a:off x="7437792" y="2011635"/>
            <a:ext cx="1565365" cy="1509862"/>
          </a:xfrm>
          <a:custGeom>
            <a:avLst/>
            <a:gdLst>
              <a:gd name="connsiteX0" fmla="*/ 0 w 2231937"/>
              <a:gd name="connsiteY0" fmla="*/ 0 h 2152800"/>
              <a:gd name="connsiteX1" fmla="*/ 2231937 w 2231937"/>
              <a:gd name="connsiteY1" fmla="*/ 0 h 2152800"/>
              <a:gd name="connsiteX2" fmla="*/ 2231937 w 2231937"/>
              <a:gd name="connsiteY2" fmla="*/ 2152800 h 2152800"/>
              <a:gd name="connsiteX3" fmla="*/ 0 w 2231937"/>
              <a:gd name="connsiteY3" fmla="*/ 2152800 h 21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1937" h="2152800">
                <a:moveTo>
                  <a:pt x="0" y="0"/>
                </a:moveTo>
                <a:lnTo>
                  <a:pt x="2231937" y="0"/>
                </a:lnTo>
                <a:lnTo>
                  <a:pt x="2231937" y="2152800"/>
                </a:lnTo>
                <a:lnTo>
                  <a:pt x="0" y="2152800"/>
                </a:lnTo>
                <a:close/>
              </a:path>
            </a:pathLst>
          </a:custGeom>
        </p:spPr>
      </p:pic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48B4E5F8-A5D4-44B2-A7A5-C0DAFBB2BEA3}"/>
              </a:ext>
            </a:extLst>
          </p:cNvPr>
          <p:cNvSpPr/>
          <p:nvPr/>
        </p:nvSpPr>
        <p:spPr>
          <a:xfrm>
            <a:off x="7437791" y="2011635"/>
            <a:ext cx="1565365" cy="1509862"/>
          </a:xfrm>
          <a:prstGeom prst="roundRect">
            <a:avLst>
              <a:gd name="adj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A166D7C7-D14F-4B22-8BDE-AE1CA9929234}"/>
              </a:ext>
            </a:extLst>
          </p:cNvPr>
          <p:cNvSpPr txBox="1"/>
          <p:nvPr/>
        </p:nvSpPr>
        <p:spPr>
          <a:xfrm>
            <a:off x="7317355" y="4209287"/>
            <a:ext cx="180623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120" name="稿定PPT-14-2">
            <a:extLst>
              <a:ext uri="{FF2B5EF4-FFF2-40B4-BE49-F238E27FC236}">
                <a16:creationId xmlns:a16="http://schemas.microsoft.com/office/drawing/2014/main" id="{BF9D8345-D370-4C69-A0C5-72B4BA9D1CA8}"/>
              </a:ext>
            </a:extLst>
          </p:cNvPr>
          <p:cNvSpPr txBox="1"/>
          <p:nvPr/>
        </p:nvSpPr>
        <p:spPr>
          <a:xfrm>
            <a:off x="7236547" y="4471579"/>
            <a:ext cx="1991753" cy="6719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借助设计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833DB458-3807-480C-BFEC-C2518D7BD1F6}"/>
              </a:ext>
            </a:extLst>
          </p:cNvPr>
          <p:cNvSpPr txBox="1"/>
          <p:nvPr/>
        </p:nvSpPr>
        <p:spPr>
          <a:xfrm>
            <a:off x="8002691" y="3787075"/>
            <a:ext cx="435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gradFill>
                  <a:gsLst>
                    <a:gs pos="30000">
                      <a:schemeClr val="accent2"/>
                    </a:gs>
                    <a:gs pos="100000">
                      <a:srgbClr val="071161"/>
                    </a:gs>
                  </a:gsLst>
                  <a:lin ang="0" scaled="1"/>
                </a:gradFill>
                <a:latin typeface="Anton" panose="000005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0000">
                      <a:srgbClr val="0B1B9A"/>
                    </a:gs>
                    <a:gs pos="100000">
                      <a:srgbClr val="071161"/>
                    </a:gs>
                  </a:gsLst>
                  <a:lin ang="18900000" scaled="0"/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4</a:t>
            </a:r>
          </a:p>
        </p:txBody>
      </p:sp>
      <p:sp>
        <p:nvSpPr>
          <p:cNvPr id="124" name="弧形 123">
            <a:extLst>
              <a:ext uri="{FF2B5EF4-FFF2-40B4-BE49-F238E27FC236}">
                <a16:creationId xmlns:a16="http://schemas.microsoft.com/office/drawing/2014/main" id="{C795C958-8278-4771-AB2D-E1A5152BD2F9}"/>
              </a:ext>
            </a:extLst>
          </p:cNvPr>
          <p:cNvSpPr/>
          <p:nvPr/>
        </p:nvSpPr>
        <p:spPr>
          <a:xfrm>
            <a:off x="8004474" y="3693468"/>
            <a:ext cx="432000" cy="432000"/>
          </a:xfrm>
          <a:prstGeom prst="arc">
            <a:avLst>
              <a:gd name="adj1" fmla="val 3659895"/>
              <a:gd name="adj2" fmla="val 152401"/>
            </a:avLst>
          </a:prstGeom>
          <a:ln w="12700" cap="rnd">
            <a:gradFill>
              <a:gsLst>
                <a:gs pos="0">
                  <a:schemeClr val="accent1"/>
                </a:gs>
                <a:gs pos="58000">
                  <a:schemeClr val="accent2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25" name="矩形 124">
            <a:extLst>
              <a:ext uri="{FF2B5EF4-FFF2-40B4-BE49-F238E27FC236}">
                <a16:creationId xmlns:a16="http://schemas.microsoft.com/office/drawing/2014/main" id="{283CFFBE-79F5-44D3-9FEB-91F62ACA5D64}"/>
              </a:ext>
            </a:extLst>
          </p:cNvPr>
          <p:cNvSpPr/>
          <p:nvPr/>
        </p:nvSpPr>
        <p:spPr>
          <a:xfrm rot="2700000">
            <a:off x="8385744" y="4007933"/>
            <a:ext cx="36000" cy="36000"/>
          </a:xfrm>
          <a:prstGeom prst="rect">
            <a:avLst/>
          </a:prstGeom>
          <a:gradFill>
            <a:gsLst>
              <a:gs pos="0">
                <a:schemeClr val="accent1"/>
              </a:gs>
              <a:gs pos="58000">
                <a:schemeClr val="accent2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42" name="图片 41" descr="夜晚的城市景色&#10;&#10;描述已自动生成">
            <a:extLst>
              <a:ext uri="{FF2B5EF4-FFF2-40B4-BE49-F238E27FC236}">
                <a16:creationId xmlns:a16="http://schemas.microsoft.com/office/drawing/2014/main" id="{F71C7643-4E0A-4725-A6BC-823A2A9ECA5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9111" t="2545" r="18361" b="35919"/>
          <a:stretch>
            <a:fillRect/>
          </a:stretch>
        </p:blipFill>
        <p:spPr>
          <a:xfrm>
            <a:off x="9562244" y="3706478"/>
            <a:ext cx="1565409" cy="1509862"/>
          </a:xfrm>
          <a:custGeom>
            <a:avLst/>
            <a:gdLst>
              <a:gd name="connsiteX0" fmla="*/ 0 w 2232000"/>
              <a:gd name="connsiteY0" fmla="*/ 0 h 2152800"/>
              <a:gd name="connsiteX1" fmla="*/ 2232000 w 2232000"/>
              <a:gd name="connsiteY1" fmla="*/ 0 h 2152800"/>
              <a:gd name="connsiteX2" fmla="*/ 2232000 w 2232000"/>
              <a:gd name="connsiteY2" fmla="*/ 2152800 h 2152800"/>
              <a:gd name="connsiteX3" fmla="*/ 0 w 2232000"/>
              <a:gd name="connsiteY3" fmla="*/ 2152800 h 21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2152800">
                <a:moveTo>
                  <a:pt x="0" y="0"/>
                </a:moveTo>
                <a:lnTo>
                  <a:pt x="2232000" y="0"/>
                </a:lnTo>
                <a:lnTo>
                  <a:pt x="2232000" y="2152800"/>
                </a:lnTo>
                <a:lnTo>
                  <a:pt x="0" y="2152800"/>
                </a:lnTo>
                <a:close/>
              </a:path>
            </a:pathLst>
          </a:custGeom>
        </p:spPr>
      </p:pic>
      <p:sp>
        <p:nvSpPr>
          <p:cNvPr id="49" name="矩形: 圆角 48">
            <a:extLst>
              <a:ext uri="{FF2B5EF4-FFF2-40B4-BE49-F238E27FC236}">
                <a16:creationId xmlns:a16="http://schemas.microsoft.com/office/drawing/2014/main" id="{A0BB2BFC-BEFB-4221-8317-B79143DE972F}"/>
              </a:ext>
            </a:extLst>
          </p:cNvPr>
          <p:cNvSpPr/>
          <p:nvPr/>
        </p:nvSpPr>
        <p:spPr>
          <a:xfrm>
            <a:off x="9562244" y="3706478"/>
            <a:ext cx="1565409" cy="1509862"/>
          </a:xfrm>
          <a:prstGeom prst="roundRect">
            <a:avLst>
              <a:gd name="adj" fmla="val 0"/>
            </a:avLst>
          </a:prstGeom>
          <a:solidFill>
            <a:schemeClr val="accent1"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1" name="文本框 110">
            <a:extLst>
              <a:ext uri="{FF2B5EF4-FFF2-40B4-BE49-F238E27FC236}">
                <a16:creationId xmlns:a16="http://schemas.microsoft.com/office/drawing/2014/main" id="{E1D7A4BD-3621-4545-A81E-C29A165EDDB8}"/>
              </a:ext>
            </a:extLst>
          </p:cNvPr>
          <p:cNvSpPr txBox="1"/>
          <p:nvPr/>
        </p:nvSpPr>
        <p:spPr>
          <a:xfrm>
            <a:off x="9441829" y="2514444"/>
            <a:ext cx="180623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71161"/>
                    </a:gs>
                    <a:gs pos="74000">
                      <a:srgbClr val="0B1B9A"/>
                    </a:gs>
                    <a:gs pos="100000">
                      <a:srgbClr val="071161">
                        <a:lumMod val="60000"/>
                        <a:lumOff val="40000"/>
                      </a:srgbClr>
                    </a:gs>
                  </a:gsLst>
                  <a:lin ang="18900000" scaled="0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112" name="稿定PPT-14-2">
            <a:extLst>
              <a:ext uri="{FF2B5EF4-FFF2-40B4-BE49-F238E27FC236}">
                <a16:creationId xmlns:a16="http://schemas.microsoft.com/office/drawing/2014/main" id="{0941D110-4C74-4EA9-A705-9A172B4A10E2}"/>
              </a:ext>
            </a:extLst>
          </p:cNvPr>
          <p:cNvSpPr txBox="1"/>
          <p:nvPr/>
        </p:nvSpPr>
        <p:spPr>
          <a:xfrm>
            <a:off x="9361021" y="2776736"/>
            <a:ext cx="1991753" cy="6719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marR="0" lvl="0" indent="0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借助设计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sp>
        <p:nvSpPr>
          <p:cNvPr id="114" name="文本框 113">
            <a:extLst>
              <a:ext uri="{FF2B5EF4-FFF2-40B4-BE49-F238E27FC236}">
                <a16:creationId xmlns:a16="http://schemas.microsoft.com/office/drawing/2014/main" id="{91899A8D-AA8A-4E83-B4CA-81F112C02768}"/>
              </a:ext>
            </a:extLst>
          </p:cNvPr>
          <p:cNvSpPr txBox="1"/>
          <p:nvPr/>
        </p:nvSpPr>
        <p:spPr>
          <a:xfrm>
            <a:off x="10127165" y="2092232"/>
            <a:ext cx="435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9600">
                <a:gradFill>
                  <a:gsLst>
                    <a:gs pos="30000">
                      <a:schemeClr val="accent2"/>
                    </a:gs>
                    <a:gs pos="100000">
                      <a:srgbClr val="071161"/>
                    </a:gs>
                  </a:gsLst>
                  <a:lin ang="0" scaled="1"/>
                </a:gradFill>
                <a:latin typeface="Anton" panose="000005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30000">
                      <a:srgbClr val="0B1B9A"/>
                    </a:gs>
                    <a:gs pos="100000">
                      <a:srgbClr val="071161"/>
                    </a:gs>
                  </a:gsLst>
                  <a:lin ang="18900000" scaled="0"/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5</a:t>
            </a:r>
          </a:p>
        </p:txBody>
      </p:sp>
      <p:sp>
        <p:nvSpPr>
          <p:cNvPr id="116" name="弧形 115">
            <a:extLst>
              <a:ext uri="{FF2B5EF4-FFF2-40B4-BE49-F238E27FC236}">
                <a16:creationId xmlns:a16="http://schemas.microsoft.com/office/drawing/2014/main" id="{DD6ECF8D-027A-4B1B-BF7A-D582E3EAFF48}"/>
              </a:ext>
            </a:extLst>
          </p:cNvPr>
          <p:cNvSpPr/>
          <p:nvPr/>
        </p:nvSpPr>
        <p:spPr>
          <a:xfrm>
            <a:off x="10128948" y="1998625"/>
            <a:ext cx="432000" cy="432000"/>
          </a:xfrm>
          <a:prstGeom prst="arc">
            <a:avLst>
              <a:gd name="adj1" fmla="val 3659895"/>
              <a:gd name="adj2" fmla="val 152401"/>
            </a:avLst>
          </a:prstGeom>
          <a:ln w="12700" cap="rnd">
            <a:gradFill>
              <a:gsLst>
                <a:gs pos="0">
                  <a:schemeClr val="accent1"/>
                </a:gs>
                <a:gs pos="58000">
                  <a:schemeClr val="accent2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7" name="矩形 116">
            <a:extLst>
              <a:ext uri="{FF2B5EF4-FFF2-40B4-BE49-F238E27FC236}">
                <a16:creationId xmlns:a16="http://schemas.microsoft.com/office/drawing/2014/main" id="{E85C50A1-8C40-41DA-83B0-10736896A991}"/>
              </a:ext>
            </a:extLst>
          </p:cNvPr>
          <p:cNvSpPr/>
          <p:nvPr/>
        </p:nvSpPr>
        <p:spPr>
          <a:xfrm rot="2700000">
            <a:off x="10510218" y="2313090"/>
            <a:ext cx="36000" cy="36000"/>
          </a:xfrm>
          <a:prstGeom prst="rect">
            <a:avLst/>
          </a:prstGeom>
          <a:gradFill>
            <a:gsLst>
              <a:gs pos="0">
                <a:schemeClr val="accent1"/>
              </a:gs>
              <a:gs pos="58000">
                <a:schemeClr val="accent2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9" name="稿定PPT-4">
            <a:extLst>
              <a:ext uri="{FF2B5EF4-FFF2-40B4-BE49-F238E27FC236}">
                <a16:creationId xmlns:a16="http://schemas.microsoft.com/office/drawing/2014/main" id="{C5C86A97-AD23-42AB-8280-D3F5687C47E4}"/>
              </a:ext>
            </a:extLst>
          </p:cNvPr>
          <p:cNvSpPr txBox="1"/>
          <p:nvPr/>
        </p:nvSpPr>
        <p:spPr>
          <a:xfrm>
            <a:off x="931995" y="591639"/>
            <a:ext cx="3418126" cy="2762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 lnSpcReduction="10000"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071161"/>
                    </a:gs>
                    <a:gs pos="100000">
                      <a:srgbClr val="0B1B9A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071161"/>
                    </a:gs>
                    <a:gs pos="100000">
                      <a:srgbClr val="0B1B9A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071161"/>
                    </a:gs>
                    <a:gs pos="100000">
                      <a:srgbClr val="0B1B9A"/>
                    </a:gs>
                  </a:gsLst>
                  <a:lin ang="5400000" scaled="1"/>
                </a:gra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海量素材持续更新</a:t>
            </a:r>
            <a:endParaRPr kumimoji="0" lang="en-US" sz="1900" b="1" i="0" u="none" strike="noStrike" kern="1200" cap="none" spc="0" normalizeH="0" baseline="0" noProof="0" dirty="0">
              <a:ln>
                <a:noFill/>
              </a:ln>
              <a:gradFill>
                <a:gsLst>
                  <a:gs pos="10000">
                    <a:srgbClr val="071161"/>
                  </a:gs>
                  <a:gs pos="100000">
                    <a:srgbClr val="0B1B9A"/>
                  </a:gs>
                </a:gsLst>
                <a:lin ang="5400000" scaled="1"/>
              </a:gra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70" name="稿定PPT-4">
            <a:extLst>
              <a:ext uri="{FF2B5EF4-FFF2-40B4-BE49-F238E27FC236}">
                <a16:creationId xmlns:a16="http://schemas.microsoft.com/office/drawing/2014/main" id="{AB01A1A7-A835-414E-82AB-E719D29BA02F}"/>
              </a:ext>
            </a:extLst>
          </p:cNvPr>
          <p:cNvSpPr txBox="1"/>
          <p:nvPr/>
        </p:nvSpPr>
        <p:spPr>
          <a:xfrm>
            <a:off x="931995" y="876337"/>
            <a:ext cx="5096192" cy="1988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">
                      <a:srgbClr val="071161"/>
                    </a:gs>
                    <a:gs pos="100000">
                      <a:srgbClr val="0B1B9A"/>
                    </a:gs>
                  </a:gsLst>
                  <a:lin ang="5400000" scaled="1"/>
                </a:gra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71" name="弧形 70">
            <a:extLst>
              <a:ext uri="{FF2B5EF4-FFF2-40B4-BE49-F238E27FC236}">
                <a16:creationId xmlns:a16="http://schemas.microsoft.com/office/drawing/2014/main" id="{D7F9F04A-3047-4B70-9BA1-F7811AF95E51}"/>
              </a:ext>
            </a:extLst>
          </p:cNvPr>
          <p:cNvSpPr/>
          <p:nvPr/>
        </p:nvSpPr>
        <p:spPr>
          <a:xfrm>
            <a:off x="520554" y="539567"/>
            <a:ext cx="276225" cy="276225"/>
          </a:xfrm>
          <a:prstGeom prst="arc">
            <a:avLst>
              <a:gd name="adj1" fmla="val 4471096"/>
              <a:gd name="adj2" fmla="val 21140000"/>
            </a:avLst>
          </a:prstGeom>
          <a:ln w="127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2" name="椭圆 71">
            <a:extLst>
              <a:ext uri="{FF2B5EF4-FFF2-40B4-BE49-F238E27FC236}">
                <a16:creationId xmlns:a16="http://schemas.microsoft.com/office/drawing/2014/main" id="{E4E1A7CD-93B9-45A6-AE13-7E4D085F5DC8}"/>
              </a:ext>
            </a:extLst>
          </p:cNvPr>
          <p:cNvSpPr/>
          <p:nvPr/>
        </p:nvSpPr>
        <p:spPr>
          <a:xfrm>
            <a:off x="745795" y="733846"/>
            <a:ext cx="50984" cy="5098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73" name="椭圆 72">
            <a:extLst>
              <a:ext uri="{FF2B5EF4-FFF2-40B4-BE49-F238E27FC236}">
                <a16:creationId xmlns:a16="http://schemas.microsoft.com/office/drawing/2014/main" id="{80C53647-720D-4F56-8782-699FE3E8D433}"/>
              </a:ext>
            </a:extLst>
          </p:cNvPr>
          <p:cNvSpPr/>
          <p:nvPr/>
        </p:nvSpPr>
        <p:spPr>
          <a:xfrm>
            <a:off x="596403" y="615416"/>
            <a:ext cx="124527" cy="124527"/>
          </a:xfrm>
          <a:prstGeom prst="ellipse">
            <a:avLst/>
          </a:prstGeom>
          <a:solidFill>
            <a:srgbClr val="FA7E2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43006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93CCB6A0-5F8C-45FE-99D1-CE9DB197596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3100">
                <a:schemeClr val="accent2"/>
              </a:gs>
              <a:gs pos="10000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cs typeface="+mn-cs"/>
            </a:endParaRPr>
          </a:p>
        </p:txBody>
      </p:sp>
      <p:sp>
        <p:nvSpPr>
          <p:cNvPr id="50" name="任意多边形: 形状 1">
            <a:extLst>
              <a:ext uri="{FF2B5EF4-FFF2-40B4-BE49-F238E27FC236}">
                <a16:creationId xmlns:a16="http://schemas.microsoft.com/office/drawing/2014/main" id="{27379DCD-3879-4CDB-A2F6-DD51F8EBE571}"/>
              </a:ext>
            </a:extLst>
          </p:cNvPr>
          <p:cNvSpPr/>
          <p:nvPr/>
        </p:nvSpPr>
        <p:spPr>
          <a:xfrm>
            <a:off x="0" y="-6352"/>
            <a:ext cx="7168336" cy="6864353"/>
          </a:xfrm>
          <a:custGeom>
            <a:avLst/>
            <a:gdLst>
              <a:gd name="connsiteX0" fmla="*/ 0 w 7168336"/>
              <a:gd name="connsiteY0" fmla="*/ 0 h 6864353"/>
              <a:gd name="connsiteX1" fmla="*/ 6680839 w 7168336"/>
              <a:gd name="connsiteY1" fmla="*/ 0 h 6864353"/>
              <a:gd name="connsiteX2" fmla="*/ 6733631 w 7168336"/>
              <a:gd name="connsiteY2" fmla="*/ 25943 h 6864353"/>
              <a:gd name="connsiteX3" fmla="*/ 6972300 w 7168336"/>
              <a:gd name="connsiteY3" fmla="*/ 177803 h 6864353"/>
              <a:gd name="connsiteX4" fmla="*/ 4514850 w 7168336"/>
              <a:gd name="connsiteY4" fmla="*/ 3282953 h 6864353"/>
              <a:gd name="connsiteX5" fmla="*/ 4210050 w 7168336"/>
              <a:gd name="connsiteY5" fmla="*/ 5664203 h 6864353"/>
              <a:gd name="connsiteX6" fmla="*/ 3456961 w 7168336"/>
              <a:gd name="connsiteY6" fmla="*/ 6811873 h 6864353"/>
              <a:gd name="connsiteX7" fmla="*/ 3414793 w 7168336"/>
              <a:gd name="connsiteY7" fmla="*/ 6864353 h 6864353"/>
              <a:gd name="connsiteX8" fmla="*/ 0 w 7168336"/>
              <a:gd name="connsiteY8" fmla="*/ 6864353 h 6864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68336" h="6864353">
                <a:moveTo>
                  <a:pt x="0" y="0"/>
                </a:moveTo>
                <a:lnTo>
                  <a:pt x="6680839" y="0"/>
                </a:lnTo>
                <a:lnTo>
                  <a:pt x="6733631" y="25943"/>
                </a:lnTo>
                <a:cubicBezTo>
                  <a:pt x="6830864" y="77443"/>
                  <a:pt x="6911182" y="128194"/>
                  <a:pt x="6972300" y="177803"/>
                </a:cubicBezTo>
                <a:cubicBezTo>
                  <a:pt x="7950200" y="971553"/>
                  <a:pt x="4975225" y="2368553"/>
                  <a:pt x="4514850" y="3282953"/>
                </a:cubicBezTo>
                <a:cubicBezTo>
                  <a:pt x="4054475" y="4197353"/>
                  <a:pt x="4413250" y="5041903"/>
                  <a:pt x="4210050" y="5664203"/>
                </a:cubicBezTo>
                <a:cubicBezTo>
                  <a:pt x="4032250" y="6208716"/>
                  <a:pt x="3813126" y="6376445"/>
                  <a:pt x="3456961" y="6811873"/>
                </a:cubicBezTo>
                <a:lnTo>
                  <a:pt x="3414793" y="6864353"/>
                </a:lnTo>
                <a:lnTo>
                  <a:pt x="0" y="686435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53" name="图片 1" descr="穿着西装笔挺的男子手插着腰&#10;&#10;描述已自动生成">
            <a:extLst>
              <a:ext uri="{FF2B5EF4-FFF2-40B4-BE49-F238E27FC236}">
                <a16:creationId xmlns:a16="http://schemas.microsoft.com/office/drawing/2014/main" id="{3CF15D3C-184B-4EC3-B9AC-A97A6D0439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90" t="14216" r="30279" b="44259"/>
          <a:stretch>
            <a:fillRect/>
          </a:stretch>
        </p:blipFill>
        <p:spPr>
          <a:xfrm flipH="1">
            <a:off x="882885" y="1307254"/>
            <a:ext cx="3941644" cy="5550747"/>
          </a:xfrm>
          <a:custGeom>
            <a:avLst/>
            <a:gdLst>
              <a:gd name="connsiteX0" fmla="*/ 3941644 w 3941644"/>
              <a:gd name="connsiteY0" fmla="*/ 0 h 5550747"/>
              <a:gd name="connsiteX1" fmla="*/ 0 w 3941644"/>
              <a:gd name="connsiteY1" fmla="*/ 0 h 5550747"/>
              <a:gd name="connsiteX2" fmla="*/ 0 w 3941644"/>
              <a:gd name="connsiteY2" fmla="*/ 5550747 h 5550747"/>
              <a:gd name="connsiteX3" fmla="*/ 3941644 w 3941644"/>
              <a:gd name="connsiteY3" fmla="*/ 5550747 h 5550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41644" h="5550747">
                <a:moveTo>
                  <a:pt x="3941644" y="0"/>
                </a:moveTo>
                <a:lnTo>
                  <a:pt x="0" y="0"/>
                </a:lnTo>
                <a:lnTo>
                  <a:pt x="0" y="5550747"/>
                </a:lnTo>
                <a:lnTo>
                  <a:pt x="3941644" y="5550747"/>
                </a:lnTo>
                <a:close/>
              </a:path>
            </a:pathLst>
          </a:cu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95EFCD4B-D2B1-471F-802B-512834428371}"/>
              </a:ext>
            </a:extLst>
          </p:cNvPr>
          <p:cNvSpPr txBox="1"/>
          <p:nvPr/>
        </p:nvSpPr>
        <p:spPr>
          <a:xfrm>
            <a:off x="6415981" y="1324501"/>
            <a:ext cx="533310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ctr">
              <a:defRPr sz="200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path path="circle">
                    <a:fillToRect r="100000" b="100000"/>
                  </a:path>
                </a:gradFill>
                <a:latin typeface="+mj-ea"/>
                <a:ea typeface="+mj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，海量素材持续更新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EFB8F7F0-BF8E-44EA-97DA-E35F7775A851}"/>
              </a:ext>
            </a:extLst>
          </p:cNvPr>
          <p:cNvSpPr txBox="1"/>
          <p:nvPr/>
        </p:nvSpPr>
        <p:spPr>
          <a:xfrm>
            <a:off x="7454097" y="1724611"/>
            <a:ext cx="429499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dist">
              <a:defRPr sz="1400" b="1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path path="circle">
                    <a:fillToRect r="100000" b="100000"/>
                  </a:path>
                </a:gradFill>
              </a:defRPr>
            </a:lvl1pPr>
          </a:lstStyle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Mass Materials Are Continuously Updated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28675">
                  <a:lumMod val="20000"/>
                  <a:lumOff val="80000"/>
                </a:srgbClr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9FE44C88-EEDD-4D0D-977F-78F906760F87}"/>
              </a:ext>
            </a:extLst>
          </p:cNvPr>
          <p:cNvCxnSpPr>
            <a:cxnSpLocks/>
          </p:cNvCxnSpPr>
          <p:nvPr/>
        </p:nvCxnSpPr>
        <p:spPr>
          <a:xfrm>
            <a:off x="6317237" y="2124721"/>
            <a:ext cx="5429311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id="{2AA13D15-7F04-4802-B718-7345BC6621C1}"/>
              </a:ext>
            </a:extLst>
          </p:cNvPr>
          <p:cNvSpPr/>
          <p:nvPr/>
        </p:nvSpPr>
        <p:spPr>
          <a:xfrm>
            <a:off x="8696226" y="2124721"/>
            <a:ext cx="671332" cy="4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B74E5B5-A388-4117-901A-65D421C8223B}"/>
              </a:ext>
            </a:extLst>
          </p:cNvPr>
          <p:cNvSpPr/>
          <p:nvPr/>
        </p:nvSpPr>
        <p:spPr>
          <a:xfrm>
            <a:off x="5842000" y="2530501"/>
            <a:ext cx="5907088" cy="1041400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5598C030-0977-4A9B-8A96-7F363A5818F4}"/>
              </a:ext>
            </a:extLst>
          </p:cNvPr>
          <p:cNvSpPr/>
          <p:nvPr/>
        </p:nvSpPr>
        <p:spPr>
          <a:xfrm>
            <a:off x="5842000" y="2530505"/>
            <a:ext cx="1041392" cy="10413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2" name="稿定PPT-14-2">
            <a:extLst>
              <a:ext uri="{FF2B5EF4-FFF2-40B4-BE49-F238E27FC236}">
                <a16:creationId xmlns:a16="http://schemas.microsoft.com/office/drawing/2014/main" id="{9E33C860-51D5-4ED7-9222-A955B70DB6CE}"/>
              </a:ext>
            </a:extLst>
          </p:cNvPr>
          <p:cNvSpPr txBox="1"/>
          <p:nvPr/>
        </p:nvSpPr>
        <p:spPr>
          <a:xfrm>
            <a:off x="7115174" y="2700817"/>
            <a:ext cx="4407695" cy="931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bg1"/>
                </a:solidFill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04A1006C-9D57-468F-9AE9-E718CFE755C7}"/>
              </a:ext>
            </a:extLst>
          </p:cNvPr>
          <p:cNvSpPr txBox="1"/>
          <p:nvPr/>
        </p:nvSpPr>
        <p:spPr>
          <a:xfrm>
            <a:off x="5975999" y="2760088"/>
            <a:ext cx="77339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28675"/>
                    </a:gs>
                    <a:gs pos="100000">
                      <a:srgbClr val="3B6D47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1</a:t>
            </a:r>
            <a:endParaRPr kumimoji="0" lang="zh-CN" altLang="en-US" sz="36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28675"/>
                  </a:gs>
                  <a:gs pos="100000">
                    <a:srgbClr val="3B6D47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E6257949-3CB3-4503-9778-BD8DBDBBF4DA}"/>
              </a:ext>
            </a:extLst>
          </p:cNvPr>
          <p:cNvSpPr/>
          <p:nvPr/>
        </p:nvSpPr>
        <p:spPr>
          <a:xfrm>
            <a:off x="5308600" y="3762360"/>
            <a:ext cx="6440488" cy="13239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0FC6E623-44BA-418E-BFB0-866327DBCDF1}"/>
              </a:ext>
            </a:extLst>
          </p:cNvPr>
          <p:cNvSpPr/>
          <p:nvPr/>
        </p:nvSpPr>
        <p:spPr>
          <a:xfrm>
            <a:off x="5308600" y="3762361"/>
            <a:ext cx="1323990" cy="13239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1C1B5CB-D173-40B8-9915-133A196D152B}"/>
              </a:ext>
            </a:extLst>
          </p:cNvPr>
          <p:cNvSpPr txBox="1"/>
          <p:nvPr/>
        </p:nvSpPr>
        <p:spPr>
          <a:xfrm>
            <a:off x="5472974" y="4093113"/>
            <a:ext cx="96855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2</a:t>
            </a: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23A7DD-DED1-41B1-A71A-8EBEF6E81B44}"/>
              </a:ext>
            </a:extLst>
          </p:cNvPr>
          <p:cNvSpPr txBox="1"/>
          <p:nvPr/>
        </p:nvSpPr>
        <p:spPr>
          <a:xfrm>
            <a:off x="6783656" y="3912388"/>
            <a:ext cx="4723203" cy="940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accent1">
                    <a:lumMod val="20000"/>
                    <a:lumOff val="80000"/>
                  </a:schemeClr>
                </a:solidFill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3100">
                      <a:srgbClr val="3B6D47"/>
                    </a:gs>
                    <a:gs pos="100000">
                      <a:srgbClr val="428675"/>
                    </a:gs>
                  </a:gsLst>
                  <a:lin ang="2700000" scaled="1"/>
                </a:gra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17685F43-DDAF-45B9-BF87-CF281CA6F34B}"/>
              </a:ext>
            </a:extLst>
          </p:cNvPr>
          <p:cNvSpPr/>
          <p:nvPr/>
        </p:nvSpPr>
        <p:spPr>
          <a:xfrm>
            <a:off x="5842000" y="5276810"/>
            <a:ext cx="5907088" cy="1041400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89F71E9F-7409-419A-AB8B-1B51A26984BD}"/>
              </a:ext>
            </a:extLst>
          </p:cNvPr>
          <p:cNvSpPr/>
          <p:nvPr/>
        </p:nvSpPr>
        <p:spPr>
          <a:xfrm>
            <a:off x="5842000" y="5276814"/>
            <a:ext cx="1041392" cy="10413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 panose="00020600040101010101" pitchFamily="18" charset="-122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4" name="稿定PPT-14-2">
            <a:extLst>
              <a:ext uri="{FF2B5EF4-FFF2-40B4-BE49-F238E27FC236}">
                <a16:creationId xmlns:a16="http://schemas.microsoft.com/office/drawing/2014/main" id="{89ACF098-EA7A-415E-8EB9-7EAB355657BA}"/>
              </a:ext>
            </a:extLst>
          </p:cNvPr>
          <p:cNvSpPr txBox="1"/>
          <p:nvPr/>
        </p:nvSpPr>
        <p:spPr>
          <a:xfrm>
            <a:off x="7115174" y="5447126"/>
            <a:ext cx="4407695" cy="931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bg1"/>
                </a:solidFill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28675">
                    <a:lumMod val="20000"/>
                    <a:lumOff val="80000"/>
                  </a:srgbClr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ECFAE6C2-BB8D-4410-9BC2-D31626449C92}"/>
              </a:ext>
            </a:extLst>
          </p:cNvPr>
          <p:cNvSpPr txBox="1"/>
          <p:nvPr/>
        </p:nvSpPr>
        <p:spPr>
          <a:xfrm>
            <a:off x="5975999" y="5506397"/>
            <a:ext cx="77339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28675"/>
                    </a:gs>
                    <a:gs pos="100000">
                      <a:srgbClr val="3B6D47"/>
                    </a:gs>
                  </a:gsLst>
                  <a:path path="circle">
                    <a:fillToRect r="100000" b="100000"/>
                  </a:path>
                </a:gradFill>
                <a:effectLst/>
                <a:uLnTx/>
                <a:uFillTx/>
                <a:latin typeface="Roboto Black" panose="02000000000000000000" pitchFamily="2" charset="0"/>
                <a:ea typeface="OPPOSans L" panose="00020600040101010101" pitchFamily="18" charset="-122"/>
                <a:cs typeface="+mn-cs"/>
              </a:rPr>
              <a:t>03</a:t>
            </a:r>
            <a:endParaRPr kumimoji="0" lang="zh-CN" altLang="en-US" sz="36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428675"/>
                  </a:gs>
                  <a:gs pos="100000">
                    <a:srgbClr val="3B6D47"/>
                  </a:gs>
                </a:gsLst>
                <a:path path="circle">
                  <a:fillToRect r="100000" b="100000"/>
                </a:path>
              </a:gradFill>
              <a:effectLst/>
              <a:uLnTx/>
              <a:uFillTx/>
              <a:latin typeface="Roboto Black" panose="02000000000000000000" pitchFamily="2" charset="0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1010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6FDFA295-4258-F21A-0E7D-18CDA1D12D8F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F545F8D0-A8DC-6055-85FB-63FADFBCC254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DD04757-9B73-B343-B08D-C36EBD04EB6D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5" name="gaoding-23">
            <a:extLst>
              <a:ext uri="{FF2B5EF4-FFF2-40B4-BE49-F238E27FC236}">
                <a16:creationId xmlns:a16="http://schemas.microsoft.com/office/drawing/2014/main" id="{6F38D044-876F-7DA7-4B20-4920355F35BA}"/>
              </a:ext>
            </a:extLst>
          </p:cNvPr>
          <p:cNvSpPr/>
          <p:nvPr/>
        </p:nvSpPr>
        <p:spPr>
          <a:xfrm>
            <a:off x="1413934" y="1527890"/>
            <a:ext cx="2696818" cy="4855854"/>
          </a:xfrm>
          <a:prstGeom prst="roundRect">
            <a:avLst>
              <a:gd name="adj" fmla="val 5359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8" name="gaoding-26">
            <a:extLst>
              <a:ext uri="{FF2B5EF4-FFF2-40B4-BE49-F238E27FC236}">
                <a16:creationId xmlns:a16="http://schemas.microsoft.com/office/drawing/2014/main" id="{E4D94A91-3284-EBF1-BA9B-C256C730645D}"/>
              </a:ext>
            </a:extLst>
          </p:cNvPr>
          <p:cNvSpPr/>
          <p:nvPr/>
        </p:nvSpPr>
        <p:spPr>
          <a:xfrm>
            <a:off x="1603740" y="4035384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9" name="gaoding-27">
            <a:extLst>
              <a:ext uri="{FF2B5EF4-FFF2-40B4-BE49-F238E27FC236}">
                <a16:creationId xmlns:a16="http://schemas.microsoft.com/office/drawing/2014/main" id="{5BE4273D-81C5-D9A1-2BC2-D815D5D27C63}"/>
              </a:ext>
            </a:extLst>
          </p:cNvPr>
          <p:cNvSpPr/>
          <p:nvPr/>
        </p:nvSpPr>
        <p:spPr>
          <a:xfrm>
            <a:off x="1603740" y="4815812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10" name="gaoding-28">
            <a:extLst>
              <a:ext uri="{FF2B5EF4-FFF2-40B4-BE49-F238E27FC236}">
                <a16:creationId xmlns:a16="http://schemas.microsoft.com/office/drawing/2014/main" id="{A8135BEB-C9EB-06B8-AB70-1C529600C1F2}"/>
              </a:ext>
            </a:extLst>
          </p:cNvPr>
          <p:cNvSpPr/>
          <p:nvPr/>
        </p:nvSpPr>
        <p:spPr>
          <a:xfrm>
            <a:off x="1603740" y="5596242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12" name="gaoding-23">
            <a:extLst>
              <a:ext uri="{FF2B5EF4-FFF2-40B4-BE49-F238E27FC236}">
                <a16:creationId xmlns:a16="http://schemas.microsoft.com/office/drawing/2014/main" id="{75402FD4-20F3-AC3B-0BD1-8ECFEA47E0FD}"/>
              </a:ext>
            </a:extLst>
          </p:cNvPr>
          <p:cNvSpPr/>
          <p:nvPr/>
        </p:nvSpPr>
        <p:spPr>
          <a:xfrm>
            <a:off x="4747591" y="1527890"/>
            <a:ext cx="2696818" cy="4855854"/>
          </a:xfrm>
          <a:prstGeom prst="roundRect">
            <a:avLst>
              <a:gd name="adj" fmla="val 5359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18" name="gaoding-23">
            <a:extLst>
              <a:ext uri="{FF2B5EF4-FFF2-40B4-BE49-F238E27FC236}">
                <a16:creationId xmlns:a16="http://schemas.microsoft.com/office/drawing/2014/main" id="{329C9B1F-4A65-2264-E103-BEA509E5CCD4}"/>
              </a:ext>
            </a:extLst>
          </p:cNvPr>
          <p:cNvSpPr/>
          <p:nvPr/>
        </p:nvSpPr>
        <p:spPr>
          <a:xfrm>
            <a:off x="8081248" y="1527890"/>
            <a:ext cx="2696818" cy="4855854"/>
          </a:xfrm>
          <a:prstGeom prst="roundRect">
            <a:avLst>
              <a:gd name="adj" fmla="val 5359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0" name="gaoding-26">
            <a:extLst>
              <a:ext uri="{FF2B5EF4-FFF2-40B4-BE49-F238E27FC236}">
                <a16:creationId xmlns:a16="http://schemas.microsoft.com/office/drawing/2014/main" id="{A79CD1CE-61B5-BE7A-9317-2BB0F81A22DA}"/>
              </a:ext>
            </a:extLst>
          </p:cNvPr>
          <p:cNvSpPr/>
          <p:nvPr/>
        </p:nvSpPr>
        <p:spPr>
          <a:xfrm>
            <a:off x="1603740" y="3254956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1" name="gaoding-26">
            <a:extLst>
              <a:ext uri="{FF2B5EF4-FFF2-40B4-BE49-F238E27FC236}">
                <a16:creationId xmlns:a16="http://schemas.microsoft.com/office/drawing/2014/main" id="{5AE2E362-A2A9-A19D-FFBA-B8D4853E0328}"/>
              </a:ext>
            </a:extLst>
          </p:cNvPr>
          <p:cNvSpPr/>
          <p:nvPr/>
        </p:nvSpPr>
        <p:spPr>
          <a:xfrm>
            <a:off x="1603740" y="2474528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2" name="gaoding-26">
            <a:extLst>
              <a:ext uri="{FF2B5EF4-FFF2-40B4-BE49-F238E27FC236}">
                <a16:creationId xmlns:a16="http://schemas.microsoft.com/office/drawing/2014/main" id="{BB8CBBAB-BFF3-29FF-0CCA-B791120FE428}"/>
              </a:ext>
            </a:extLst>
          </p:cNvPr>
          <p:cNvSpPr/>
          <p:nvPr/>
        </p:nvSpPr>
        <p:spPr>
          <a:xfrm>
            <a:off x="1603740" y="1694100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3" name="gaoding-26">
            <a:extLst>
              <a:ext uri="{FF2B5EF4-FFF2-40B4-BE49-F238E27FC236}">
                <a16:creationId xmlns:a16="http://schemas.microsoft.com/office/drawing/2014/main" id="{A38569D3-3569-08F3-AC9F-FE1D65AC2BDB}"/>
              </a:ext>
            </a:extLst>
          </p:cNvPr>
          <p:cNvSpPr/>
          <p:nvPr/>
        </p:nvSpPr>
        <p:spPr>
          <a:xfrm>
            <a:off x="4937397" y="4035384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4" name="gaoding-27">
            <a:extLst>
              <a:ext uri="{FF2B5EF4-FFF2-40B4-BE49-F238E27FC236}">
                <a16:creationId xmlns:a16="http://schemas.microsoft.com/office/drawing/2014/main" id="{B0B62942-F5EC-34EE-45DA-FF0A67BDAA0C}"/>
              </a:ext>
            </a:extLst>
          </p:cNvPr>
          <p:cNvSpPr/>
          <p:nvPr/>
        </p:nvSpPr>
        <p:spPr>
          <a:xfrm>
            <a:off x="4937397" y="4815812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5" name="gaoding-28">
            <a:extLst>
              <a:ext uri="{FF2B5EF4-FFF2-40B4-BE49-F238E27FC236}">
                <a16:creationId xmlns:a16="http://schemas.microsoft.com/office/drawing/2014/main" id="{9C4CD97B-2647-A8E6-DE58-EAEB9CEDD8A1}"/>
              </a:ext>
            </a:extLst>
          </p:cNvPr>
          <p:cNvSpPr/>
          <p:nvPr/>
        </p:nvSpPr>
        <p:spPr>
          <a:xfrm>
            <a:off x="4937397" y="5596242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6" name="gaoding-26">
            <a:extLst>
              <a:ext uri="{FF2B5EF4-FFF2-40B4-BE49-F238E27FC236}">
                <a16:creationId xmlns:a16="http://schemas.microsoft.com/office/drawing/2014/main" id="{735AC260-0CA2-55BB-BC80-61360E71D5A2}"/>
              </a:ext>
            </a:extLst>
          </p:cNvPr>
          <p:cNvSpPr/>
          <p:nvPr/>
        </p:nvSpPr>
        <p:spPr>
          <a:xfrm>
            <a:off x="4937397" y="3254956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7" name="gaoding-26">
            <a:extLst>
              <a:ext uri="{FF2B5EF4-FFF2-40B4-BE49-F238E27FC236}">
                <a16:creationId xmlns:a16="http://schemas.microsoft.com/office/drawing/2014/main" id="{F0D23693-BC57-8F51-EA45-5D7032CF9084}"/>
              </a:ext>
            </a:extLst>
          </p:cNvPr>
          <p:cNvSpPr/>
          <p:nvPr/>
        </p:nvSpPr>
        <p:spPr>
          <a:xfrm>
            <a:off x="4937397" y="2474528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8" name="gaoding-26">
            <a:extLst>
              <a:ext uri="{FF2B5EF4-FFF2-40B4-BE49-F238E27FC236}">
                <a16:creationId xmlns:a16="http://schemas.microsoft.com/office/drawing/2014/main" id="{996E8A12-0C41-DE5C-8D85-8ABDA272F453}"/>
              </a:ext>
            </a:extLst>
          </p:cNvPr>
          <p:cNvSpPr/>
          <p:nvPr/>
        </p:nvSpPr>
        <p:spPr>
          <a:xfrm>
            <a:off x="4937397" y="1694100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39" name="gaoding-26">
            <a:extLst>
              <a:ext uri="{FF2B5EF4-FFF2-40B4-BE49-F238E27FC236}">
                <a16:creationId xmlns:a16="http://schemas.microsoft.com/office/drawing/2014/main" id="{5FE61D4F-9E6E-5A96-503C-D9619AA687D3}"/>
              </a:ext>
            </a:extLst>
          </p:cNvPr>
          <p:cNvSpPr/>
          <p:nvPr/>
        </p:nvSpPr>
        <p:spPr>
          <a:xfrm>
            <a:off x="8271054" y="4035384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40" name="gaoding-27">
            <a:extLst>
              <a:ext uri="{FF2B5EF4-FFF2-40B4-BE49-F238E27FC236}">
                <a16:creationId xmlns:a16="http://schemas.microsoft.com/office/drawing/2014/main" id="{BD7431C0-2B27-8D4C-0402-95DAFF355F6A}"/>
              </a:ext>
            </a:extLst>
          </p:cNvPr>
          <p:cNvSpPr/>
          <p:nvPr/>
        </p:nvSpPr>
        <p:spPr>
          <a:xfrm>
            <a:off x="8271054" y="4815812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41" name="gaoding-28">
            <a:extLst>
              <a:ext uri="{FF2B5EF4-FFF2-40B4-BE49-F238E27FC236}">
                <a16:creationId xmlns:a16="http://schemas.microsoft.com/office/drawing/2014/main" id="{EE03C546-E97E-5FC4-EC3B-6E4991EC9485}"/>
              </a:ext>
            </a:extLst>
          </p:cNvPr>
          <p:cNvSpPr/>
          <p:nvPr/>
        </p:nvSpPr>
        <p:spPr>
          <a:xfrm>
            <a:off x="8271054" y="5596242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42" name="gaoding-26">
            <a:extLst>
              <a:ext uri="{FF2B5EF4-FFF2-40B4-BE49-F238E27FC236}">
                <a16:creationId xmlns:a16="http://schemas.microsoft.com/office/drawing/2014/main" id="{0CA308DC-AB18-86DC-34D9-51BA01CA8E50}"/>
              </a:ext>
            </a:extLst>
          </p:cNvPr>
          <p:cNvSpPr/>
          <p:nvPr/>
        </p:nvSpPr>
        <p:spPr>
          <a:xfrm>
            <a:off x="8271054" y="3254956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43" name="gaoding-26">
            <a:extLst>
              <a:ext uri="{FF2B5EF4-FFF2-40B4-BE49-F238E27FC236}">
                <a16:creationId xmlns:a16="http://schemas.microsoft.com/office/drawing/2014/main" id="{05727418-81DE-FC85-B92F-8B0F7A520A56}"/>
              </a:ext>
            </a:extLst>
          </p:cNvPr>
          <p:cNvSpPr/>
          <p:nvPr/>
        </p:nvSpPr>
        <p:spPr>
          <a:xfrm>
            <a:off x="8271054" y="2474528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44" name="gaoding-26">
            <a:extLst>
              <a:ext uri="{FF2B5EF4-FFF2-40B4-BE49-F238E27FC236}">
                <a16:creationId xmlns:a16="http://schemas.microsoft.com/office/drawing/2014/main" id="{6BD41FCD-991E-28CA-B1C9-E5657E668B0F}"/>
              </a:ext>
            </a:extLst>
          </p:cNvPr>
          <p:cNvSpPr/>
          <p:nvPr/>
        </p:nvSpPr>
        <p:spPr>
          <a:xfrm>
            <a:off x="8271054" y="1694100"/>
            <a:ext cx="2317206" cy="625568"/>
          </a:xfrm>
          <a:prstGeom prst="roundRect">
            <a:avLst>
              <a:gd name="adj" fmla="val 9771"/>
            </a:avLst>
          </a:prstGeom>
          <a:noFill/>
          <a:ln w="6350">
            <a:solidFill>
              <a:schemeClr val="tx1"/>
            </a:solidFill>
            <a:prstDash val="sysDash"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  <a:sym typeface="+mn-lt"/>
            </a:endParaRPr>
          </a:p>
        </p:txBody>
      </p:sp>
      <p:sp>
        <p:nvSpPr>
          <p:cNvPr id="45" name="稿定-9">
            <a:extLst>
              <a:ext uri="{FF2B5EF4-FFF2-40B4-BE49-F238E27FC236}">
                <a16:creationId xmlns:a16="http://schemas.microsoft.com/office/drawing/2014/main" id="{C19B5295-E18B-E7FD-3751-C0F79A69CC16}"/>
              </a:ext>
            </a:extLst>
          </p:cNvPr>
          <p:cNvSpPr/>
          <p:nvPr/>
        </p:nvSpPr>
        <p:spPr>
          <a:xfrm flipH="1">
            <a:off x="2276414" y="179190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6" name="稿定-31">
            <a:extLst>
              <a:ext uri="{FF2B5EF4-FFF2-40B4-BE49-F238E27FC236}">
                <a16:creationId xmlns:a16="http://schemas.microsoft.com/office/drawing/2014/main" id="{2F9B64E2-18AA-E865-E601-2C290A26D892}"/>
              </a:ext>
            </a:extLst>
          </p:cNvPr>
          <p:cNvSpPr/>
          <p:nvPr/>
        </p:nvSpPr>
        <p:spPr>
          <a:xfrm flipH="1">
            <a:off x="1721866" y="2062469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7" name="稿定-9">
            <a:extLst>
              <a:ext uri="{FF2B5EF4-FFF2-40B4-BE49-F238E27FC236}">
                <a16:creationId xmlns:a16="http://schemas.microsoft.com/office/drawing/2014/main" id="{9FA810EC-82B7-81B8-4156-54E0A65B7F13}"/>
              </a:ext>
            </a:extLst>
          </p:cNvPr>
          <p:cNvSpPr/>
          <p:nvPr/>
        </p:nvSpPr>
        <p:spPr>
          <a:xfrm flipH="1">
            <a:off x="2276414" y="258016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48" name="稿定-31">
            <a:extLst>
              <a:ext uri="{FF2B5EF4-FFF2-40B4-BE49-F238E27FC236}">
                <a16:creationId xmlns:a16="http://schemas.microsoft.com/office/drawing/2014/main" id="{2196D73F-67F0-0870-AD05-63B9263485AE}"/>
              </a:ext>
            </a:extLst>
          </p:cNvPr>
          <p:cNvSpPr/>
          <p:nvPr/>
        </p:nvSpPr>
        <p:spPr>
          <a:xfrm flipH="1">
            <a:off x="1721866" y="2850729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49" name="稿定-9">
            <a:extLst>
              <a:ext uri="{FF2B5EF4-FFF2-40B4-BE49-F238E27FC236}">
                <a16:creationId xmlns:a16="http://schemas.microsoft.com/office/drawing/2014/main" id="{A00344B7-3C65-CD78-1A70-2480169F343A}"/>
              </a:ext>
            </a:extLst>
          </p:cNvPr>
          <p:cNvSpPr/>
          <p:nvPr/>
        </p:nvSpPr>
        <p:spPr>
          <a:xfrm flipH="1">
            <a:off x="2276414" y="336059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0" name="稿定-31">
            <a:extLst>
              <a:ext uri="{FF2B5EF4-FFF2-40B4-BE49-F238E27FC236}">
                <a16:creationId xmlns:a16="http://schemas.microsoft.com/office/drawing/2014/main" id="{E11E0B7C-EA92-6E29-F0D9-279DBEED7B6E}"/>
              </a:ext>
            </a:extLst>
          </p:cNvPr>
          <p:cNvSpPr/>
          <p:nvPr/>
        </p:nvSpPr>
        <p:spPr>
          <a:xfrm flipH="1">
            <a:off x="1721866" y="3631157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1" name="稿定-9">
            <a:extLst>
              <a:ext uri="{FF2B5EF4-FFF2-40B4-BE49-F238E27FC236}">
                <a16:creationId xmlns:a16="http://schemas.microsoft.com/office/drawing/2014/main" id="{BE1400BB-9ED9-4C84-9B4D-FBE43B7D125D}"/>
              </a:ext>
            </a:extLst>
          </p:cNvPr>
          <p:cNvSpPr/>
          <p:nvPr/>
        </p:nvSpPr>
        <p:spPr>
          <a:xfrm flipH="1">
            <a:off x="2276414" y="414101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2" name="稿定-31">
            <a:extLst>
              <a:ext uri="{FF2B5EF4-FFF2-40B4-BE49-F238E27FC236}">
                <a16:creationId xmlns:a16="http://schemas.microsoft.com/office/drawing/2014/main" id="{55F7DBF9-5592-7187-E99C-CDE1E44A9E45}"/>
              </a:ext>
            </a:extLst>
          </p:cNvPr>
          <p:cNvSpPr/>
          <p:nvPr/>
        </p:nvSpPr>
        <p:spPr>
          <a:xfrm flipH="1">
            <a:off x="1721866" y="4411585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3" name="稿定-9">
            <a:extLst>
              <a:ext uri="{FF2B5EF4-FFF2-40B4-BE49-F238E27FC236}">
                <a16:creationId xmlns:a16="http://schemas.microsoft.com/office/drawing/2014/main" id="{B6349142-BB9D-EA72-D385-3C19D4DCF407}"/>
              </a:ext>
            </a:extLst>
          </p:cNvPr>
          <p:cNvSpPr/>
          <p:nvPr/>
        </p:nvSpPr>
        <p:spPr>
          <a:xfrm flipH="1">
            <a:off x="2276414" y="488520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4" name="稿定-31">
            <a:extLst>
              <a:ext uri="{FF2B5EF4-FFF2-40B4-BE49-F238E27FC236}">
                <a16:creationId xmlns:a16="http://schemas.microsoft.com/office/drawing/2014/main" id="{7F310389-52BE-9A69-67CB-D8BAF99557CE}"/>
              </a:ext>
            </a:extLst>
          </p:cNvPr>
          <p:cNvSpPr/>
          <p:nvPr/>
        </p:nvSpPr>
        <p:spPr>
          <a:xfrm flipH="1">
            <a:off x="1721866" y="5155776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5" name="稿定-9">
            <a:extLst>
              <a:ext uri="{FF2B5EF4-FFF2-40B4-BE49-F238E27FC236}">
                <a16:creationId xmlns:a16="http://schemas.microsoft.com/office/drawing/2014/main" id="{B8BED14E-4F87-87A6-6DEB-F38137B828CE}"/>
              </a:ext>
            </a:extLst>
          </p:cNvPr>
          <p:cNvSpPr/>
          <p:nvPr/>
        </p:nvSpPr>
        <p:spPr>
          <a:xfrm flipH="1">
            <a:off x="2276414" y="567784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6" name="稿定-31">
            <a:extLst>
              <a:ext uri="{FF2B5EF4-FFF2-40B4-BE49-F238E27FC236}">
                <a16:creationId xmlns:a16="http://schemas.microsoft.com/office/drawing/2014/main" id="{9300D021-72CE-88CB-39FA-FA0C7E83E26B}"/>
              </a:ext>
            </a:extLst>
          </p:cNvPr>
          <p:cNvSpPr/>
          <p:nvPr/>
        </p:nvSpPr>
        <p:spPr>
          <a:xfrm flipH="1">
            <a:off x="1721866" y="5948410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7" name="稿定-9">
            <a:extLst>
              <a:ext uri="{FF2B5EF4-FFF2-40B4-BE49-F238E27FC236}">
                <a16:creationId xmlns:a16="http://schemas.microsoft.com/office/drawing/2014/main" id="{61518931-390B-0B16-8586-35193B65F22E}"/>
              </a:ext>
            </a:extLst>
          </p:cNvPr>
          <p:cNvSpPr/>
          <p:nvPr/>
        </p:nvSpPr>
        <p:spPr>
          <a:xfrm flipH="1">
            <a:off x="5635052" y="179190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58" name="稿定-31">
            <a:extLst>
              <a:ext uri="{FF2B5EF4-FFF2-40B4-BE49-F238E27FC236}">
                <a16:creationId xmlns:a16="http://schemas.microsoft.com/office/drawing/2014/main" id="{6A94C362-B926-937B-D271-11268FBC93F2}"/>
              </a:ext>
            </a:extLst>
          </p:cNvPr>
          <p:cNvSpPr/>
          <p:nvPr/>
        </p:nvSpPr>
        <p:spPr>
          <a:xfrm flipH="1">
            <a:off x="5080504" y="2062469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9" name="稿定-9">
            <a:extLst>
              <a:ext uri="{FF2B5EF4-FFF2-40B4-BE49-F238E27FC236}">
                <a16:creationId xmlns:a16="http://schemas.microsoft.com/office/drawing/2014/main" id="{6BE6F5BA-A20E-0CB0-67B8-89375D27008F}"/>
              </a:ext>
            </a:extLst>
          </p:cNvPr>
          <p:cNvSpPr/>
          <p:nvPr/>
        </p:nvSpPr>
        <p:spPr>
          <a:xfrm flipH="1">
            <a:off x="5635052" y="258016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0" name="稿定-31">
            <a:extLst>
              <a:ext uri="{FF2B5EF4-FFF2-40B4-BE49-F238E27FC236}">
                <a16:creationId xmlns:a16="http://schemas.microsoft.com/office/drawing/2014/main" id="{539A7C18-6456-5586-79DA-31FDD81EC83F}"/>
              </a:ext>
            </a:extLst>
          </p:cNvPr>
          <p:cNvSpPr/>
          <p:nvPr/>
        </p:nvSpPr>
        <p:spPr>
          <a:xfrm flipH="1">
            <a:off x="5080504" y="2850729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1" name="稿定-9">
            <a:extLst>
              <a:ext uri="{FF2B5EF4-FFF2-40B4-BE49-F238E27FC236}">
                <a16:creationId xmlns:a16="http://schemas.microsoft.com/office/drawing/2014/main" id="{4E818C3E-5ED4-382A-FF30-977BF2A2068A}"/>
              </a:ext>
            </a:extLst>
          </p:cNvPr>
          <p:cNvSpPr/>
          <p:nvPr/>
        </p:nvSpPr>
        <p:spPr>
          <a:xfrm flipH="1">
            <a:off x="5635052" y="336059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2" name="稿定-31">
            <a:extLst>
              <a:ext uri="{FF2B5EF4-FFF2-40B4-BE49-F238E27FC236}">
                <a16:creationId xmlns:a16="http://schemas.microsoft.com/office/drawing/2014/main" id="{4A8E3C94-D276-3277-FBB1-7AAA1DF3326E}"/>
              </a:ext>
            </a:extLst>
          </p:cNvPr>
          <p:cNvSpPr/>
          <p:nvPr/>
        </p:nvSpPr>
        <p:spPr>
          <a:xfrm flipH="1">
            <a:off x="5080504" y="3631157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3" name="稿定-9">
            <a:extLst>
              <a:ext uri="{FF2B5EF4-FFF2-40B4-BE49-F238E27FC236}">
                <a16:creationId xmlns:a16="http://schemas.microsoft.com/office/drawing/2014/main" id="{B579C3AD-AD14-D25D-AA7F-7DE2DADA38B1}"/>
              </a:ext>
            </a:extLst>
          </p:cNvPr>
          <p:cNvSpPr/>
          <p:nvPr/>
        </p:nvSpPr>
        <p:spPr>
          <a:xfrm flipH="1">
            <a:off x="5635052" y="414101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4" name="稿定-31">
            <a:extLst>
              <a:ext uri="{FF2B5EF4-FFF2-40B4-BE49-F238E27FC236}">
                <a16:creationId xmlns:a16="http://schemas.microsoft.com/office/drawing/2014/main" id="{EFF0FEC1-A834-F296-3D23-E00450825DFC}"/>
              </a:ext>
            </a:extLst>
          </p:cNvPr>
          <p:cNvSpPr/>
          <p:nvPr/>
        </p:nvSpPr>
        <p:spPr>
          <a:xfrm flipH="1">
            <a:off x="5080504" y="4411585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5" name="稿定-9">
            <a:extLst>
              <a:ext uri="{FF2B5EF4-FFF2-40B4-BE49-F238E27FC236}">
                <a16:creationId xmlns:a16="http://schemas.microsoft.com/office/drawing/2014/main" id="{8501D67C-8AEE-09E4-8D34-B45C4EBE93D9}"/>
              </a:ext>
            </a:extLst>
          </p:cNvPr>
          <p:cNvSpPr/>
          <p:nvPr/>
        </p:nvSpPr>
        <p:spPr>
          <a:xfrm flipH="1">
            <a:off x="5635052" y="488520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6" name="稿定-31">
            <a:extLst>
              <a:ext uri="{FF2B5EF4-FFF2-40B4-BE49-F238E27FC236}">
                <a16:creationId xmlns:a16="http://schemas.microsoft.com/office/drawing/2014/main" id="{8E80EB29-1A6D-61AA-5052-43CEBC27A42C}"/>
              </a:ext>
            </a:extLst>
          </p:cNvPr>
          <p:cNvSpPr/>
          <p:nvPr/>
        </p:nvSpPr>
        <p:spPr>
          <a:xfrm flipH="1">
            <a:off x="5080504" y="5155776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7" name="稿定-9">
            <a:extLst>
              <a:ext uri="{FF2B5EF4-FFF2-40B4-BE49-F238E27FC236}">
                <a16:creationId xmlns:a16="http://schemas.microsoft.com/office/drawing/2014/main" id="{ABA0A78A-3DFA-1AB1-53DC-4ABAD7411AE7}"/>
              </a:ext>
            </a:extLst>
          </p:cNvPr>
          <p:cNvSpPr/>
          <p:nvPr/>
        </p:nvSpPr>
        <p:spPr>
          <a:xfrm flipH="1">
            <a:off x="5635052" y="567784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68" name="稿定-31">
            <a:extLst>
              <a:ext uri="{FF2B5EF4-FFF2-40B4-BE49-F238E27FC236}">
                <a16:creationId xmlns:a16="http://schemas.microsoft.com/office/drawing/2014/main" id="{97904912-98A5-A54A-9858-5615A011D0C4}"/>
              </a:ext>
            </a:extLst>
          </p:cNvPr>
          <p:cNvSpPr/>
          <p:nvPr/>
        </p:nvSpPr>
        <p:spPr>
          <a:xfrm flipH="1">
            <a:off x="5080504" y="5948410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69" name="稿定-9">
            <a:extLst>
              <a:ext uri="{FF2B5EF4-FFF2-40B4-BE49-F238E27FC236}">
                <a16:creationId xmlns:a16="http://schemas.microsoft.com/office/drawing/2014/main" id="{BA089FD0-5B5F-B69F-84C5-22A51D3AAB72}"/>
              </a:ext>
            </a:extLst>
          </p:cNvPr>
          <p:cNvSpPr/>
          <p:nvPr/>
        </p:nvSpPr>
        <p:spPr>
          <a:xfrm flipH="1">
            <a:off x="8993690" y="179190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0" name="稿定-31">
            <a:extLst>
              <a:ext uri="{FF2B5EF4-FFF2-40B4-BE49-F238E27FC236}">
                <a16:creationId xmlns:a16="http://schemas.microsoft.com/office/drawing/2014/main" id="{F8D0A126-DBD7-3D26-EBFE-2BE3768722B8}"/>
              </a:ext>
            </a:extLst>
          </p:cNvPr>
          <p:cNvSpPr/>
          <p:nvPr/>
        </p:nvSpPr>
        <p:spPr>
          <a:xfrm flipH="1">
            <a:off x="8439142" y="2062469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1" name="稿定-9">
            <a:extLst>
              <a:ext uri="{FF2B5EF4-FFF2-40B4-BE49-F238E27FC236}">
                <a16:creationId xmlns:a16="http://schemas.microsoft.com/office/drawing/2014/main" id="{EBCC33EF-0C0E-0C35-8C18-1D533279393B}"/>
              </a:ext>
            </a:extLst>
          </p:cNvPr>
          <p:cNvSpPr/>
          <p:nvPr/>
        </p:nvSpPr>
        <p:spPr>
          <a:xfrm flipH="1">
            <a:off x="8993690" y="2580162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2" name="稿定-31">
            <a:extLst>
              <a:ext uri="{FF2B5EF4-FFF2-40B4-BE49-F238E27FC236}">
                <a16:creationId xmlns:a16="http://schemas.microsoft.com/office/drawing/2014/main" id="{7709F8E4-6262-6D5F-8658-9D457CE0EA36}"/>
              </a:ext>
            </a:extLst>
          </p:cNvPr>
          <p:cNvSpPr/>
          <p:nvPr/>
        </p:nvSpPr>
        <p:spPr>
          <a:xfrm flipH="1">
            <a:off x="8439142" y="2850729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3" name="稿定-9">
            <a:extLst>
              <a:ext uri="{FF2B5EF4-FFF2-40B4-BE49-F238E27FC236}">
                <a16:creationId xmlns:a16="http://schemas.microsoft.com/office/drawing/2014/main" id="{1D70CA51-FB06-C781-47B8-37F9AFFC86E6}"/>
              </a:ext>
            </a:extLst>
          </p:cNvPr>
          <p:cNvSpPr/>
          <p:nvPr/>
        </p:nvSpPr>
        <p:spPr>
          <a:xfrm flipH="1">
            <a:off x="8993690" y="3360590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4" name="稿定-31">
            <a:extLst>
              <a:ext uri="{FF2B5EF4-FFF2-40B4-BE49-F238E27FC236}">
                <a16:creationId xmlns:a16="http://schemas.microsoft.com/office/drawing/2014/main" id="{63B48F2C-DA14-FD9B-1A0D-EFE9456E02F8}"/>
              </a:ext>
            </a:extLst>
          </p:cNvPr>
          <p:cNvSpPr/>
          <p:nvPr/>
        </p:nvSpPr>
        <p:spPr>
          <a:xfrm flipH="1">
            <a:off x="8439142" y="3631157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5" name="稿定-9">
            <a:extLst>
              <a:ext uri="{FF2B5EF4-FFF2-40B4-BE49-F238E27FC236}">
                <a16:creationId xmlns:a16="http://schemas.microsoft.com/office/drawing/2014/main" id="{41EDD186-A94A-DEE2-EB28-5125DC5C8521}"/>
              </a:ext>
            </a:extLst>
          </p:cNvPr>
          <p:cNvSpPr/>
          <p:nvPr/>
        </p:nvSpPr>
        <p:spPr>
          <a:xfrm flipH="1">
            <a:off x="8993690" y="4141018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6" name="稿定-31">
            <a:extLst>
              <a:ext uri="{FF2B5EF4-FFF2-40B4-BE49-F238E27FC236}">
                <a16:creationId xmlns:a16="http://schemas.microsoft.com/office/drawing/2014/main" id="{B5AF2238-4DF8-A644-CF60-1FBB92A9A21E}"/>
              </a:ext>
            </a:extLst>
          </p:cNvPr>
          <p:cNvSpPr/>
          <p:nvPr/>
        </p:nvSpPr>
        <p:spPr>
          <a:xfrm flipH="1">
            <a:off x="8439142" y="4411585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7" name="稿定-9">
            <a:extLst>
              <a:ext uri="{FF2B5EF4-FFF2-40B4-BE49-F238E27FC236}">
                <a16:creationId xmlns:a16="http://schemas.microsoft.com/office/drawing/2014/main" id="{677FACEB-8E5D-82BF-EB0C-EAD07220233A}"/>
              </a:ext>
            </a:extLst>
          </p:cNvPr>
          <p:cNvSpPr/>
          <p:nvPr/>
        </p:nvSpPr>
        <p:spPr>
          <a:xfrm flipH="1">
            <a:off x="8993690" y="4885209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78" name="稿定-31">
            <a:extLst>
              <a:ext uri="{FF2B5EF4-FFF2-40B4-BE49-F238E27FC236}">
                <a16:creationId xmlns:a16="http://schemas.microsoft.com/office/drawing/2014/main" id="{7D51443E-823A-8AC1-0A2F-D60DD5A7AE7F}"/>
              </a:ext>
            </a:extLst>
          </p:cNvPr>
          <p:cNvSpPr/>
          <p:nvPr/>
        </p:nvSpPr>
        <p:spPr>
          <a:xfrm flipH="1">
            <a:off x="8439142" y="5155776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79" name="稿定-9">
            <a:extLst>
              <a:ext uri="{FF2B5EF4-FFF2-40B4-BE49-F238E27FC236}">
                <a16:creationId xmlns:a16="http://schemas.microsoft.com/office/drawing/2014/main" id="{9C9455CE-0825-A019-D0EA-C49277DFD9C0}"/>
              </a:ext>
            </a:extLst>
          </p:cNvPr>
          <p:cNvSpPr/>
          <p:nvPr/>
        </p:nvSpPr>
        <p:spPr>
          <a:xfrm flipH="1">
            <a:off x="8993690" y="5677843"/>
            <a:ext cx="971857" cy="23141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  <a:sym typeface="+mn-lt"/>
              </a:rPr>
              <a:t>设计师素材库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OPPOSans H" panose="00020600040101010101" pitchFamily="18" charset="-122"/>
              <a:sym typeface="+mn-lt"/>
            </a:endParaRPr>
          </a:p>
        </p:txBody>
      </p:sp>
      <p:sp>
        <p:nvSpPr>
          <p:cNvPr id="80" name="稿定-31">
            <a:extLst>
              <a:ext uri="{FF2B5EF4-FFF2-40B4-BE49-F238E27FC236}">
                <a16:creationId xmlns:a16="http://schemas.microsoft.com/office/drawing/2014/main" id="{7D055E6B-F4B5-66C9-BF00-652CDCFA569E}"/>
              </a:ext>
            </a:extLst>
          </p:cNvPr>
          <p:cNvSpPr/>
          <p:nvPr/>
        </p:nvSpPr>
        <p:spPr>
          <a:xfrm flipH="1">
            <a:off x="8439142" y="5948410"/>
            <a:ext cx="2030992" cy="17433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更改文字内容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8443311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矩形 40">
            <a:extLst>
              <a:ext uri="{FF2B5EF4-FFF2-40B4-BE49-F238E27FC236}">
                <a16:creationId xmlns:a16="http://schemas.microsoft.com/office/drawing/2014/main" id="{57CD8DAC-EAA1-4E62-9739-424C1FC685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cs typeface="+mn-cs"/>
            </a:endParaRPr>
          </a:p>
        </p:txBody>
      </p:sp>
      <p:sp>
        <p:nvSpPr>
          <p:cNvPr id="6" name="箭头: 下 1">
            <a:extLst>
              <a:ext uri="{FF2B5EF4-FFF2-40B4-BE49-F238E27FC236}">
                <a16:creationId xmlns:a16="http://schemas.microsoft.com/office/drawing/2014/main" id="{BBDDB1B6-D04B-4F8A-A12B-149E9D1104E0}"/>
              </a:ext>
            </a:extLst>
          </p:cNvPr>
          <p:cNvSpPr/>
          <p:nvPr/>
        </p:nvSpPr>
        <p:spPr>
          <a:xfrm>
            <a:off x="658813" y="1275663"/>
            <a:ext cx="2068854" cy="5473181"/>
          </a:xfrm>
          <a:prstGeom prst="downArrow">
            <a:avLst>
              <a:gd name="adj1" fmla="val 73171"/>
              <a:gd name="adj2" fmla="val 49404"/>
            </a:avLst>
          </a:prstGeom>
          <a:gradFill>
            <a:gsLst>
              <a:gs pos="0">
                <a:schemeClr val="accent3">
                  <a:alpha val="0"/>
                </a:schemeClr>
              </a:gs>
              <a:gs pos="100000">
                <a:schemeClr val="accent3">
                  <a:alpha val="34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4FBDEFFE-DF18-4BE6-AAE0-BB436454C3D9}"/>
              </a:ext>
            </a:extLst>
          </p:cNvPr>
          <p:cNvSpPr/>
          <p:nvPr/>
        </p:nvSpPr>
        <p:spPr>
          <a:xfrm>
            <a:off x="2909704" y="1652734"/>
            <a:ext cx="8623483" cy="1373672"/>
          </a:xfrm>
          <a:custGeom>
            <a:avLst/>
            <a:gdLst>
              <a:gd name="connsiteX0" fmla="*/ 0 w 8623483"/>
              <a:gd name="connsiteY0" fmla="*/ 0 h 1373672"/>
              <a:gd name="connsiteX1" fmla="*/ 7936647 w 8623483"/>
              <a:gd name="connsiteY1" fmla="*/ 0 h 1373672"/>
              <a:gd name="connsiteX2" fmla="*/ 8623483 w 8623483"/>
              <a:gd name="connsiteY2" fmla="*/ 686836 h 1373672"/>
              <a:gd name="connsiteX3" fmla="*/ 8623482 w 8623483"/>
              <a:gd name="connsiteY3" fmla="*/ 686836 h 1373672"/>
              <a:gd name="connsiteX4" fmla="*/ 7936646 w 8623483"/>
              <a:gd name="connsiteY4" fmla="*/ 1373672 h 1373672"/>
              <a:gd name="connsiteX5" fmla="*/ 0 w 8623483"/>
              <a:gd name="connsiteY5" fmla="*/ 1373671 h 1373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23483" h="1373672">
                <a:moveTo>
                  <a:pt x="0" y="0"/>
                </a:moveTo>
                <a:lnTo>
                  <a:pt x="7936647" y="0"/>
                </a:lnTo>
                <a:cubicBezTo>
                  <a:pt x="8315976" y="0"/>
                  <a:pt x="8623483" y="307507"/>
                  <a:pt x="8623483" y="686836"/>
                </a:cubicBezTo>
                <a:lnTo>
                  <a:pt x="8623482" y="686836"/>
                </a:lnTo>
                <a:cubicBezTo>
                  <a:pt x="8623482" y="1066165"/>
                  <a:pt x="8315975" y="1373672"/>
                  <a:pt x="7936646" y="1373672"/>
                </a:cubicBezTo>
                <a:lnTo>
                  <a:pt x="0" y="137367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9" name="稿定PPT-6-4">
            <a:extLst>
              <a:ext uri="{FF2B5EF4-FFF2-40B4-BE49-F238E27FC236}">
                <a16:creationId xmlns:a16="http://schemas.microsoft.com/office/drawing/2014/main" id="{38D916B0-8B98-453B-B7B2-2D175D17BAF1}"/>
              </a:ext>
            </a:extLst>
          </p:cNvPr>
          <p:cNvSpPr txBox="1"/>
          <p:nvPr/>
        </p:nvSpPr>
        <p:spPr>
          <a:xfrm>
            <a:off x="3220652" y="1841134"/>
            <a:ext cx="2402261" cy="276999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lIns="0" tIns="0" rIns="0" bIns="0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20" name="稿定PPT-10-2">
            <a:extLst>
              <a:ext uri="{FF2B5EF4-FFF2-40B4-BE49-F238E27FC236}">
                <a16:creationId xmlns:a16="http://schemas.microsoft.com/office/drawing/2014/main" id="{A251C062-452B-4696-B55B-FA3BFBDAF53F}"/>
              </a:ext>
            </a:extLst>
          </p:cNvPr>
          <p:cNvSpPr txBox="1"/>
          <p:nvPr/>
        </p:nvSpPr>
        <p:spPr>
          <a:xfrm>
            <a:off x="3220652" y="2209018"/>
            <a:ext cx="7922711" cy="6176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zh-CN"/>
            </a:defPPr>
            <a:lvl1pPr marR="0" lvl="0" indent="0" algn="just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</a:p>
        </p:txBody>
      </p:sp>
      <p:sp>
        <p:nvSpPr>
          <p:cNvPr id="22" name="弧形 21">
            <a:extLst>
              <a:ext uri="{FF2B5EF4-FFF2-40B4-BE49-F238E27FC236}">
                <a16:creationId xmlns:a16="http://schemas.microsoft.com/office/drawing/2014/main" id="{7C7C5BF9-0075-4766-93B4-F9820BECD558}"/>
              </a:ext>
            </a:extLst>
          </p:cNvPr>
          <p:cNvSpPr/>
          <p:nvPr/>
        </p:nvSpPr>
        <p:spPr>
          <a:xfrm>
            <a:off x="10300121" y="1821170"/>
            <a:ext cx="1036800" cy="1036800"/>
          </a:xfrm>
          <a:prstGeom prst="arc">
            <a:avLst>
              <a:gd name="adj1" fmla="val 17565908"/>
              <a:gd name="adj2" fmla="val 4097443"/>
            </a:avLst>
          </a:prstGeom>
          <a:noFill/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89A90DFD-3441-4D7E-8AEF-626669656C49}"/>
              </a:ext>
            </a:extLst>
          </p:cNvPr>
          <p:cNvSpPr/>
          <p:nvPr/>
        </p:nvSpPr>
        <p:spPr>
          <a:xfrm>
            <a:off x="2909704" y="3140512"/>
            <a:ext cx="8623483" cy="1373672"/>
          </a:xfrm>
          <a:custGeom>
            <a:avLst/>
            <a:gdLst>
              <a:gd name="connsiteX0" fmla="*/ 0 w 8623483"/>
              <a:gd name="connsiteY0" fmla="*/ 0 h 1373672"/>
              <a:gd name="connsiteX1" fmla="*/ 7936647 w 8623483"/>
              <a:gd name="connsiteY1" fmla="*/ 0 h 1373672"/>
              <a:gd name="connsiteX2" fmla="*/ 8623483 w 8623483"/>
              <a:gd name="connsiteY2" fmla="*/ 686836 h 1373672"/>
              <a:gd name="connsiteX3" fmla="*/ 8623482 w 8623483"/>
              <a:gd name="connsiteY3" fmla="*/ 686836 h 1373672"/>
              <a:gd name="connsiteX4" fmla="*/ 7936646 w 8623483"/>
              <a:gd name="connsiteY4" fmla="*/ 1373672 h 1373672"/>
              <a:gd name="connsiteX5" fmla="*/ 0 w 8623483"/>
              <a:gd name="connsiteY5" fmla="*/ 1373671 h 1373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23483" h="1373672">
                <a:moveTo>
                  <a:pt x="0" y="0"/>
                </a:moveTo>
                <a:lnTo>
                  <a:pt x="7936647" y="0"/>
                </a:lnTo>
                <a:cubicBezTo>
                  <a:pt x="8315976" y="0"/>
                  <a:pt x="8623483" y="307507"/>
                  <a:pt x="8623483" y="686836"/>
                </a:cubicBezTo>
                <a:lnTo>
                  <a:pt x="8623482" y="686836"/>
                </a:lnTo>
                <a:cubicBezTo>
                  <a:pt x="8623482" y="1066165"/>
                  <a:pt x="8315975" y="1373672"/>
                  <a:pt x="7936646" y="1373672"/>
                </a:cubicBezTo>
                <a:lnTo>
                  <a:pt x="0" y="137367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8" name="稿定PPT-6-4">
            <a:extLst>
              <a:ext uri="{FF2B5EF4-FFF2-40B4-BE49-F238E27FC236}">
                <a16:creationId xmlns:a16="http://schemas.microsoft.com/office/drawing/2014/main" id="{B2E5E7C3-CDF2-494E-ABF6-8F98465EF569}"/>
              </a:ext>
            </a:extLst>
          </p:cNvPr>
          <p:cNvSpPr txBox="1"/>
          <p:nvPr/>
        </p:nvSpPr>
        <p:spPr>
          <a:xfrm>
            <a:off x="3105595" y="3016469"/>
            <a:ext cx="2402261" cy="646331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29" name="稿定PPT-10-2">
            <a:extLst>
              <a:ext uri="{FF2B5EF4-FFF2-40B4-BE49-F238E27FC236}">
                <a16:creationId xmlns:a16="http://schemas.microsoft.com/office/drawing/2014/main" id="{AA4D8930-98BF-4F43-A3D5-6593D336F2C0}"/>
              </a:ext>
            </a:extLst>
          </p:cNvPr>
          <p:cNvSpPr txBox="1"/>
          <p:nvPr/>
        </p:nvSpPr>
        <p:spPr>
          <a:xfrm>
            <a:off x="3105595" y="3660460"/>
            <a:ext cx="7922711" cy="70993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R="0" lvl="0" indent="0" algn="just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</a:p>
        </p:txBody>
      </p:sp>
      <p:sp>
        <p:nvSpPr>
          <p:cNvPr id="27" name="弧形 26">
            <a:extLst>
              <a:ext uri="{FF2B5EF4-FFF2-40B4-BE49-F238E27FC236}">
                <a16:creationId xmlns:a16="http://schemas.microsoft.com/office/drawing/2014/main" id="{A43EF2AF-D7A0-4FA1-876C-ED93E5638CC4}"/>
              </a:ext>
            </a:extLst>
          </p:cNvPr>
          <p:cNvSpPr/>
          <p:nvPr/>
        </p:nvSpPr>
        <p:spPr>
          <a:xfrm>
            <a:off x="10300121" y="3308948"/>
            <a:ext cx="1036800" cy="1036800"/>
          </a:xfrm>
          <a:prstGeom prst="arc">
            <a:avLst>
              <a:gd name="adj1" fmla="val 17565908"/>
              <a:gd name="adj2" fmla="val 4097443"/>
            </a:avLst>
          </a:prstGeom>
          <a:noFill/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809A9C88-CF3C-4024-AD28-E70317301B9B}"/>
              </a:ext>
            </a:extLst>
          </p:cNvPr>
          <p:cNvSpPr/>
          <p:nvPr/>
        </p:nvSpPr>
        <p:spPr>
          <a:xfrm>
            <a:off x="2909704" y="4628290"/>
            <a:ext cx="8623483" cy="1373672"/>
          </a:xfrm>
          <a:custGeom>
            <a:avLst/>
            <a:gdLst>
              <a:gd name="connsiteX0" fmla="*/ 0 w 8623483"/>
              <a:gd name="connsiteY0" fmla="*/ 0 h 1373672"/>
              <a:gd name="connsiteX1" fmla="*/ 7936647 w 8623483"/>
              <a:gd name="connsiteY1" fmla="*/ 0 h 1373672"/>
              <a:gd name="connsiteX2" fmla="*/ 8623483 w 8623483"/>
              <a:gd name="connsiteY2" fmla="*/ 686836 h 1373672"/>
              <a:gd name="connsiteX3" fmla="*/ 8623482 w 8623483"/>
              <a:gd name="connsiteY3" fmla="*/ 686836 h 1373672"/>
              <a:gd name="connsiteX4" fmla="*/ 7936646 w 8623483"/>
              <a:gd name="connsiteY4" fmla="*/ 1373672 h 1373672"/>
              <a:gd name="connsiteX5" fmla="*/ 0 w 8623483"/>
              <a:gd name="connsiteY5" fmla="*/ 1373671 h 1373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23483" h="1373672">
                <a:moveTo>
                  <a:pt x="0" y="0"/>
                </a:moveTo>
                <a:lnTo>
                  <a:pt x="7936647" y="0"/>
                </a:lnTo>
                <a:cubicBezTo>
                  <a:pt x="8315976" y="0"/>
                  <a:pt x="8623483" y="307507"/>
                  <a:pt x="8623483" y="686836"/>
                </a:cubicBezTo>
                <a:lnTo>
                  <a:pt x="8623482" y="686836"/>
                </a:lnTo>
                <a:cubicBezTo>
                  <a:pt x="8623482" y="1066165"/>
                  <a:pt x="8315975" y="1373672"/>
                  <a:pt x="7936646" y="1373672"/>
                </a:cubicBezTo>
                <a:lnTo>
                  <a:pt x="0" y="1373671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3" name="稿定PPT-6-4">
            <a:extLst>
              <a:ext uri="{FF2B5EF4-FFF2-40B4-BE49-F238E27FC236}">
                <a16:creationId xmlns:a16="http://schemas.microsoft.com/office/drawing/2014/main" id="{69AF8049-CA1D-49BD-AC27-EED6E120C63A}"/>
              </a:ext>
            </a:extLst>
          </p:cNvPr>
          <p:cNvSpPr txBox="1"/>
          <p:nvPr/>
        </p:nvSpPr>
        <p:spPr>
          <a:xfrm>
            <a:off x="3105595" y="4504247"/>
            <a:ext cx="2402261" cy="646331"/>
          </a:xfrm>
          <a:prstGeom prst="rect">
            <a:avLst/>
          </a:prstGeom>
          <a:noFill/>
          <a:ln>
            <a:noFill/>
            <a:prstDash val="sysDot"/>
            <a:miter lim="800000"/>
          </a:ln>
        </p:spPr>
        <p:txBody>
          <a:bodyPr wrap="square" rtlCol="0" anchor="b">
            <a:spAutoFit/>
          </a:bodyPr>
          <a:lstStyle>
            <a:defPPr>
              <a:defRPr lang="zh-CN"/>
            </a:defPPr>
            <a:lvl1pPr>
              <a:defRPr kumimoji="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更快更轻松</a:t>
            </a:r>
          </a:p>
        </p:txBody>
      </p:sp>
      <p:sp>
        <p:nvSpPr>
          <p:cNvPr id="34" name="稿定PPT-10-2">
            <a:extLst>
              <a:ext uri="{FF2B5EF4-FFF2-40B4-BE49-F238E27FC236}">
                <a16:creationId xmlns:a16="http://schemas.microsoft.com/office/drawing/2014/main" id="{8348EB62-9256-48FC-A5D1-B48B4D5208DB}"/>
              </a:ext>
            </a:extLst>
          </p:cNvPr>
          <p:cNvSpPr txBox="1"/>
          <p:nvPr/>
        </p:nvSpPr>
        <p:spPr>
          <a:xfrm>
            <a:off x="3105595" y="5148238"/>
            <a:ext cx="7922711" cy="70993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spAutoFit/>
          </a:bodyPr>
          <a:lstStyle>
            <a:defPPr>
              <a:defRPr lang="zh-CN"/>
            </a:defPPr>
            <a:lvl1pPr marR="0" lvl="0" indent="0" algn="just" defTabSz="91376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just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设计是一个聚焦商业设计的多场景在线设计平台，我们打破了软硬件间的技术限制，汇集创意内容与设计工具于一体，为不同场景下的设计需求提供优质的解决方案。</a:t>
            </a:r>
          </a:p>
        </p:txBody>
      </p:sp>
      <p:sp>
        <p:nvSpPr>
          <p:cNvPr id="32" name="弧形 31">
            <a:extLst>
              <a:ext uri="{FF2B5EF4-FFF2-40B4-BE49-F238E27FC236}">
                <a16:creationId xmlns:a16="http://schemas.microsoft.com/office/drawing/2014/main" id="{5493725D-50E9-4068-9175-2E44ECB0AA1D}"/>
              </a:ext>
            </a:extLst>
          </p:cNvPr>
          <p:cNvSpPr/>
          <p:nvPr/>
        </p:nvSpPr>
        <p:spPr>
          <a:xfrm>
            <a:off x="10300121" y="4796726"/>
            <a:ext cx="1036800" cy="1036800"/>
          </a:xfrm>
          <a:prstGeom prst="arc">
            <a:avLst>
              <a:gd name="adj1" fmla="val 17565908"/>
              <a:gd name="adj2" fmla="val 4097443"/>
            </a:avLst>
          </a:prstGeom>
          <a:noFill/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  <p:pic>
        <p:nvPicPr>
          <p:cNvPr id="7" name="图片 1" descr="徽标&#10;&#10;描述已自动生成">
            <a:extLst>
              <a:ext uri="{FF2B5EF4-FFF2-40B4-BE49-F238E27FC236}">
                <a16:creationId xmlns:a16="http://schemas.microsoft.com/office/drawing/2014/main" id="{4FE7FAF5-5A39-4B89-9D85-DFDF712737B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105" y="1992170"/>
            <a:ext cx="700271" cy="694800"/>
          </a:xfrm>
          <a:prstGeom prst="rect">
            <a:avLst/>
          </a:prstGeom>
        </p:spPr>
      </p:pic>
      <p:pic>
        <p:nvPicPr>
          <p:cNvPr id="8" name="图片 2" descr="徽标&#10;&#10;描述已自动生成">
            <a:extLst>
              <a:ext uri="{FF2B5EF4-FFF2-40B4-BE49-F238E27FC236}">
                <a16:creationId xmlns:a16="http://schemas.microsoft.com/office/drawing/2014/main" id="{B569A560-C5BC-426D-876B-4D06E9D210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7197" y="3479948"/>
            <a:ext cx="692086" cy="694800"/>
          </a:xfrm>
          <a:prstGeom prst="rect">
            <a:avLst/>
          </a:prstGeom>
        </p:spPr>
      </p:pic>
      <p:pic>
        <p:nvPicPr>
          <p:cNvPr id="9" name="图片 3" descr="徽标&#10;&#10;描述已自动生成">
            <a:extLst>
              <a:ext uri="{FF2B5EF4-FFF2-40B4-BE49-F238E27FC236}">
                <a16:creationId xmlns:a16="http://schemas.microsoft.com/office/drawing/2014/main" id="{5E1A41C7-651B-4233-8180-FDC00A3FAD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5840" y="4967726"/>
            <a:ext cx="694800" cy="694800"/>
          </a:xfrm>
          <a:prstGeom prst="rect">
            <a:avLst/>
          </a:prstGeom>
        </p:spPr>
      </p:pic>
      <p:sp>
        <p:nvSpPr>
          <p:cNvPr id="35" name="箭头: 虚尾 1">
            <a:extLst>
              <a:ext uri="{FF2B5EF4-FFF2-40B4-BE49-F238E27FC236}">
                <a16:creationId xmlns:a16="http://schemas.microsoft.com/office/drawing/2014/main" id="{F153D402-174B-4A67-9E0A-B24D19DF39D9}"/>
              </a:ext>
            </a:extLst>
          </p:cNvPr>
          <p:cNvSpPr/>
          <p:nvPr/>
        </p:nvSpPr>
        <p:spPr>
          <a:xfrm>
            <a:off x="2277724" y="2223108"/>
            <a:ext cx="470242" cy="232924"/>
          </a:xfrm>
          <a:prstGeom prst="stripedRightArrow">
            <a:avLst>
              <a:gd name="adj1" fmla="val 66357"/>
              <a:gd name="adj2" fmla="val 56816"/>
            </a:avLst>
          </a:prstGeom>
          <a:gradFill flip="none" rotWithShape="1">
            <a:gsLst>
              <a:gs pos="0">
                <a:schemeClr val="accent2">
                  <a:alpha val="30000"/>
                </a:schemeClr>
              </a:gs>
              <a:gs pos="100000">
                <a:schemeClr val="accent2"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6" name="箭头: 虚尾 2">
            <a:extLst>
              <a:ext uri="{FF2B5EF4-FFF2-40B4-BE49-F238E27FC236}">
                <a16:creationId xmlns:a16="http://schemas.microsoft.com/office/drawing/2014/main" id="{1FD32A4C-1900-4D26-9FAB-903F03C05BC8}"/>
              </a:ext>
            </a:extLst>
          </p:cNvPr>
          <p:cNvSpPr/>
          <p:nvPr/>
        </p:nvSpPr>
        <p:spPr>
          <a:xfrm>
            <a:off x="2277724" y="3710886"/>
            <a:ext cx="470242" cy="232924"/>
          </a:xfrm>
          <a:prstGeom prst="stripedRightArrow">
            <a:avLst>
              <a:gd name="adj1" fmla="val 66357"/>
              <a:gd name="adj2" fmla="val 56816"/>
            </a:avLst>
          </a:prstGeom>
          <a:gradFill flip="none" rotWithShape="1">
            <a:gsLst>
              <a:gs pos="0">
                <a:schemeClr val="accent2">
                  <a:alpha val="30000"/>
                </a:schemeClr>
              </a:gs>
              <a:gs pos="100000">
                <a:schemeClr val="accent2"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7" name="箭头: 虚尾 3">
            <a:extLst>
              <a:ext uri="{FF2B5EF4-FFF2-40B4-BE49-F238E27FC236}">
                <a16:creationId xmlns:a16="http://schemas.microsoft.com/office/drawing/2014/main" id="{DD0DCBA8-9832-43A9-84D0-5F358F5CE8E0}"/>
              </a:ext>
            </a:extLst>
          </p:cNvPr>
          <p:cNvSpPr/>
          <p:nvPr/>
        </p:nvSpPr>
        <p:spPr>
          <a:xfrm>
            <a:off x="2277724" y="5198664"/>
            <a:ext cx="470242" cy="232924"/>
          </a:xfrm>
          <a:prstGeom prst="stripedRightArrow">
            <a:avLst>
              <a:gd name="adj1" fmla="val 66357"/>
              <a:gd name="adj2" fmla="val 56816"/>
            </a:avLst>
          </a:prstGeom>
          <a:gradFill flip="none" rotWithShape="1">
            <a:gsLst>
              <a:gs pos="0">
                <a:schemeClr val="accent2">
                  <a:alpha val="30000"/>
                </a:schemeClr>
              </a:gs>
              <a:gs pos="100000">
                <a:schemeClr val="accent2"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42" name="稿定PPT-1">
            <a:extLst>
              <a:ext uri="{FF2B5EF4-FFF2-40B4-BE49-F238E27FC236}">
                <a16:creationId xmlns:a16="http://schemas.microsoft.com/office/drawing/2014/main" id="{A9DA49CB-77A4-4B15-9EB0-3022D8710509}"/>
              </a:ext>
            </a:extLst>
          </p:cNvPr>
          <p:cNvSpPr txBox="1"/>
          <p:nvPr/>
        </p:nvSpPr>
        <p:spPr>
          <a:xfrm>
            <a:off x="827765" y="444513"/>
            <a:ext cx="3954935" cy="4431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设计师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PPT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+mn-cs"/>
              </a:rPr>
              <a:t>，海量素材持续更新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H" panose="00020600040101010101" pitchFamily="18" charset="-122"/>
              <a:ea typeface="OPPOSans H" panose="00020600040101010101" pitchFamily="18" charset="-122"/>
              <a:cs typeface="+mn-cs"/>
            </a:endParaRPr>
          </a:p>
        </p:txBody>
      </p:sp>
      <p:sp>
        <p:nvSpPr>
          <p:cNvPr id="43" name="稿定PPT-2">
            <a:extLst>
              <a:ext uri="{FF2B5EF4-FFF2-40B4-BE49-F238E27FC236}">
                <a16:creationId xmlns:a16="http://schemas.microsoft.com/office/drawing/2014/main" id="{A6F11184-4C3C-4A8F-B8F6-B52972E4BC87}"/>
              </a:ext>
            </a:extLst>
          </p:cNvPr>
          <p:cNvSpPr txBox="1"/>
          <p:nvPr/>
        </p:nvSpPr>
        <p:spPr>
          <a:xfrm>
            <a:off x="827765" y="829574"/>
            <a:ext cx="6181630" cy="2091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44" name="任意多边形: 形状 1">
            <a:extLst>
              <a:ext uri="{FF2B5EF4-FFF2-40B4-BE49-F238E27FC236}">
                <a16:creationId xmlns:a16="http://schemas.microsoft.com/office/drawing/2014/main" id="{762C0AC1-A5CF-4B40-A3F9-9EFFE20AACE9}"/>
              </a:ext>
            </a:extLst>
          </p:cNvPr>
          <p:cNvSpPr/>
          <p:nvPr/>
        </p:nvSpPr>
        <p:spPr>
          <a:xfrm>
            <a:off x="447823" y="554037"/>
            <a:ext cx="267291" cy="267292"/>
          </a:xfrm>
          <a:custGeom>
            <a:avLst/>
            <a:gdLst>
              <a:gd name="connsiteX0" fmla="*/ 111818 w 223634"/>
              <a:gd name="connsiteY0" fmla="*/ 168724 h 223635"/>
              <a:gd name="connsiteX1" fmla="*/ 111818 w 223634"/>
              <a:gd name="connsiteY1" fmla="*/ 168726 h 223635"/>
              <a:gd name="connsiteX2" fmla="*/ 111817 w 223634"/>
              <a:gd name="connsiteY2" fmla="*/ 168727 h 223635"/>
              <a:gd name="connsiteX3" fmla="*/ 23080 w 223634"/>
              <a:gd name="connsiteY3" fmla="*/ 68737 h 223635"/>
              <a:gd name="connsiteX4" fmla="*/ 43982 w 223634"/>
              <a:gd name="connsiteY4" fmla="*/ 80805 h 223635"/>
              <a:gd name="connsiteX5" fmla="*/ 38263 w 223634"/>
              <a:gd name="connsiteY5" fmla="*/ 90150 h 223635"/>
              <a:gd name="connsiteX6" fmla="*/ 45168 w 223634"/>
              <a:gd name="connsiteY6" fmla="*/ 178468 h 223635"/>
              <a:gd name="connsiteX7" fmla="*/ 163489 w 223634"/>
              <a:gd name="connsiteY7" fmla="*/ 163490 h 223635"/>
              <a:gd name="connsiteX8" fmla="*/ 171325 w 223634"/>
              <a:gd name="connsiteY8" fmla="*/ 154326 h 223635"/>
              <a:gd name="connsiteX9" fmla="*/ 192235 w 223634"/>
              <a:gd name="connsiteY9" fmla="*/ 166398 h 223635"/>
              <a:gd name="connsiteX10" fmla="*/ 180326 w 223634"/>
              <a:gd name="connsiteY10" fmla="*/ 180327 h 223635"/>
              <a:gd name="connsiteX11" fmla="*/ 23451 w 223634"/>
              <a:gd name="connsiteY11" fmla="*/ 200184 h 223635"/>
              <a:gd name="connsiteX12" fmla="*/ 14296 w 223634"/>
              <a:gd name="connsiteY12" fmla="*/ 83089 h 223635"/>
              <a:gd name="connsiteX13" fmla="*/ 111818 w 223634"/>
              <a:gd name="connsiteY13" fmla="*/ 54910 h 223635"/>
              <a:gd name="connsiteX14" fmla="*/ 168175 w 223634"/>
              <a:gd name="connsiteY14" fmla="*/ 111267 h 223635"/>
              <a:gd name="connsiteX15" fmla="*/ 168174 w 223634"/>
              <a:gd name="connsiteY15" fmla="*/ 112370 h 223635"/>
              <a:gd name="connsiteX16" fmla="*/ 116246 w 223634"/>
              <a:gd name="connsiteY16" fmla="*/ 146790 h 223635"/>
              <a:gd name="connsiteX17" fmla="*/ 111818 w 223634"/>
              <a:gd name="connsiteY17" fmla="*/ 168724 h 223635"/>
              <a:gd name="connsiteX18" fmla="*/ 107389 w 223634"/>
              <a:gd name="connsiteY18" fmla="*/ 146789 h 223635"/>
              <a:gd name="connsiteX19" fmla="*/ 55461 w 223634"/>
              <a:gd name="connsiteY19" fmla="*/ 112369 h 223635"/>
              <a:gd name="connsiteX20" fmla="*/ 55461 w 223634"/>
              <a:gd name="connsiteY20" fmla="*/ 111267 h 223635"/>
              <a:gd name="connsiteX21" fmla="*/ 111818 w 223634"/>
              <a:gd name="connsiteY21" fmla="*/ 54910 h 223635"/>
              <a:gd name="connsiteX22" fmla="*/ 146788 w 223634"/>
              <a:gd name="connsiteY22" fmla="*/ 239 h 223635"/>
              <a:gd name="connsiteX23" fmla="*/ 200183 w 223634"/>
              <a:gd name="connsiteY23" fmla="*/ 23452 h 223635"/>
              <a:gd name="connsiteX24" fmla="*/ 209338 w 223634"/>
              <a:gd name="connsiteY24" fmla="*/ 140547 h 223635"/>
              <a:gd name="connsiteX25" fmla="*/ 200554 w 223634"/>
              <a:gd name="connsiteY25" fmla="*/ 154899 h 223635"/>
              <a:gd name="connsiteX26" fmla="*/ 179652 w 223634"/>
              <a:gd name="connsiteY26" fmla="*/ 142831 h 223635"/>
              <a:gd name="connsiteX27" fmla="*/ 185372 w 223634"/>
              <a:gd name="connsiteY27" fmla="*/ 133487 h 223635"/>
              <a:gd name="connsiteX28" fmla="*/ 178467 w 223634"/>
              <a:gd name="connsiteY28" fmla="*/ 45169 h 223635"/>
              <a:gd name="connsiteX29" fmla="*/ 138193 w 223634"/>
              <a:gd name="connsiteY29" fmla="*/ 27661 h 223635"/>
              <a:gd name="connsiteX30" fmla="*/ 60145 w 223634"/>
              <a:gd name="connsiteY30" fmla="*/ 60146 h 223635"/>
              <a:gd name="connsiteX31" fmla="*/ 52309 w 223634"/>
              <a:gd name="connsiteY31" fmla="*/ 69310 h 223635"/>
              <a:gd name="connsiteX32" fmla="*/ 31399 w 223634"/>
              <a:gd name="connsiteY32" fmla="*/ 57238 h 223635"/>
              <a:gd name="connsiteX33" fmla="*/ 43308 w 223634"/>
              <a:gd name="connsiteY33" fmla="*/ 43309 h 223635"/>
              <a:gd name="connsiteX34" fmla="*/ 146788 w 223634"/>
              <a:gd name="connsiteY34" fmla="*/ 239 h 223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223634" h="223635">
                <a:moveTo>
                  <a:pt x="111818" y="168724"/>
                </a:moveTo>
                <a:lnTo>
                  <a:pt x="111818" y="168726"/>
                </a:lnTo>
                <a:lnTo>
                  <a:pt x="111817" y="168727"/>
                </a:lnTo>
                <a:close/>
                <a:moveTo>
                  <a:pt x="23080" y="68737"/>
                </a:moveTo>
                <a:lnTo>
                  <a:pt x="43982" y="80805"/>
                </a:lnTo>
                <a:lnTo>
                  <a:pt x="38263" y="90150"/>
                </a:lnTo>
                <a:cubicBezTo>
                  <a:pt x="22185" y="121915"/>
                  <a:pt x="23764" y="157065"/>
                  <a:pt x="45168" y="178468"/>
                </a:cubicBezTo>
                <a:cubicBezTo>
                  <a:pt x="73705" y="207005"/>
                  <a:pt x="126680" y="200300"/>
                  <a:pt x="163489" y="163490"/>
                </a:cubicBezTo>
                <a:lnTo>
                  <a:pt x="171325" y="154326"/>
                </a:lnTo>
                <a:lnTo>
                  <a:pt x="192235" y="166398"/>
                </a:lnTo>
                <a:lnTo>
                  <a:pt x="180326" y="180327"/>
                </a:lnTo>
                <a:cubicBezTo>
                  <a:pt x="131522" y="229130"/>
                  <a:pt x="61287" y="238021"/>
                  <a:pt x="23451" y="200184"/>
                </a:cubicBezTo>
                <a:cubicBezTo>
                  <a:pt x="-4927" y="171807"/>
                  <a:pt x="-7020" y="125206"/>
                  <a:pt x="14296" y="83089"/>
                </a:cubicBezTo>
                <a:close/>
                <a:moveTo>
                  <a:pt x="111818" y="54910"/>
                </a:moveTo>
                <a:cubicBezTo>
                  <a:pt x="111818" y="86035"/>
                  <a:pt x="137050" y="111267"/>
                  <a:pt x="168175" y="111267"/>
                </a:cubicBezTo>
                <a:cubicBezTo>
                  <a:pt x="168175" y="111635"/>
                  <a:pt x="168174" y="112002"/>
                  <a:pt x="168174" y="112370"/>
                </a:cubicBezTo>
                <a:cubicBezTo>
                  <a:pt x="144830" y="112370"/>
                  <a:pt x="124801" y="126563"/>
                  <a:pt x="116246" y="146790"/>
                </a:cubicBezTo>
                <a:lnTo>
                  <a:pt x="111818" y="168724"/>
                </a:lnTo>
                <a:lnTo>
                  <a:pt x="107389" y="146789"/>
                </a:lnTo>
                <a:cubicBezTo>
                  <a:pt x="98834" y="126562"/>
                  <a:pt x="78805" y="112369"/>
                  <a:pt x="55461" y="112369"/>
                </a:cubicBezTo>
                <a:lnTo>
                  <a:pt x="55461" y="111267"/>
                </a:lnTo>
                <a:cubicBezTo>
                  <a:pt x="86586" y="111267"/>
                  <a:pt x="111818" y="86035"/>
                  <a:pt x="111818" y="54910"/>
                </a:cubicBezTo>
                <a:close/>
                <a:moveTo>
                  <a:pt x="146788" y="239"/>
                </a:moveTo>
                <a:cubicBezTo>
                  <a:pt x="167250" y="1645"/>
                  <a:pt x="185995" y="9263"/>
                  <a:pt x="200183" y="23452"/>
                </a:cubicBezTo>
                <a:cubicBezTo>
                  <a:pt x="228561" y="51829"/>
                  <a:pt x="230654" y="98431"/>
                  <a:pt x="209338" y="140547"/>
                </a:cubicBezTo>
                <a:lnTo>
                  <a:pt x="200554" y="154899"/>
                </a:lnTo>
                <a:lnTo>
                  <a:pt x="179652" y="142831"/>
                </a:lnTo>
                <a:lnTo>
                  <a:pt x="185372" y="133487"/>
                </a:lnTo>
                <a:cubicBezTo>
                  <a:pt x="201449" y="101721"/>
                  <a:pt x="199870" y="66572"/>
                  <a:pt x="178467" y="45169"/>
                </a:cubicBezTo>
                <a:cubicBezTo>
                  <a:pt x="167765" y="34467"/>
                  <a:pt x="153627" y="28721"/>
                  <a:pt x="138193" y="27661"/>
                </a:cubicBezTo>
                <a:cubicBezTo>
                  <a:pt x="112471" y="25894"/>
                  <a:pt x="83151" y="37140"/>
                  <a:pt x="60145" y="60146"/>
                </a:cubicBezTo>
                <a:lnTo>
                  <a:pt x="52309" y="69310"/>
                </a:lnTo>
                <a:lnTo>
                  <a:pt x="31399" y="57238"/>
                </a:lnTo>
                <a:lnTo>
                  <a:pt x="43308" y="43309"/>
                </a:lnTo>
                <a:cubicBezTo>
                  <a:pt x="73811" y="12807"/>
                  <a:pt x="112684" y="-2104"/>
                  <a:pt x="146788" y="239"/>
                </a:cubicBezTo>
                <a:close/>
              </a:path>
            </a:pathLst>
          </a:custGeom>
          <a:gradFill>
            <a:gsLst>
              <a:gs pos="0">
                <a:schemeClr val="accent2"/>
              </a:gs>
              <a:gs pos="61000">
                <a:schemeClr val="accent3"/>
              </a:gs>
              <a:gs pos="100000">
                <a:schemeClr val="accent4"/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L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59266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extLst>
              <a:ext uri="{FF2B5EF4-FFF2-40B4-BE49-F238E27FC236}">
                <a16:creationId xmlns:a16="http://schemas.microsoft.com/office/drawing/2014/main" id="{1C78CBD1-6FCF-4B10-AD94-A9B6CBA1D1FA}"/>
              </a:ext>
            </a:extLst>
          </p:cNvPr>
          <p:cNvSpPr/>
          <p:nvPr/>
        </p:nvSpPr>
        <p:spPr>
          <a:xfrm>
            <a:off x="1036355" y="1769051"/>
            <a:ext cx="10107038" cy="7143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01AAB98E-0338-4752-98BA-8417BDB9AD96}"/>
              </a:ext>
            </a:extLst>
          </p:cNvPr>
          <p:cNvSpPr/>
          <p:nvPr/>
        </p:nvSpPr>
        <p:spPr>
          <a:xfrm>
            <a:off x="1145045" y="2834318"/>
            <a:ext cx="1705896" cy="2640501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AE7B7F6-A560-4B27-B31B-B5648924F0AF}"/>
              </a:ext>
            </a:extLst>
          </p:cNvPr>
          <p:cNvSpPr/>
          <p:nvPr/>
        </p:nvSpPr>
        <p:spPr>
          <a:xfrm>
            <a:off x="1863222" y="293959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3ADE57DF-A30F-47EE-8592-79A372C3E5CD}"/>
              </a:ext>
            </a:extLst>
          </p:cNvPr>
          <p:cNvSpPr/>
          <p:nvPr/>
        </p:nvSpPr>
        <p:spPr>
          <a:xfrm>
            <a:off x="1145045" y="5441199"/>
            <a:ext cx="1705896" cy="269541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2AE97DF4-5476-4608-93E1-09D712336E59}"/>
              </a:ext>
            </a:extLst>
          </p:cNvPr>
          <p:cNvSpPr/>
          <p:nvPr/>
        </p:nvSpPr>
        <p:spPr>
          <a:xfrm>
            <a:off x="1874717" y="196128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059C32F1-222F-4961-987D-079FEF409D58}"/>
              </a:ext>
            </a:extLst>
          </p:cNvPr>
          <p:cNvCxnSpPr>
            <a:stCxn id="22" idx="4"/>
            <a:endCxn id="5" idx="0"/>
          </p:cNvCxnSpPr>
          <p:nvPr/>
        </p:nvCxnSpPr>
        <p:spPr>
          <a:xfrm flipH="1">
            <a:off x="1997993" y="2230823"/>
            <a:ext cx="11495" cy="70876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>
            <a:extLst>
              <a:ext uri="{FF2B5EF4-FFF2-40B4-BE49-F238E27FC236}">
                <a16:creationId xmlns:a16="http://schemas.microsoft.com/office/drawing/2014/main" id="{6CA923DA-8335-4BEB-B551-FC94326E587D}"/>
              </a:ext>
            </a:extLst>
          </p:cNvPr>
          <p:cNvSpPr/>
          <p:nvPr/>
        </p:nvSpPr>
        <p:spPr>
          <a:xfrm>
            <a:off x="3185238" y="2834318"/>
            <a:ext cx="1705896" cy="2640501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7C16EDE6-819A-4396-BDAE-CB83941C74FE}"/>
              </a:ext>
            </a:extLst>
          </p:cNvPr>
          <p:cNvSpPr/>
          <p:nvPr/>
        </p:nvSpPr>
        <p:spPr>
          <a:xfrm>
            <a:off x="3903415" y="293959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1FB1CA-EF12-49D7-8816-5D1B2021165F}"/>
              </a:ext>
            </a:extLst>
          </p:cNvPr>
          <p:cNvSpPr/>
          <p:nvPr/>
        </p:nvSpPr>
        <p:spPr>
          <a:xfrm>
            <a:off x="3185238" y="5441199"/>
            <a:ext cx="1705896" cy="269541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359E261C-FBFF-4856-ACDC-62680066331E}"/>
              </a:ext>
            </a:extLst>
          </p:cNvPr>
          <p:cNvSpPr/>
          <p:nvPr/>
        </p:nvSpPr>
        <p:spPr>
          <a:xfrm>
            <a:off x="3914910" y="196128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AC707811-03EC-4D20-A5A7-2788495D2346}"/>
              </a:ext>
            </a:extLst>
          </p:cNvPr>
          <p:cNvCxnSpPr>
            <a:stCxn id="28" idx="4"/>
            <a:endCxn id="26" idx="0"/>
          </p:cNvCxnSpPr>
          <p:nvPr/>
        </p:nvCxnSpPr>
        <p:spPr>
          <a:xfrm flipH="1">
            <a:off x="4038186" y="2230823"/>
            <a:ext cx="11495" cy="70876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>
            <a:extLst>
              <a:ext uri="{FF2B5EF4-FFF2-40B4-BE49-F238E27FC236}">
                <a16:creationId xmlns:a16="http://schemas.microsoft.com/office/drawing/2014/main" id="{9063AE2A-EEED-4811-9604-36C346166860}"/>
              </a:ext>
            </a:extLst>
          </p:cNvPr>
          <p:cNvSpPr/>
          <p:nvPr/>
        </p:nvSpPr>
        <p:spPr>
          <a:xfrm>
            <a:off x="5236926" y="2834318"/>
            <a:ext cx="1705896" cy="2640501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6B6A7CFD-3DB7-4413-8072-8FF71EA18442}"/>
              </a:ext>
            </a:extLst>
          </p:cNvPr>
          <p:cNvSpPr/>
          <p:nvPr/>
        </p:nvSpPr>
        <p:spPr>
          <a:xfrm>
            <a:off x="5955103" y="293959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79A7998C-BDFC-489A-B1BC-033D924042A4}"/>
              </a:ext>
            </a:extLst>
          </p:cNvPr>
          <p:cNvSpPr/>
          <p:nvPr/>
        </p:nvSpPr>
        <p:spPr>
          <a:xfrm>
            <a:off x="5236926" y="5441199"/>
            <a:ext cx="1705896" cy="269541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1E1B4FF4-1ADE-46DF-8BFA-9CA1A20E8D7E}"/>
              </a:ext>
            </a:extLst>
          </p:cNvPr>
          <p:cNvSpPr/>
          <p:nvPr/>
        </p:nvSpPr>
        <p:spPr>
          <a:xfrm>
            <a:off x="5966598" y="196128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85F841E3-284E-43E4-A19A-DE65DD313537}"/>
              </a:ext>
            </a:extLst>
          </p:cNvPr>
          <p:cNvCxnSpPr>
            <a:stCxn id="33" idx="4"/>
            <a:endCxn id="31" idx="0"/>
          </p:cNvCxnSpPr>
          <p:nvPr/>
        </p:nvCxnSpPr>
        <p:spPr>
          <a:xfrm flipH="1">
            <a:off x="6089874" y="2230823"/>
            <a:ext cx="11495" cy="70876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矩形 34">
            <a:extLst>
              <a:ext uri="{FF2B5EF4-FFF2-40B4-BE49-F238E27FC236}">
                <a16:creationId xmlns:a16="http://schemas.microsoft.com/office/drawing/2014/main" id="{E6C24163-7564-47D4-8402-6280EE2DE653}"/>
              </a:ext>
            </a:extLst>
          </p:cNvPr>
          <p:cNvSpPr/>
          <p:nvPr/>
        </p:nvSpPr>
        <p:spPr>
          <a:xfrm>
            <a:off x="7277119" y="2834318"/>
            <a:ext cx="1705896" cy="2640501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77C2F42C-8055-4500-8F7E-4FBABEF0F1CE}"/>
              </a:ext>
            </a:extLst>
          </p:cNvPr>
          <p:cNvSpPr/>
          <p:nvPr/>
        </p:nvSpPr>
        <p:spPr>
          <a:xfrm>
            <a:off x="7995296" y="293959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7CE34B60-29C1-47F8-95F4-015BA90C99FC}"/>
              </a:ext>
            </a:extLst>
          </p:cNvPr>
          <p:cNvSpPr/>
          <p:nvPr/>
        </p:nvSpPr>
        <p:spPr>
          <a:xfrm>
            <a:off x="7277119" y="5441199"/>
            <a:ext cx="1705896" cy="269541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9F85FB71-DB1C-4CAF-9CDA-573909E3EBF3}"/>
              </a:ext>
            </a:extLst>
          </p:cNvPr>
          <p:cNvSpPr/>
          <p:nvPr/>
        </p:nvSpPr>
        <p:spPr>
          <a:xfrm>
            <a:off x="8006791" y="196128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4C3DBFC8-8E40-4BB9-AFC1-BC10BF43571F}"/>
              </a:ext>
            </a:extLst>
          </p:cNvPr>
          <p:cNvCxnSpPr>
            <a:stCxn id="38" idx="4"/>
            <a:endCxn id="36" idx="0"/>
          </p:cNvCxnSpPr>
          <p:nvPr/>
        </p:nvCxnSpPr>
        <p:spPr>
          <a:xfrm flipH="1">
            <a:off x="8130067" y="2230823"/>
            <a:ext cx="11495" cy="70876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15E47AE2-6505-46B4-A406-20EF36EFB55C}"/>
              </a:ext>
            </a:extLst>
          </p:cNvPr>
          <p:cNvSpPr/>
          <p:nvPr/>
        </p:nvSpPr>
        <p:spPr>
          <a:xfrm>
            <a:off x="9317312" y="2800698"/>
            <a:ext cx="1705896" cy="2640501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3F8331DF-51E4-4C70-BCB0-E1DACE72710A}"/>
              </a:ext>
            </a:extLst>
          </p:cNvPr>
          <p:cNvSpPr/>
          <p:nvPr/>
        </p:nvSpPr>
        <p:spPr>
          <a:xfrm>
            <a:off x="10035489" y="290597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1CCA019D-D4D7-456E-85E9-57F09285A0A0}"/>
              </a:ext>
            </a:extLst>
          </p:cNvPr>
          <p:cNvSpPr/>
          <p:nvPr/>
        </p:nvSpPr>
        <p:spPr>
          <a:xfrm>
            <a:off x="9317312" y="5407579"/>
            <a:ext cx="1705896" cy="269541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B334C59A-5241-4EE5-8B04-49005CEB61BA}"/>
              </a:ext>
            </a:extLst>
          </p:cNvPr>
          <p:cNvSpPr/>
          <p:nvPr/>
        </p:nvSpPr>
        <p:spPr>
          <a:xfrm>
            <a:off x="10046984" y="1927662"/>
            <a:ext cx="269541" cy="2695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58A994D2-9C6C-492A-BF06-3A78C6CF7D89}"/>
              </a:ext>
            </a:extLst>
          </p:cNvPr>
          <p:cNvCxnSpPr>
            <a:stCxn id="43" idx="4"/>
            <a:endCxn id="41" idx="0"/>
          </p:cNvCxnSpPr>
          <p:nvPr/>
        </p:nvCxnSpPr>
        <p:spPr>
          <a:xfrm flipH="1">
            <a:off x="10170260" y="2197203"/>
            <a:ext cx="11495" cy="70876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>
            <a:extLst>
              <a:ext uri="{FF2B5EF4-FFF2-40B4-BE49-F238E27FC236}">
                <a16:creationId xmlns:a16="http://schemas.microsoft.com/office/drawing/2014/main" id="{7A69162B-1681-4DFF-AAD3-1DE1C830046F}"/>
              </a:ext>
            </a:extLst>
          </p:cNvPr>
          <p:cNvSpPr txBox="1"/>
          <p:nvPr/>
        </p:nvSpPr>
        <p:spPr>
          <a:xfrm>
            <a:off x="5170394" y="576302"/>
            <a:ext cx="183896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研究意义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15C8E532-51A5-4145-B843-CC01EAD56D7A}"/>
              </a:ext>
            </a:extLst>
          </p:cNvPr>
          <p:cNvSpPr txBox="1"/>
          <p:nvPr/>
        </p:nvSpPr>
        <p:spPr>
          <a:xfrm>
            <a:off x="5080844" y="1147260"/>
            <a:ext cx="219507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Research meaning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3C097954-682C-4B11-8376-9737D0F31954}"/>
              </a:ext>
            </a:extLst>
          </p:cNvPr>
          <p:cNvGrpSpPr/>
          <p:nvPr/>
        </p:nvGrpSpPr>
        <p:grpSpPr>
          <a:xfrm>
            <a:off x="2942005" y="3245298"/>
            <a:ext cx="163664" cy="2162281"/>
            <a:chOff x="3006050" y="3097766"/>
            <a:chExt cx="163664" cy="2162281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4F29F6CC-31FA-45C6-BAB1-4DE045F1D7F4}"/>
                </a:ext>
              </a:extLst>
            </p:cNvPr>
            <p:cNvSpPr/>
            <p:nvPr/>
          </p:nvSpPr>
          <p:spPr>
            <a:xfrm>
              <a:off x="3006050" y="3489790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92A15645-5B2E-46ED-A80D-5B9D9D6D48BA}"/>
                </a:ext>
              </a:extLst>
            </p:cNvPr>
            <p:cNvSpPr/>
            <p:nvPr/>
          </p:nvSpPr>
          <p:spPr>
            <a:xfrm>
              <a:off x="3006050" y="3875627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81A9EBF7-0378-4AB1-8015-ED91A00F2998}"/>
                </a:ext>
              </a:extLst>
            </p:cNvPr>
            <p:cNvSpPr/>
            <p:nvPr/>
          </p:nvSpPr>
          <p:spPr>
            <a:xfrm>
              <a:off x="3006050" y="4261464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04854FC9-A9D5-4C40-8F38-49B8FECFB56A}"/>
                </a:ext>
              </a:extLst>
            </p:cNvPr>
            <p:cNvSpPr/>
            <p:nvPr/>
          </p:nvSpPr>
          <p:spPr>
            <a:xfrm>
              <a:off x="3006050" y="4647301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0D058CE7-31E2-409B-9165-4ABDE7AA0176}"/>
                </a:ext>
              </a:extLst>
            </p:cNvPr>
            <p:cNvSpPr/>
            <p:nvPr/>
          </p:nvSpPr>
          <p:spPr>
            <a:xfrm>
              <a:off x="3006050" y="3097766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11EE792C-5D20-4D06-8AD0-6E9781D678F1}"/>
                </a:ext>
              </a:extLst>
            </p:cNvPr>
            <p:cNvSpPr/>
            <p:nvPr/>
          </p:nvSpPr>
          <p:spPr>
            <a:xfrm>
              <a:off x="3006050" y="5033138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522D2B1C-1770-4148-A305-5A093B7F6C39}"/>
              </a:ext>
            </a:extLst>
          </p:cNvPr>
          <p:cNvGrpSpPr/>
          <p:nvPr/>
        </p:nvGrpSpPr>
        <p:grpSpPr>
          <a:xfrm>
            <a:off x="4970703" y="3257468"/>
            <a:ext cx="163664" cy="2162281"/>
            <a:chOff x="3006050" y="3097766"/>
            <a:chExt cx="163664" cy="2162281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8FF8D1CD-4046-47AF-A969-B789C9D84BD9}"/>
                </a:ext>
              </a:extLst>
            </p:cNvPr>
            <p:cNvSpPr/>
            <p:nvPr/>
          </p:nvSpPr>
          <p:spPr>
            <a:xfrm>
              <a:off x="3006050" y="3489790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8B6482ED-BB01-4F0B-AFBA-85F082D613AC}"/>
                </a:ext>
              </a:extLst>
            </p:cNvPr>
            <p:cNvSpPr/>
            <p:nvPr/>
          </p:nvSpPr>
          <p:spPr>
            <a:xfrm>
              <a:off x="3006050" y="3875627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46B91F8D-3DD3-49FE-BA84-02EFE9E6B392}"/>
                </a:ext>
              </a:extLst>
            </p:cNvPr>
            <p:cNvSpPr/>
            <p:nvPr/>
          </p:nvSpPr>
          <p:spPr>
            <a:xfrm>
              <a:off x="3006050" y="4261464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91F6BF68-EA14-4EF9-A200-24830761C72E}"/>
                </a:ext>
              </a:extLst>
            </p:cNvPr>
            <p:cNvSpPr/>
            <p:nvPr/>
          </p:nvSpPr>
          <p:spPr>
            <a:xfrm>
              <a:off x="3006050" y="4647301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549F974E-888C-4300-94A6-71D799B750C5}"/>
                </a:ext>
              </a:extLst>
            </p:cNvPr>
            <p:cNvSpPr/>
            <p:nvPr/>
          </p:nvSpPr>
          <p:spPr>
            <a:xfrm>
              <a:off x="3006050" y="3097766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A186641E-BDCC-4EB2-B5D7-5E6529CF3FC6}"/>
                </a:ext>
              </a:extLst>
            </p:cNvPr>
            <p:cNvSpPr/>
            <p:nvPr/>
          </p:nvSpPr>
          <p:spPr>
            <a:xfrm>
              <a:off x="3006050" y="5033138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D6F8A265-E60C-4691-8D3D-ED054703B167}"/>
              </a:ext>
            </a:extLst>
          </p:cNvPr>
          <p:cNvGrpSpPr/>
          <p:nvPr/>
        </p:nvGrpSpPr>
        <p:grpSpPr>
          <a:xfrm>
            <a:off x="7028138" y="3257468"/>
            <a:ext cx="163664" cy="2162281"/>
            <a:chOff x="3006050" y="3097766"/>
            <a:chExt cx="163664" cy="2162281"/>
          </a:xfrm>
        </p:grpSpPr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DCD35921-17D4-4B2D-9085-288ABF86C749}"/>
                </a:ext>
              </a:extLst>
            </p:cNvPr>
            <p:cNvSpPr/>
            <p:nvPr/>
          </p:nvSpPr>
          <p:spPr>
            <a:xfrm>
              <a:off x="3006050" y="3489790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FBDB1E2-420B-417C-BD2B-9FC62289BBC8}"/>
                </a:ext>
              </a:extLst>
            </p:cNvPr>
            <p:cNvSpPr/>
            <p:nvPr/>
          </p:nvSpPr>
          <p:spPr>
            <a:xfrm>
              <a:off x="3006050" y="3875627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ABB8AF6E-3B9B-4663-945E-3C243A96CDB9}"/>
                </a:ext>
              </a:extLst>
            </p:cNvPr>
            <p:cNvSpPr/>
            <p:nvPr/>
          </p:nvSpPr>
          <p:spPr>
            <a:xfrm>
              <a:off x="3006050" y="4261464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32430E91-C638-4AF5-9972-BBACAA4460FF}"/>
                </a:ext>
              </a:extLst>
            </p:cNvPr>
            <p:cNvSpPr/>
            <p:nvPr/>
          </p:nvSpPr>
          <p:spPr>
            <a:xfrm>
              <a:off x="3006050" y="4647301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269CBF39-4FF1-4629-AA5A-3AB97A0A9D47}"/>
                </a:ext>
              </a:extLst>
            </p:cNvPr>
            <p:cNvSpPr/>
            <p:nvPr/>
          </p:nvSpPr>
          <p:spPr>
            <a:xfrm>
              <a:off x="3006050" y="3097766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88E0399F-E8DB-4DFA-A4AC-80B1869FDE2C}"/>
                </a:ext>
              </a:extLst>
            </p:cNvPr>
            <p:cNvSpPr/>
            <p:nvPr/>
          </p:nvSpPr>
          <p:spPr>
            <a:xfrm>
              <a:off x="3006050" y="5033138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ABC902B8-339C-4CD2-A916-83ADEFC2CAC9}"/>
              </a:ext>
            </a:extLst>
          </p:cNvPr>
          <p:cNvGrpSpPr/>
          <p:nvPr/>
        </p:nvGrpSpPr>
        <p:grpSpPr>
          <a:xfrm>
            <a:off x="9070603" y="3254744"/>
            <a:ext cx="163664" cy="2162281"/>
            <a:chOff x="3006050" y="3097766"/>
            <a:chExt cx="163664" cy="2162281"/>
          </a:xfrm>
        </p:grpSpPr>
        <p:sp>
          <p:nvSpPr>
            <p:cNvPr id="70" name="矩形 69">
              <a:extLst>
                <a:ext uri="{FF2B5EF4-FFF2-40B4-BE49-F238E27FC236}">
                  <a16:creationId xmlns:a16="http://schemas.microsoft.com/office/drawing/2014/main" id="{3D24CF48-2E4B-40CF-8135-4E5B63F07F5C}"/>
                </a:ext>
              </a:extLst>
            </p:cNvPr>
            <p:cNvSpPr/>
            <p:nvPr/>
          </p:nvSpPr>
          <p:spPr>
            <a:xfrm>
              <a:off x="3006050" y="3489790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CFC83597-F5F8-4C75-B6E0-D98CF5C7B78D}"/>
                </a:ext>
              </a:extLst>
            </p:cNvPr>
            <p:cNvSpPr/>
            <p:nvPr/>
          </p:nvSpPr>
          <p:spPr>
            <a:xfrm>
              <a:off x="3006050" y="3875627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DB3BB2E5-6E70-4039-81BD-547F19662D41}"/>
                </a:ext>
              </a:extLst>
            </p:cNvPr>
            <p:cNvSpPr/>
            <p:nvPr/>
          </p:nvSpPr>
          <p:spPr>
            <a:xfrm>
              <a:off x="3006050" y="4261464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A98262F9-54B0-491C-ABA4-85FD2F5E4C7C}"/>
                </a:ext>
              </a:extLst>
            </p:cNvPr>
            <p:cNvSpPr/>
            <p:nvPr/>
          </p:nvSpPr>
          <p:spPr>
            <a:xfrm>
              <a:off x="3006050" y="4647301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74" name="矩形 73">
              <a:extLst>
                <a:ext uri="{FF2B5EF4-FFF2-40B4-BE49-F238E27FC236}">
                  <a16:creationId xmlns:a16="http://schemas.microsoft.com/office/drawing/2014/main" id="{49093FC2-328E-4385-B04D-B6E65316BF10}"/>
                </a:ext>
              </a:extLst>
            </p:cNvPr>
            <p:cNvSpPr/>
            <p:nvPr/>
          </p:nvSpPr>
          <p:spPr>
            <a:xfrm>
              <a:off x="3006050" y="3097766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E3D412B3-E79B-4EFB-B2E2-89EE38885384}"/>
                </a:ext>
              </a:extLst>
            </p:cNvPr>
            <p:cNvSpPr/>
            <p:nvPr/>
          </p:nvSpPr>
          <p:spPr>
            <a:xfrm>
              <a:off x="3006050" y="5033138"/>
              <a:ext cx="163664" cy="22690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endParaRPr>
            </a:p>
          </p:txBody>
        </p:sp>
      </p:grpSp>
      <p:sp>
        <p:nvSpPr>
          <p:cNvPr id="77" name="椭圆 76">
            <a:extLst>
              <a:ext uri="{FF2B5EF4-FFF2-40B4-BE49-F238E27FC236}">
                <a16:creationId xmlns:a16="http://schemas.microsoft.com/office/drawing/2014/main" id="{04B0D491-9B0B-45EA-A89C-4EE2F2FAF060}"/>
              </a:ext>
            </a:extLst>
          </p:cNvPr>
          <p:cNvSpPr/>
          <p:nvPr/>
        </p:nvSpPr>
        <p:spPr>
          <a:xfrm flipH="1" flipV="1">
            <a:off x="-692846" y="-712634"/>
            <a:ext cx="1989256" cy="198925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3A410B1F-C06E-4092-84AB-23CDB8F5D43A}"/>
              </a:ext>
            </a:extLst>
          </p:cNvPr>
          <p:cNvSpPr/>
          <p:nvPr/>
        </p:nvSpPr>
        <p:spPr>
          <a:xfrm flipH="1" flipV="1">
            <a:off x="-470872" y="-564997"/>
            <a:ext cx="1989256" cy="1989256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79" name="椭圆 78">
            <a:extLst>
              <a:ext uri="{FF2B5EF4-FFF2-40B4-BE49-F238E27FC236}">
                <a16:creationId xmlns:a16="http://schemas.microsoft.com/office/drawing/2014/main" id="{AF99B38A-C8EA-402E-8D8F-D1C9F21A6A2E}"/>
              </a:ext>
            </a:extLst>
          </p:cNvPr>
          <p:cNvSpPr/>
          <p:nvPr/>
        </p:nvSpPr>
        <p:spPr>
          <a:xfrm>
            <a:off x="11086385" y="6356554"/>
            <a:ext cx="1589874" cy="1210759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5AC2F529-B31A-4389-97EA-111DFC807E39}"/>
              </a:ext>
            </a:extLst>
          </p:cNvPr>
          <p:cNvSpPr txBox="1"/>
          <p:nvPr/>
        </p:nvSpPr>
        <p:spPr>
          <a:xfrm>
            <a:off x="1770595" y="3358752"/>
            <a:ext cx="4777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1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67060544-C9A0-4557-9E81-1DF4C97C758E}"/>
              </a:ext>
            </a:extLst>
          </p:cNvPr>
          <p:cNvSpPr txBox="1"/>
          <p:nvPr/>
        </p:nvSpPr>
        <p:spPr>
          <a:xfrm>
            <a:off x="1563241" y="3936401"/>
            <a:ext cx="103297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转型升级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88932987-9CB2-43C1-B846-CE837DCFCC70}"/>
              </a:ext>
            </a:extLst>
          </p:cNvPr>
          <p:cNvSpPr txBox="1"/>
          <p:nvPr/>
        </p:nvSpPr>
        <p:spPr>
          <a:xfrm>
            <a:off x="1488843" y="4277155"/>
            <a:ext cx="1032972" cy="7532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传统媒介或新型媒介转型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24CE9262-CD7E-4267-B510-B44FA5B3DCF7}"/>
              </a:ext>
            </a:extLst>
          </p:cNvPr>
          <p:cNvSpPr txBox="1"/>
          <p:nvPr/>
        </p:nvSpPr>
        <p:spPr>
          <a:xfrm>
            <a:off x="3806344" y="3395420"/>
            <a:ext cx="4777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2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4870E740-4372-4E19-B421-0E788B22D63F}"/>
              </a:ext>
            </a:extLst>
          </p:cNvPr>
          <p:cNvSpPr txBox="1"/>
          <p:nvPr/>
        </p:nvSpPr>
        <p:spPr>
          <a:xfrm>
            <a:off x="3598990" y="3973069"/>
            <a:ext cx="103297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赢得市场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4C6D40ED-CDA1-4410-A7E7-945C6EBA61F8}"/>
              </a:ext>
            </a:extLst>
          </p:cNvPr>
          <p:cNvSpPr txBox="1"/>
          <p:nvPr/>
        </p:nvSpPr>
        <p:spPr>
          <a:xfrm>
            <a:off x="3524592" y="4313823"/>
            <a:ext cx="1032972" cy="7532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传统纸媒的发展也能赢得市场空间</a:t>
            </a:r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5F2B9834-C58A-4BFE-9EB5-D44F7EE69EFC}"/>
              </a:ext>
            </a:extLst>
          </p:cNvPr>
          <p:cNvSpPr txBox="1"/>
          <p:nvPr/>
        </p:nvSpPr>
        <p:spPr>
          <a:xfrm>
            <a:off x="5856105" y="3395420"/>
            <a:ext cx="4777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3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13D7BD1D-59C4-4105-AD3F-4D9D20B67BAA}"/>
              </a:ext>
            </a:extLst>
          </p:cNvPr>
          <p:cNvSpPr txBox="1"/>
          <p:nvPr/>
        </p:nvSpPr>
        <p:spPr>
          <a:xfrm>
            <a:off x="5648751" y="3973069"/>
            <a:ext cx="103297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共同进步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D5116201-C4D3-4B68-BA60-F8481D515DAB}"/>
              </a:ext>
            </a:extLst>
          </p:cNvPr>
          <p:cNvSpPr txBox="1"/>
          <p:nvPr/>
        </p:nvSpPr>
        <p:spPr>
          <a:xfrm>
            <a:off x="5574353" y="4313823"/>
            <a:ext cx="1032972" cy="7532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促进媒介行业全面发展共同进步</a:t>
            </a:r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0EFA9752-6EFB-4AE1-AD70-6C4C509727EB}"/>
              </a:ext>
            </a:extLst>
          </p:cNvPr>
          <p:cNvSpPr txBox="1"/>
          <p:nvPr/>
        </p:nvSpPr>
        <p:spPr>
          <a:xfrm>
            <a:off x="7896742" y="3354460"/>
            <a:ext cx="4777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4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C0A456D1-6420-42DE-B952-E9FBFC7A626F}"/>
              </a:ext>
            </a:extLst>
          </p:cNvPr>
          <p:cNvSpPr txBox="1"/>
          <p:nvPr/>
        </p:nvSpPr>
        <p:spPr>
          <a:xfrm>
            <a:off x="7689388" y="3932109"/>
            <a:ext cx="103297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事业贡献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1BA9FF35-84EB-4E7B-A629-FA7E743E6BCE}"/>
              </a:ext>
            </a:extLst>
          </p:cNvPr>
          <p:cNvSpPr txBox="1"/>
          <p:nvPr/>
        </p:nvSpPr>
        <p:spPr>
          <a:xfrm>
            <a:off x="7614990" y="4272863"/>
            <a:ext cx="1032972" cy="4947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新闻传播事业做出贡献</a:t>
            </a: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BA1989BC-DE7C-4220-B89C-E1CA87179B28}"/>
              </a:ext>
            </a:extLst>
          </p:cNvPr>
          <p:cNvSpPr txBox="1"/>
          <p:nvPr/>
        </p:nvSpPr>
        <p:spPr>
          <a:xfrm>
            <a:off x="9919873" y="3356088"/>
            <a:ext cx="4777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05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11AC04C8-6DEB-4DDE-B513-944BAB127B16}"/>
              </a:ext>
            </a:extLst>
          </p:cNvPr>
          <p:cNvSpPr txBox="1"/>
          <p:nvPr/>
        </p:nvSpPr>
        <p:spPr>
          <a:xfrm>
            <a:off x="9712519" y="3933737"/>
            <a:ext cx="103297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OPPOSans B" panose="00020600040101010101" pitchFamily="18" charset="-122"/>
              </a:rPr>
              <a:t>社会发展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OPPOSans B" panose="00020600040101010101" pitchFamily="18" charset="-122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46AC44E0-D5C5-4D52-86D8-9F0DD2504753}"/>
              </a:ext>
            </a:extLst>
          </p:cNvPr>
          <p:cNvSpPr txBox="1"/>
          <p:nvPr/>
        </p:nvSpPr>
        <p:spPr>
          <a:xfrm>
            <a:off x="9638121" y="4274491"/>
            <a:ext cx="1032972" cy="7532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媒体发展，推动社会发展</a:t>
            </a:r>
          </a:p>
        </p:txBody>
      </p:sp>
    </p:spTree>
    <p:extLst>
      <p:ext uri="{BB962C8B-B14F-4D97-AF65-F5344CB8AC3E}">
        <p14:creationId xmlns:p14="http://schemas.microsoft.com/office/powerpoint/2010/main" val="273191901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extLst>
              <a:ext uri="{FF2B5EF4-FFF2-40B4-BE49-F238E27FC236}">
                <a16:creationId xmlns:a16="http://schemas.microsoft.com/office/drawing/2014/main" id="{FA7E2031-2E8E-4201-8A59-AAA3A3B0EE3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cs typeface="+mn-cs"/>
            </a:endParaRP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0044CAF5-6FF4-4AC8-B6CE-71F616408A61}"/>
              </a:ext>
            </a:extLst>
          </p:cNvPr>
          <p:cNvSpPr/>
          <p:nvPr/>
        </p:nvSpPr>
        <p:spPr>
          <a:xfrm>
            <a:off x="-1752600" y="3612242"/>
            <a:ext cx="14986000" cy="548669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850900">
              <a:schemeClr val="accent2"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0" name="弧形 9">
            <a:extLst>
              <a:ext uri="{FF2B5EF4-FFF2-40B4-BE49-F238E27FC236}">
                <a16:creationId xmlns:a16="http://schemas.microsoft.com/office/drawing/2014/main" id="{ABCAF490-F4CF-4439-95E8-A127FA6407DE}"/>
              </a:ext>
            </a:extLst>
          </p:cNvPr>
          <p:cNvSpPr/>
          <p:nvPr/>
        </p:nvSpPr>
        <p:spPr>
          <a:xfrm>
            <a:off x="-1422536" y="3714540"/>
            <a:ext cx="14325872" cy="5245230"/>
          </a:xfrm>
          <a:prstGeom prst="arc">
            <a:avLst>
              <a:gd name="adj1" fmla="val 10866102"/>
              <a:gd name="adj2" fmla="val 20836123"/>
            </a:avLst>
          </a:prstGeom>
          <a:ln w="28575">
            <a:solidFill>
              <a:schemeClr val="accent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4EA9DFD3-86AF-4C3C-806A-11E5C058B466}"/>
              </a:ext>
            </a:extLst>
          </p:cNvPr>
          <p:cNvCxnSpPr>
            <a:cxnSpLocks/>
          </p:cNvCxnSpPr>
          <p:nvPr/>
        </p:nvCxnSpPr>
        <p:spPr>
          <a:xfrm flipH="1" flipV="1">
            <a:off x="687934" y="1963819"/>
            <a:ext cx="17154" cy="2460766"/>
          </a:xfrm>
          <a:prstGeom prst="line">
            <a:avLst/>
          </a:prstGeom>
          <a:ln w="12700" cap="rnd">
            <a:gradFill>
              <a:gsLst>
                <a:gs pos="0">
                  <a:schemeClr val="bg1"/>
                </a:gs>
                <a:gs pos="100000">
                  <a:schemeClr val="accent2">
                    <a:lumMod val="40000"/>
                    <a:lumOff val="60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椭圆 11">
            <a:extLst>
              <a:ext uri="{FF2B5EF4-FFF2-40B4-BE49-F238E27FC236}">
                <a16:creationId xmlns:a16="http://schemas.microsoft.com/office/drawing/2014/main" id="{CA915EEA-EA1B-44C2-8C75-D69A3EB027EA}"/>
              </a:ext>
            </a:extLst>
          </p:cNvPr>
          <p:cNvSpPr/>
          <p:nvPr/>
        </p:nvSpPr>
        <p:spPr>
          <a:xfrm>
            <a:off x="631666" y="4393453"/>
            <a:ext cx="146844" cy="1468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635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0DF860D9-B851-4AD9-88E6-34D875A404D2}"/>
              </a:ext>
            </a:extLst>
          </p:cNvPr>
          <p:cNvSpPr/>
          <p:nvPr/>
        </p:nvSpPr>
        <p:spPr>
          <a:xfrm>
            <a:off x="668428" y="4430215"/>
            <a:ext cx="73320" cy="733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9D1FC4FF-4F58-43F1-96DE-A5A3E2383C29}"/>
              </a:ext>
            </a:extLst>
          </p:cNvPr>
          <p:cNvSpPr txBox="1"/>
          <p:nvPr/>
        </p:nvSpPr>
        <p:spPr>
          <a:xfrm>
            <a:off x="892189" y="1781715"/>
            <a:ext cx="24726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30" name="稿定PPT-10-2">
            <a:extLst>
              <a:ext uri="{FF2B5EF4-FFF2-40B4-BE49-F238E27FC236}">
                <a16:creationId xmlns:a16="http://schemas.microsoft.com/office/drawing/2014/main" id="{FEBBE0CC-BFE3-46DF-8F03-F69A658A6CE6}"/>
              </a:ext>
            </a:extLst>
          </p:cNvPr>
          <p:cNvSpPr txBox="1"/>
          <p:nvPr/>
        </p:nvSpPr>
        <p:spPr>
          <a:xfrm>
            <a:off x="892189" y="2168290"/>
            <a:ext cx="2559291" cy="96828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拥有千余款模板线上到插件同步上新，覆盖商务、教育、金融等多用途场景。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2202468-B04B-4112-9721-53C96C7D57AE}"/>
              </a:ext>
            </a:extLst>
          </p:cNvPr>
          <p:cNvSpPr txBox="1"/>
          <p:nvPr/>
        </p:nvSpPr>
        <p:spPr>
          <a:xfrm>
            <a:off x="2478842" y="4680301"/>
            <a:ext cx="24726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34" name="稿定PPT-10-2">
            <a:extLst>
              <a:ext uri="{FF2B5EF4-FFF2-40B4-BE49-F238E27FC236}">
                <a16:creationId xmlns:a16="http://schemas.microsoft.com/office/drawing/2014/main" id="{350B1AF3-7064-40D2-81F4-98CE1834A844}"/>
              </a:ext>
            </a:extLst>
          </p:cNvPr>
          <p:cNvSpPr txBox="1"/>
          <p:nvPr/>
        </p:nvSpPr>
        <p:spPr>
          <a:xfrm>
            <a:off x="2478842" y="5066877"/>
            <a:ext cx="2664360" cy="72043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不论你是销售、策划、学生、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爱好者，都能在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找到适合的模板。</a:t>
            </a:r>
          </a:p>
        </p:txBody>
      </p: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262FA7D0-63D3-4D9E-9FD3-0C9F05145131}"/>
              </a:ext>
            </a:extLst>
          </p:cNvPr>
          <p:cNvCxnSpPr>
            <a:cxnSpLocks/>
          </p:cNvCxnSpPr>
          <p:nvPr/>
        </p:nvCxnSpPr>
        <p:spPr>
          <a:xfrm flipH="1">
            <a:off x="2273727" y="4070285"/>
            <a:ext cx="17154" cy="1800000"/>
          </a:xfrm>
          <a:prstGeom prst="line">
            <a:avLst/>
          </a:prstGeom>
          <a:ln w="12700" cap="rnd">
            <a:gradFill>
              <a:gsLst>
                <a:gs pos="0">
                  <a:schemeClr val="accent2"/>
                </a:gs>
                <a:gs pos="100000">
                  <a:schemeClr val="accent2">
                    <a:lumMod val="40000"/>
                    <a:lumOff val="60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椭圆 14">
            <a:extLst>
              <a:ext uri="{FF2B5EF4-FFF2-40B4-BE49-F238E27FC236}">
                <a16:creationId xmlns:a16="http://schemas.microsoft.com/office/drawing/2014/main" id="{E8B41583-40A9-4AB2-9529-7DC73714990C}"/>
              </a:ext>
            </a:extLst>
          </p:cNvPr>
          <p:cNvSpPr/>
          <p:nvPr/>
        </p:nvSpPr>
        <p:spPr>
          <a:xfrm>
            <a:off x="2208882" y="3966020"/>
            <a:ext cx="146844" cy="1468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635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315836CA-434C-4745-AF52-FE6C97E3FD59}"/>
              </a:ext>
            </a:extLst>
          </p:cNvPr>
          <p:cNvSpPr/>
          <p:nvPr/>
        </p:nvSpPr>
        <p:spPr>
          <a:xfrm>
            <a:off x="2245644" y="4002782"/>
            <a:ext cx="73320" cy="733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7B7C8890-85DB-4B6D-9C5A-3B315621ADF5}"/>
              </a:ext>
            </a:extLst>
          </p:cNvPr>
          <p:cNvCxnSpPr>
            <a:cxnSpLocks/>
          </p:cNvCxnSpPr>
          <p:nvPr/>
        </p:nvCxnSpPr>
        <p:spPr>
          <a:xfrm flipH="1" flipV="1">
            <a:off x="3850943" y="1783380"/>
            <a:ext cx="17154" cy="2016000"/>
          </a:xfrm>
          <a:prstGeom prst="line">
            <a:avLst/>
          </a:prstGeom>
          <a:ln w="12700" cap="rnd">
            <a:gradFill>
              <a:gsLst>
                <a:gs pos="0">
                  <a:schemeClr val="bg1"/>
                </a:gs>
                <a:gs pos="100000">
                  <a:schemeClr val="accent2">
                    <a:lumMod val="40000"/>
                    <a:lumOff val="60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椭圆 17">
            <a:extLst>
              <a:ext uri="{FF2B5EF4-FFF2-40B4-BE49-F238E27FC236}">
                <a16:creationId xmlns:a16="http://schemas.microsoft.com/office/drawing/2014/main" id="{3C910CE3-7FFD-4D80-A373-84E1F62436ED}"/>
              </a:ext>
            </a:extLst>
          </p:cNvPr>
          <p:cNvSpPr/>
          <p:nvPr/>
        </p:nvSpPr>
        <p:spPr>
          <a:xfrm>
            <a:off x="3786098" y="3720948"/>
            <a:ext cx="146844" cy="1468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635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D4973B73-BF12-4410-978D-829A9D18F2DA}"/>
              </a:ext>
            </a:extLst>
          </p:cNvPr>
          <p:cNvSpPr/>
          <p:nvPr/>
        </p:nvSpPr>
        <p:spPr>
          <a:xfrm>
            <a:off x="3822860" y="3757710"/>
            <a:ext cx="73320" cy="733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4A820338-B7D7-4486-B22C-924A00BBC794}"/>
              </a:ext>
            </a:extLst>
          </p:cNvPr>
          <p:cNvSpPr txBox="1"/>
          <p:nvPr/>
        </p:nvSpPr>
        <p:spPr>
          <a:xfrm>
            <a:off x="4066109" y="1781715"/>
            <a:ext cx="24726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40" name="稿定PPT-10-2">
            <a:extLst>
              <a:ext uri="{FF2B5EF4-FFF2-40B4-BE49-F238E27FC236}">
                <a16:creationId xmlns:a16="http://schemas.microsoft.com/office/drawing/2014/main" id="{615D196F-27FF-442E-8544-6C45863B3949}"/>
              </a:ext>
            </a:extLst>
          </p:cNvPr>
          <p:cNvSpPr txBox="1"/>
          <p:nvPr/>
        </p:nvSpPr>
        <p:spPr>
          <a:xfrm>
            <a:off x="4066108" y="2168291"/>
            <a:ext cx="2472671" cy="72043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丰富的信息图表覆盖并列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流程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层级等多种逻辑关系，帮助有效梳理页面内容。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F17D724D-D61E-4BA5-8EBA-05B5FA890290}"/>
              </a:ext>
            </a:extLst>
          </p:cNvPr>
          <p:cNvSpPr txBox="1"/>
          <p:nvPr/>
        </p:nvSpPr>
        <p:spPr>
          <a:xfrm>
            <a:off x="7179680" y="1781715"/>
            <a:ext cx="24726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44" name="稿定PPT-10-2">
            <a:extLst>
              <a:ext uri="{FF2B5EF4-FFF2-40B4-BE49-F238E27FC236}">
                <a16:creationId xmlns:a16="http://schemas.microsoft.com/office/drawing/2014/main" id="{19FC83B4-9A5A-435F-8FEA-78F968ADB223}"/>
              </a:ext>
            </a:extLst>
          </p:cNvPr>
          <p:cNvSpPr txBox="1"/>
          <p:nvPr/>
        </p:nvSpPr>
        <p:spPr>
          <a:xfrm>
            <a:off x="7179680" y="2168291"/>
            <a:ext cx="2672668" cy="116545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，科技为创作赋能，无需重复劳动，更多时间留给演示创作。只要会打字，就能制作专业的演示效果。</a:t>
            </a:r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95385F56-DE08-4B36-A8A7-D0BE40118F16}"/>
              </a:ext>
            </a:extLst>
          </p:cNvPr>
          <p:cNvCxnSpPr>
            <a:cxnSpLocks/>
          </p:cNvCxnSpPr>
          <p:nvPr/>
        </p:nvCxnSpPr>
        <p:spPr>
          <a:xfrm flipH="1" flipV="1">
            <a:off x="7005375" y="1726452"/>
            <a:ext cx="17154" cy="2016000"/>
          </a:xfrm>
          <a:prstGeom prst="line">
            <a:avLst/>
          </a:prstGeom>
          <a:ln w="12700" cap="rnd">
            <a:gradFill>
              <a:gsLst>
                <a:gs pos="0">
                  <a:schemeClr val="bg1"/>
                </a:gs>
                <a:gs pos="100000">
                  <a:schemeClr val="accent2">
                    <a:lumMod val="40000"/>
                    <a:lumOff val="60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椭圆 23">
            <a:extLst>
              <a:ext uri="{FF2B5EF4-FFF2-40B4-BE49-F238E27FC236}">
                <a16:creationId xmlns:a16="http://schemas.microsoft.com/office/drawing/2014/main" id="{C927E7C4-B96D-4972-AAEC-2B80CA5A675A}"/>
              </a:ext>
            </a:extLst>
          </p:cNvPr>
          <p:cNvSpPr/>
          <p:nvPr/>
        </p:nvSpPr>
        <p:spPr>
          <a:xfrm>
            <a:off x="6940530" y="3692011"/>
            <a:ext cx="146844" cy="1468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635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4DE73EA5-45EE-4305-844D-EAD96BD9F5BA}"/>
              </a:ext>
            </a:extLst>
          </p:cNvPr>
          <p:cNvSpPr/>
          <p:nvPr/>
        </p:nvSpPr>
        <p:spPr>
          <a:xfrm>
            <a:off x="6977292" y="3728773"/>
            <a:ext cx="73320" cy="733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BC0FA345-F7DA-46A4-A1BC-95AB3645CD26}"/>
              </a:ext>
            </a:extLst>
          </p:cNvPr>
          <p:cNvCxnSpPr>
            <a:cxnSpLocks/>
          </p:cNvCxnSpPr>
          <p:nvPr/>
        </p:nvCxnSpPr>
        <p:spPr>
          <a:xfrm flipH="1">
            <a:off x="5428159" y="3780301"/>
            <a:ext cx="17154" cy="1800000"/>
          </a:xfrm>
          <a:prstGeom prst="line">
            <a:avLst/>
          </a:prstGeom>
          <a:ln w="12700" cap="rnd">
            <a:gradFill>
              <a:gsLst>
                <a:gs pos="0">
                  <a:schemeClr val="accent2"/>
                </a:gs>
                <a:gs pos="100000">
                  <a:schemeClr val="accent2">
                    <a:lumMod val="40000"/>
                    <a:lumOff val="60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椭圆 20">
            <a:extLst>
              <a:ext uri="{FF2B5EF4-FFF2-40B4-BE49-F238E27FC236}">
                <a16:creationId xmlns:a16="http://schemas.microsoft.com/office/drawing/2014/main" id="{D02EBBC0-18F3-4FBB-97A0-A674BDE666A8}"/>
              </a:ext>
            </a:extLst>
          </p:cNvPr>
          <p:cNvSpPr/>
          <p:nvPr/>
        </p:nvSpPr>
        <p:spPr>
          <a:xfrm>
            <a:off x="5363314" y="3641321"/>
            <a:ext cx="146844" cy="1468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635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95F111D0-D92A-42B6-96FB-D86596CE716D}"/>
              </a:ext>
            </a:extLst>
          </p:cNvPr>
          <p:cNvSpPr/>
          <p:nvPr/>
        </p:nvSpPr>
        <p:spPr>
          <a:xfrm>
            <a:off x="5400076" y="3678083"/>
            <a:ext cx="73320" cy="733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C45459C0-1543-4B16-83B7-F00FFA70ABC2}"/>
              </a:ext>
            </a:extLst>
          </p:cNvPr>
          <p:cNvSpPr txBox="1"/>
          <p:nvPr/>
        </p:nvSpPr>
        <p:spPr>
          <a:xfrm>
            <a:off x="5651308" y="4680301"/>
            <a:ext cx="24726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53" name="稿定PPT-10-2">
            <a:extLst>
              <a:ext uri="{FF2B5EF4-FFF2-40B4-BE49-F238E27FC236}">
                <a16:creationId xmlns:a16="http://schemas.microsoft.com/office/drawing/2014/main" id="{F16FD818-BD49-4731-851B-6B8B3A834E81}"/>
              </a:ext>
            </a:extLst>
          </p:cNvPr>
          <p:cNvSpPr txBox="1"/>
          <p:nvPr/>
        </p:nvSpPr>
        <p:spPr>
          <a:xfrm>
            <a:off x="5651308" y="5066877"/>
            <a:ext cx="2547172" cy="72043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借助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插件，通过添加图片等素材，用强大的视觉表现力打动听众，讲述生动的演示故事。</a:t>
            </a: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23BDD081-203E-4014-B477-25EB598B0280}"/>
              </a:ext>
            </a:extLst>
          </p:cNvPr>
          <p:cNvCxnSpPr>
            <a:cxnSpLocks/>
          </p:cNvCxnSpPr>
          <p:nvPr/>
        </p:nvCxnSpPr>
        <p:spPr>
          <a:xfrm flipH="1">
            <a:off x="8582590" y="4000923"/>
            <a:ext cx="17154" cy="1800000"/>
          </a:xfrm>
          <a:prstGeom prst="line">
            <a:avLst/>
          </a:prstGeom>
          <a:ln w="12700" cap="rnd">
            <a:gradFill>
              <a:gsLst>
                <a:gs pos="0">
                  <a:schemeClr val="accent2"/>
                </a:gs>
                <a:gs pos="100000">
                  <a:schemeClr val="accent2">
                    <a:lumMod val="40000"/>
                    <a:lumOff val="60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椭圆 59">
            <a:extLst>
              <a:ext uri="{FF2B5EF4-FFF2-40B4-BE49-F238E27FC236}">
                <a16:creationId xmlns:a16="http://schemas.microsoft.com/office/drawing/2014/main" id="{277D8944-E66C-4C2B-966E-A626D6C95C38}"/>
              </a:ext>
            </a:extLst>
          </p:cNvPr>
          <p:cNvSpPr/>
          <p:nvPr/>
        </p:nvSpPr>
        <p:spPr>
          <a:xfrm>
            <a:off x="8517745" y="3861943"/>
            <a:ext cx="146844" cy="14684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63500" algn="c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1" name="椭圆 60">
            <a:extLst>
              <a:ext uri="{FF2B5EF4-FFF2-40B4-BE49-F238E27FC236}">
                <a16:creationId xmlns:a16="http://schemas.microsoft.com/office/drawing/2014/main" id="{BC77B1A7-085C-4139-837A-1F79D95B772E}"/>
              </a:ext>
            </a:extLst>
          </p:cNvPr>
          <p:cNvSpPr/>
          <p:nvPr/>
        </p:nvSpPr>
        <p:spPr>
          <a:xfrm>
            <a:off x="8554507" y="3898705"/>
            <a:ext cx="73320" cy="733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3BD9EF1B-0FD7-430D-9609-E437ED413C7D}"/>
              </a:ext>
            </a:extLst>
          </p:cNvPr>
          <p:cNvSpPr txBox="1"/>
          <p:nvPr/>
        </p:nvSpPr>
        <p:spPr>
          <a:xfrm>
            <a:off x="8785820" y="4680301"/>
            <a:ext cx="24726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更快更轻松</a:t>
            </a:r>
          </a:p>
        </p:txBody>
      </p:sp>
      <p:sp>
        <p:nvSpPr>
          <p:cNvPr id="64" name="稿定PPT-10-2">
            <a:extLst>
              <a:ext uri="{FF2B5EF4-FFF2-40B4-BE49-F238E27FC236}">
                <a16:creationId xmlns:a16="http://schemas.microsoft.com/office/drawing/2014/main" id="{E36E015E-BEA6-4C72-A726-BE1D3614CA9C}"/>
              </a:ext>
            </a:extLst>
          </p:cNvPr>
          <p:cNvSpPr txBox="1"/>
          <p:nvPr/>
        </p:nvSpPr>
        <p:spPr>
          <a:xfrm>
            <a:off x="8785819" y="5066877"/>
            <a:ext cx="2537616" cy="72043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t" anchorCtr="0">
            <a:noAutofit/>
          </a:bodyPr>
          <a:lstStyle>
            <a:defPPr>
              <a:defRPr lang="zh-CN"/>
            </a:defPPr>
            <a:lvl1pPr marR="0" lvl="0" indent="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设计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支持在线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离线多种编辑模式，告别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PP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+mn-cs"/>
              </a:rPr>
              <a:t>传统制作，多端多设备随时随地开启演示创作。</a:t>
            </a:r>
          </a:p>
        </p:txBody>
      </p:sp>
      <p:sp>
        <p:nvSpPr>
          <p:cNvPr id="65" name="稿定PPT-4">
            <a:extLst>
              <a:ext uri="{FF2B5EF4-FFF2-40B4-BE49-F238E27FC236}">
                <a16:creationId xmlns:a16="http://schemas.microsoft.com/office/drawing/2014/main" id="{4C1FB151-B36B-493F-A337-0F09240F031D}"/>
              </a:ext>
            </a:extLst>
          </p:cNvPr>
          <p:cNvSpPr txBox="1"/>
          <p:nvPr/>
        </p:nvSpPr>
        <p:spPr>
          <a:xfrm>
            <a:off x="904853" y="516859"/>
            <a:ext cx="4105666" cy="32163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设计师</a:t>
            </a:r>
            <a:r>
              <a:rPr kumimoji="0" lang="en-US" altLang="zh-CN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PPT</a:t>
            </a:r>
            <a:r>
              <a:rPr kumimoji="0" lang="zh-CN" alt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B" panose="00020600040101010101" pitchFamily="18" charset="-122"/>
                <a:ea typeface="OPPOSans B" panose="00020600040101010101" pitchFamily="18" charset="-122"/>
                <a:cs typeface="+mn-cs"/>
              </a:rPr>
              <a:t>，海量素材持续更新</a:t>
            </a:r>
            <a:endParaRPr kumimoji="0" lang="en-US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B" panose="00020600040101010101" pitchFamily="18" charset="-122"/>
              <a:ea typeface="OPPOSans B" panose="00020600040101010101" pitchFamily="18" charset="-122"/>
              <a:cs typeface="+mn-cs"/>
            </a:endParaRPr>
          </a:p>
        </p:txBody>
      </p:sp>
      <p:sp>
        <p:nvSpPr>
          <p:cNvPr id="66" name="稿定PPT-4">
            <a:extLst>
              <a:ext uri="{FF2B5EF4-FFF2-40B4-BE49-F238E27FC236}">
                <a16:creationId xmlns:a16="http://schemas.microsoft.com/office/drawing/2014/main" id="{2AAE3910-E2B7-4339-9AEE-E3F8D965925B}"/>
              </a:ext>
            </a:extLst>
          </p:cNvPr>
          <p:cNvSpPr txBox="1"/>
          <p:nvPr/>
        </p:nvSpPr>
        <p:spPr>
          <a:xfrm>
            <a:off x="904853" y="789881"/>
            <a:ext cx="4861937" cy="2679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POSans L" panose="00020600040101010101" pitchFamily="18" charset="-122"/>
                <a:ea typeface="OPPOSans L" panose="00020600040101010101" pitchFamily="18" charset="-122"/>
                <a:cs typeface="OPPOSans L" panose="00020600040101010101" pitchFamily="18" charset="-122"/>
              </a:rPr>
              <a:t>Mandamus mediocrem reprehendunt eum eu, cu pertinax ocurreret his. </a:t>
            </a:r>
          </a:p>
        </p:txBody>
      </p:sp>
      <p:sp>
        <p:nvSpPr>
          <p:cNvPr id="67" name="弧形 1">
            <a:extLst>
              <a:ext uri="{FF2B5EF4-FFF2-40B4-BE49-F238E27FC236}">
                <a16:creationId xmlns:a16="http://schemas.microsoft.com/office/drawing/2014/main" id="{79D6660C-98CD-4011-80FE-C1FC65CDF032}"/>
              </a:ext>
            </a:extLst>
          </p:cNvPr>
          <p:cNvSpPr/>
          <p:nvPr/>
        </p:nvSpPr>
        <p:spPr>
          <a:xfrm>
            <a:off x="515938" y="588899"/>
            <a:ext cx="177561" cy="177561"/>
          </a:xfrm>
          <a:prstGeom prst="arc">
            <a:avLst>
              <a:gd name="adj1" fmla="val 3795906"/>
              <a:gd name="adj2" fmla="val 0"/>
            </a:avLst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8" name="弧形 2">
            <a:extLst>
              <a:ext uri="{FF2B5EF4-FFF2-40B4-BE49-F238E27FC236}">
                <a16:creationId xmlns:a16="http://schemas.microsoft.com/office/drawing/2014/main" id="{223816D9-9ED4-40F6-8664-309A8377441C}"/>
              </a:ext>
            </a:extLst>
          </p:cNvPr>
          <p:cNvSpPr/>
          <p:nvPr/>
        </p:nvSpPr>
        <p:spPr>
          <a:xfrm flipH="1" flipV="1">
            <a:off x="634445" y="588899"/>
            <a:ext cx="177561" cy="177561"/>
          </a:xfrm>
          <a:prstGeom prst="arc">
            <a:avLst>
              <a:gd name="adj1" fmla="val 3795906"/>
              <a:gd name="adj2" fmla="val 0"/>
            </a:avLst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  <p:sp>
        <p:nvSpPr>
          <p:cNvPr id="69" name="椭圆 1">
            <a:extLst>
              <a:ext uri="{FF2B5EF4-FFF2-40B4-BE49-F238E27FC236}">
                <a16:creationId xmlns:a16="http://schemas.microsoft.com/office/drawing/2014/main" id="{DC0EE608-B369-4629-811E-63ABB72F071B}"/>
              </a:ext>
            </a:extLst>
          </p:cNvPr>
          <p:cNvSpPr/>
          <p:nvPr/>
        </p:nvSpPr>
        <p:spPr>
          <a:xfrm>
            <a:off x="683722" y="638176"/>
            <a:ext cx="79005" cy="7900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M"/>
              <a:ea typeface="OPPOSans L" panose="00020600040101010101" pitchFamily="18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9146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573511EF-9D28-D892-27CA-90891375E631}"/>
              </a:ext>
            </a:extLst>
          </p:cNvPr>
          <p:cNvSpPr txBox="1"/>
          <p:nvPr/>
        </p:nvSpPr>
        <p:spPr>
          <a:xfrm>
            <a:off x="555231" y="167950"/>
            <a:ext cx="329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可编辑流程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3265D774-57B8-7202-B3BD-11ABC3B4AAEC}"/>
              </a:ext>
            </a:extLst>
          </p:cNvPr>
          <p:cNvSpPr/>
          <p:nvPr/>
        </p:nvSpPr>
        <p:spPr>
          <a:xfrm>
            <a:off x="676767" y="765110"/>
            <a:ext cx="3219061" cy="373879"/>
          </a:xfrm>
          <a:prstGeom prst="rect">
            <a:avLst/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62CC2CF-E85A-94CC-B0A6-763646EF3D08}"/>
              </a:ext>
            </a:extLst>
          </p:cNvPr>
          <p:cNvSpPr txBox="1"/>
          <p:nvPr/>
        </p:nvSpPr>
        <p:spPr>
          <a:xfrm>
            <a:off x="605551" y="764227"/>
            <a:ext cx="3505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</a:rPr>
              <a:t>KE BIAN JI LIU CHENG TU</a:t>
            </a:r>
            <a:endParaRPr lang="zh-CN" altLang="en-US" sz="2000" dirty="0">
              <a:solidFill>
                <a:schemeClr val="bg1"/>
              </a:solidFill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cxnSp>
        <p:nvCxnSpPr>
          <p:cNvPr id="12" name="直接连接符 1">
            <a:extLst>
              <a:ext uri="{FF2B5EF4-FFF2-40B4-BE49-F238E27FC236}">
                <a16:creationId xmlns:a16="http://schemas.microsoft.com/office/drawing/2014/main" id="{B1AEDC30-2206-4B31-5143-712CC366B062}"/>
              </a:ext>
            </a:extLst>
          </p:cNvPr>
          <p:cNvCxnSpPr>
            <a:cxnSpLocks/>
          </p:cNvCxnSpPr>
          <p:nvPr/>
        </p:nvCxnSpPr>
        <p:spPr>
          <a:xfrm rot="1800000">
            <a:off x="6789857" y="4660558"/>
            <a:ext cx="25200" cy="0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">
            <a:extLst>
              <a:ext uri="{FF2B5EF4-FFF2-40B4-BE49-F238E27FC236}">
                <a16:creationId xmlns:a16="http://schemas.microsoft.com/office/drawing/2014/main" id="{A06583BD-D306-3902-B1F8-7DC88677E40D}"/>
              </a:ext>
            </a:extLst>
          </p:cNvPr>
          <p:cNvCxnSpPr>
            <a:cxnSpLocks/>
          </p:cNvCxnSpPr>
          <p:nvPr/>
        </p:nvCxnSpPr>
        <p:spPr>
          <a:xfrm rot="19200000" flipH="1">
            <a:off x="6812644" y="4649938"/>
            <a:ext cx="54000" cy="0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958770C2-168C-3EE6-86FC-42E21D759F77}"/>
              </a:ext>
            </a:extLst>
          </p:cNvPr>
          <p:cNvSpPr/>
          <p:nvPr/>
        </p:nvSpPr>
        <p:spPr>
          <a:xfrm>
            <a:off x="2350087" y="3071503"/>
            <a:ext cx="7526466" cy="1677526"/>
          </a:xfrm>
          <a:custGeom>
            <a:avLst/>
            <a:gdLst>
              <a:gd name="connsiteX0" fmla="*/ 0 w 3971108"/>
              <a:gd name="connsiteY0" fmla="*/ 329071 h 1677526"/>
              <a:gd name="connsiteX1" fmla="*/ 966651 w 3971108"/>
              <a:gd name="connsiteY1" fmla="*/ 1674545 h 1677526"/>
              <a:gd name="connsiteX2" fmla="*/ 2873828 w 3971108"/>
              <a:gd name="connsiteY2" fmla="*/ 2499 h 1677526"/>
              <a:gd name="connsiteX3" fmla="*/ 3971108 w 3971108"/>
              <a:gd name="connsiteY3" fmla="*/ 1374099 h 1677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108" h="1677526">
                <a:moveTo>
                  <a:pt x="0" y="329071"/>
                </a:moveTo>
                <a:cubicBezTo>
                  <a:pt x="243840" y="1029022"/>
                  <a:pt x="487680" y="1728974"/>
                  <a:pt x="966651" y="1674545"/>
                </a:cubicBezTo>
                <a:cubicBezTo>
                  <a:pt x="1445622" y="1620116"/>
                  <a:pt x="2373085" y="52573"/>
                  <a:pt x="2873828" y="2499"/>
                </a:cubicBezTo>
                <a:cubicBezTo>
                  <a:pt x="3374571" y="-47575"/>
                  <a:pt x="3672839" y="663262"/>
                  <a:pt x="3971108" y="1374099"/>
                </a:cubicBezTo>
              </a:path>
            </a:pathLst>
          </a:custGeom>
          <a:noFill/>
          <a:ln w="25400">
            <a:gradFill>
              <a:gsLst>
                <a:gs pos="2000">
                  <a:srgbClr val="7A98F8">
                    <a:alpha val="0"/>
                  </a:srgbClr>
                </a:gs>
                <a:gs pos="100000">
                  <a:srgbClr val="3361F5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R"/>
              <a:cs typeface="+mn-cs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B6C3F694-2247-B1DA-1542-F28D95D9C9D5}"/>
              </a:ext>
            </a:extLst>
          </p:cNvPr>
          <p:cNvSpPr/>
          <p:nvPr/>
        </p:nvSpPr>
        <p:spPr>
          <a:xfrm>
            <a:off x="4069004" y="4477535"/>
            <a:ext cx="1430684" cy="36908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01D04F58-7725-270F-E33E-5AC349F2B80D}"/>
              </a:ext>
            </a:extLst>
          </p:cNvPr>
          <p:cNvSpPr/>
          <p:nvPr/>
        </p:nvSpPr>
        <p:spPr>
          <a:xfrm>
            <a:off x="9387210" y="4366882"/>
            <a:ext cx="1430684" cy="36908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E0206D07-FE3F-4AAE-23F6-294A0C285A91}"/>
              </a:ext>
            </a:extLst>
          </p:cNvPr>
          <p:cNvSpPr/>
          <p:nvPr/>
        </p:nvSpPr>
        <p:spPr>
          <a:xfrm>
            <a:off x="1591714" y="3269624"/>
            <a:ext cx="1430684" cy="36908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6286507A-2318-05F1-03F1-4139C0604BDC}"/>
              </a:ext>
            </a:extLst>
          </p:cNvPr>
          <p:cNvSpPr/>
          <p:nvPr/>
        </p:nvSpPr>
        <p:spPr>
          <a:xfrm>
            <a:off x="7082044" y="2923884"/>
            <a:ext cx="1430684" cy="369084"/>
          </a:xfrm>
          <a:prstGeom prst="roundRect">
            <a:avLst>
              <a:gd name="adj" fmla="val 50000"/>
            </a:avLst>
          </a:prstGeom>
          <a:solidFill>
            <a:srgbClr val="3361F5"/>
          </a:solidFill>
          <a:ln>
            <a:noFill/>
          </a:ln>
          <a:effectLst>
            <a:outerShdw blurRad="381000" sx="103000" sy="103000" algn="ctr" rotWithShape="0">
              <a:srgbClr val="7A98F8">
                <a:alpha val="4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>
              <a:gradFill flip="none" rotWithShape="1">
                <a:gsLst>
                  <a:gs pos="0">
                    <a:srgbClr val="2254F4"/>
                  </a:gs>
                  <a:gs pos="100000">
                    <a:srgbClr val="2254F4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atin typeface="阿里巴巴普惠体 Heavy" panose="00020600040101010101" pitchFamily="18" charset="-122"/>
              <a:ea typeface="阿里巴巴普惠体 Heavy" panose="00020600040101010101" pitchFamily="18" charset="-122"/>
              <a:cs typeface="阿里巴巴普惠体 Heavy" panose="00020600040101010101" pitchFamily="18" charset="-122"/>
            </a:endParaRPr>
          </a:p>
        </p:txBody>
      </p:sp>
      <p:sp>
        <p:nvSpPr>
          <p:cNvPr id="23" name="文本框 2">
            <a:extLst>
              <a:ext uri="{FF2B5EF4-FFF2-40B4-BE49-F238E27FC236}">
                <a16:creationId xmlns:a16="http://schemas.microsoft.com/office/drawing/2014/main" id="{AB22B772-B903-9D4D-C9A6-2E6D0CDAF7B7}"/>
              </a:ext>
            </a:extLst>
          </p:cNvPr>
          <p:cNvSpPr txBox="1"/>
          <p:nvPr/>
        </p:nvSpPr>
        <p:spPr>
          <a:xfrm>
            <a:off x="1778010" y="3282766"/>
            <a:ext cx="1058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280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第一站</a:t>
            </a:r>
          </a:p>
        </p:txBody>
      </p:sp>
      <p:sp>
        <p:nvSpPr>
          <p:cNvPr id="24" name="文本框 2">
            <a:extLst>
              <a:ext uri="{FF2B5EF4-FFF2-40B4-BE49-F238E27FC236}">
                <a16:creationId xmlns:a16="http://schemas.microsoft.com/office/drawing/2014/main" id="{D399A8EC-8CBF-5265-AC75-E0BCD7048652}"/>
              </a:ext>
            </a:extLst>
          </p:cNvPr>
          <p:cNvSpPr txBox="1"/>
          <p:nvPr/>
        </p:nvSpPr>
        <p:spPr>
          <a:xfrm>
            <a:off x="4261005" y="4488716"/>
            <a:ext cx="1058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280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第二站</a:t>
            </a:r>
          </a:p>
        </p:txBody>
      </p:sp>
      <p:sp>
        <p:nvSpPr>
          <p:cNvPr id="25" name="文本框 2">
            <a:extLst>
              <a:ext uri="{FF2B5EF4-FFF2-40B4-BE49-F238E27FC236}">
                <a16:creationId xmlns:a16="http://schemas.microsoft.com/office/drawing/2014/main" id="{7A73407C-8471-D2DE-96D8-F8905C0A0A8A}"/>
              </a:ext>
            </a:extLst>
          </p:cNvPr>
          <p:cNvSpPr txBox="1"/>
          <p:nvPr/>
        </p:nvSpPr>
        <p:spPr>
          <a:xfrm>
            <a:off x="7280923" y="2943020"/>
            <a:ext cx="1058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280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第三站</a:t>
            </a:r>
          </a:p>
        </p:txBody>
      </p:sp>
      <p:sp>
        <p:nvSpPr>
          <p:cNvPr id="26" name="文本框 2">
            <a:extLst>
              <a:ext uri="{FF2B5EF4-FFF2-40B4-BE49-F238E27FC236}">
                <a16:creationId xmlns:a16="http://schemas.microsoft.com/office/drawing/2014/main" id="{E369A84C-A2F6-34BD-DEAE-004225F3A73A}"/>
              </a:ext>
            </a:extLst>
          </p:cNvPr>
          <p:cNvSpPr txBox="1"/>
          <p:nvPr/>
        </p:nvSpPr>
        <p:spPr>
          <a:xfrm>
            <a:off x="9573506" y="4379697"/>
            <a:ext cx="1058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2800">
                <a:solidFill>
                  <a:schemeClr val="bg1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rPr>
              <a:t>第四站</a:t>
            </a:r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E21E8803-DFC1-1F8E-3404-2EFE31E1AE44}"/>
              </a:ext>
            </a:extLst>
          </p:cNvPr>
          <p:cNvSpPr/>
          <p:nvPr/>
        </p:nvSpPr>
        <p:spPr>
          <a:xfrm>
            <a:off x="815220" y="2572424"/>
            <a:ext cx="2928405" cy="461665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R"/>
              <a:cs typeface="+mn-cs"/>
            </a:endParaRPr>
          </a:p>
        </p:txBody>
      </p:sp>
      <p:sp>
        <p:nvSpPr>
          <p:cNvPr id="49" name="稿定-31">
            <a:extLst>
              <a:ext uri="{FF2B5EF4-FFF2-40B4-BE49-F238E27FC236}">
                <a16:creationId xmlns:a16="http://schemas.microsoft.com/office/drawing/2014/main" id="{E10CA17F-51A0-AC1D-61D3-43F707ED0C0A}"/>
              </a:ext>
            </a:extLst>
          </p:cNvPr>
          <p:cNvSpPr/>
          <p:nvPr/>
        </p:nvSpPr>
        <p:spPr>
          <a:xfrm flipH="1">
            <a:off x="1075751" y="2623110"/>
            <a:ext cx="2421092" cy="37382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57E984F6-5F1D-2CDE-8796-CE9F3015D5B5}"/>
              </a:ext>
            </a:extLst>
          </p:cNvPr>
          <p:cNvSpPr/>
          <p:nvPr/>
        </p:nvSpPr>
        <p:spPr>
          <a:xfrm>
            <a:off x="3167595" y="5044218"/>
            <a:ext cx="2928405" cy="461665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R"/>
              <a:cs typeface="+mn-cs"/>
            </a:endParaRPr>
          </a:p>
        </p:txBody>
      </p:sp>
      <p:sp>
        <p:nvSpPr>
          <p:cNvPr id="51" name="稿定-31">
            <a:extLst>
              <a:ext uri="{FF2B5EF4-FFF2-40B4-BE49-F238E27FC236}">
                <a16:creationId xmlns:a16="http://schemas.microsoft.com/office/drawing/2014/main" id="{C7C68271-949E-66D4-5D11-9779FD324E05}"/>
              </a:ext>
            </a:extLst>
          </p:cNvPr>
          <p:cNvSpPr/>
          <p:nvPr/>
        </p:nvSpPr>
        <p:spPr>
          <a:xfrm flipH="1">
            <a:off x="3428126" y="5094904"/>
            <a:ext cx="2421092" cy="37382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E894DCE0-FB0F-4D64-80B7-72D174808075}"/>
              </a:ext>
            </a:extLst>
          </p:cNvPr>
          <p:cNvSpPr/>
          <p:nvPr/>
        </p:nvSpPr>
        <p:spPr>
          <a:xfrm>
            <a:off x="6320448" y="2276844"/>
            <a:ext cx="2928405" cy="461665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R"/>
              <a:cs typeface="+mn-cs"/>
            </a:endParaRPr>
          </a:p>
        </p:txBody>
      </p:sp>
      <p:sp>
        <p:nvSpPr>
          <p:cNvPr id="53" name="稿定-31">
            <a:extLst>
              <a:ext uri="{FF2B5EF4-FFF2-40B4-BE49-F238E27FC236}">
                <a16:creationId xmlns:a16="http://schemas.microsoft.com/office/drawing/2014/main" id="{AACFD3DD-CC9C-C34B-34E6-1242ED6D2050}"/>
              </a:ext>
            </a:extLst>
          </p:cNvPr>
          <p:cNvSpPr/>
          <p:nvPr/>
        </p:nvSpPr>
        <p:spPr>
          <a:xfrm flipH="1">
            <a:off x="6580979" y="2327530"/>
            <a:ext cx="2421092" cy="37382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C188E4F0-F56A-CA16-5EB8-6DBAE4C92D84}"/>
              </a:ext>
            </a:extLst>
          </p:cNvPr>
          <p:cNvSpPr/>
          <p:nvPr/>
        </p:nvSpPr>
        <p:spPr>
          <a:xfrm>
            <a:off x="8645906" y="4887153"/>
            <a:ext cx="2928405" cy="461665"/>
          </a:xfrm>
          <a:prstGeom prst="roundRect">
            <a:avLst>
              <a:gd name="adj" fmla="val 50000"/>
            </a:avLst>
          </a:prstGeom>
          <a:noFill/>
          <a:ln w="63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POSans R"/>
              <a:cs typeface="+mn-cs"/>
            </a:endParaRPr>
          </a:p>
        </p:txBody>
      </p:sp>
      <p:sp>
        <p:nvSpPr>
          <p:cNvPr id="56" name="稿定-31">
            <a:extLst>
              <a:ext uri="{FF2B5EF4-FFF2-40B4-BE49-F238E27FC236}">
                <a16:creationId xmlns:a16="http://schemas.microsoft.com/office/drawing/2014/main" id="{D11A5ACB-2D7A-477B-DE34-6B44D3C78728}"/>
              </a:ext>
            </a:extLst>
          </p:cNvPr>
          <p:cNvSpPr/>
          <p:nvPr/>
        </p:nvSpPr>
        <p:spPr>
          <a:xfrm flipH="1">
            <a:off x="8906437" y="4937839"/>
            <a:ext cx="2421092" cy="37382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POSans R" panose="00020600040101010101" pitchFamily="18" charset="-122"/>
                <a:ea typeface="OPPOSans R" panose="00020600040101010101" pitchFamily="18" charset="-122"/>
                <a:cs typeface="OPPOSans R" panose="00020600040101010101" pitchFamily="18" charset="-122"/>
                <a:sym typeface="+mn-lt"/>
              </a:rPr>
              <a:t>所有模板素材均可任意编辑支持一键替换图片更改文字内容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3884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287.2571"/>
  <p:tag name="LEFT" val="18.6152"/>
  <p:tag name="WIDTH" val="922.7696"/>
  <p:tag name="HEIGHT" val="146.618"/>
  <p:tag name="SHADOWVISIBLE" val="0"/>
  <p:tag name="LINEVISIBLE" val="0"/>
  <p:tag name="REFLECTIONOFFSET" val="-2.147484E+09"/>
  <p:tag name="GLOWRADIUS" val="0"/>
  <p:tag name="SOFTEDGERADIUS" val="0"/>
  <p:tag name="THREEDVISIBLE" val="0"/>
  <p:tag name="HASTEXTFRAME" val="1"/>
  <p:tag name="TEXT" val="LIUCHENGTU"/>
  <p:tag name="FONTSIZE" val="115"/>
  <p:tag name="FONTCOLOR" val="System.__ComObject"/>
  <p:tag name="FONTBOLD" val="msoFalse"/>
  <p:tag name="FONTNAME" val="阿里巴巴普惠体 Heavy"/>
  <p:tag name="FONTNAMEASCII" val="阿里巴巴普惠体 Heavy"/>
  <p:tag name="FONTNAMECOMPLEXSCRIPT" val="阿里巴巴普惠体 Heavy"/>
  <p:tag name="FONTNAMEFAREAST" val="阿里巴巴普惠体 Heavy"/>
  <p:tag name="TEXTALIGNMENT" val="ppAlignCenter"/>
  <p:tag name="LINERULEAFTER" val="msoFalse"/>
  <p:tag name="MARGINBOTTOM" val="3.6"/>
  <p:tag name="MARGINLEFT" val="7.2"/>
  <p:tag name="MARGINRIGHT" val="7.2"/>
  <p:tag name="MARGINTOP" val="3.6"/>
  <p:tag name="T_HASTEXT" val="1"/>
  <p:tag name="T_LEFT" val="18.6152"/>
  <p:tag name="T_TOP" val="287.2571"/>
  <p:tag name="T_WIDTH" val="922.7696"/>
  <p:tag name="T_HEIGTH" val="System.__ComObject"/>
  <p:tag name="T_TEXT" val="LIUCHENGTU"/>
  <p:tag name="T_FONTCOLOR" val="System.__ComObject"/>
  <p:tag name="T_FONTNAME" val="阿里巴巴普惠体 Heavy"/>
  <p:tag name="T_FONTNAMEASCII" val="阿里巴巴普惠体 Heavy"/>
  <p:tag name="T_NAMECOMPLEXSCRIPT" val="阿里巴巴普惠体 Heavy"/>
  <p:tag name="T_NAMEFAREAST" val="阿里巴巴普惠体 Heavy"/>
  <p:tag name="T_FONTBOLD" val="msoFalse"/>
  <p:tag name="T_FONTSIZE" val="115"/>
  <p:tag name="T_FONTUNDERLINE" val="msoFalse"/>
  <p:tag name="T_FONTITALIC" val="msoFalse"/>
  <p:tag name="T_FONTSPACING" val="0"/>
  <p:tag name="T_MARGINTOP" val="3.6"/>
  <p:tag name="T_MARGINRIGHT" val="7.2"/>
  <p:tag name="T_MARGINBOTTOM" val="3.6"/>
  <p:tag name="T_MARGINLEFT" val="7.2"/>
  <p:tag name="T_TEXTLINEDASHSTYLE" val="msoLineDashStyleMixed"/>
  <p:tag name="T_TEXTLINEWEIGHT" val="-2.147484E+09"/>
  <p:tag name="T_TEXTLINEFORECOLOR" val="System.__ComObject"/>
  <p:tag name="T_TEXTLINEFILLBACKCOLOR" val="System.__ComObject"/>
  <p:tag name="T_TEXTLINEFILLTRANSPARENCY" val="0"/>
  <p:tag name="T_TEXTALIGNMENT" val="ppAlignCenter"/>
  <p:tag name="T_SPACEBEFORE" val="0"/>
  <p:tag name="T_SPACEWITHIN" val="1"/>
  <p:tag name="T_SPACEAFTER" val="0"/>
  <p:tag name="T_LINERULEBEFORE" val="msoTrue"/>
  <p:tag name="T_TEXTREFLECTION" val="0"/>
  <p:tag name="T_TEXTGLOW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PICTURE" val="#723211;"/>
  <p:tag name="ISLIDE.ICON" val="#784621;#784624;#784623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785787;#785784;#785779;#785786;#785798;#785798;#785791;#785779;#785786;#785784;#785780;#785783;#785786;#785784;#785798;#785794;#785790;#785799;#785795;#785796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783538;#783541;#783539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784621;#784621;#784622;#784624;#784648;#784649;#784650;#784623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784650;#784648;#784646;#784647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71.7389"/>
  <p:tag name="LEFT" val="181.7921"/>
  <p:tag name="WIDTH" val="588.0696"/>
  <p:tag name="HEIGHT" val="208.4156"/>
  <p:tag name="SHADOWVISIBLE" val="0"/>
  <p:tag name="LINEVISIBLE" val="0"/>
  <p:tag name="REFLECTIONOFFSET" val="-2.147484E+09"/>
  <p:tag name="GLOWRADIUS" val="0"/>
  <p:tag name="SOFTEDGERADIUS" val="0"/>
  <p:tag name="THREEDVISIBLE" val="0"/>
  <p:tag name="HASTEXTFRAME" val="1"/>
  <p:tag name="TEXT" val="流程图"/>
  <p:tag name="FONTSIZE" val="166"/>
  <p:tag name="FONTCOLOR" val="System.__ComObject"/>
  <p:tag name="FONTBOLD" val="msoFalse"/>
  <p:tag name="FONTNAME" val="阿里巴巴普惠体 Heavy"/>
  <p:tag name="FONTNAMEASCII" val="阿里巴巴普惠体 Heavy"/>
  <p:tag name="FONTNAMECOMPLEXSCRIPT" val="阿里巴巴普惠体 Heavy"/>
  <p:tag name="FONTNAMEFAREAST" val="阿里巴巴普惠体 Heavy"/>
  <p:tag name="TEXTALIGNMENT" val="ppAlignCenter"/>
  <p:tag name="LINERULEAFTER" val="msoFalse"/>
  <p:tag name="MARGINBOTTOM" val="3.6"/>
  <p:tag name="MARGINLEFT" val="7.2"/>
  <p:tag name="MARGINRIGHT" val="7.2"/>
  <p:tag name="MARGINTOP" val="3.6"/>
  <p:tag name="T_HASTEXT" val="1"/>
  <p:tag name="T_LEFT" val="181.7921"/>
  <p:tag name="T_TOP" val="71.7389"/>
  <p:tag name="T_WIDTH" val="588.0696"/>
  <p:tag name="T_HEIGTH" val="System.__ComObject"/>
  <p:tag name="T_TEXT" val="流程图"/>
  <p:tag name="T_FONTCOLOR" val="System.__ComObject"/>
  <p:tag name="T_FONTNAME" val="阿里巴巴普惠体 Heavy"/>
  <p:tag name="T_FONTNAMEASCII" val="阿里巴巴普惠体 Heavy"/>
  <p:tag name="T_NAMECOMPLEXSCRIPT" val="阿里巴巴普惠体 Heavy"/>
  <p:tag name="T_NAMEFAREAST" val="阿里巴巴普惠体 Heavy"/>
  <p:tag name="T_FONTBOLD" val="msoFalse"/>
  <p:tag name="T_FONTSIZE" val="166"/>
  <p:tag name="T_FONTUNDERLINE" val="msoFalse"/>
  <p:tag name="T_FONTITALIC" val="msoFalse"/>
  <p:tag name="T_FONTSPACING" val="0"/>
  <p:tag name="T_MARGINTOP" val="3.6"/>
  <p:tag name="T_MARGINRIGHT" val="7.2"/>
  <p:tag name="T_MARGINBOTTOM" val="3.6"/>
  <p:tag name="T_MARGINLEFT" val="7.2"/>
  <p:tag name="T_TEXTLINEDASHSTYLE" val="msoLineDashStyleMixed"/>
  <p:tag name="T_TEXTLINEWEIGHT" val="-2.147484E+09"/>
  <p:tag name="T_TEXTLINEFORECOLOR" val="System.__ComObject"/>
  <p:tag name="T_TEXTLINEFILLBACKCOLOR" val="System.__ComObject"/>
  <p:tag name="T_TEXTLINEFILLTRANSPARENCY" val="0"/>
  <p:tag name="T_TEXTALIGNMENT" val="ppAlignCenter"/>
  <p:tag name="T_SPACEBEFORE" val="0"/>
  <p:tag name="T_SPACEWITHIN" val="1"/>
  <p:tag name="T_SPACEAFTER" val="0"/>
  <p:tag name="T_LINERULEBEFORE" val="msoTrue"/>
  <p:tag name="T_TEXTREFLECTION" val="0"/>
  <p:tag name="T_TEXTGLOW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MsaXOZE6N7jFLFBqB6A"/>
</p:tagLst>
</file>

<file path=ppt/theme/theme1.xml><?xml version="1.0" encoding="utf-8"?>
<a:theme xmlns:a="http://schemas.openxmlformats.org/drawingml/2006/main" name="9_Office 主题">
  <a:themeElements>
    <a:clrScheme name="自定义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97311"/>
      </a:accent1>
      <a:accent2>
        <a:srgbClr val="F19F49"/>
      </a:accent2>
      <a:accent3>
        <a:srgbClr val="C8570C"/>
      </a:accent3>
      <a:accent4>
        <a:srgbClr val="872B05"/>
      </a:accent4>
      <a:accent5>
        <a:srgbClr val="FF3F46"/>
      </a:accent5>
      <a:accent6>
        <a:srgbClr val="00D0F4"/>
      </a:accent6>
      <a:hlink>
        <a:srgbClr val="0563C1"/>
      </a:hlink>
      <a:folHlink>
        <a:srgbClr val="954F72"/>
      </a:folHlink>
    </a:clrScheme>
    <a:fontScheme name="自定义 5">
      <a:majorFont>
        <a:latin typeface="KronaOne"/>
        <a:ea typeface="思源黑体 CN Bold (标题)"/>
        <a:cs typeface=""/>
      </a:majorFont>
      <a:minorFont>
        <a:latin typeface="OPPOSans M"/>
        <a:ea typeface="思源黑体 CN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Office 主题​​">
  <a:themeElements>
    <a:clrScheme name="不要黄色啦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A4BE9"/>
      </a:accent1>
      <a:accent2>
        <a:srgbClr val="14C96B"/>
      </a:accent2>
      <a:accent3>
        <a:srgbClr val="AEAEAE"/>
      </a:accent3>
      <a:accent4>
        <a:srgbClr val="001747"/>
      </a:accent4>
      <a:accent5>
        <a:srgbClr val="F27F66"/>
      </a:accent5>
      <a:accent6>
        <a:srgbClr val="C9C9C9"/>
      </a:accent6>
      <a:hlink>
        <a:srgbClr val="4472C4"/>
      </a:hlink>
      <a:folHlink>
        <a:srgbClr val="BFBFBF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accent1"/>
        </a:solidFill>
        <a:ln>
          <a:solidFill>
            <a:schemeClr val="bg1">
              <a:lumMod val="65000"/>
            </a:schemeClr>
          </a:solidFill>
        </a:ln>
      </a:spPr>
      <a:bodyPr wrap="square" anchor="ctr" anchorCtr="1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Office 主题​​">
  <a:themeElements>
    <a:clrScheme name="稿定_酸性风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EB372"/>
      </a:accent1>
      <a:accent2>
        <a:srgbClr val="FD781C"/>
      </a:accent2>
      <a:accent3>
        <a:srgbClr val="3F3F3F"/>
      </a:accent3>
      <a:accent4>
        <a:srgbClr val="3F3F3F"/>
      </a:accent4>
      <a:accent5>
        <a:srgbClr val="3F3F3F"/>
      </a:accent5>
      <a:accent6>
        <a:srgbClr val="3F3F3F"/>
      </a:accent6>
      <a:hlink>
        <a:srgbClr val="0563C1"/>
      </a:hlink>
      <a:folHlink>
        <a:srgbClr val="954F72"/>
      </a:folHlink>
    </a:clrScheme>
    <a:fontScheme name="Oppo Heavy">
      <a:majorFont>
        <a:latin typeface="OPPOSans H"/>
        <a:ea typeface="OPPOSans H"/>
        <a:cs typeface=""/>
      </a:majorFont>
      <a:minorFont>
        <a:latin typeface="OPPOSans R"/>
        <a:ea typeface="OPPOSans 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4_Office 主题">
  <a:themeElements>
    <a:clrScheme name="毕业答辩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82A3F"/>
      </a:accent1>
      <a:accent2>
        <a:srgbClr val="3B9999"/>
      </a:accent2>
      <a:accent3>
        <a:srgbClr val="EF464D"/>
      </a:accent3>
      <a:accent4>
        <a:srgbClr val="1F245E"/>
      </a:accent4>
      <a:accent5>
        <a:srgbClr val="61FAFA"/>
      </a:accent5>
      <a:accent6>
        <a:srgbClr val="EC8B8E"/>
      </a:accent6>
      <a:hlink>
        <a:srgbClr val="0563C1"/>
      </a:hlink>
      <a:folHlink>
        <a:srgbClr val="954F72"/>
      </a:folHlink>
    </a:clrScheme>
    <a:fontScheme name="锐字云字库">
      <a:majorFont>
        <a:latin typeface="Roboto Black"/>
        <a:ea typeface="锐字云字库超黑GB"/>
        <a:cs typeface=""/>
      </a:majorFont>
      <a:minorFont>
        <a:latin typeface="Roboto Light"/>
        <a:ea typeface="思源黑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Office 主题​​">
  <a:themeElements>
    <a:clrScheme name="3D风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2AF9C"/>
      </a:accent1>
      <a:accent2>
        <a:srgbClr val="19FCE2"/>
      </a:accent2>
      <a:accent3>
        <a:srgbClr val="0C7D70"/>
      </a:accent3>
      <a:accent4>
        <a:srgbClr val="4CBDB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ppo Heavy">
      <a:majorFont>
        <a:latin typeface="OPPOSans H"/>
        <a:ea typeface="OPPOSans H"/>
        <a:cs typeface=""/>
      </a:majorFont>
      <a:minorFont>
        <a:latin typeface="OPPOSans R"/>
        <a:ea typeface="OPPOSans 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5_Office 主题">
  <a:themeElements>
    <a:clrScheme name="毕业答辩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312B"/>
      </a:accent1>
      <a:accent2>
        <a:srgbClr val="624645"/>
      </a:accent2>
      <a:accent3>
        <a:srgbClr val="8F4B28"/>
      </a:accent3>
      <a:accent4>
        <a:srgbClr val="D09F74"/>
      </a:accent4>
      <a:accent5>
        <a:srgbClr val="E1CEBD"/>
      </a:accent5>
      <a:accent6>
        <a:srgbClr val="FF8040"/>
      </a:accent6>
      <a:hlink>
        <a:srgbClr val="0563C1"/>
      </a:hlink>
      <a:folHlink>
        <a:srgbClr val="954F72"/>
      </a:folHlink>
    </a:clrScheme>
    <a:fontScheme name="思源宋体">
      <a:majorFont>
        <a:latin typeface="OPPOSans B"/>
        <a:ea typeface="思源宋体 Heavy"/>
        <a:cs typeface=""/>
      </a:majorFont>
      <a:minorFont>
        <a:latin typeface="OPPOSans L"/>
        <a:ea typeface="思源宋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5_Office 主题​​">
  <a:themeElements>
    <a:clrScheme name="稿定_科技风模板0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9BDFF"/>
      </a:accent1>
      <a:accent2>
        <a:srgbClr val="0F98FF"/>
      </a:accent2>
      <a:accent3>
        <a:srgbClr val="3F3F3F"/>
      </a:accent3>
      <a:accent4>
        <a:srgbClr val="3F3F3F"/>
      </a:accent4>
      <a:accent5>
        <a:srgbClr val="3F3F3F"/>
      </a:accent5>
      <a:accent6>
        <a:srgbClr val="3F3F3F"/>
      </a:accent6>
      <a:hlink>
        <a:srgbClr val="3F3F3F"/>
      </a:hlink>
      <a:folHlink>
        <a:srgbClr val="3F3F3F"/>
      </a:folHlink>
    </a:clrScheme>
    <a:fontScheme name="Oppo">
      <a:majorFont>
        <a:latin typeface="OPPOSans B"/>
        <a:ea typeface="OPPOSans B"/>
        <a:cs typeface=""/>
      </a:majorFont>
      <a:minorFont>
        <a:latin typeface="OPPOSans R"/>
        <a:ea typeface="OPPOSans 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6_Office 主题">
  <a:themeElements>
    <a:clrScheme name="毕业答辩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C02"/>
      </a:accent1>
      <a:accent2>
        <a:srgbClr val="F7A92E"/>
      </a:accent2>
      <a:accent3>
        <a:srgbClr val="DB1F0E"/>
      </a:accent3>
      <a:accent4>
        <a:srgbClr val="F6321B"/>
      </a:accent4>
      <a:accent5>
        <a:srgbClr val="1C74FF"/>
      </a:accent5>
      <a:accent6>
        <a:srgbClr val="465867"/>
      </a:accent6>
      <a:hlink>
        <a:srgbClr val="0563C1"/>
      </a:hlink>
      <a:folHlink>
        <a:srgbClr val="954F72"/>
      </a:folHlink>
    </a:clrScheme>
    <a:fontScheme name="思源宋体">
      <a:majorFont>
        <a:latin typeface="OPPOSans B"/>
        <a:ea typeface="思源宋体 Heavy"/>
        <a:cs typeface=""/>
      </a:majorFont>
      <a:minorFont>
        <a:latin typeface="OPPOSans L"/>
        <a:ea typeface="思源宋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6_Office 主题​​">
  <a:themeElements>
    <a:clrScheme name="Office 2007-2010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254F4"/>
      </a:accent1>
      <a:accent2>
        <a:srgbClr val="795FE5"/>
      </a:accent2>
      <a:accent3>
        <a:srgbClr val="50C9A8"/>
      </a:accent3>
      <a:accent4>
        <a:srgbClr val="F77272"/>
      </a:accent4>
      <a:accent5>
        <a:srgbClr val="F27F66"/>
      </a:accent5>
      <a:accent6>
        <a:srgbClr val="C9C9C9"/>
      </a:accent6>
      <a:hlink>
        <a:srgbClr val="4472C4"/>
      </a:hlink>
      <a:folHlink>
        <a:srgbClr val="BFBFBF"/>
      </a:folHlink>
    </a:clrScheme>
    <a:fontScheme name="5u2kcdf3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0_Office 主题">
  <a:themeElements>
    <a:clrScheme name="扁平7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28675"/>
      </a:accent1>
      <a:accent2>
        <a:srgbClr val="3B6D47"/>
      </a:accent2>
      <a:accent3>
        <a:srgbClr val="EF6F48"/>
      </a:accent3>
      <a:accent4>
        <a:srgbClr val="E2524F"/>
      </a:accent4>
      <a:accent5>
        <a:srgbClr val="500A16"/>
      </a:accent5>
      <a:accent6>
        <a:srgbClr val="B2BBBE"/>
      </a:accent6>
      <a:hlink>
        <a:srgbClr val="0563C1"/>
      </a:hlink>
      <a:folHlink>
        <a:srgbClr val="954F72"/>
      </a:folHlink>
    </a:clrScheme>
    <a:fontScheme name="思源宋体">
      <a:majorFont>
        <a:latin typeface="OPPOSans B"/>
        <a:ea typeface="思源宋体 Heavy"/>
        <a:cs typeface=""/>
      </a:majorFont>
      <a:minorFont>
        <a:latin typeface="OPPOSans L"/>
        <a:ea typeface="思源宋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1_Office 主题">
  <a:themeElements>
    <a:clrScheme name="扁平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4FFAB"/>
      </a:accent1>
      <a:accent2>
        <a:srgbClr val="0B50F6"/>
      </a:accent2>
      <a:accent3>
        <a:srgbClr val="80D0C7"/>
      </a:accent3>
      <a:accent4>
        <a:srgbClr val="13547A"/>
      </a:accent4>
      <a:accent5>
        <a:srgbClr val="16A085"/>
      </a:accent5>
      <a:accent6>
        <a:srgbClr val="F4D03F"/>
      </a:accent6>
      <a:hlink>
        <a:srgbClr val="0563C1"/>
      </a:hlink>
      <a:folHlink>
        <a:srgbClr val="954F72"/>
      </a:folHlink>
    </a:clrScheme>
    <a:fontScheme name="自定义 2">
      <a:majorFont>
        <a:latin typeface="OPPOSans B"/>
        <a:ea typeface="思源宋体 CN Heavy"/>
        <a:cs typeface=""/>
      </a:majorFont>
      <a:minorFont>
        <a:latin typeface="OPPOSans L"/>
        <a:ea typeface="思源宋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晒书包">
  <a:themeElements>
    <a:clrScheme name="晒书包">
      <a:dk1>
        <a:srgbClr val="000000"/>
      </a:dk1>
      <a:lt1>
        <a:srgbClr val="FFFFFF"/>
      </a:lt1>
      <a:dk2>
        <a:srgbClr val="242428"/>
      </a:dk2>
      <a:lt2>
        <a:srgbClr val="F0F0F0"/>
      </a:lt2>
      <a:accent1>
        <a:srgbClr val="EE4037"/>
      </a:accent1>
      <a:accent2>
        <a:srgbClr val="617AFF"/>
      </a:accent2>
      <a:accent3>
        <a:srgbClr val="F6D822"/>
      </a:accent3>
      <a:accent4>
        <a:srgbClr val="3AB43A"/>
      </a:accent4>
      <a:accent5>
        <a:srgbClr val="E1523C"/>
      </a:accent5>
      <a:accent6>
        <a:srgbClr val="A1A1A1"/>
      </a:accent6>
      <a:hlink>
        <a:srgbClr val="E23A48"/>
      </a:hlink>
      <a:folHlink>
        <a:srgbClr val="BFBFBF"/>
      </a:folHlink>
    </a:clrScheme>
    <a:fontScheme name="自定义 11">
      <a:majorFont>
        <a:latin typeface="DIN"/>
        <a:ea typeface="思源黑体 CN Heavy"/>
        <a:cs typeface=""/>
      </a:majorFont>
      <a:minorFont>
        <a:latin typeface="DIN"/>
        <a:ea typeface="思源黑体 CN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晒书包" id="{A6ABD3CF-3D83-45DF-ABE4-9F71B7255380}" vid="{85A1B7A8-5EA1-45BD-BABF-37915AD4A9F9}"/>
    </a:ext>
  </a:extLst>
</a:theme>
</file>

<file path=ppt/theme/theme20.xml><?xml version="1.0" encoding="utf-8"?>
<a:theme xmlns:a="http://schemas.openxmlformats.org/drawingml/2006/main" name="12_Office 主题">
  <a:themeElements>
    <a:clrScheme name="毕业答辩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4317B"/>
      </a:accent1>
      <a:accent2>
        <a:srgbClr val="0F6FC6"/>
      </a:accent2>
      <a:accent3>
        <a:srgbClr val="0BD0D9"/>
      </a:accent3>
      <a:accent4>
        <a:srgbClr val="7CCA62"/>
      </a:accent4>
      <a:accent5>
        <a:srgbClr val="C27342"/>
      </a:accent5>
      <a:accent6>
        <a:srgbClr val="67D8DB"/>
      </a:accent6>
      <a:hlink>
        <a:srgbClr val="0563C1"/>
      </a:hlink>
      <a:folHlink>
        <a:srgbClr val="954F72"/>
      </a:folHlink>
    </a:clrScheme>
    <a:fontScheme name="思源黑体">
      <a:majorFont>
        <a:latin typeface="Anton"/>
        <a:ea typeface="思源黑体 Heavy"/>
        <a:cs typeface=""/>
      </a:majorFont>
      <a:minorFont>
        <a:latin typeface="OPPOSans M"/>
        <a:ea typeface="思源黑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7_Office 主题​​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F6511D"/>
      </a:accent1>
      <a:accent2>
        <a:srgbClr val="FFB400"/>
      </a:accent2>
      <a:accent3>
        <a:srgbClr val="00A6ED"/>
      </a:accent3>
      <a:accent4>
        <a:srgbClr val="7FB800"/>
      </a:accent4>
      <a:accent5>
        <a:srgbClr val="0D2C54"/>
      </a:accent5>
      <a:accent6>
        <a:srgbClr val="C9C9C9"/>
      </a:accent6>
      <a:hlink>
        <a:srgbClr val="4472C4"/>
      </a:hlink>
      <a:folHlink>
        <a:srgbClr val="BFBFBF"/>
      </a:folHlink>
    </a:clrScheme>
    <a:fontScheme name="5u2kcdf3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13_Office 主题">
  <a:themeElements>
    <a:clrScheme name="扁平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A6EFB"/>
      </a:accent1>
      <a:accent2>
        <a:srgbClr val="35ACF5"/>
      </a:accent2>
      <a:accent3>
        <a:srgbClr val="FFA844"/>
      </a:accent3>
      <a:accent4>
        <a:srgbClr val="184B9B"/>
      </a:accent4>
      <a:accent5>
        <a:srgbClr val="0BA360"/>
      </a:accent5>
      <a:accent6>
        <a:srgbClr val="3CBA92"/>
      </a:accent6>
      <a:hlink>
        <a:srgbClr val="0563C1"/>
      </a:hlink>
      <a:folHlink>
        <a:srgbClr val="954F72"/>
      </a:folHlink>
    </a:clrScheme>
    <a:fontScheme name="稿定自用">
      <a:majorFont>
        <a:latin typeface="Roboto Black"/>
        <a:ea typeface="OPPOSans H"/>
        <a:cs typeface=""/>
      </a:majorFont>
      <a:minorFont>
        <a:latin typeface="Roboto Light"/>
        <a:ea typeface="OPPOSans 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主题5">
  <a:themeElements>
    <a:clrScheme name="稿定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069B7"/>
      </a:accent1>
      <a:accent2>
        <a:srgbClr val="1989F9"/>
      </a:accent2>
      <a:accent3>
        <a:srgbClr val="FFC000"/>
      </a:accent3>
      <a:accent4>
        <a:srgbClr val="828282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稿定科技">
      <a:majorFont>
        <a:latin typeface="锐字云字库综艺GB"/>
        <a:ea typeface="锐字云字库综艺GB"/>
        <a:cs typeface=""/>
      </a:majorFont>
      <a:minorFont>
        <a:latin typeface="OPPOSans R"/>
        <a:ea typeface="OPPOSans 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accent1">
                <a:lumMod val="60000"/>
                <a:lumOff val="40000"/>
              </a:schemeClr>
            </a:gs>
            <a:gs pos="53000">
              <a:schemeClr val="accent1">
                <a:lumMod val="80000"/>
                <a:lumOff val="20000"/>
              </a:schemeClr>
            </a:gs>
            <a:gs pos="100000">
              <a:schemeClr val="accent1">
                <a:lumMod val="90000"/>
                <a:lumOff val="10000"/>
              </a:schemeClr>
            </a:gs>
          </a:gsLst>
          <a:lin ang="10800000" scaled="0"/>
        </a:gradFill>
        <a:ln>
          <a:noFill/>
        </a:ln>
      </a:spPr>
      <a:bodyPr wrap="square" rtlCol="0" anchor="ctr">
        <a:norm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演示文稿1" id="{6271D7BB-7D30-4A85-B1C9-50024C6EC4BD}" vid="{6C8181D5-D6EB-464F-A2B0-9E1A421F5249}"/>
    </a:ext>
  </a:extLst>
</a:theme>
</file>

<file path=ppt/theme/theme24.xml><?xml version="1.0" encoding="utf-8"?>
<a:theme xmlns:a="http://schemas.openxmlformats.org/drawingml/2006/main" name="14_Office 主题">
  <a:themeElements>
    <a:clrScheme name="自定义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7FF"/>
      </a:accent1>
      <a:accent2>
        <a:srgbClr val="01C3FF"/>
      </a:accent2>
      <a:accent3>
        <a:srgbClr val="FEA734"/>
      </a:accent3>
      <a:accent4>
        <a:srgbClr val="3A86DE"/>
      </a:accent4>
      <a:accent5>
        <a:srgbClr val="FEF535"/>
      </a:accent5>
      <a:accent6>
        <a:srgbClr val="0095B6"/>
      </a:accent6>
      <a:hlink>
        <a:srgbClr val="0563C1"/>
      </a:hlink>
      <a:folHlink>
        <a:srgbClr val="954F72"/>
      </a:folHlink>
    </a:clrScheme>
    <a:fontScheme name="自定义 1">
      <a:majorFont>
        <a:latin typeface="Anton"/>
        <a:ea typeface="思源黑体 CN Bold (标题)"/>
        <a:cs typeface=""/>
      </a:majorFont>
      <a:minorFont>
        <a:latin typeface="OPPOSans M"/>
        <a:ea typeface="思源黑体 CN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15_Office 主题">
  <a:themeElements>
    <a:clrScheme name="自定义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71161"/>
      </a:accent1>
      <a:accent2>
        <a:srgbClr val="0B1B9A"/>
      </a:accent2>
      <a:accent3>
        <a:srgbClr val="FBE5D6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稿定自用">
      <a:majorFont>
        <a:latin typeface="Roboto Black"/>
        <a:ea typeface="OPPOSans H"/>
        <a:cs typeface=""/>
      </a:majorFont>
      <a:minorFont>
        <a:latin typeface="Roboto Light"/>
        <a:ea typeface="OPPOSans 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8_Office 主题​​">
  <a:themeElements>
    <a:clrScheme name="稿定企业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254F4"/>
      </a:accent1>
      <a:accent2>
        <a:srgbClr val="795FE5"/>
      </a:accent2>
      <a:accent3>
        <a:srgbClr val="50C9A8"/>
      </a:accent3>
      <a:accent4>
        <a:srgbClr val="F77272"/>
      </a:accent4>
      <a:accent5>
        <a:srgbClr val="F27F66"/>
      </a:accent5>
      <a:accent6>
        <a:srgbClr val="3563AD"/>
      </a:accent6>
      <a:hlink>
        <a:srgbClr val="4472C4"/>
      </a:hlink>
      <a:folHlink>
        <a:srgbClr val="BFBFBF"/>
      </a:folHlink>
    </a:clrScheme>
    <a:fontScheme name="5u2kcdf3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4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（全组合）">
      <a:majorFont>
        <a:latin typeface="微软雅黑"/>
        <a:ea typeface="微软雅黑"/>
        <a:cs typeface=""/>
      </a:majorFont>
      <a:minorFont>
        <a:latin typeface="微软雅黑 Light"/>
        <a:ea typeface="微软雅黑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5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毕业答辩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A67"/>
      </a:accent1>
      <a:accent2>
        <a:srgbClr val="009979"/>
      </a:accent2>
      <a:accent3>
        <a:srgbClr val="F78F1E"/>
      </a:accent3>
      <a:accent4>
        <a:srgbClr val="FFC808"/>
      </a:accent4>
      <a:accent5>
        <a:srgbClr val="F6E78B"/>
      </a:accent5>
      <a:accent6>
        <a:srgbClr val="465867"/>
      </a:accent6>
      <a:hlink>
        <a:srgbClr val="0563C1"/>
      </a:hlink>
      <a:folHlink>
        <a:srgbClr val="954F72"/>
      </a:folHlink>
    </a:clrScheme>
    <a:fontScheme name="思源宋体">
      <a:majorFont>
        <a:latin typeface="OPPOSans B"/>
        <a:ea typeface="思源宋体 Heavy"/>
        <a:cs typeface=""/>
      </a:majorFont>
      <a:minorFont>
        <a:latin typeface="OPPOSans L"/>
        <a:ea typeface="思源宋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主题">
  <a:themeElements>
    <a:clrScheme name="扁平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848B2"/>
      </a:accent1>
      <a:accent2>
        <a:srgbClr val="BBA6F3"/>
      </a:accent2>
      <a:accent3>
        <a:srgbClr val="93B7CF"/>
      </a:accent3>
      <a:accent4>
        <a:srgbClr val="EFEFF7"/>
      </a:accent4>
      <a:accent5>
        <a:srgbClr val="727272"/>
      </a:accent5>
      <a:accent6>
        <a:srgbClr val="C0C0C0"/>
      </a:accent6>
      <a:hlink>
        <a:srgbClr val="0563C1"/>
      </a:hlink>
      <a:folHlink>
        <a:srgbClr val="954F72"/>
      </a:folHlink>
    </a:clrScheme>
    <a:fontScheme name="自定义 2">
      <a:majorFont>
        <a:latin typeface="OPPOSans B"/>
        <a:ea typeface="思源宋体 Heavy"/>
        <a:cs typeface=""/>
      </a:majorFont>
      <a:minorFont>
        <a:latin typeface="OPPOSans L"/>
        <a:ea typeface="思源宋体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Office 主题">
  <a:themeElements>
    <a:clrScheme name="自定义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97311"/>
      </a:accent1>
      <a:accent2>
        <a:srgbClr val="F19F49"/>
      </a:accent2>
      <a:accent3>
        <a:srgbClr val="C8570C"/>
      </a:accent3>
      <a:accent4>
        <a:srgbClr val="872B05"/>
      </a:accent4>
      <a:accent5>
        <a:srgbClr val="FF3F46"/>
      </a:accent5>
      <a:accent6>
        <a:srgbClr val="00D0F4"/>
      </a:accent6>
      <a:hlink>
        <a:srgbClr val="0563C1"/>
      </a:hlink>
      <a:folHlink>
        <a:srgbClr val="954F72"/>
      </a:folHlink>
    </a:clrScheme>
    <a:fontScheme name="自定义 5">
      <a:majorFont>
        <a:latin typeface="KronaOne"/>
        <a:ea typeface="思源黑体 CN Bold (标题)"/>
        <a:cs typeface=""/>
      </a:majorFont>
      <a:minorFont>
        <a:latin typeface="OPPOSans M"/>
        <a:ea typeface="思源黑体 CN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Office 主题">
  <a:themeElements>
    <a:clrScheme name="扁平8改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E54D3"/>
      </a:accent1>
      <a:accent2>
        <a:srgbClr val="4F80E2"/>
      </a:accent2>
      <a:accent3>
        <a:srgbClr val="15CDCA"/>
      </a:accent3>
      <a:accent4>
        <a:srgbClr val="4FE0B6"/>
      </a:accent4>
      <a:accent5>
        <a:srgbClr val="FFB026"/>
      </a:accent5>
      <a:accent6>
        <a:srgbClr val="FFCC73"/>
      </a:accent6>
      <a:hlink>
        <a:srgbClr val="0563C1"/>
      </a:hlink>
      <a:folHlink>
        <a:srgbClr val="954F72"/>
      </a:folHlink>
    </a:clrScheme>
    <a:fontScheme name="锐字云字库宋">
      <a:majorFont>
        <a:latin typeface="OPPOSans B"/>
        <a:ea typeface="锐字云字库大标宋GB"/>
        <a:cs typeface=""/>
      </a:majorFont>
      <a:minorFont>
        <a:latin typeface="OPPOSans L"/>
        <a:ea typeface="锐字云字库宋黑G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Office 主题​​">
  <a:themeElements>
    <a:clrScheme name="稿定搞定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254F4"/>
      </a:accent1>
      <a:accent2>
        <a:srgbClr val="795FE5"/>
      </a:accent2>
      <a:accent3>
        <a:srgbClr val="50C9A8"/>
      </a:accent3>
      <a:accent4>
        <a:srgbClr val="F77272"/>
      </a:accent4>
      <a:accent5>
        <a:srgbClr val="F27F66"/>
      </a:accent5>
      <a:accent6>
        <a:srgbClr val="C9C9C9"/>
      </a:accent6>
      <a:hlink>
        <a:srgbClr val="4472C4"/>
      </a:hlink>
      <a:folHlink>
        <a:srgbClr val="BFBFBF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9</TotalTime>
  <Words>11433</Words>
  <Application>Microsoft Office PowerPoint</Application>
  <PresentationFormat>宽屏</PresentationFormat>
  <Paragraphs>1423</Paragraphs>
  <Slides>82</Slides>
  <Notes>3</Notes>
  <HiddenSlides>0</HiddenSlides>
  <MMClips>0</MMClips>
  <ScaleCrop>false</ScaleCrop>
  <HeadingPairs>
    <vt:vector size="6" baseType="variant">
      <vt:variant>
        <vt:lpstr>已用的字体</vt:lpstr>
      </vt:variant>
      <vt:variant>
        <vt:i4>33</vt:i4>
      </vt:variant>
      <vt:variant>
        <vt:lpstr>主题</vt:lpstr>
      </vt:variant>
      <vt:variant>
        <vt:i4>26</vt:i4>
      </vt:variant>
      <vt:variant>
        <vt:lpstr>幻灯片标题</vt:lpstr>
      </vt:variant>
      <vt:variant>
        <vt:i4>82</vt:i4>
      </vt:variant>
    </vt:vector>
  </HeadingPairs>
  <TitlesOfParts>
    <vt:vector size="141" baseType="lpstr">
      <vt:lpstr>DIN</vt:lpstr>
      <vt:lpstr>krona one</vt:lpstr>
      <vt:lpstr>Monoton</vt:lpstr>
      <vt:lpstr>OPPOSans B</vt:lpstr>
      <vt:lpstr>OPPOSans H</vt:lpstr>
      <vt:lpstr>OPPOSans L</vt:lpstr>
      <vt:lpstr>OPPOSans M</vt:lpstr>
      <vt:lpstr>OPPOSans R</vt:lpstr>
      <vt:lpstr>OPPOSans-R-subset126</vt:lpstr>
      <vt:lpstr>阿里巴巴普惠体 B</vt:lpstr>
      <vt:lpstr>阿里巴巴普惠体 Heavy</vt:lpstr>
      <vt:lpstr>等线</vt:lpstr>
      <vt:lpstr>等线 Light</vt:lpstr>
      <vt:lpstr>苹方 中等</vt:lpstr>
      <vt:lpstr>锐字云字库大标宋GB</vt:lpstr>
      <vt:lpstr>锐字云字库宋黑GB</vt:lpstr>
      <vt:lpstr>锐字云字库准圆GB</vt:lpstr>
      <vt:lpstr>锐字云字库综艺GB</vt:lpstr>
      <vt:lpstr>思源黑体 CN Bold</vt:lpstr>
      <vt:lpstr>思源黑体 CN Regular</vt:lpstr>
      <vt:lpstr>思源宋体 CN Heavy</vt:lpstr>
      <vt:lpstr>思源宋体 Heavy</vt:lpstr>
      <vt:lpstr>思源宋体 Light</vt:lpstr>
      <vt:lpstr>思源宋体 Medium</vt:lpstr>
      <vt:lpstr>微软雅黑</vt:lpstr>
      <vt:lpstr>微软雅黑 Light</vt:lpstr>
      <vt:lpstr>Arial</vt:lpstr>
      <vt:lpstr>Calibri</vt:lpstr>
      <vt:lpstr>Helvetica</vt:lpstr>
      <vt:lpstr>Roboto Black</vt:lpstr>
      <vt:lpstr>Roboto Light</vt:lpstr>
      <vt:lpstr>Segoe UI</vt:lpstr>
      <vt:lpstr>Segoe UI Semibold</vt:lpstr>
      <vt:lpstr>9_Office 主题</vt:lpstr>
      <vt:lpstr>晒书包</vt:lpstr>
      <vt:lpstr>64_Office 主题</vt:lpstr>
      <vt:lpstr>25_Office 主题​​</vt:lpstr>
      <vt:lpstr>Office 主题</vt:lpstr>
      <vt:lpstr>1_Office 主题</vt:lpstr>
      <vt:lpstr>2_Office 主题</vt:lpstr>
      <vt:lpstr>3_Office 主题</vt:lpstr>
      <vt:lpstr>1_Office 主题​​</vt:lpstr>
      <vt:lpstr>2_Office 主题​​</vt:lpstr>
      <vt:lpstr>3_Office 主题​​</vt:lpstr>
      <vt:lpstr>4_Office 主题</vt:lpstr>
      <vt:lpstr>4_Office 主题​​</vt:lpstr>
      <vt:lpstr>5_Office 主题</vt:lpstr>
      <vt:lpstr>5_Office 主题​​</vt:lpstr>
      <vt:lpstr>6_Office 主题</vt:lpstr>
      <vt:lpstr>6_Office 主题​​</vt:lpstr>
      <vt:lpstr>10_Office 主题</vt:lpstr>
      <vt:lpstr>11_Office 主题</vt:lpstr>
      <vt:lpstr>12_Office 主题</vt:lpstr>
      <vt:lpstr>7_Office 主题​​</vt:lpstr>
      <vt:lpstr>13_Office 主题</vt:lpstr>
      <vt:lpstr>主题5</vt:lpstr>
      <vt:lpstr>14_Office 主题</vt:lpstr>
      <vt:lpstr>15_Office 主题</vt:lpstr>
      <vt:lpstr>8_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淘宝：雨牧的素材库</dc:title>
  <dc:creator>雨牧（淘宝：雨牧的素材库）</dc:creator>
  <cp:lastModifiedBy>Administrator</cp:lastModifiedBy>
  <cp:revision>54</cp:revision>
  <dcterms:created xsi:type="dcterms:W3CDTF">2022-05-23T03:47:23Z</dcterms:created>
  <dcterms:modified xsi:type="dcterms:W3CDTF">2023-07-01T05:52:38Z</dcterms:modified>
</cp:coreProperties>
</file>